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89" r:id="rId4"/>
    <p:sldMasterId id="2147483755" r:id="rId5"/>
  </p:sldMasterIdLst>
  <p:notesMasterIdLst>
    <p:notesMasterId r:id="rId8"/>
  </p:notesMasterIdLst>
  <p:handoutMasterIdLst>
    <p:handoutMasterId r:id="rId9"/>
  </p:handoutMasterIdLst>
  <p:sldIdLst>
    <p:sldId id="262" r:id="rId6"/>
    <p:sldId id="261" r:id="rId7"/>
  </p:sldIdLst>
  <p:sldSz cx="12192000" cy="6858000"/>
  <p:notesSz cx="7023100" cy="9309100"/>
  <p:embeddedFontLst>
    <p:embeddedFont>
      <p:font typeface="Figtree" pitchFamily="2" charset="0"/>
      <p:regular r:id="rId10"/>
      <p:bold r:id="rId11"/>
      <p:italic r:id="rId12"/>
      <p:boldItalic r:id="rId13"/>
    </p:embeddedFont>
    <p:embeddedFont>
      <p:font typeface="Figtree Light" pitchFamily="2" charset="0"/>
      <p:regular r:id="rId14"/>
      <p:bold r:id="rId15"/>
      <p:italic r:id="rId16"/>
      <p:boldItalic r:id="rId17"/>
    </p:embeddedFont>
  </p:embeddedFontLst>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05593EA-6473-4B33-866D-C67797ACD902}">
          <p14:sldIdLst>
            <p14:sldId id="262"/>
            <p14:sldId id="26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EE4717-A071-2A20-719C-166D721607E7}" name="Dhru, Jayan" initials="DJ" userId="S::jayan.dhru@guycarp.com::c5602356-a9f2-4203-8e20-19ee4a80851f" providerId="AD"/>
  <p188:author id="{D4F18E4A-ED27-9150-37BC-8386837686CB}" name="Knobe, Viktor" initials="KV" userId="S::Viktor.Knobe@oliverwyman.com::d5fb83a9-d9e0-4dc4-a7de-8d4c3e666022" providerId="AD"/>
  <p188:author id="{BBEFFA56-D869-2174-91D8-1EDB2C821EC5}" name="Carrie Marlatt" initials="CM" userId="S::cmarlatt@3clife.info::a429cf08-70e9-462a-9696-7178a8c994db" providerId="AD"/>
  <p188:author id="{278AAF5A-6BA5-20AD-3BFC-92AD9DD1F45E}" name="Erik Askelsen" initials="EA" userId="S::easkelsen@3clife.info::5ec225da-c6b5-4c4f-9ee7-f084c2f23976" providerId="AD"/>
  <p188:author id="{E329DB6F-E124-6E66-6364-F804B3C19695}" name="Sippel, Coby" initials="SC" userId="S::coby.sippel@oliverwyman.com::a3b3a852-8cae-466b-8e04-4d0c1d0f811c" providerId="AD"/>
  <p188:author id="{0828E473-5516-8F2D-A8A5-5098FBDBE9FF}" name="Wernecke, Eleanny" initials="EW" userId="S::eleanny.wernecke@oliverwyman.com::d59f8ac4-bfcc-4321-8e87-04e082237bfe" providerId="AD"/>
  <p188:author id="{0DC62875-5110-EBCA-C3A6-00756C11EB35}" name="Carrie Marlatt" initials="CM" userId="S::cmarlatt@ceresinsurance.com::a429cf08-70e9-462a-9696-7178a8c994db" providerId="AD"/>
  <p188:author id="{11B9DB94-1955-34F9-11BF-6E4F7F47C5C1}" name="Gulati, Dhruv" initials="GD" userId="S::dhruv.gulati@oliverwyman.com::4960447d-9ac9-411e-966c-cba63e9157e2" providerId="AD"/>
  <p188:author id="{378F9F9A-E684-3103-35DA-35BBE139F977}" name="Franco, Andrea" initials="AF" userId="S::Andrea.Franco@oliverwyman.com::7fecb1a0-5afe-43c2-8929-83714c2fa0fe" providerId="AD"/>
  <p188:author id="{E1FF479F-FC86-8411-6B2F-3DDA4878CB4A}" name="Ricci, Kristin" initials="" userId="S::kristin.ricci@oliverwyman.com::5ef0c8ae-5e90-4523-a92c-b5d4d92c9aa2" providerId="AD"/>
  <p188:author id="{2F4BA4C0-14E9-706A-FF51-CD2DBBFF6866}" name="Martinez, Marimar" initials="MM" userId="S::marimar.martinez@oliverwyman.com::50336f8b-a22f-4568-b02b-3e3a2c37d860" providerId="AD"/>
  <p188:author id="{CE1269C7-0690-DB13-4341-84D533A92A72}" name="Chang, Katya" initials="KC" userId="S::katya.chang@oliverwyman.com::73098ce3-4dbc-4746-a6ad-54ffda9eff42" providerId="AD"/>
  <p188:author id="{6AD17BD3-F8F2-4822-5A3F-186F99024C27}" name="Davey, Matthew" initials="MD" userId="S::Matthew.Davey@oliverwyman.com::f9936a60-7172-4889-b224-5533efda23d3" providerId="AD"/>
  <p188:author id="{E2E098DB-8760-6096-4A1E-F85F0E500A1C}" name="Xie, William" initials="WX" userId="S::william.xie@oliverwyman.com::53953cf7-3be1-4d30-9525-216946f5f2ee" providerId="AD"/>
  <p188:author id="{531E2AE6-3BC6-D209-62E5-90B225B61684}" name="Ponnala, Namish" initials="NP" userId="S::namish.ponnala@oliverwyman.com::8efacc35-6164-423d-9623-202189fc52ca" providerId="AD"/>
  <p188:author id="{ED2949E8-50CF-C48B-F54B-C282B9E045E8}" name="Aling, Andrew" initials="AA" userId="S::andrew.aling@oliverwyman.com::4abad78d-82ff-4358-b07a-638d1f9fbc5c" providerId="AD"/>
  <p188:author id="{F30E50F5-3B2D-6EA4-533F-6A48CDF841E9}" name="Coby Sippel" initials="CS" userId="Coby Sippel"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1214A"/>
    <a:srgbClr val="FEE17E"/>
    <a:srgbClr val="DBD8EB"/>
    <a:srgbClr val="00B352"/>
    <a:srgbClr val="617456"/>
    <a:srgbClr val="8A726B"/>
    <a:srgbClr val="64005A"/>
    <a:srgbClr val="6F7070"/>
    <a:srgbClr val="3E5622"/>
    <a:srgbClr val="8A729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tx1"/>
              </a:solidFill>
            </a:ln>
          </a:bottom>
          <a:insideH>
            <a:ln w="9525" cap="flat" cmpd="sng" algn="ctr">
              <a:solidFill>
                <a:schemeClr val="tx1"/>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6520"/>
    <p:restoredTop sz="94625"/>
  </p:normalViewPr>
  <p:slideViewPr>
    <p:cSldViewPr snapToGrid="0">
      <p:cViewPr varScale="1">
        <p:scale>
          <a:sx n="116" d="100"/>
          <a:sy n="116" d="100"/>
        </p:scale>
        <p:origin x="544" y="184"/>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4.fntdata"/><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font" Target="fonts/font3.fntdata"/><Relationship Id="rId17"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font" Target="fonts/font7.fntdata"/><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2.fntdata"/><Relationship Id="rId5" Type="http://schemas.openxmlformats.org/officeDocument/2006/relationships/slideMaster" Target="slideMasters/slideMaster2.xml"/><Relationship Id="rId15" Type="http://schemas.openxmlformats.org/officeDocument/2006/relationships/font" Target="fonts/font6.fntdata"/><Relationship Id="rId23" Type="http://schemas.microsoft.com/office/2018/10/relationships/authors" Target="authors.xml"/><Relationship Id="rId10" Type="http://schemas.openxmlformats.org/officeDocument/2006/relationships/font" Target="fonts/font1.fntdata"/><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font" Target="fonts/font5.fntdata"/><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sz="quarter" idx="1"/>
          </p:nvPr>
        </p:nvSpPr>
        <p:spPr>
          <a:xfrm>
            <a:off x="3978132" y="0"/>
            <a:ext cx="3043343" cy="467072"/>
          </a:xfrm>
          <a:prstGeom prst="rect">
            <a:avLst/>
          </a:prstGeom>
        </p:spPr>
        <p:txBody>
          <a:bodyPr vert="horz" lIns="93324" tIns="46662" rIns="93324" bIns="46662" rtlCol="0"/>
          <a:lstStyle>
            <a:lvl1pPr algn="r">
              <a:defRPr sz="1200"/>
            </a:lvl1pPr>
          </a:lstStyle>
          <a:p>
            <a:fld id="{0E12572B-F973-4732-A453-119EA490170A}" type="datetimeFigureOut">
              <a:rPr lang="en-US" smtClean="0"/>
              <a:t>6/29/25</a:t>
            </a:fld>
            <a:endParaRPr lang="en-US" dirty="0"/>
          </a:p>
        </p:txBody>
      </p:sp>
      <p:sp>
        <p:nvSpPr>
          <p:cNvPr id="4" name="Footer Placeholder 3"/>
          <p:cNvSpPr>
            <a:spLocks noGrp="1"/>
          </p:cNvSpPr>
          <p:nvPr>
            <p:ph type="ftr" sz="quarter" idx="2"/>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132" y="8842030"/>
            <a:ext cx="3043343" cy="467071"/>
          </a:xfrm>
          <a:prstGeom prst="rect">
            <a:avLst/>
          </a:prstGeom>
        </p:spPr>
        <p:txBody>
          <a:bodyPr vert="horz" lIns="93324" tIns="46662" rIns="93324" bIns="46662" rtlCol="0" anchor="b"/>
          <a:lstStyle>
            <a:lvl1pPr algn="r">
              <a:defRPr sz="1200"/>
            </a:lvl1pPr>
          </a:lstStyle>
          <a:p>
            <a:fld id="{8BB83C12-F094-4EDD-ABDC-7BADBDED5742}" type="slidenum">
              <a:rPr lang="en-US"/>
              <a:t>‹#›</a:t>
            </a:fld>
            <a:endParaRPr lang="en-US"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3A8927E5-BED3-44D0-9ADF-FA873E1D6DAF}" type="datetimeFigureOut">
              <a:rPr lang="en-US" smtClean="0"/>
              <a:pPr/>
              <a:t>6/29/25</a:t>
            </a:fld>
            <a:endParaRPr lang="en-US" dirty="0"/>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dirty="0"/>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7324DA73-AE27-4433-BD53-3E1DB61918F0}" type="slidenum">
              <a:rPr lang="en-US" smtClean="0"/>
              <a:pPr/>
              <a:t>‹#›</a:t>
            </a:fld>
            <a:endParaRPr lang="en-US"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oleObject" Target="../embeddings/oleObject7.bin"/><Relationship Id="rId21" Type="http://schemas.openxmlformats.org/officeDocument/2006/relationships/image" Target="../media/image21.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5" Type="http://schemas.openxmlformats.org/officeDocument/2006/relationships/image" Target="../media/image25.png"/><Relationship Id="rId2" Type="http://schemas.openxmlformats.org/officeDocument/2006/relationships/slideMaster" Target="../slideMasters/slideMaster2.xml"/><Relationship Id="rId16" Type="http://schemas.openxmlformats.org/officeDocument/2006/relationships/image" Target="../media/image16.png"/><Relationship Id="rId20" Type="http://schemas.openxmlformats.org/officeDocument/2006/relationships/image" Target="../media/image20.png"/><Relationship Id="rId1" Type="http://schemas.openxmlformats.org/officeDocument/2006/relationships/tags" Target="../tags/tag35.xml"/><Relationship Id="rId6" Type="http://schemas.openxmlformats.org/officeDocument/2006/relationships/image" Target="../media/image6.png"/><Relationship Id="rId11" Type="http://schemas.openxmlformats.org/officeDocument/2006/relationships/image" Target="../media/image11.png"/><Relationship Id="rId24" Type="http://schemas.openxmlformats.org/officeDocument/2006/relationships/image" Target="../media/image24.png"/><Relationship Id="rId5" Type="http://schemas.openxmlformats.org/officeDocument/2006/relationships/image" Target="../media/image5.png"/><Relationship Id="rId15" Type="http://schemas.openxmlformats.org/officeDocument/2006/relationships/image" Target="../media/image15.png"/><Relationship Id="rId23" Type="http://schemas.openxmlformats.org/officeDocument/2006/relationships/image" Target="../media/image23.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image" Target="../media/image1.emf"/><Relationship Id="rId9" Type="http://schemas.openxmlformats.org/officeDocument/2006/relationships/image" Target="../media/image9.png"/><Relationship Id="rId14" Type="http://schemas.openxmlformats.org/officeDocument/2006/relationships/image" Target="../media/image14.png"/><Relationship Id="rId22" Type="http://schemas.openxmlformats.org/officeDocument/2006/relationships/image" Target="../media/image22.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oleObject" Target="../embeddings/oleObject8.bin"/><Relationship Id="rId21" Type="http://schemas.openxmlformats.org/officeDocument/2006/relationships/image" Target="../media/image21.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5" Type="http://schemas.openxmlformats.org/officeDocument/2006/relationships/image" Target="../media/image25.png"/><Relationship Id="rId2" Type="http://schemas.openxmlformats.org/officeDocument/2006/relationships/slideMaster" Target="../slideMasters/slideMaster2.xml"/><Relationship Id="rId16" Type="http://schemas.openxmlformats.org/officeDocument/2006/relationships/image" Target="../media/image16.png"/><Relationship Id="rId20" Type="http://schemas.openxmlformats.org/officeDocument/2006/relationships/image" Target="../media/image20.png"/><Relationship Id="rId1" Type="http://schemas.openxmlformats.org/officeDocument/2006/relationships/tags" Target="../tags/tag36.xml"/><Relationship Id="rId6" Type="http://schemas.openxmlformats.org/officeDocument/2006/relationships/image" Target="../media/image6.png"/><Relationship Id="rId11" Type="http://schemas.openxmlformats.org/officeDocument/2006/relationships/image" Target="../media/image11.png"/><Relationship Id="rId24" Type="http://schemas.openxmlformats.org/officeDocument/2006/relationships/image" Target="../media/image24.png"/><Relationship Id="rId5" Type="http://schemas.openxmlformats.org/officeDocument/2006/relationships/image" Target="../media/image5.png"/><Relationship Id="rId15" Type="http://schemas.openxmlformats.org/officeDocument/2006/relationships/image" Target="../media/image15.png"/><Relationship Id="rId23" Type="http://schemas.openxmlformats.org/officeDocument/2006/relationships/image" Target="../media/image23.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image" Target="../media/image1.emf"/><Relationship Id="rId9" Type="http://schemas.openxmlformats.org/officeDocument/2006/relationships/image" Target="../media/image9.png"/><Relationship Id="rId14" Type="http://schemas.openxmlformats.org/officeDocument/2006/relationships/image" Target="../media/image14.png"/><Relationship Id="rId22" Type="http://schemas.openxmlformats.org/officeDocument/2006/relationships/image" Target="../media/image22.png"/></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53.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oleObject" Target="../embeddings/oleObject7.bin"/><Relationship Id="rId21" Type="http://schemas.openxmlformats.org/officeDocument/2006/relationships/image" Target="../media/image21.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5" Type="http://schemas.openxmlformats.org/officeDocument/2006/relationships/image" Target="../media/image25.png"/><Relationship Id="rId2" Type="http://schemas.openxmlformats.org/officeDocument/2006/relationships/slideMaster" Target="../slideMasters/slideMaster1.xml"/><Relationship Id="rId16" Type="http://schemas.openxmlformats.org/officeDocument/2006/relationships/image" Target="../media/image16.png"/><Relationship Id="rId20" Type="http://schemas.openxmlformats.org/officeDocument/2006/relationships/image" Target="../media/image20.png"/><Relationship Id="rId1" Type="http://schemas.openxmlformats.org/officeDocument/2006/relationships/tags" Target="../tags/tag9.xml"/><Relationship Id="rId6" Type="http://schemas.openxmlformats.org/officeDocument/2006/relationships/image" Target="../media/image6.png"/><Relationship Id="rId11" Type="http://schemas.openxmlformats.org/officeDocument/2006/relationships/image" Target="../media/image11.png"/><Relationship Id="rId24" Type="http://schemas.openxmlformats.org/officeDocument/2006/relationships/image" Target="../media/image24.png"/><Relationship Id="rId5" Type="http://schemas.openxmlformats.org/officeDocument/2006/relationships/image" Target="../media/image5.png"/><Relationship Id="rId15" Type="http://schemas.openxmlformats.org/officeDocument/2006/relationships/image" Target="../media/image15.png"/><Relationship Id="rId23" Type="http://schemas.openxmlformats.org/officeDocument/2006/relationships/image" Target="../media/image23.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image" Target="../media/image1.emf"/><Relationship Id="rId9" Type="http://schemas.openxmlformats.org/officeDocument/2006/relationships/image" Target="../media/image9.png"/><Relationship Id="rId14" Type="http://schemas.openxmlformats.org/officeDocument/2006/relationships/image" Target="../media/image14.png"/><Relationship Id="rId22" Type="http://schemas.openxmlformats.org/officeDocument/2006/relationships/image" Target="../media/image22.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oleObject" Target="../embeddings/oleObject8.bin"/><Relationship Id="rId21" Type="http://schemas.openxmlformats.org/officeDocument/2006/relationships/image" Target="../media/image21.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5" Type="http://schemas.openxmlformats.org/officeDocument/2006/relationships/image" Target="../media/image25.png"/><Relationship Id="rId2" Type="http://schemas.openxmlformats.org/officeDocument/2006/relationships/slideMaster" Target="../slideMasters/slideMaster1.xml"/><Relationship Id="rId16" Type="http://schemas.openxmlformats.org/officeDocument/2006/relationships/image" Target="../media/image16.png"/><Relationship Id="rId20" Type="http://schemas.openxmlformats.org/officeDocument/2006/relationships/image" Target="../media/image20.png"/><Relationship Id="rId1" Type="http://schemas.openxmlformats.org/officeDocument/2006/relationships/tags" Target="../tags/tag10.xml"/><Relationship Id="rId6" Type="http://schemas.openxmlformats.org/officeDocument/2006/relationships/image" Target="../media/image6.png"/><Relationship Id="rId11" Type="http://schemas.openxmlformats.org/officeDocument/2006/relationships/image" Target="../media/image11.png"/><Relationship Id="rId24" Type="http://schemas.openxmlformats.org/officeDocument/2006/relationships/image" Target="../media/image24.png"/><Relationship Id="rId5" Type="http://schemas.openxmlformats.org/officeDocument/2006/relationships/image" Target="../media/image5.png"/><Relationship Id="rId15" Type="http://schemas.openxmlformats.org/officeDocument/2006/relationships/image" Target="../media/image15.png"/><Relationship Id="rId23" Type="http://schemas.openxmlformats.org/officeDocument/2006/relationships/image" Target="../media/image23.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image" Target="../media/image1.emf"/><Relationship Id="rId9" Type="http://schemas.openxmlformats.org/officeDocument/2006/relationships/image" Target="../media/image9.png"/><Relationship Id="rId14" Type="http://schemas.openxmlformats.org/officeDocument/2006/relationships/image" Target="../media/image14.png"/><Relationship Id="rId22" Type="http://schemas.openxmlformats.org/officeDocument/2006/relationships/image" Target="../media/image22.pn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5000">
              <a:schemeClr val="accent1"/>
            </a:gs>
            <a:gs pos="100000">
              <a:srgbClr val="71CEEE"/>
            </a:gs>
          </a:gsLst>
          <a:lin ang="54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3479E95-3594-15EB-A89B-E1225FD05DD6}"/>
              </a:ext>
            </a:extLst>
          </p:cNvPr>
          <p:cNvGraphicFramePr>
            <a:graphicFrameLocks noChangeAspect="1"/>
          </p:cNvGraphicFramePr>
          <p:nvPr userDrawn="1">
            <p:custDataLst>
              <p:tags r:id="rId1"/>
            </p:custDataLst>
            <p:extLst>
              <p:ext uri="{D42A27DB-BD31-4B8C-83A1-F6EECF244321}">
                <p14:modId xmlns:p14="http://schemas.microsoft.com/office/powerpoint/2010/main" val="2386713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63479E95-3594-15EB-A89B-E1225FD05D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body" sz="quarter" idx="10" hasCustomPrompt="1"/>
          </p:nvPr>
        </p:nvSpPr>
        <p:spPr>
          <a:xfrm>
            <a:off x="457201" y="3979102"/>
            <a:ext cx="7148285" cy="893771"/>
          </a:xfrm>
        </p:spPr>
        <p:txBody>
          <a:bodyPr wrap="square" lIns="0" tIns="0" rIns="0" bIns="0" anchor="b">
            <a:spAutoFit/>
          </a:bodyPr>
          <a:lstStyle>
            <a:lvl1pPr marL="0" indent="0" fontAlgn="base">
              <a:lnSpc>
                <a:spcPct val="88000"/>
              </a:lnSpc>
              <a:spcBef>
                <a:spcPts val="0"/>
              </a:spcBef>
              <a:spcAft>
                <a:spcPts val="0"/>
              </a:spcAft>
              <a:buFont typeface="Arial" panose="020B0604020202020204" pitchFamily="34" charset="0"/>
              <a:buNone/>
              <a:defRPr sz="6600" b="1">
                <a:solidFill>
                  <a:schemeClr val="bg1"/>
                </a:solidFill>
                <a:latin typeface="+mj-lt"/>
                <a:ea typeface="+mj-ea"/>
                <a:cs typeface="+mj-cs"/>
              </a:defRPr>
            </a:lvl1pPr>
            <a:lvl2pPr marL="0" indent="0" fontAlgn="base">
              <a:lnSpc>
                <a:spcPct val="88000"/>
              </a:lnSpc>
              <a:spcBef>
                <a:spcPts val="0"/>
              </a:spcBef>
              <a:spcAft>
                <a:spcPts val="0"/>
              </a:spcAft>
              <a:buFont typeface="Arial" panose="020B0604020202020204" pitchFamily="34" charset="0"/>
              <a:buChar char="​"/>
              <a:defRPr sz="2800">
                <a:solidFill>
                  <a:schemeClr val="tx1"/>
                </a:solidFill>
              </a:defRPr>
            </a:lvl2pPr>
            <a:lvl3pPr marL="0" indent="0">
              <a:lnSpc>
                <a:spcPct val="88000"/>
              </a:lnSpc>
              <a:spcBef>
                <a:spcPts val="0"/>
              </a:spcBef>
              <a:spcAft>
                <a:spcPts val="0"/>
              </a:spcAft>
              <a:buFont typeface="Arial" panose="020B0604020202020204" pitchFamily="34" charset="0"/>
              <a:buChar char="​"/>
              <a:defRPr sz="2800">
                <a:solidFill>
                  <a:schemeClr val="tx1"/>
                </a:solidFill>
              </a:defRPr>
            </a:lvl3pPr>
            <a:lvl4pPr marL="0" indent="0">
              <a:lnSpc>
                <a:spcPct val="88000"/>
              </a:lnSpc>
              <a:spcBef>
                <a:spcPts val="0"/>
              </a:spcBef>
              <a:spcAft>
                <a:spcPts val="0"/>
              </a:spcAft>
              <a:buFont typeface="Arial" panose="020B0604020202020204" pitchFamily="34" charset="0"/>
              <a:buChar char="​"/>
              <a:defRPr sz="2800">
                <a:solidFill>
                  <a:schemeClr val="tx1"/>
                </a:solidFill>
              </a:defRPr>
            </a:lvl4pPr>
            <a:lvl5pPr marL="0" indent="0">
              <a:lnSpc>
                <a:spcPct val="88000"/>
              </a:lnSpc>
              <a:spcBef>
                <a:spcPts val="0"/>
              </a:spcBef>
              <a:spcAft>
                <a:spcPts val="0"/>
              </a:spcAft>
              <a:buFont typeface="Arial" panose="020B0604020202020204" pitchFamily="34" charset="0"/>
              <a:buChar char="​"/>
              <a:defRPr sz="2800">
                <a:solidFill>
                  <a:schemeClr val="tx1"/>
                </a:solidFill>
              </a:defRPr>
            </a:lvl5pPr>
            <a:lvl6pPr marL="0" indent="0">
              <a:lnSpc>
                <a:spcPct val="88000"/>
              </a:lnSpc>
              <a:spcBef>
                <a:spcPts val="0"/>
              </a:spcBef>
              <a:spcAft>
                <a:spcPts val="0"/>
              </a:spcAft>
              <a:buFont typeface="Arial" panose="020B0604020202020204" pitchFamily="34" charset="0"/>
              <a:buChar char="​"/>
              <a:defRPr sz="2800">
                <a:solidFill>
                  <a:schemeClr val="tx1"/>
                </a:solidFill>
              </a:defRPr>
            </a:lvl6pPr>
            <a:lvl7pPr marL="0" indent="0">
              <a:lnSpc>
                <a:spcPct val="88000"/>
              </a:lnSpc>
              <a:spcBef>
                <a:spcPts val="0"/>
              </a:spcBef>
              <a:spcAft>
                <a:spcPts val="0"/>
              </a:spcAft>
              <a:buFont typeface="Arial" panose="020B0604020202020204" pitchFamily="34" charset="0"/>
              <a:buChar char="​"/>
              <a:defRPr sz="2800">
                <a:solidFill>
                  <a:schemeClr val="tx1"/>
                </a:solidFill>
              </a:defRPr>
            </a:lvl7pPr>
            <a:lvl8pPr marL="0" indent="0">
              <a:lnSpc>
                <a:spcPct val="88000"/>
              </a:lnSpc>
              <a:spcBef>
                <a:spcPts val="0"/>
              </a:spcBef>
              <a:spcAft>
                <a:spcPts val="0"/>
              </a:spcAft>
              <a:buFont typeface="Arial" panose="020B0604020202020204" pitchFamily="34" charset="0"/>
              <a:buChar char="​"/>
              <a:defRPr sz="2800">
                <a:solidFill>
                  <a:schemeClr val="tx1"/>
                </a:solidFill>
              </a:defRPr>
            </a:lvl8pPr>
            <a:lvl9pPr marL="0" indent="0">
              <a:lnSpc>
                <a:spcPct val="100000"/>
              </a:lnSpc>
              <a:spcBef>
                <a:spcPts val="0"/>
              </a:spcBef>
              <a:spcAft>
                <a:spcPts val="0"/>
              </a:spcAft>
              <a:buFont typeface="Arial" panose="020B0604020202020204" pitchFamily="34" charset="0"/>
              <a:buChar char="​"/>
              <a:defRPr sz="2800">
                <a:solidFill>
                  <a:schemeClr val="tx1"/>
                </a:solidFill>
              </a:defRPr>
            </a:lvl9pPr>
          </a:lstStyle>
          <a:p>
            <a:pPr lvl="0"/>
            <a:r>
              <a:rPr lang="en-US"/>
              <a:t>Title</a:t>
            </a:r>
          </a:p>
        </p:txBody>
      </p:sp>
      <p:sp>
        <p:nvSpPr>
          <p:cNvPr id="3" name="Subtitle"/>
          <p:cNvSpPr>
            <a:spLocks noGrp="1"/>
          </p:cNvSpPr>
          <p:nvPr>
            <p:ph type="body" sz="quarter" idx="11" hasCustomPrompt="1"/>
          </p:nvPr>
        </p:nvSpPr>
        <p:spPr>
          <a:xfrm>
            <a:off x="457201" y="5023212"/>
            <a:ext cx="7148285" cy="430887"/>
          </a:xfrm>
        </p:spPr>
        <p:txBody>
          <a:bodyPr wrap="square" lIns="0" tIns="0" rIns="0" bIns="0">
            <a:spAutoFit/>
          </a:bodyPr>
          <a:lstStyle>
            <a:lvl1pPr marL="0" indent="0">
              <a:spcBef>
                <a:spcPts val="0"/>
              </a:spcBef>
              <a:spcAft>
                <a:spcPts val="0"/>
              </a:spcAft>
              <a:buFont typeface="Arial" panose="020B0604020202020204" pitchFamily="34" charset="0"/>
              <a:buChar char="​"/>
              <a:defRPr sz="2800">
                <a:solidFill>
                  <a:schemeClr val="bg1"/>
                </a:solidFill>
              </a:defRPr>
            </a:lvl1pPr>
            <a:lvl2pPr marL="0" indent="0">
              <a:spcBef>
                <a:spcPts val="0"/>
              </a:spcBef>
              <a:spcAft>
                <a:spcPts val="0"/>
              </a:spcAft>
              <a:buFont typeface="Arial" panose="020B0604020202020204" pitchFamily="34" charset="0"/>
              <a:buChar char="​"/>
              <a:defRPr sz="2800">
                <a:solidFill>
                  <a:schemeClr val="tx1"/>
                </a:solidFill>
              </a:defRPr>
            </a:lvl2pPr>
            <a:lvl3pPr marL="0" indent="0">
              <a:spcBef>
                <a:spcPts val="0"/>
              </a:spcBef>
              <a:spcAft>
                <a:spcPts val="0"/>
              </a:spcAft>
              <a:buFont typeface="Arial" panose="020B0604020202020204" pitchFamily="34" charset="0"/>
              <a:buChar char="​"/>
              <a:defRPr sz="2800">
                <a:solidFill>
                  <a:schemeClr val="tx1"/>
                </a:solidFill>
              </a:defRPr>
            </a:lvl3pPr>
            <a:lvl4pPr marL="0" indent="0">
              <a:spcBef>
                <a:spcPts val="0"/>
              </a:spcBef>
              <a:spcAft>
                <a:spcPts val="0"/>
              </a:spcAft>
              <a:buFont typeface="Arial" panose="020B0604020202020204" pitchFamily="34" charset="0"/>
              <a:buChar char="​"/>
              <a:defRPr sz="2800">
                <a:solidFill>
                  <a:schemeClr val="tx1"/>
                </a:solidFill>
              </a:defRPr>
            </a:lvl4pPr>
            <a:lvl5pPr marL="0" indent="0">
              <a:spcBef>
                <a:spcPts val="0"/>
              </a:spcBef>
              <a:spcAft>
                <a:spcPts val="0"/>
              </a:spcAft>
              <a:buFont typeface="Arial" panose="020B0604020202020204" pitchFamily="34" charset="0"/>
              <a:buChar char="​"/>
              <a:defRPr sz="2800">
                <a:solidFill>
                  <a:schemeClr val="tx1"/>
                </a:solidFill>
              </a:defRPr>
            </a:lvl5pPr>
            <a:lvl6pPr marL="0" indent="0">
              <a:spcBef>
                <a:spcPts val="0"/>
              </a:spcBef>
              <a:spcAft>
                <a:spcPts val="0"/>
              </a:spcAft>
              <a:buFont typeface="Arial" panose="020B0604020202020204" pitchFamily="34" charset="0"/>
              <a:buChar char="​"/>
              <a:defRPr sz="2800">
                <a:solidFill>
                  <a:schemeClr val="tx1"/>
                </a:solidFill>
              </a:defRPr>
            </a:lvl6pPr>
            <a:lvl7pPr marL="0" indent="0">
              <a:spcBef>
                <a:spcPts val="0"/>
              </a:spcBef>
              <a:spcAft>
                <a:spcPts val="0"/>
              </a:spcAft>
              <a:buFont typeface="Arial" panose="020B0604020202020204" pitchFamily="34" charset="0"/>
              <a:buChar char="​"/>
              <a:defRPr sz="2800">
                <a:solidFill>
                  <a:schemeClr val="tx1"/>
                </a:solidFill>
              </a:defRPr>
            </a:lvl7pPr>
            <a:lvl8pPr marL="0" indent="0">
              <a:spcBef>
                <a:spcPts val="0"/>
              </a:spcBef>
              <a:spcAft>
                <a:spcPts val="0"/>
              </a:spcAft>
              <a:buFont typeface="Arial" panose="020B0604020202020204" pitchFamily="34" charset="0"/>
              <a:buChar char="​"/>
              <a:defRPr sz="2800">
                <a:solidFill>
                  <a:schemeClr val="tx1"/>
                </a:solidFill>
              </a:defRPr>
            </a:lvl8pPr>
            <a:lvl9pPr marL="0" indent="0">
              <a:spcBef>
                <a:spcPts val="0"/>
              </a:spcBef>
              <a:spcAft>
                <a:spcPts val="0"/>
              </a:spcAft>
              <a:buFont typeface="Arial" panose="020B0604020202020204" pitchFamily="34" charset="0"/>
              <a:buChar char="​"/>
              <a:defRPr sz="2800">
                <a:solidFill>
                  <a:schemeClr val="tx1"/>
                </a:solidFill>
              </a:defRPr>
            </a:lvl9pPr>
          </a:lstStyle>
          <a:p>
            <a:pPr lvl="0"/>
            <a:r>
              <a:rPr lang="en-US"/>
              <a:t>Subtitle</a:t>
            </a:r>
          </a:p>
        </p:txBody>
      </p:sp>
      <p:sp>
        <p:nvSpPr>
          <p:cNvPr id="4" name="Presenter"/>
          <p:cNvSpPr>
            <a:spLocks noGrp="1"/>
          </p:cNvSpPr>
          <p:nvPr>
            <p:ph type="body" sz="quarter" idx="13" hasCustomPrompt="1"/>
          </p:nvPr>
        </p:nvSpPr>
        <p:spPr>
          <a:xfrm>
            <a:off x="457201" y="6103780"/>
            <a:ext cx="7148285" cy="246221"/>
          </a:xfrm>
        </p:spPr>
        <p:txBody>
          <a:bodyPr wrap="square" lIns="0" tIns="0" rIns="0" bIns="0" anchor="b">
            <a:spAutoFit/>
          </a:bodyPr>
          <a:lstStyle>
            <a:lvl1pPr marL="0" indent="0" fontAlgn="base">
              <a:spcBef>
                <a:spcPts val="0"/>
              </a:spcBef>
              <a:spcAft>
                <a:spcPts val="0"/>
              </a:spcAft>
              <a:buFont typeface="Arial" panose="020B0604020202020204" pitchFamily="34" charset="0"/>
              <a:buChar char="​"/>
              <a:defRPr sz="1600">
                <a:solidFill>
                  <a:schemeClr val="accent3"/>
                </a:solidFill>
              </a:defRPr>
            </a:lvl1pPr>
            <a:lvl2pPr marL="0" indent="0" fontAlgn="base">
              <a:spcBef>
                <a:spcPts val="0"/>
              </a:spcBef>
              <a:spcAft>
                <a:spcPts val="0"/>
              </a:spcAft>
              <a:buFont typeface="Arial" panose="020B0604020202020204" pitchFamily="34" charset="0"/>
              <a:buChar char="​"/>
              <a:defRPr sz="1600">
                <a:solidFill>
                  <a:schemeClr val="tx1"/>
                </a:solidFill>
              </a:defRPr>
            </a:lvl2pPr>
            <a:lvl3pPr marL="0" indent="0">
              <a:spcBef>
                <a:spcPts val="0"/>
              </a:spcBef>
              <a:spcAft>
                <a:spcPts val="0"/>
              </a:spcAft>
              <a:buFont typeface="Arial" panose="020B0604020202020204" pitchFamily="34" charset="0"/>
              <a:buChar char="​"/>
              <a:defRPr sz="1600">
                <a:solidFill>
                  <a:schemeClr val="tx1"/>
                </a:solidFill>
              </a:defRPr>
            </a:lvl3pPr>
            <a:lvl4pPr marL="0" indent="0">
              <a:spcBef>
                <a:spcPts val="0"/>
              </a:spcBef>
              <a:spcAft>
                <a:spcPts val="0"/>
              </a:spcAft>
              <a:buFont typeface="Arial" panose="020B0604020202020204" pitchFamily="34" charset="0"/>
              <a:buChar char="​"/>
              <a:defRPr sz="1600">
                <a:solidFill>
                  <a:schemeClr val="tx1"/>
                </a:solidFill>
              </a:defRPr>
            </a:lvl4pPr>
            <a:lvl5pPr marL="0" indent="0">
              <a:spcBef>
                <a:spcPts val="0"/>
              </a:spcBef>
              <a:spcAft>
                <a:spcPts val="0"/>
              </a:spcAft>
              <a:buFont typeface="Arial" panose="020B0604020202020204" pitchFamily="34" charset="0"/>
              <a:buChar char="​"/>
              <a:defRPr sz="1600">
                <a:solidFill>
                  <a:schemeClr val="tx1"/>
                </a:solidFill>
              </a:defRPr>
            </a:lvl5pPr>
            <a:lvl6pPr marL="0" indent="0">
              <a:spcBef>
                <a:spcPts val="0"/>
              </a:spcBef>
              <a:spcAft>
                <a:spcPts val="0"/>
              </a:spcAft>
              <a:buFont typeface="Arial" panose="020B0604020202020204" pitchFamily="34" charset="0"/>
              <a:buChar char="​"/>
              <a:defRPr sz="1600">
                <a:solidFill>
                  <a:schemeClr val="tx1"/>
                </a:solidFill>
              </a:defRPr>
            </a:lvl6pPr>
            <a:lvl7pPr marL="0" indent="0">
              <a:spcBef>
                <a:spcPts val="0"/>
              </a:spcBef>
              <a:spcAft>
                <a:spcPts val="0"/>
              </a:spcAft>
              <a:buFont typeface="Arial" panose="020B0604020202020204" pitchFamily="34" charset="0"/>
              <a:buChar char="​"/>
              <a:defRPr sz="1600">
                <a:solidFill>
                  <a:schemeClr val="tx1"/>
                </a:solidFill>
              </a:defRPr>
            </a:lvl7pPr>
            <a:lvl8pPr marL="0" indent="0">
              <a:spcBef>
                <a:spcPts val="0"/>
              </a:spcBef>
              <a:spcAft>
                <a:spcPts val="0"/>
              </a:spcAft>
              <a:buFont typeface="Arial" panose="020B0604020202020204" pitchFamily="34" charset="0"/>
              <a:buChar char="​"/>
              <a:defRPr sz="1600">
                <a:solidFill>
                  <a:schemeClr val="tx1"/>
                </a:solidFill>
              </a:defRPr>
            </a:lvl8pPr>
            <a:lvl9pPr marL="0" indent="0">
              <a:spcBef>
                <a:spcPts val="0"/>
              </a:spcBef>
              <a:spcAft>
                <a:spcPts val="0"/>
              </a:spcAft>
              <a:buFont typeface="Arial" panose="020B0604020202020204" pitchFamily="34" charset="0"/>
              <a:buChar char="​"/>
              <a:defRPr sz="1600">
                <a:solidFill>
                  <a:schemeClr val="tx1"/>
                </a:solidFill>
              </a:defRPr>
            </a:lvl9pPr>
          </a:lstStyle>
          <a:p>
            <a:pPr lvl="0"/>
            <a:r>
              <a:rPr lang="en-US"/>
              <a:t>Date</a:t>
            </a:r>
          </a:p>
        </p:txBody>
      </p:sp>
      <p:pic>
        <p:nvPicPr>
          <p:cNvPr id="9" name="object 6">
            <a:extLst>
              <a:ext uri="{FF2B5EF4-FFF2-40B4-BE49-F238E27FC236}">
                <a16:creationId xmlns:a16="http://schemas.microsoft.com/office/drawing/2014/main" id="{2F9CE019-4A13-B90F-D1BC-B185260D24FC}"/>
              </a:ext>
            </a:extLst>
          </p:cNvPr>
          <p:cNvPicPr>
            <a:picLocks/>
          </p:cNvPicPr>
          <p:nvPr userDrawn="1"/>
        </p:nvPicPr>
        <p:blipFill>
          <a:blip r:embed="rId5" cstate="print"/>
          <a:stretch>
            <a:fillRect/>
          </a:stretch>
        </p:blipFill>
        <p:spPr>
          <a:xfrm>
            <a:off x="7888483" y="507999"/>
            <a:ext cx="3846317" cy="6350002"/>
          </a:xfrm>
          <a:prstGeom prst="rect">
            <a:avLst/>
          </a:prstGeom>
        </p:spPr>
      </p:pic>
      <p:grpSp>
        <p:nvGrpSpPr>
          <p:cNvPr id="16" name="Group 15">
            <a:extLst>
              <a:ext uri="{FF2B5EF4-FFF2-40B4-BE49-F238E27FC236}">
                <a16:creationId xmlns:a16="http://schemas.microsoft.com/office/drawing/2014/main" id="{EDD15E0F-7440-1F39-2C91-0A700C532750}"/>
              </a:ext>
            </a:extLst>
          </p:cNvPr>
          <p:cNvGrpSpPr/>
          <p:nvPr userDrawn="1"/>
        </p:nvGrpSpPr>
        <p:grpSpPr>
          <a:xfrm>
            <a:off x="457201" y="381000"/>
            <a:ext cx="2826424" cy="471427"/>
            <a:chOff x="1047076" y="1047095"/>
            <a:chExt cx="4199255" cy="700405"/>
          </a:xfrm>
        </p:grpSpPr>
        <p:sp>
          <p:nvSpPr>
            <p:cNvPr id="17" name="object 4">
              <a:extLst>
                <a:ext uri="{FF2B5EF4-FFF2-40B4-BE49-F238E27FC236}">
                  <a16:creationId xmlns:a16="http://schemas.microsoft.com/office/drawing/2014/main" id="{4403A0AB-CF43-F3E2-A996-87C26FD561E4}"/>
                </a:ext>
              </a:extLst>
            </p:cNvPr>
            <p:cNvSpPr/>
            <p:nvPr/>
          </p:nvSpPr>
          <p:spPr>
            <a:xfrm>
              <a:off x="1047076" y="1047095"/>
              <a:ext cx="4199255" cy="700405"/>
            </a:xfrm>
            <a:custGeom>
              <a:avLst/>
              <a:gdLst/>
              <a:ahLst/>
              <a:cxnLst/>
              <a:rect l="l" t="t" r="r" b="b"/>
              <a:pathLst>
                <a:path w="4199255" h="700405">
                  <a:moveTo>
                    <a:pt x="410883" y="499719"/>
                  </a:moveTo>
                  <a:lnTo>
                    <a:pt x="365188" y="504698"/>
                  </a:lnTo>
                  <a:lnTo>
                    <a:pt x="323481" y="518934"/>
                  </a:lnTo>
                  <a:lnTo>
                    <a:pt x="286372" y="541337"/>
                  </a:lnTo>
                  <a:lnTo>
                    <a:pt x="254914" y="570814"/>
                  </a:lnTo>
                  <a:lnTo>
                    <a:pt x="230225" y="606285"/>
                  </a:lnTo>
                  <a:lnTo>
                    <a:pt x="213360" y="646684"/>
                  </a:lnTo>
                  <a:lnTo>
                    <a:pt x="205409" y="690905"/>
                  </a:lnTo>
                  <a:lnTo>
                    <a:pt x="197307" y="646861"/>
                  </a:lnTo>
                  <a:lnTo>
                    <a:pt x="180365" y="606640"/>
                  </a:lnTo>
                  <a:lnTo>
                    <a:pt x="155638" y="571309"/>
                  </a:lnTo>
                  <a:lnTo>
                    <a:pt x="124206" y="541972"/>
                  </a:lnTo>
                  <a:lnTo>
                    <a:pt x="87147" y="519671"/>
                  </a:lnTo>
                  <a:lnTo>
                    <a:pt x="45529" y="505510"/>
                  </a:lnTo>
                  <a:lnTo>
                    <a:pt x="0" y="500570"/>
                  </a:lnTo>
                  <a:lnTo>
                    <a:pt x="6477" y="546430"/>
                  </a:lnTo>
                  <a:lnTo>
                    <a:pt x="22504" y="588454"/>
                  </a:lnTo>
                  <a:lnTo>
                    <a:pt x="46888" y="625475"/>
                  </a:lnTo>
                  <a:lnTo>
                    <a:pt x="78498" y="656310"/>
                  </a:lnTo>
                  <a:lnTo>
                    <a:pt x="116141" y="679805"/>
                  </a:lnTo>
                  <a:lnTo>
                    <a:pt x="158673" y="694804"/>
                  </a:lnTo>
                  <a:lnTo>
                    <a:pt x="204901" y="700125"/>
                  </a:lnTo>
                  <a:lnTo>
                    <a:pt x="205816" y="700125"/>
                  </a:lnTo>
                  <a:lnTo>
                    <a:pt x="252183" y="694778"/>
                  </a:lnTo>
                  <a:lnTo>
                    <a:pt x="294817" y="679716"/>
                  </a:lnTo>
                  <a:lnTo>
                    <a:pt x="332536" y="656107"/>
                  </a:lnTo>
                  <a:lnTo>
                    <a:pt x="364172" y="625144"/>
                  </a:lnTo>
                  <a:lnTo>
                    <a:pt x="388556" y="587971"/>
                  </a:lnTo>
                  <a:lnTo>
                    <a:pt x="404520" y="545769"/>
                  </a:lnTo>
                  <a:lnTo>
                    <a:pt x="410883" y="499719"/>
                  </a:lnTo>
                  <a:close/>
                </a:path>
                <a:path w="4199255" h="700405">
                  <a:moveTo>
                    <a:pt x="410883" y="309626"/>
                  </a:moveTo>
                  <a:lnTo>
                    <a:pt x="365175" y="314604"/>
                  </a:lnTo>
                  <a:lnTo>
                    <a:pt x="323481" y="328841"/>
                  </a:lnTo>
                  <a:lnTo>
                    <a:pt x="286359" y="351231"/>
                  </a:lnTo>
                  <a:lnTo>
                    <a:pt x="254914" y="380720"/>
                  </a:lnTo>
                  <a:lnTo>
                    <a:pt x="230225" y="416191"/>
                  </a:lnTo>
                  <a:lnTo>
                    <a:pt x="213360" y="456590"/>
                  </a:lnTo>
                  <a:lnTo>
                    <a:pt x="205409" y="500811"/>
                  </a:lnTo>
                  <a:lnTo>
                    <a:pt x="197307" y="456755"/>
                  </a:lnTo>
                  <a:lnTo>
                    <a:pt x="180365" y="416534"/>
                  </a:lnTo>
                  <a:lnTo>
                    <a:pt x="155638" y="381215"/>
                  </a:lnTo>
                  <a:lnTo>
                    <a:pt x="124206" y="351878"/>
                  </a:lnTo>
                  <a:lnTo>
                    <a:pt x="87147" y="329577"/>
                  </a:lnTo>
                  <a:lnTo>
                    <a:pt x="45529" y="315417"/>
                  </a:lnTo>
                  <a:lnTo>
                    <a:pt x="0" y="310451"/>
                  </a:lnTo>
                  <a:lnTo>
                    <a:pt x="6477" y="356336"/>
                  </a:lnTo>
                  <a:lnTo>
                    <a:pt x="22504" y="398360"/>
                  </a:lnTo>
                  <a:lnTo>
                    <a:pt x="46888" y="435381"/>
                  </a:lnTo>
                  <a:lnTo>
                    <a:pt x="78498" y="466217"/>
                  </a:lnTo>
                  <a:lnTo>
                    <a:pt x="116141" y="489712"/>
                  </a:lnTo>
                  <a:lnTo>
                    <a:pt x="158673" y="504698"/>
                  </a:lnTo>
                  <a:lnTo>
                    <a:pt x="204901" y="510032"/>
                  </a:lnTo>
                  <a:lnTo>
                    <a:pt x="205816" y="510032"/>
                  </a:lnTo>
                  <a:lnTo>
                    <a:pt x="252183" y="504685"/>
                  </a:lnTo>
                  <a:lnTo>
                    <a:pt x="294817" y="489623"/>
                  </a:lnTo>
                  <a:lnTo>
                    <a:pt x="332536" y="466013"/>
                  </a:lnTo>
                  <a:lnTo>
                    <a:pt x="364172" y="435038"/>
                  </a:lnTo>
                  <a:lnTo>
                    <a:pt x="388556" y="397878"/>
                  </a:lnTo>
                  <a:lnTo>
                    <a:pt x="404520" y="355676"/>
                  </a:lnTo>
                  <a:lnTo>
                    <a:pt x="410883" y="309626"/>
                  </a:lnTo>
                  <a:close/>
                </a:path>
                <a:path w="4199255" h="700405">
                  <a:moveTo>
                    <a:pt x="410883" y="110553"/>
                  </a:moveTo>
                  <a:lnTo>
                    <a:pt x="365175" y="115531"/>
                  </a:lnTo>
                  <a:lnTo>
                    <a:pt x="323481" y="129768"/>
                  </a:lnTo>
                  <a:lnTo>
                    <a:pt x="286359" y="152171"/>
                  </a:lnTo>
                  <a:lnTo>
                    <a:pt x="254914" y="181648"/>
                  </a:lnTo>
                  <a:lnTo>
                    <a:pt x="230225" y="217119"/>
                  </a:lnTo>
                  <a:lnTo>
                    <a:pt x="213360" y="257517"/>
                  </a:lnTo>
                  <a:lnTo>
                    <a:pt x="205409" y="301739"/>
                  </a:lnTo>
                  <a:lnTo>
                    <a:pt x="197307" y="257695"/>
                  </a:lnTo>
                  <a:lnTo>
                    <a:pt x="180365" y="217474"/>
                  </a:lnTo>
                  <a:lnTo>
                    <a:pt x="155638" y="182143"/>
                  </a:lnTo>
                  <a:lnTo>
                    <a:pt x="124206" y="152806"/>
                  </a:lnTo>
                  <a:lnTo>
                    <a:pt x="87147" y="130517"/>
                  </a:lnTo>
                  <a:lnTo>
                    <a:pt x="45529" y="116344"/>
                  </a:lnTo>
                  <a:lnTo>
                    <a:pt x="0" y="111391"/>
                  </a:lnTo>
                  <a:lnTo>
                    <a:pt x="6477" y="157264"/>
                  </a:lnTo>
                  <a:lnTo>
                    <a:pt x="22504" y="199288"/>
                  </a:lnTo>
                  <a:lnTo>
                    <a:pt x="46888" y="236308"/>
                  </a:lnTo>
                  <a:lnTo>
                    <a:pt x="78498" y="267144"/>
                  </a:lnTo>
                  <a:lnTo>
                    <a:pt x="116141" y="290639"/>
                  </a:lnTo>
                  <a:lnTo>
                    <a:pt x="158673" y="305638"/>
                  </a:lnTo>
                  <a:lnTo>
                    <a:pt x="204901" y="310959"/>
                  </a:lnTo>
                  <a:lnTo>
                    <a:pt x="205816" y="310959"/>
                  </a:lnTo>
                  <a:lnTo>
                    <a:pt x="252183" y="305612"/>
                  </a:lnTo>
                  <a:lnTo>
                    <a:pt x="294817" y="290550"/>
                  </a:lnTo>
                  <a:lnTo>
                    <a:pt x="332536" y="266941"/>
                  </a:lnTo>
                  <a:lnTo>
                    <a:pt x="364172" y="235978"/>
                  </a:lnTo>
                  <a:lnTo>
                    <a:pt x="388556" y="198805"/>
                  </a:lnTo>
                  <a:lnTo>
                    <a:pt x="404520" y="156603"/>
                  </a:lnTo>
                  <a:lnTo>
                    <a:pt x="410883" y="110553"/>
                  </a:lnTo>
                  <a:close/>
                </a:path>
                <a:path w="4199255" h="700405">
                  <a:moveTo>
                    <a:pt x="1017346" y="544576"/>
                  </a:moveTo>
                  <a:lnTo>
                    <a:pt x="923353" y="507834"/>
                  </a:lnTo>
                  <a:lnTo>
                    <a:pt x="901077" y="548170"/>
                  </a:lnTo>
                  <a:lnTo>
                    <a:pt x="870800" y="578561"/>
                  </a:lnTo>
                  <a:lnTo>
                    <a:pt x="833462" y="597738"/>
                  </a:lnTo>
                  <a:lnTo>
                    <a:pt x="790041" y="604418"/>
                  </a:lnTo>
                  <a:lnTo>
                    <a:pt x="745363" y="597344"/>
                  </a:lnTo>
                  <a:lnTo>
                    <a:pt x="707034" y="576935"/>
                  </a:lnTo>
                  <a:lnTo>
                    <a:pt x="677125" y="544423"/>
                  </a:lnTo>
                  <a:lnTo>
                    <a:pt x="657682" y="501040"/>
                  </a:lnTo>
                  <a:lnTo>
                    <a:pt x="650735" y="448017"/>
                  </a:lnTo>
                  <a:lnTo>
                    <a:pt x="656907" y="398043"/>
                  </a:lnTo>
                  <a:lnTo>
                    <a:pt x="674636" y="355244"/>
                  </a:lnTo>
                  <a:lnTo>
                    <a:pt x="702792" y="321881"/>
                  </a:lnTo>
                  <a:lnTo>
                    <a:pt x="740206" y="300202"/>
                  </a:lnTo>
                  <a:lnTo>
                    <a:pt x="785749" y="292468"/>
                  </a:lnTo>
                  <a:lnTo>
                    <a:pt x="825042" y="297802"/>
                  </a:lnTo>
                  <a:lnTo>
                    <a:pt x="859675" y="313944"/>
                  </a:lnTo>
                  <a:lnTo>
                    <a:pt x="887907" y="341147"/>
                  </a:lnTo>
                  <a:lnTo>
                    <a:pt x="907961" y="379653"/>
                  </a:lnTo>
                  <a:lnTo>
                    <a:pt x="1003693" y="341198"/>
                  </a:lnTo>
                  <a:lnTo>
                    <a:pt x="982141" y="297561"/>
                  </a:lnTo>
                  <a:lnTo>
                    <a:pt x="953287" y="261594"/>
                  </a:lnTo>
                  <a:lnTo>
                    <a:pt x="918222" y="233413"/>
                  </a:lnTo>
                  <a:lnTo>
                    <a:pt x="878014" y="213131"/>
                  </a:lnTo>
                  <a:lnTo>
                    <a:pt x="833780" y="200875"/>
                  </a:lnTo>
                  <a:lnTo>
                    <a:pt x="786612" y="196773"/>
                  </a:lnTo>
                  <a:lnTo>
                    <a:pt x="741857" y="200355"/>
                  </a:lnTo>
                  <a:lnTo>
                    <a:pt x="700252" y="210858"/>
                  </a:lnTo>
                  <a:lnTo>
                    <a:pt x="662381" y="227952"/>
                  </a:lnTo>
                  <a:lnTo>
                    <a:pt x="628777" y="251256"/>
                  </a:lnTo>
                  <a:lnTo>
                    <a:pt x="600036" y="280441"/>
                  </a:lnTo>
                  <a:lnTo>
                    <a:pt x="576694" y="315150"/>
                  </a:lnTo>
                  <a:lnTo>
                    <a:pt x="559320" y="355028"/>
                  </a:lnTo>
                  <a:lnTo>
                    <a:pt x="548487" y="399719"/>
                  </a:lnTo>
                  <a:lnTo>
                    <a:pt x="544753" y="448881"/>
                  </a:lnTo>
                  <a:lnTo>
                    <a:pt x="548525" y="498005"/>
                  </a:lnTo>
                  <a:lnTo>
                    <a:pt x="559447" y="542620"/>
                  </a:lnTo>
                  <a:lnTo>
                    <a:pt x="576973" y="582383"/>
                  </a:lnTo>
                  <a:lnTo>
                    <a:pt x="600544" y="616953"/>
                  </a:lnTo>
                  <a:lnTo>
                    <a:pt x="629577" y="645998"/>
                  </a:lnTo>
                  <a:lnTo>
                    <a:pt x="663524" y="669175"/>
                  </a:lnTo>
                  <a:lnTo>
                    <a:pt x="701814" y="686142"/>
                  </a:lnTo>
                  <a:lnTo>
                    <a:pt x="743877" y="696569"/>
                  </a:lnTo>
                  <a:lnTo>
                    <a:pt x="789178" y="700125"/>
                  </a:lnTo>
                  <a:lnTo>
                    <a:pt x="841095" y="695426"/>
                  </a:lnTo>
                  <a:lnTo>
                    <a:pt x="888593" y="681647"/>
                  </a:lnTo>
                  <a:lnTo>
                    <a:pt x="930821" y="659206"/>
                  </a:lnTo>
                  <a:lnTo>
                    <a:pt x="966927" y="628586"/>
                  </a:lnTo>
                  <a:lnTo>
                    <a:pt x="996061" y="590232"/>
                  </a:lnTo>
                  <a:lnTo>
                    <a:pt x="1017346" y="544576"/>
                  </a:lnTo>
                  <a:close/>
                </a:path>
                <a:path w="4199255" h="700405">
                  <a:moveTo>
                    <a:pt x="1536166" y="445452"/>
                  </a:moveTo>
                  <a:lnTo>
                    <a:pt x="1532623" y="402729"/>
                  </a:lnTo>
                  <a:lnTo>
                    <a:pt x="1516418" y="330885"/>
                  </a:lnTo>
                  <a:lnTo>
                    <a:pt x="1493850" y="287896"/>
                  </a:lnTo>
                  <a:lnTo>
                    <a:pt x="1490459" y="283933"/>
                  </a:lnTo>
                  <a:lnTo>
                    <a:pt x="1464703" y="253809"/>
                  </a:lnTo>
                  <a:lnTo>
                    <a:pt x="1433626" y="230555"/>
                  </a:lnTo>
                  <a:lnTo>
                    <a:pt x="1433626" y="402729"/>
                  </a:lnTo>
                  <a:lnTo>
                    <a:pt x="1181506" y="402729"/>
                  </a:lnTo>
                  <a:lnTo>
                    <a:pt x="1196733" y="354596"/>
                  </a:lnTo>
                  <a:lnTo>
                    <a:pt x="1223810" y="317055"/>
                  </a:lnTo>
                  <a:lnTo>
                    <a:pt x="1261795" y="292646"/>
                  </a:lnTo>
                  <a:lnTo>
                    <a:pt x="1309700" y="283933"/>
                  </a:lnTo>
                  <a:lnTo>
                    <a:pt x="1352981" y="290360"/>
                  </a:lnTo>
                  <a:lnTo>
                    <a:pt x="1391208" y="310959"/>
                  </a:lnTo>
                  <a:lnTo>
                    <a:pt x="1419669" y="347751"/>
                  </a:lnTo>
                  <a:lnTo>
                    <a:pt x="1433626" y="402729"/>
                  </a:lnTo>
                  <a:lnTo>
                    <a:pt x="1433626" y="230555"/>
                  </a:lnTo>
                  <a:lnTo>
                    <a:pt x="1430388" y="228130"/>
                  </a:lnTo>
                  <a:lnTo>
                    <a:pt x="1392313" y="210388"/>
                  </a:lnTo>
                  <a:lnTo>
                    <a:pt x="1351902" y="200088"/>
                  </a:lnTo>
                  <a:lnTo>
                    <a:pt x="1310551" y="196761"/>
                  </a:lnTo>
                  <a:lnTo>
                    <a:pt x="1260640" y="201637"/>
                  </a:lnTo>
                  <a:lnTo>
                    <a:pt x="1215161" y="215734"/>
                  </a:lnTo>
                  <a:lnTo>
                    <a:pt x="1174813" y="238277"/>
                  </a:lnTo>
                  <a:lnTo>
                    <a:pt x="1140269" y="268452"/>
                  </a:lnTo>
                  <a:lnTo>
                    <a:pt x="1112227" y="305473"/>
                  </a:lnTo>
                  <a:lnTo>
                    <a:pt x="1091349" y="348551"/>
                  </a:lnTo>
                  <a:lnTo>
                    <a:pt x="1078318" y="396900"/>
                  </a:lnTo>
                  <a:lnTo>
                    <a:pt x="1073823" y="449732"/>
                  </a:lnTo>
                  <a:lnTo>
                    <a:pt x="1077595" y="498157"/>
                  </a:lnTo>
                  <a:lnTo>
                    <a:pt x="1088517" y="542340"/>
                  </a:lnTo>
                  <a:lnTo>
                    <a:pt x="1106017" y="581875"/>
                  </a:lnTo>
                  <a:lnTo>
                    <a:pt x="1129538" y="616407"/>
                  </a:lnTo>
                  <a:lnTo>
                    <a:pt x="1158506" y="645515"/>
                  </a:lnTo>
                  <a:lnTo>
                    <a:pt x="1192339" y="668832"/>
                  </a:lnTo>
                  <a:lnTo>
                    <a:pt x="1230477" y="685965"/>
                  </a:lnTo>
                  <a:lnTo>
                    <a:pt x="1272349" y="696518"/>
                  </a:lnTo>
                  <a:lnTo>
                    <a:pt x="1317396" y="700125"/>
                  </a:lnTo>
                  <a:lnTo>
                    <a:pt x="1366634" y="695807"/>
                  </a:lnTo>
                  <a:lnTo>
                    <a:pt x="1411439" y="683387"/>
                  </a:lnTo>
                  <a:lnTo>
                    <a:pt x="1451203" y="663702"/>
                  </a:lnTo>
                  <a:lnTo>
                    <a:pt x="1485379" y="637552"/>
                  </a:lnTo>
                  <a:lnTo>
                    <a:pt x="1513370" y="605764"/>
                  </a:lnTo>
                  <a:lnTo>
                    <a:pt x="1534617" y="569175"/>
                  </a:lnTo>
                  <a:lnTo>
                    <a:pt x="1534883" y="568528"/>
                  </a:lnTo>
                  <a:lnTo>
                    <a:pt x="1535023" y="568210"/>
                  </a:lnTo>
                  <a:lnTo>
                    <a:pt x="1437538" y="535089"/>
                  </a:lnTo>
                  <a:lnTo>
                    <a:pt x="1416062" y="566051"/>
                  </a:lnTo>
                  <a:lnTo>
                    <a:pt x="1388376" y="589495"/>
                  </a:lnTo>
                  <a:lnTo>
                    <a:pt x="1355229" y="604342"/>
                  </a:lnTo>
                  <a:lnTo>
                    <a:pt x="1317396" y="609536"/>
                  </a:lnTo>
                  <a:lnTo>
                    <a:pt x="1274914" y="603707"/>
                  </a:lnTo>
                  <a:lnTo>
                    <a:pt x="1237856" y="586676"/>
                  </a:lnTo>
                  <a:lnTo>
                    <a:pt x="1207922" y="559142"/>
                  </a:lnTo>
                  <a:lnTo>
                    <a:pt x="1186865" y="521804"/>
                  </a:lnTo>
                  <a:lnTo>
                    <a:pt x="1176375" y="475373"/>
                  </a:lnTo>
                  <a:lnTo>
                    <a:pt x="1536166" y="475373"/>
                  </a:lnTo>
                  <a:lnTo>
                    <a:pt x="1536166" y="445452"/>
                  </a:lnTo>
                  <a:close/>
                </a:path>
                <a:path w="4199255" h="700405">
                  <a:moveTo>
                    <a:pt x="1934476" y="217906"/>
                  </a:moveTo>
                  <a:lnTo>
                    <a:pt x="1921954" y="213690"/>
                  </a:lnTo>
                  <a:lnTo>
                    <a:pt x="1909914" y="211086"/>
                  </a:lnTo>
                  <a:lnTo>
                    <a:pt x="1898192" y="209753"/>
                  </a:lnTo>
                  <a:lnTo>
                    <a:pt x="1886623" y="209384"/>
                  </a:lnTo>
                  <a:lnTo>
                    <a:pt x="1840331" y="216738"/>
                  </a:lnTo>
                  <a:lnTo>
                    <a:pt x="1800847" y="236829"/>
                  </a:lnTo>
                  <a:lnTo>
                    <a:pt x="1769211" y="266700"/>
                  </a:lnTo>
                  <a:lnTo>
                    <a:pt x="1746465" y="303390"/>
                  </a:lnTo>
                  <a:lnTo>
                    <a:pt x="1743049" y="303390"/>
                  </a:lnTo>
                  <a:lnTo>
                    <a:pt x="1743049" y="223037"/>
                  </a:lnTo>
                  <a:lnTo>
                    <a:pt x="1643913" y="223037"/>
                  </a:lnTo>
                  <a:lnTo>
                    <a:pt x="1643913" y="698207"/>
                  </a:lnTo>
                  <a:lnTo>
                    <a:pt x="1744776" y="698207"/>
                  </a:lnTo>
                  <a:lnTo>
                    <a:pt x="1744776" y="500799"/>
                  </a:lnTo>
                  <a:lnTo>
                    <a:pt x="1747050" y="460502"/>
                  </a:lnTo>
                  <a:lnTo>
                    <a:pt x="1754962" y="419709"/>
                  </a:lnTo>
                  <a:lnTo>
                    <a:pt x="1770202" y="381901"/>
                  </a:lnTo>
                  <a:lnTo>
                    <a:pt x="1794395" y="350583"/>
                  </a:lnTo>
                  <a:lnTo>
                    <a:pt x="1829244" y="329222"/>
                  </a:lnTo>
                  <a:lnTo>
                    <a:pt x="1876386" y="321335"/>
                  </a:lnTo>
                  <a:lnTo>
                    <a:pt x="1889417" y="321843"/>
                  </a:lnTo>
                  <a:lnTo>
                    <a:pt x="1904466" y="323469"/>
                  </a:lnTo>
                  <a:lnTo>
                    <a:pt x="1919986" y="326377"/>
                  </a:lnTo>
                  <a:lnTo>
                    <a:pt x="1934476" y="330720"/>
                  </a:lnTo>
                  <a:lnTo>
                    <a:pt x="1934476" y="217906"/>
                  </a:lnTo>
                  <a:close/>
                </a:path>
                <a:path w="4199255" h="700405">
                  <a:moveTo>
                    <a:pt x="2432761" y="445452"/>
                  </a:moveTo>
                  <a:lnTo>
                    <a:pt x="2429205" y="402729"/>
                  </a:lnTo>
                  <a:lnTo>
                    <a:pt x="2427592" y="383247"/>
                  </a:lnTo>
                  <a:lnTo>
                    <a:pt x="2413012" y="330885"/>
                  </a:lnTo>
                  <a:lnTo>
                    <a:pt x="2390444" y="287896"/>
                  </a:lnTo>
                  <a:lnTo>
                    <a:pt x="2387054" y="283933"/>
                  </a:lnTo>
                  <a:lnTo>
                    <a:pt x="2361298" y="253809"/>
                  </a:lnTo>
                  <a:lnTo>
                    <a:pt x="2330221" y="230555"/>
                  </a:lnTo>
                  <a:lnTo>
                    <a:pt x="2330221" y="402729"/>
                  </a:lnTo>
                  <a:lnTo>
                    <a:pt x="2078088" y="402729"/>
                  </a:lnTo>
                  <a:lnTo>
                    <a:pt x="2093315" y="354596"/>
                  </a:lnTo>
                  <a:lnTo>
                    <a:pt x="2120404" y="317055"/>
                  </a:lnTo>
                  <a:lnTo>
                    <a:pt x="2158377" y="292646"/>
                  </a:lnTo>
                  <a:lnTo>
                    <a:pt x="2206282" y="283933"/>
                  </a:lnTo>
                  <a:lnTo>
                    <a:pt x="2249563" y="290360"/>
                  </a:lnTo>
                  <a:lnTo>
                    <a:pt x="2287803" y="310959"/>
                  </a:lnTo>
                  <a:lnTo>
                    <a:pt x="2316264" y="347751"/>
                  </a:lnTo>
                  <a:lnTo>
                    <a:pt x="2330221" y="402729"/>
                  </a:lnTo>
                  <a:lnTo>
                    <a:pt x="2330221" y="230555"/>
                  </a:lnTo>
                  <a:lnTo>
                    <a:pt x="2326983" y="228130"/>
                  </a:lnTo>
                  <a:lnTo>
                    <a:pt x="2288908" y="210388"/>
                  </a:lnTo>
                  <a:lnTo>
                    <a:pt x="2248497" y="200088"/>
                  </a:lnTo>
                  <a:lnTo>
                    <a:pt x="2207145" y="196761"/>
                  </a:lnTo>
                  <a:lnTo>
                    <a:pt x="2157222" y="201637"/>
                  </a:lnTo>
                  <a:lnTo>
                    <a:pt x="2111743" y="215734"/>
                  </a:lnTo>
                  <a:lnTo>
                    <a:pt x="2071395" y="238277"/>
                  </a:lnTo>
                  <a:lnTo>
                    <a:pt x="2036864" y="268452"/>
                  </a:lnTo>
                  <a:lnTo>
                    <a:pt x="2008809" y="305473"/>
                  </a:lnTo>
                  <a:lnTo>
                    <a:pt x="1987931" y="348551"/>
                  </a:lnTo>
                  <a:lnTo>
                    <a:pt x="1974913" y="396900"/>
                  </a:lnTo>
                  <a:lnTo>
                    <a:pt x="1970417" y="449732"/>
                  </a:lnTo>
                  <a:lnTo>
                    <a:pt x="1974189" y="498157"/>
                  </a:lnTo>
                  <a:lnTo>
                    <a:pt x="1985098" y="542340"/>
                  </a:lnTo>
                  <a:lnTo>
                    <a:pt x="2002612" y="581875"/>
                  </a:lnTo>
                  <a:lnTo>
                    <a:pt x="2026132" y="616407"/>
                  </a:lnTo>
                  <a:lnTo>
                    <a:pt x="2055088" y="645515"/>
                  </a:lnTo>
                  <a:lnTo>
                    <a:pt x="2088921" y="668832"/>
                  </a:lnTo>
                  <a:lnTo>
                    <a:pt x="2127072" y="685965"/>
                  </a:lnTo>
                  <a:lnTo>
                    <a:pt x="2168944" y="696518"/>
                  </a:lnTo>
                  <a:lnTo>
                    <a:pt x="2213978" y="700125"/>
                  </a:lnTo>
                  <a:lnTo>
                    <a:pt x="2263229" y="695807"/>
                  </a:lnTo>
                  <a:lnTo>
                    <a:pt x="2308021" y="683387"/>
                  </a:lnTo>
                  <a:lnTo>
                    <a:pt x="2347798" y="663702"/>
                  </a:lnTo>
                  <a:lnTo>
                    <a:pt x="2381961" y="637552"/>
                  </a:lnTo>
                  <a:lnTo>
                    <a:pt x="2409964" y="605764"/>
                  </a:lnTo>
                  <a:lnTo>
                    <a:pt x="2431211" y="569175"/>
                  </a:lnTo>
                  <a:lnTo>
                    <a:pt x="2431465" y="568528"/>
                  </a:lnTo>
                  <a:lnTo>
                    <a:pt x="2431618" y="568210"/>
                  </a:lnTo>
                  <a:lnTo>
                    <a:pt x="2334120" y="535089"/>
                  </a:lnTo>
                  <a:lnTo>
                    <a:pt x="2312657" y="566051"/>
                  </a:lnTo>
                  <a:lnTo>
                    <a:pt x="2284958" y="589495"/>
                  </a:lnTo>
                  <a:lnTo>
                    <a:pt x="2251824" y="604342"/>
                  </a:lnTo>
                  <a:lnTo>
                    <a:pt x="2213978" y="609536"/>
                  </a:lnTo>
                  <a:lnTo>
                    <a:pt x="2171496" y="603707"/>
                  </a:lnTo>
                  <a:lnTo>
                    <a:pt x="2134438" y="586676"/>
                  </a:lnTo>
                  <a:lnTo>
                    <a:pt x="2104517" y="559142"/>
                  </a:lnTo>
                  <a:lnTo>
                    <a:pt x="2083447" y="521804"/>
                  </a:lnTo>
                  <a:lnTo>
                    <a:pt x="2072970" y="475373"/>
                  </a:lnTo>
                  <a:lnTo>
                    <a:pt x="2432761" y="475373"/>
                  </a:lnTo>
                  <a:lnTo>
                    <a:pt x="2432761" y="445452"/>
                  </a:lnTo>
                  <a:close/>
                </a:path>
                <a:path w="4199255" h="700405">
                  <a:moveTo>
                    <a:pt x="2884068" y="548868"/>
                  </a:moveTo>
                  <a:lnTo>
                    <a:pt x="2874886" y="499465"/>
                  </a:lnTo>
                  <a:lnTo>
                    <a:pt x="2851277" y="464223"/>
                  </a:lnTo>
                  <a:lnTo>
                    <a:pt x="2819082" y="440258"/>
                  </a:lnTo>
                  <a:lnTo>
                    <a:pt x="2784195" y="424713"/>
                  </a:lnTo>
                  <a:lnTo>
                    <a:pt x="2713139" y="403580"/>
                  </a:lnTo>
                  <a:lnTo>
                    <a:pt x="2681909" y="393954"/>
                  </a:lnTo>
                  <a:lnTo>
                    <a:pt x="2652357" y="380403"/>
                  </a:lnTo>
                  <a:lnTo>
                    <a:pt x="2630347" y="360921"/>
                  </a:lnTo>
                  <a:lnTo>
                    <a:pt x="2621711" y="333502"/>
                  </a:lnTo>
                  <a:lnTo>
                    <a:pt x="2626715" y="311391"/>
                  </a:lnTo>
                  <a:lnTo>
                    <a:pt x="2640609" y="294411"/>
                  </a:lnTo>
                  <a:lnTo>
                    <a:pt x="2661716" y="283514"/>
                  </a:lnTo>
                  <a:lnTo>
                    <a:pt x="2688361" y="279666"/>
                  </a:lnTo>
                  <a:lnTo>
                    <a:pt x="2720492" y="285153"/>
                  </a:lnTo>
                  <a:lnTo>
                    <a:pt x="2745511" y="299859"/>
                  </a:lnTo>
                  <a:lnTo>
                    <a:pt x="2763939" y="321119"/>
                  </a:lnTo>
                  <a:lnTo>
                    <a:pt x="2776372" y="346329"/>
                  </a:lnTo>
                  <a:lnTo>
                    <a:pt x="2870390" y="315556"/>
                  </a:lnTo>
                  <a:lnTo>
                    <a:pt x="2852801" y="277279"/>
                  </a:lnTo>
                  <a:lnTo>
                    <a:pt x="2825292" y="244576"/>
                  </a:lnTo>
                  <a:lnTo>
                    <a:pt x="2788793" y="219138"/>
                  </a:lnTo>
                  <a:lnTo>
                    <a:pt x="2744254" y="202641"/>
                  </a:lnTo>
                  <a:lnTo>
                    <a:pt x="2692628" y="196773"/>
                  </a:lnTo>
                  <a:lnTo>
                    <a:pt x="2647200" y="201117"/>
                  </a:lnTo>
                  <a:lnTo>
                    <a:pt x="2606103" y="213893"/>
                  </a:lnTo>
                  <a:lnTo>
                    <a:pt x="2571064" y="234683"/>
                  </a:lnTo>
                  <a:lnTo>
                    <a:pt x="2543873" y="263105"/>
                  </a:lnTo>
                  <a:lnTo>
                    <a:pt x="2526258" y="298742"/>
                  </a:lnTo>
                  <a:lnTo>
                    <a:pt x="2520010" y="341198"/>
                  </a:lnTo>
                  <a:lnTo>
                    <a:pt x="2528354" y="388670"/>
                  </a:lnTo>
                  <a:lnTo>
                    <a:pt x="2550274" y="424624"/>
                  </a:lnTo>
                  <a:lnTo>
                    <a:pt x="2581110" y="450850"/>
                  </a:lnTo>
                  <a:lnTo>
                    <a:pt x="2616162" y="469150"/>
                  </a:lnTo>
                  <a:lnTo>
                    <a:pt x="2700324" y="495884"/>
                  </a:lnTo>
                  <a:lnTo>
                    <a:pt x="2727706" y="504799"/>
                  </a:lnTo>
                  <a:lnTo>
                    <a:pt x="2752128" y="516610"/>
                  </a:lnTo>
                  <a:lnTo>
                    <a:pt x="2769654" y="533857"/>
                  </a:lnTo>
                  <a:lnTo>
                    <a:pt x="2776372" y="559130"/>
                  </a:lnTo>
                  <a:lnTo>
                    <a:pt x="2769070" y="586460"/>
                  </a:lnTo>
                  <a:lnTo>
                    <a:pt x="2750642" y="604088"/>
                  </a:lnTo>
                  <a:lnTo>
                    <a:pt x="2726271" y="613562"/>
                  </a:lnTo>
                  <a:lnTo>
                    <a:pt x="2701188" y="616381"/>
                  </a:lnTo>
                  <a:lnTo>
                    <a:pt x="2669908" y="611644"/>
                  </a:lnTo>
                  <a:lnTo>
                    <a:pt x="2639441" y="597039"/>
                  </a:lnTo>
                  <a:lnTo>
                    <a:pt x="2612491" y="572033"/>
                  </a:lnTo>
                  <a:lnTo>
                    <a:pt x="2591790" y="536041"/>
                  </a:lnTo>
                  <a:lnTo>
                    <a:pt x="2497772" y="566813"/>
                  </a:lnTo>
                  <a:lnTo>
                    <a:pt x="2513977" y="604278"/>
                  </a:lnTo>
                  <a:lnTo>
                    <a:pt x="2538196" y="636701"/>
                  </a:lnTo>
                  <a:lnTo>
                    <a:pt x="2569781" y="663270"/>
                  </a:lnTo>
                  <a:lnTo>
                    <a:pt x="2608059" y="683221"/>
                  </a:lnTo>
                  <a:lnTo>
                    <a:pt x="2652369" y="695769"/>
                  </a:lnTo>
                  <a:lnTo>
                    <a:pt x="2702039" y="700125"/>
                  </a:lnTo>
                  <a:lnTo>
                    <a:pt x="2753791" y="695147"/>
                  </a:lnTo>
                  <a:lnTo>
                    <a:pt x="2798229" y="680847"/>
                  </a:lnTo>
                  <a:lnTo>
                    <a:pt x="2834386" y="658139"/>
                  </a:lnTo>
                  <a:lnTo>
                    <a:pt x="2861373" y="627964"/>
                  </a:lnTo>
                  <a:lnTo>
                    <a:pt x="2878239" y="591223"/>
                  </a:lnTo>
                  <a:lnTo>
                    <a:pt x="2884068" y="548868"/>
                  </a:lnTo>
                  <a:close/>
                </a:path>
                <a:path w="4199255" h="700405">
                  <a:moveTo>
                    <a:pt x="3086671" y="14516"/>
                  </a:moveTo>
                  <a:lnTo>
                    <a:pt x="2985833" y="14516"/>
                  </a:lnTo>
                  <a:lnTo>
                    <a:pt x="2985833" y="698207"/>
                  </a:lnTo>
                  <a:lnTo>
                    <a:pt x="3086671" y="698207"/>
                  </a:lnTo>
                  <a:lnTo>
                    <a:pt x="3086671" y="14516"/>
                  </a:lnTo>
                  <a:close/>
                </a:path>
                <a:path w="4199255" h="700405">
                  <a:moveTo>
                    <a:pt x="3311664" y="223037"/>
                  </a:moveTo>
                  <a:lnTo>
                    <a:pt x="3210826" y="223037"/>
                  </a:lnTo>
                  <a:lnTo>
                    <a:pt x="3210826" y="698207"/>
                  </a:lnTo>
                  <a:lnTo>
                    <a:pt x="3311664" y="698207"/>
                  </a:lnTo>
                  <a:lnTo>
                    <a:pt x="3311664" y="223037"/>
                  </a:lnTo>
                  <a:close/>
                </a:path>
                <a:path w="4199255" h="700405">
                  <a:moveTo>
                    <a:pt x="3327069" y="69215"/>
                  </a:moveTo>
                  <a:lnTo>
                    <a:pt x="3322078" y="44284"/>
                  </a:lnTo>
                  <a:lnTo>
                    <a:pt x="3308362" y="23596"/>
                  </a:lnTo>
                  <a:lnTo>
                    <a:pt x="3287750" y="9486"/>
                  </a:lnTo>
                  <a:lnTo>
                    <a:pt x="3262096" y="4254"/>
                  </a:lnTo>
                  <a:lnTo>
                    <a:pt x="3235464" y="9486"/>
                  </a:lnTo>
                  <a:lnTo>
                    <a:pt x="3214357" y="23596"/>
                  </a:lnTo>
                  <a:lnTo>
                    <a:pt x="3200450" y="44284"/>
                  </a:lnTo>
                  <a:lnTo>
                    <a:pt x="3195434" y="69215"/>
                  </a:lnTo>
                  <a:lnTo>
                    <a:pt x="3200450" y="95631"/>
                  </a:lnTo>
                  <a:lnTo>
                    <a:pt x="3214357" y="117081"/>
                  </a:lnTo>
                  <a:lnTo>
                    <a:pt x="3235464" y="131470"/>
                  </a:lnTo>
                  <a:lnTo>
                    <a:pt x="3262096" y="136740"/>
                  </a:lnTo>
                  <a:lnTo>
                    <a:pt x="3287750" y="131470"/>
                  </a:lnTo>
                  <a:lnTo>
                    <a:pt x="3308362" y="117081"/>
                  </a:lnTo>
                  <a:lnTo>
                    <a:pt x="3322078" y="95631"/>
                  </a:lnTo>
                  <a:lnTo>
                    <a:pt x="3327069" y="69215"/>
                  </a:lnTo>
                  <a:close/>
                </a:path>
                <a:path w="4199255" h="700405">
                  <a:moveTo>
                    <a:pt x="3711638" y="16217"/>
                  </a:moveTo>
                  <a:lnTo>
                    <a:pt x="3691509" y="8636"/>
                  </a:lnTo>
                  <a:lnTo>
                    <a:pt x="3670414" y="3619"/>
                  </a:lnTo>
                  <a:lnTo>
                    <a:pt x="3649637" y="850"/>
                  </a:lnTo>
                  <a:lnTo>
                    <a:pt x="3630472" y="0"/>
                  </a:lnTo>
                  <a:lnTo>
                    <a:pt x="3586848" y="4648"/>
                  </a:lnTo>
                  <a:lnTo>
                    <a:pt x="3549624" y="18669"/>
                  </a:lnTo>
                  <a:lnTo>
                    <a:pt x="3519474" y="42189"/>
                  </a:lnTo>
                  <a:lnTo>
                    <a:pt x="3497084" y="75336"/>
                  </a:lnTo>
                  <a:lnTo>
                    <a:pt x="3483152" y="118198"/>
                  </a:lnTo>
                  <a:lnTo>
                    <a:pt x="3478352" y="170916"/>
                  </a:lnTo>
                  <a:lnTo>
                    <a:pt x="3478352" y="223050"/>
                  </a:lnTo>
                  <a:lnTo>
                    <a:pt x="3407397" y="223050"/>
                  </a:lnTo>
                  <a:lnTo>
                    <a:pt x="3407397" y="314490"/>
                  </a:lnTo>
                  <a:lnTo>
                    <a:pt x="3478352" y="314490"/>
                  </a:lnTo>
                  <a:lnTo>
                    <a:pt x="3478352" y="698207"/>
                  </a:lnTo>
                  <a:lnTo>
                    <a:pt x="3580041" y="698207"/>
                  </a:lnTo>
                  <a:lnTo>
                    <a:pt x="3580041" y="314490"/>
                  </a:lnTo>
                  <a:lnTo>
                    <a:pt x="3697986" y="314490"/>
                  </a:lnTo>
                  <a:lnTo>
                    <a:pt x="3697986" y="223050"/>
                  </a:lnTo>
                  <a:lnTo>
                    <a:pt x="3580041" y="223050"/>
                  </a:lnTo>
                  <a:lnTo>
                    <a:pt x="3580041" y="181165"/>
                  </a:lnTo>
                  <a:lnTo>
                    <a:pt x="3581146" y="147739"/>
                  </a:lnTo>
                  <a:lnTo>
                    <a:pt x="3588905" y="117500"/>
                  </a:lnTo>
                  <a:lnTo>
                    <a:pt x="3609962" y="95605"/>
                  </a:lnTo>
                  <a:lnTo>
                    <a:pt x="3650970" y="87160"/>
                  </a:lnTo>
                  <a:lnTo>
                    <a:pt x="3664889" y="87884"/>
                  </a:lnTo>
                  <a:lnTo>
                    <a:pt x="3679063" y="90360"/>
                  </a:lnTo>
                  <a:lnTo>
                    <a:pt x="3694353" y="95097"/>
                  </a:lnTo>
                  <a:lnTo>
                    <a:pt x="3711638" y="102539"/>
                  </a:lnTo>
                  <a:lnTo>
                    <a:pt x="3711638" y="16217"/>
                  </a:lnTo>
                  <a:close/>
                </a:path>
                <a:path w="4199255" h="700405">
                  <a:moveTo>
                    <a:pt x="4198823" y="445452"/>
                  </a:moveTo>
                  <a:lnTo>
                    <a:pt x="4195280" y="402729"/>
                  </a:lnTo>
                  <a:lnTo>
                    <a:pt x="4179074" y="330885"/>
                  </a:lnTo>
                  <a:lnTo>
                    <a:pt x="4156506" y="287896"/>
                  </a:lnTo>
                  <a:lnTo>
                    <a:pt x="4153116" y="283933"/>
                  </a:lnTo>
                  <a:lnTo>
                    <a:pt x="4127360" y="253809"/>
                  </a:lnTo>
                  <a:lnTo>
                    <a:pt x="4096283" y="230555"/>
                  </a:lnTo>
                  <a:lnTo>
                    <a:pt x="4096283" y="402729"/>
                  </a:lnTo>
                  <a:lnTo>
                    <a:pt x="3844163" y="402729"/>
                  </a:lnTo>
                  <a:lnTo>
                    <a:pt x="3859390" y="354596"/>
                  </a:lnTo>
                  <a:lnTo>
                    <a:pt x="3886466" y="317055"/>
                  </a:lnTo>
                  <a:lnTo>
                    <a:pt x="3924452" y="292646"/>
                  </a:lnTo>
                  <a:lnTo>
                    <a:pt x="3972356" y="283933"/>
                  </a:lnTo>
                  <a:lnTo>
                    <a:pt x="4015638" y="290360"/>
                  </a:lnTo>
                  <a:lnTo>
                    <a:pt x="4053865" y="310959"/>
                  </a:lnTo>
                  <a:lnTo>
                    <a:pt x="4082326" y="347751"/>
                  </a:lnTo>
                  <a:lnTo>
                    <a:pt x="4096283" y="402729"/>
                  </a:lnTo>
                  <a:lnTo>
                    <a:pt x="4096283" y="230555"/>
                  </a:lnTo>
                  <a:lnTo>
                    <a:pt x="4093045" y="228130"/>
                  </a:lnTo>
                  <a:lnTo>
                    <a:pt x="4054970" y="210388"/>
                  </a:lnTo>
                  <a:lnTo>
                    <a:pt x="4014559" y="200088"/>
                  </a:lnTo>
                  <a:lnTo>
                    <a:pt x="3973207" y="196761"/>
                  </a:lnTo>
                  <a:lnTo>
                    <a:pt x="3923296" y="201637"/>
                  </a:lnTo>
                  <a:lnTo>
                    <a:pt x="3877818" y="215734"/>
                  </a:lnTo>
                  <a:lnTo>
                    <a:pt x="3837470" y="238277"/>
                  </a:lnTo>
                  <a:lnTo>
                    <a:pt x="3802926" y="268452"/>
                  </a:lnTo>
                  <a:lnTo>
                    <a:pt x="3774884" y="305473"/>
                  </a:lnTo>
                  <a:lnTo>
                    <a:pt x="3754005" y="348551"/>
                  </a:lnTo>
                  <a:lnTo>
                    <a:pt x="3740975" y="396900"/>
                  </a:lnTo>
                  <a:lnTo>
                    <a:pt x="3736492" y="449732"/>
                  </a:lnTo>
                  <a:lnTo>
                    <a:pt x="3740251" y="498157"/>
                  </a:lnTo>
                  <a:lnTo>
                    <a:pt x="3751173" y="542340"/>
                  </a:lnTo>
                  <a:lnTo>
                    <a:pt x="3768674" y="581875"/>
                  </a:lnTo>
                  <a:lnTo>
                    <a:pt x="3792194" y="616407"/>
                  </a:lnTo>
                  <a:lnTo>
                    <a:pt x="3821163" y="645515"/>
                  </a:lnTo>
                  <a:lnTo>
                    <a:pt x="3854996" y="668832"/>
                  </a:lnTo>
                  <a:lnTo>
                    <a:pt x="3893134" y="685965"/>
                  </a:lnTo>
                  <a:lnTo>
                    <a:pt x="3935006" y="696518"/>
                  </a:lnTo>
                  <a:lnTo>
                    <a:pt x="3980053" y="700125"/>
                  </a:lnTo>
                  <a:lnTo>
                    <a:pt x="4029291" y="695807"/>
                  </a:lnTo>
                  <a:lnTo>
                    <a:pt x="4074096" y="683387"/>
                  </a:lnTo>
                  <a:lnTo>
                    <a:pt x="4113860" y="663702"/>
                  </a:lnTo>
                  <a:lnTo>
                    <a:pt x="4148036" y="637552"/>
                  </a:lnTo>
                  <a:lnTo>
                    <a:pt x="4176026" y="605764"/>
                  </a:lnTo>
                  <a:lnTo>
                    <a:pt x="4197273" y="569175"/>
                  </a:lnTo>
                  <a:lnTo>
                    <a:pt x="4197540" y="568528"/>
                  </a:lnTo>
                  <a:lnTo>
                    <a:pt x="4197693" y="568210"/>
                  </a:lnTo>
                  <a:lnTo>
                    <a:pt x="4100195" y="535089"/>
                  </a:lnTo>
                  <a:lnTo>
                    <a:pt x="4078719" y="566051"/>
                  </a:lnTo>
                  <a:lnTo>
                    <a:pt x="4051033" y="589495"/>
                  </a:lnTo>
                  <a:lnTo>
                    <a:pt x="4017886" y="604342"/>
                  </a:lnTo>
                  <a:lnTo>
                    <a:pt x="3980053" y="609536"/>
                  </a:lnTo>
                  <a:lnTo>
                    <a:pt x="3937571" y="603707"/>
                  </a:lnTo>
                  <a:lnTo>
                    <a:pt x="3900513" y="586676"/>
                  </a:lnTo>
                  <a:lnTo>
                    <a:pt x="3870579" y="559142"/>
                  </a:lnTo>
                  <a:lnTo>
                    <a:pt x="3849522" y="521804"/>
                  </a:lnTo>
                  <a:lnTo>
                    <a:pt x="3839032" y="475373"/>
                  </a:lnTo>
                  <a:lnTo>
                    <a:pt x="4198823" y="475373"/>
                  </a:lnTo>
                  <a:lnTo>
                    <a:pt x="4198823" y="445452"/>
                  </a:lnTo>
                  <a:close/>
                </a:path>
              </a:pathLst>
            </a:custGeom>
            <a:solidFill>
              <a:srgbClr val="FFFFFF"/>
            </a:solidFill>
          </p:spPr>
          <p:txBody>
            <a:bodyPr wrap="square" lIns="0" tIns="0" rIns="0" bIns="0" rtlCol="0"/>
            <a:lstStyle/>
            <a:p>
              <a:endParaRPr lang="en-US" dirty="0"/>
            </a:p>
          </p:txBody>
        </p:sp>
        <p:pic>
          <p:nvPicPr>
            <p:cNvPr id="18" name="object 5">
              <a:extLst>
                <a:ext uri="{FF2B5EF4-FFF2-40B4-BE49-F238E27FC236}">
                  <a16:creationId xmlns:a16="http://schemas.microsoft.com/office/drawing/2014/main" id="{61B68D68-BF5B-9913-E41C-C71E13C59A5F}"/>
                </a:ext>
              </a:extLst>
            </p:cNvPr>
            <p:cNvPicPr/>
            <p:nvPr/>
          </p:nvPicPr>
          <p:blipFill>
            <a:blip r:embed="rId6" cstate="print"/>
            <a:stretch>
              <a:fillRect/>
            </a:stretch>
          </p:blipFill>
          <p:spPr>
            <a:xfrm>
              <a:off x="1187091" y="1051352"/>
              <a:ext cx="131619" cy="132467"/>
            </a:xfrm>
            <a:prstGeom prst="rect">
              <a:avLst/>
            </a:prstGeom>
          </p:spPr>
        </p:pic>
      </p:grpSp>
    </p:spTree>
    <p:extLst>
      <p:ext uri="{BB962C8B-B14F-4D97-AF65-F5344CB8AC3E}">
        <p14:creationId xmlns:p14="http://schemas.microsoft.com/office/powerpoint/2010/main" val="38551529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D95DE11-F0EA-1BFD-3E0A-481778D6CF25}"/>
              </a:ext>
            </a:extLst>
          </p:cNvPr>
          <p:cNvGraphicFramePr>
            <a:graphicFrameLocks noChangeAspect="1"/>
          </p:cNvGraphicFramePr>
          <p:nvPr userDrawn="1">
            <p:custDataLst>
              <p:tags r:id="rId1"/>
            </p:custDataLst>
            <p:extLst>
              <p:ext uri="{D42A27DB-BD31-4B8C-83A1-F6EECF244321}">
                <p14:modId xmlns:p14="http://schemas.microsoft.com/office/powerpoint/2010/main" val="1250062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6" name="think-cell data - do not delete" hidden="1">
                        <a:extLst>
                          <a:ext uri="{FF2B5EF4-FFF2-40B4-BE49-F238E27FC236}">
                            <a16:creationId xmlns:a16="http://schemas.microsoft.com/office/drawing/2014/main" id="{ED95DE11-F0EA-1BFD-3E0A-481778D6CF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p:cNvSpPr>
            <a:spLocks noGrp="1"/>
          </p:cNvSpPr>
          <p:nvPr>
            <p:ph type="body" idx="10" hasCustomPrompt="1"/>
          </p:nvPr>
        </p:nvSpPr>
        <p:spPr>
          <a:xfrm>
            <a:off x="457200" y="1472184"/>
            <a:ext cx="54102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6324600" y="1472184"/>
            <a:ext cx="5410198"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983435527"/>
      </p:ext>
    </p:extLst>
  </p:cSld>
  <p:clrMapOvr>
    <a:masterClrMapping/>
  </p:clrMapOvr>
  <p:extLst>
    <p:ext uri="{DCECCB84-F9BA-43D5-87BE-67443E8EF086}">
      <p15:sldGuideLst xmlns:p15="http://schemas.microsoft.com/office/powerpoint/2012/main">
        <p15:guide id="5" orient="horz" pos="926" userDrawn="1">
          <p15:clr>
            <a:srgbClr val="FBAE40"/>
          </p15:clr>
        </p15:guide>
        <p15:guide id="6" pos="3696">
          <p15:clr>
            <a:srgbClr val="FBAE40"/>
          </p15:clr>
        </p15:guide>
        <p15:guide id="7" pos="3984">
          <p15:clr>
            <a:srgbClr val="FBAE40"/>
          </p15:clr>
        </p15:guide>
        <p15:guide id="9" orient="horz" pos="123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ED3BDA6-C6BE-86BF-C268-749C5E568327}"/>
              </a:ext>
            </a:extLst>
          </p:cNvPr>
          <p:cNvGraphicFramePr>
            <a:graphicFrameLocks noChangeAspect="1"/>
          </p:cNvGraphicFramePr>
          <p:nvPr userDrawn="1">
            <p:custDataLst>
              <p:tags r:id="rId1"/>
            </p:custDataLst>
            <p:extLst>
              <p:ext uri="{D42A27DB-BD31-4B8C-83A1-F6EECF244321}">
                <p14:modId xmlns:p14="http://schemas.microsoft.com/office/powerpoint/2010/main" val="2847022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2ED3BDA6-C6BE-86BF-C268-749C5E5683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p:cNvSpPr>
            <a:spLocks noGrp="1"/>
          </p:cNvSpPr>
          <p:nvPr>
            <p:ph type="body" idx="10" hasCustomPrompt="1"/>
          </p:nvPr>
        </p:nvSpPr>
        <p:spPr>
          <a:xfrm>
            <a:off x="457200" y="1472184"/>
            <a:ext cx="5410200" cy="429768"/>
          </a:xfrm>
        </p:spPr>
        <p:txBody>
          <a:bodyPr/>
          <a:lstStyle>
            <a:lvl1pPr marL="0" indent="0">
              <a:spcBef>
                <a:spcPts val="0"/>
              </a:spcBef>
              <a:buFont typeface="Arial" panose="020B0604020202020204" pitchFamily="34" charset="0"/>
              <a:buChar char="​"/>
              <a:defRPr sz="1400" b="1" baseline="0">
                <a:solidFill>
                  <a:schemeClr val="tx1"/>
                </a:solidFill>
                <a:latin typeface="Figtree Medium" pitchFamily="2" charset="0"/>
              </a:defRPr>
            </a:lvl1pPr>
            <a:lvl2pPr marL="285750" indent="-285750">
              <a:spcBef>
                <a:spcPts val="0"/>
              </a:spcBef>
              <a:buFont typeface="Arial" panose="020B0604020202020204" pitchFamily="34" charset="0"/>
              <a:buChar char="​"/>
              <a:defRPr sz="1400" kern="0" dirty="0">
                <a:solidFill>
                  <a:schemeClr val="tx1"/>
                </a:solidFill>
                <a:latin typeface="Figtree Medium" pitchFamily="2" charset="0"/>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marL="0" lvl="1" indent="0" algn="l" defTabSz="914370" rtl="0" eaLnBrk="1" latinLnBrk="0" hangingPunct="1">
              <a:spcBef>
                <a:spcPts val="0"/>
              </a:spcBef>
              <a:buFont typeface="Arial" panose="020B0604020202020204" pitchFamily="34" charset="0"/>
              <a:buChar char="​"/>
            </a:pPr>
            <a:r>
              <a:t>Subheading 14 pt</a:t>
            </a:r>
          </a:p>
        </p:txBody>
      </p:sp>
      <p:sp>
        <p:nvSpPr>
          <p:cNvPr id="4" name="Content Left"/>
          <p:cNvSpPr>
            <a:spLocks noGrp="1"/>
          </p:cNvSpPr>
          <p:nvPr>
            <p:ph sz="half" idx="11"/>
          </p:nvPr>
        </p:nvSpPr>
        <p:spPr>
          <a:xfrm>
            <a:off x="457200" y="1956816"/>
            <a:ext cx="54102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24600" y="1472184"/>
            <a:ext cx="5410200" cy="429768"/>
          </a:xfrm>
        </p:spPr>
        <p:txBody>
          <a:bodyPr/>
          <a:lstStyle>
            <a:lvl1pPr marL="0" indent="0">
              <a:spcBef>
                <a:spcPts val="0"/>
              </a:spcBef>
              <a:buFont typeface="Arial" panose="020B0604020202020204" pitchFamily="34" charset="0"/>
              <a:buChar char="​"/>
              <a:defRPr sz="1400" b="1" baseline="0">
                <a:solidFill>
                  <a:schemeClr val="tx1"/>
                </a:solidFill>
                <a:latin typeface="Figtree Medium" pitchFamily="2" charset="0"/>
              </a:defRPr>
            </a:lvl1pPr>
            <a:lvl2pPr marL="285750" indent="-285750">
              <a:spcBef>
                <a:spcPts val="0"/>
              </a:spcBef>
              <a:buFont typeface="Arial" panose="020B0604020202020204" pitchFamily="34" charset="0"/>
              <a:buChar char="​"/>
              <a:defRPr sz="1400" kern="0" dirty="0">
                <a:solidFill>
                  <a:schemeClr val="tx1"/>
                </a:solidFill>
                <a:latin typeface="Figtree Medium" pitchFamily="2" charset="0"/>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marL="0" lvl="1" indent="0" algn="l" defTabSz="914370" rtl="0" eaLnBrk="1" latinLnBrk="0" hangingPunct="1">
              <a:spcBef>
                <a:spcPts val="0"/>
              </a:spcBef>
              <a:buFont typeface="Arial" panose="020B0604020202020204" pitchFamily="34" charset="0"/>
              <a:buChar char="​"/>
            </a:pPr>
            <a:r>
              <a:t>Subheading 14 pt</a:t>
            </a:r>
          </a:p>
        </p:txBody>
      </p:sp>
      <p:sp>
        <p:nvSpPr>
          <p:cNvPr id="6" name="Content Right"/>
          <p:cNvSpPr>
            <a:spLocks noGrp="1"/>
          </p:cNvSpPr>
          <p:nvPr>
            <p:ph sz="quarter" idx="12"/>
          </p:nvPr>
        </p:nvSpPr>
        <p:spPr>
          <a:xfrm>
            <a:off x="6324600" y="1956816"/>
            <a:ext cx="54102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925981852"/>
      </p:ext>
    </p:extLst>
  </p:cSld>
  <p:clrMapOvr>
    <a:masterClrMapping/>
  </p:clrMapOvr>
  <p:extLst>
    <p:ext uri="{DCECCB84-F9BA-43D5-87BE-67443E8EF086}">
      <p15:sldGuideLst xmlns:p15="http://schemas.microsoft.com/office/powerpoint/2012/main">
        <p15:guide id="5" orient="horz" pos="926" userDrawn="1">
          <p15:clr>
            <a:srgbClr val="FBAE40"/>
          </p15:clr>
        </p15:guide>
        <p15:guide id="6" pos="3696">
          <p15:clr>
            <a:srgbClr val="FBAE40"/>
          </p15:clr>
        </p15:guide>
        <p15:guide id="7" pos="3984">
          <p15:clr>
            <a:srgbClr val="FBAE40"/>
          </p15:clr>
        </p15:guide>
        <p15:guide id="9" orient="horz" pos="123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0CBA141-D345-DE09-CD75-2512875265E5}"/>
              </a:ext>
            </a:extLst>
          </p:cNvPr>
          <p:cNvGraphicFramePr>
            <a:graphicFrameLocks noChangeAspect="1"/>
          </p:cNvGraphicFramePr>
          <p:nvPr userDrawn="1">
            <p:custDataLst>
              <p:tags r:id="rId1"/>
            </p:custDataLst>
            <p:extLst>
              <p:ext uri="{D42A27DB-BD31-4B8C-83A1-F6EECF244321}">
                <p14:modId xmlns:p14="http://schemas.microsoft.com/office/powerpoint/2010/main" val="1017936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50CBA141-D345-DE09-CD75-2512875265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Top"/>
          <p:cNvSpPr>
            <a:spLocks noGrp="1"/>
          </p:cNvSpPr>
          <p:nvPr>
            <p:ph type="body" idx="10" hasCustomPrompt="1"/>
          </p:nvPr>
        </p:nvSpPr>
        <p:spPr>
          <a:xfrm>
            <a:off x="457200" y="1472184"/>
            <a:ext cx="112776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kern="0" dirty="0">
                <a:solidFill>
                  <a:schemeClr val="tx1"/>
                </a:solidFill>
                <a:latin typeface="Figtree Medium" pitchFamily="2" charset="0"/>
                <a:ea typeface="+mn-ea"/>
                <a:cs typeface="+mn-cs"/>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4" name="Content Top"/>
          <p:cNvSpPr>
            <a:spLocks noGrp="1"/>
          </p:cNvSpPr>
          <p:nvPr>
            <p:ph idx="11"/>
          </p:nvPr>
        </p:nvSpPr>
        <p:spPr>
          <a:xfrm>
            <a:off x="457200" y="1956816"/>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112776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285750" indent="-285750">
              <a:spcBef>
                <a:spcPts val="0"/>
              </a:spcBef>
              <a:buFont typeface="Arial" panose="020B0604020202020204" pitchFamily="34" charset="0"/>
              <a:buChar char="​"/>
              <a:defRPr sz="1400" kern="0" dirty="0">
                <a:solidFill>
                  <a:schemeClr val="tx1"/>
                </a:solidFill>
                <a:latin typeface="Figtree Medium" pitchFamily="2" charset="0"/>
                <a:ea typeface="+mn-ea"/>
                <a:cs typeface="+mn-cs"/>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marL="0" lvl="1" indent="0" algn="l" defTabSz="914370" rtl="0" eaLnBrk="1" latinLnBrk="0" hangingPunct="1">
              <a:spcBef>
                <a:spcPts val="0"/>
              </a:spcBef>
              <a:buFont typeface="Arial" panose="020B0604020202020204" pitchFamily="34" charset="0"/>
              <a:buChar char="​"/>
            </a:pPr>
            <a:r>
              <a:t>Subheading 14 pt</a:t>
            </a:r>
          </a:p>
        </p:txBody>
      </p:sp>
      <p:sp>
        <p:nvSpPr>
          <p:cNvPr id="6" name="Content Bottom"/>
          <p:cNvSpPr>
            <a:spLocks noGrp="1"/>
          </p:cNvSpPr>
          <p:nvPr>
            <p:ph idx="12"/>
          </p:nvPr>
        </p:nvSpPr>
        <p:spPr>
          <a:xfrm>
            <a:off x="457200" y="448970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331867508"/>
      </p:ext>
    </p:extLst>
  </p:cSld>
  <p:clrMapOvr>
    <a:masterClrMapping/>
  </p:clrMapOvr>
  <p:extLst>
    <p:ext uri="{DCECCB84-F9BA-43D5-87BE-67443E8EF086}">
      <p15:sldGuideLst xmlns:p15="http://schemas.microsoft.com/office/powerpoint/2012/main">
        <p15:guide id="3" orient="horz" pos="2523">
          <p15:clr>
            <a:srgbClr val="FBAE40"/>
          </p15:clr>
        </p15:guide>
        <p15:guide id="5" orient="horz" pos="926" userDrawn="1">
          <p15:clr>
            <a:srgbClr val="FBAE40"/>
          </p15:clr>
        </p15:guide>
        <p15:guide id="6" orient="horz" pos="2832">
          <p15:clr>
            <a:srgbClr val="FBAE40"/>
          </p15:clr>
        </p15:guide>
        <p15:guide id="8" orient="horz" pos="123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5DB1726-D6AC-D5C3-068C-DB33A67884E5}"/>
              </a:ext>
            </a:extLst>
          </p:cNvPr>
          <p:cNvGraphicFramePr>
            <a:graphicFrameLocks noChangeAspect="1"/>
          </p:cNvGraphicFramePr>
          <p:nvPr userDrawn="1">
            <p:custDataLst>
              <p:tags r:id="rId1"/>
            </p:custDataLst>
            <p:extLst>
              <p:ext uri="{D42A27DB-BD31-4B8C-83A1-F6EECF244321}">
                <p14:modId xmlns:p14="http://schemas.microsoft.com/office/powerpoint/2010/main" val="3202860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A5DB1726-D6AC-D5C3-068C-DB33A67884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p:cNvSpPr>
            <a:spLocks noGrp="1"/>
          </p:cNvSpPr>
          <p:nvPr>
            <p:ph type="body" idx="10" hasCustomPrompt="1"/>
          </p:nvPr>
        </p:nvSpPr>
        <p:spPr>
          <a:xfrm>
            <a:off x="457200"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956816"/>
            <a:ext cx="34544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368799" y="1472184"/>
            <a:ext cx="73660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368799" y="1956816"/>
            <a:ext cx="73660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80920888"/>
      </p:ext>
    </p:extLst>
  </p:cSld>
  <p:clrMapOvr>
    <a:masterClrMapping/>
  </p:clrMapOvr>
  <p:extLst>
    <p:ext uri="{DCECCB84-F9BA-43D5-87BE-67443E8EF086}">
      <p15:sldGuideLst xmlns:p15="http://schemas.microsoft.com/office/powerpoint/2012/main">
        <p15:guide id="5" orient="horz" pos="926" userDrawn="1">
          <p15:clr>
            <a:srgbClr val="FBAE40"/>
          </p15:clr>
        </p15:guide>
        <p15:guide id="6" pos="2464">
          <p15:clr>
            <a:srgbClr val="FBAE40"/>
          </p15:clr>
        </p15:guide>
        <p15:guide id="7" pos="2752">
          <p15:clr>
            <a:srgbClr val="FBAE40"/>
          </p15:clr>
        </p15:guide>
        <p15:guide id="9" orient="horz" pos="123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1B44C4F-0422-E351-7EAD-4367B78A6816}"/>
              </a:ext>
            </a:extLst>
          </p:cNvPr>
          <p:cNvGraphicFramePr>
            <a:graphicFrameLocks noChangeAspect="1"/>
          </p:cNvGraphicFramePr>
          <p:nvPr userDrawn="1">
            <p:custDataLst>
              <p:tags r:id="rId1"/>
            </p:custDataLst>
            <p:extLst>
              <p:ext uri="{D42A27DB-BD31-4B8C-83A1-F6EECF244321}">
                <p14:modId xmlns:p14="http://schemas.microsoft.com/office/powerpoint/2010/main" val="1880204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31B44C4F-0422-E351-7EAD-4367B78A68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p:cNvSpPr>
            <a:spLocks noGrp="1"/>
          </p:cNvSpPr>
          <p:nvPr>
            <p:ph type="body" idx="10" hasCustomPrompt="1"/>
          </p:nvPr>
        </p:nvSpPr>
        <p:spPr>
          <a:xfrm>
            <a:off x="457199" y="1472184"/>
            <a:ext cx="73660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199" y="1956816"/>
            <a:ext cx="73660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280400"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280400" y="1956816"/>
            <a:ext cx="34544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7839741"/>
      </p:ext>
    </p:extLst>
  </p:cSld>
  <p:clrMapOvr>
    <a:masterClrMapping/>
  </p:clrMapOvr>
  <p:extLst>
    <p:ext uri="{DCECCB84-F9BA-43D5-87BE-67443E8EF086}">
      <p15:sldGuideLst xmlns:p15="http://schemas.microsoft.com/office/powerpoint/2012/main">
        <p15:guide id="5" orient="horz" pos="926" userDrawn="1">
          <p15:clr>
            <a:srgbClr val="FBAE40"/>
          </p15:clr>
        </p15:guide>
        <p15:guide id="6" pos="4928">
          <p15:clr>
            <a:srgbClr val="FBAE40"/>
          </p15:clr>
        </p15:guide>
        <p15:guide id="7" pos="5216">
          <p15:clr>
            <a:srgbClr val="FBAE40"/>
          </p15:clr>
        </p15:guide>
        <p15:guide id="9" orient="horz" pos="123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9A6CA13-687B-F439-0B77-C71E90C3A2FC}"/>
              </a:ext>
            </a:extLst>
          </p:cNvPr>
          <p:cNvGraphicFramePr>
            <a:graphicFrameLocks noChangeAspect="1"/>
          </p:cNvGraphicFramePr>
          <p:nvPr userDrawn="1">
            <p:custDataLst>
              <p:tags r:id="rId1"/>
            </p:custDataLst>
            <p:extLst>
              <p:ext uri="{D42A27DB-BD31-4B8C-83A1-F6EECF244321}">
                <p14:modId xmlns:p14="http://schemas.microsoft.com/office/powerpoint/2010/main" val="105754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B9A6CA13-687B-F439-0B77-C71E90C3A2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4" name="Content Left"/>
          <p:cNvSpPr>
            <a:spLocks noGrp="1"/>
          </p:cNvSpPr>
          <p:nvPr>
            <p:ph sz="half" idx="11"/>
          </p:nvPr>
        </p:nvSpPr>
        <p:spPr>
          <a:xfrm>
            <a:off x="457200" y="1472184"/>
            <a:ext cx="3454400" cy="492861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368799" y="1472184"/>
            <a:ext cx="3454400" cy="492861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280400" y="1472184"/>
            <a:ext cx="3454400" cy="492861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37166108"/>
      </p:ext>
    </p:extLst>
  </p:cSld>
  <p:clrMapOvr>
    <a:masterClrMapping/>
  </p:clrMapOvr>
  <p:extLst>
    <p:ext uri="{DCECCB84-F9BA-43D5-87BE-67443E8EF086}">
      <p15:sldGuideLst xmlns:p15="http://schemas.microsoft.com/office/powerpoint/2012/main">
        <p15:guide id="1" orient="horz" pos="927" userDrawn="1">
          <p15:clr>
            <a:srgbClr val="FBAE40"/>
          </p15:clr>
        </p15:guide>
        <p15:guide id="2" pos="5216">
          <p15:clr>
            <a:srgbClr val="FBAE40"/>
          </p15:clr>
        </p15:guide>
        <p15:guide id="4" pos="2752">
          <p15:clr>
            <a:srgbClr val="FBAE40"/>
          </p15:clr>
        </p15:guide>
        <p15:guide id="5" pos="4928">
          <p15:clr>
            <a:srgbClr val="FBAE40"/>
          </p15:clr>
        </p15:guide>
        <p15:guide id="6" pos="24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C17B1A8-EA34-E4F7-B510-3159BEAF39E2}"/>
              </a:ext>
            </a:extLst>
          </p:cNvPr>
          <p:cNvGraphicFramePr>
            <a:graphicFrameLocks noChangeAspect="1"/>
          </p:cNvGraphicFramePr>
          <p:nvPr userDrawn="1">
            <p:custDataLst>
              <p:tags r:id="rId1"/>
            </p:custDataLst>
            <p:extLst>
              <p:ext uri="{D42A27DB-BD31-4B8C-83A1-F6EECF244321}">
                <p14:modId xmlns:p14="http://schemas.microsoft.com/office/powerpoint/2010/main" val="721552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6" name="think-cell data - do not delete" hidden="1">
                        <a:extLst>
                          <a:ext uri="{FF2B5EF4-FFF2-40B4-BE49-F238E27FC236}">
                            <a16:creationId xmlns:a16="http://schemas.microsoft.com/office/drawing/2014/main" id="{6C17B1A8-EA34-E4F7-B510-3159BEAF39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p:cNvSpPr>
            <a:spLocks noGrp="1"/>
          </p:cNvSpPr>
          <p:nvPr>
            <p:ph type="body" idx="10" hasCustomPrompt="1"/>
          </p:nvPr>
        </p:nvSpPr>
        <p:spPr>
          <a:xfrm>
            <a:off x="457200"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368800" y="1472184"/>
            <a:ext cx="3454399"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280400"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2792610476"/>
      </p:ext>
    </p:extLst>
  </p:cSld>
  <p:clrMapOvr>
    <a:masterClrMapping/>
  </p:clrMapOvr>
  <p:extLst>
    <p:ext uri="{DCECCB84-F9BA-43D5-87BE-67443E8EF086}">
      <p15:sldGuideLst xmlns:p15="http://schemas.microsoft.com/office/powerpoint/2012/main">
        <p15:guide id="7" orient="horz" pos="926" userDrawn="1">
          <p15:clr>
            <a:srgbClr val="FBAE40"/>
          </p15:clr>
        </p15:guide>
        <p15:guide id="8" pos="5216">
          <p15:clr>
            <a:srgbClr val="FBAE40"/>
          </p15:clr>
        </p15:guide>
        <p15:guide id="10" pos="2752">
          <p15:clr>
            <a:srgbClr val="FBAE40"/>
          </p15:clr>
        </p15:guide>
        <p15:guide id="11" pos="4928">
          <p15:clr>
            <a:srgbClr val="FBAE40"/>
          </p15:clr>
        </p15:guide>
        <p15:guide id="12" pos="2464">
          <p15:clr>
            <a:srgbClr val="FBAE40"/>
          </p15:clr>
        </p15:guide>
        <p15:guide id="14" orient="horz" pos="123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07A0AF4-13CB-2C51-07AB-819BAEA0BB54}"/>
              </a:ext>
            </a:extLst>
          </p:cNvPr>
          <p:cNvGraphicFramePr>
            <a:graphicFrameLocks noChangeAspect="1"/>
          </p:cNvGraphicFramePr>
          <p:nvPr userDrawn="1">
            <p:custDataLst>
              <p:tags r:id="rId1"/>
            </p:custDataLst>
            <p:extLst>
              <p:ext uri="{D42A27DB-BD31-4B8C-83A1-F6EECF244321}">
                <p14:modId xmlns:p14="http://schemas.microsoft.com/office/powerpoint/2010/main" val="2499679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0" name="think-cell data - do not delete" hidden="1">
                        <a:extLst>
                          <a:ext uri="{FF2B5EF4-FFF2-40B4-BE49-F238E27FC236}">
                            <a16:creationId xmlns:a16="http://schemas.microsoft.com/office/drawing/2014/main" id="{A07A0AF4-13CB-2C51-07AB-819BAEA0BB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p:cNvSpPr>
            <a:spLocks noGrp="1"/>
          </p:cNvSpPr>
          <p:nvPr>
            <p:ph type="body" idx="10" hasCustomPrompt="1"/>
          </p:nvPr>
        </p:nvSpPr>
        <p:spPr>
          <a:xfrm>
            <a:off x="457200"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956816"/>
            <a:ext cx="34544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368799" y="1956816"/>
            <a:ext cx="34544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280400" y="1956816"/>
            <a:ext cx="34544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496784627"/>
      </p:ext>
    </p:extLst>
  </p:cSld>
  <p:clrMapOvr>
    <a:masterClrMapping/>
  </p:clrMapOvr>
  <p:extLst>
    <p:ext uri="{DCECCB84-F9BA-43D5-87BE-67443E8EF086}">
      <p15:sldGuideLst xmlns:p15="http://schemas.microsoft.com/office/powerpoint/2012/main">
        <p15:guide id="7" orient="horz" pos="926" userDrawn="1">
          <p15:clr>
            <a:srgbClr val="FBAE40"/>
          </p15:clr>
        </p15:guide>
        <p15:guide id="8" pos="2464">
          <p15:clr>
            <a:srgbClr val="FBAE40"/>
          </p15:clr>
        </p15:guide>
        <p15:guide id="9" pos="2752">
          <p15:clr>
            <a:srgbClr val="FBAE40"/>
          </p15:clr>
        </p15:guide>
        <p15:guide id="10" pos="4928">
          <p15:clr>
            <a:srgbClr val="FBAE40"/>
          </p15:clr>
        </p15:guide>
        <p15:guide id="11" pos="5216">
          <p15:clr>
            <a:srgbClr val="FBAE40"/>
          </p15:clr>
        </p15:guide>
        <p15:guide id="13" orient="horz" pos="123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E8A2285-19B7-D7C0-7E50-0A3D2EB9E5B4}"/>
              </a:ext>
            </a:extLst>
          </p:cNvPr>
          <p:cNvGraphicFramePr>
            <a:graphicFrameLocks noChangeAspect="1"/>
          </p:cNvGraphicFramePr>
          <p:nvPr userDrawn="1">
            <p:custDataLst>
              <p:tags r:id="rId1"/>
            </p:custDataLst>
            <p:extLst>
              <p:ext uri="{D42A27DB-BD31-4B8C-83A1-F6EECF244321}">
                <p14:modId xmlns:p14="http://schemas.microsoft.com/office/powerpoint/2010/main" val="3456832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2" name="think-cell data - do not delete" hidden="1">
                        <a:extLst>
                          <a:ext uri="{FF2B5EF4-FFF2-40B4-BE49-F238E27FC236}">
                            <a16:creationId xmlns:a16="http://schemas.microsoft.com/office/drawing/2014/main" id="{4E8A2285-19B7-D7C0-7E50-0A3D2EB9E5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Top"/>
          <p:cNvSpPr>
            <a:spLocks noGrp="1"/>
          </p:cNvSpPr>
          <p:nvPr>
            <p:ph type="body" idx="10" hasCustomPrompt="1"/>
          </p:nvPr>
        </p:nvSpPr>
        <p:spPr>
          <a:xfrm>
            <a:off x="457199" y="1472184"/>
            <a:ext cx="24765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199" y="1956816"/>
            <a:ext cx="24765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3390900" y="1472184"/>
            <a:ext cx="24765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3390900" y="1956816"/>
            <a:ext cx="24765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6324600" y="1472184"/>
            <a:ext cx="24765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Right"/>
          <p:cNvSpPr>
            <a:spLocks noGrp="1"/>
          </p:cNvSpPr>
          <p:nvPr>
            <p:ph sz="quarter" idx="14"/>
          </p:nvPr>
        </p:nvSpPr>
        <p:spPr>
          <a:xfrm>
            <a:off x="6324600" y="1956816"/>
            <a:ext cx="24765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9258300" y="1472184"/>
            <a:ext cx="24765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p:cNvSpPr>
            <a:spLocks noGrp="1"/>
          </p:cNvSpPr>
          <p:nvPr>
            <p:ph sz="quarter" idx="16"/>
          </p:nvPr>
        </p:nvSpPr>
        <p:spPr>
          <a:xfrm>
            <a:off x="9258300" y="1956816"/>
            <a:ext cx="24765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030349577"/>
      </p:ext>
    </p:extLst>
  </p:cSld>
  <p:clrMapOvr>
    <a:masterClrMapping/>
  </p:clrMapOvr>
  <p:extLst>
    <p:ext uri="{DCECCB84-F9BA-43D5-87BE-67443E8EF086}">
      <p15:sldGuideLst xmlns:p15="http://schemas.microsoft.com/office/powerpoint/2012/main">
        <p15:guide id="5" orient="horz" pos="926" userDrawn="1">
          <p15:clr>
            <a:srgbClr val="FBAE40"/>
          </p15:clr>
        </p15:guide>
        <p15:guide id="10" pos="2136">
          <p15:clr>
            <a:srgbClr val="FBAE40"/>
          </p15:clr>
        </p15:guide>
        <p15:guide id="11" pos="3696">
          <p15:clr>
            <a:srgbClr val="FBAE40"/>
          </p15:clr>
        </p15:guide>
        <p15:guide id="12" pos="1848">
          <p15:clr>
            <a:srgbClr val="FBAE40"/>
          </p15:clr>
        </p15:guide>
        <p15:guide id="13" pos="3984">
          <p15:clr>
            <a:srgbClr val="FBAE40"/>
          </p15:clr>
        </p15:guide>
        <p15:guide id="14" pos="5544">
          <p15:clr>
            <a:srgbClr val="FBAE40"/>
          </p15:clr>
        </p15:guide>
        <p15:guide id="15" pos="5832">
          <p15:clr>
            <a:srgbClr val="FBAE40"/>
          </p15:clr>
        </p15:guide>
        <p15:guide id="17" orient="horz" pos="123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5 columns with headin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0F66999-5B15-9069-9E93-F619E0ABEF1F}"/>
              </a:ext>
            </a:extLst>
          </p:cNvPr>
          <p:cNvGraphicFramePr>
            <a:graphicFrameLocks noChangeAspect="1"/>
          </p:cNvGraphicFramePr>
          <p:nvPr userDrawn="1">
            <p:custDataLst>
              <p:tags r:id="rId1"/>
            </p:custDataLst>
            <p:extLst>
              <p:ext uri="{D42A27DB-BD31-4B8C-83A1-F6EECF244321}">
                <p14:modId xmlns:p14="http://schemas.microsoft.com/office/powerpoint/2010/main" val="4206320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2" name="think-cell data - do not delete" hidden="1">
                        <a:extLst>
                          <a:ext uri="{FF2B5EF4-FFF2-40B4-BE49-F238E27FC236}">
                            <a16:creationId xmlns:a16="http://schemas.microsoft.com/office/drawing/2014/main" id="{B0F66999-5B15-9069-9E93-F619E0ABEF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Top"/>
          <p:cNvSpPr>
            <a:spLocks noGrp="1"/>
          </p:cNvSpPr>
          <p:nvPr>
            <p:ph type="body" idx="10" hasCustomPrompt="1"/>
          </p:nvPr>
        </p:nvSpPr>
        <p:spPr>
          <a:xfrm>
            <a:off x="457200" y="1472184"/>
            <a:ext cx="18923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956816"/>
            <a:ext cx="18923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806700" y="1472184"/>
            <a:ext cx="18923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2806700" y="1956816"/>
            <a:ext cx="18923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p:cNvSpPr>
            <a:spLocks noGrp="1"/>
          </p:cNvSpPr>
          <p:nvPr>
            <p:ph type="body" idx="15" hasCustomPrompt="1"/>
          </p:nvPr>
        </p:nvSpPr>
        <p:spPr>
          <a:xfrm>
            <a:off x="5156200" y="1472184"/>
            <a:ext cx="18796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p:cNvSpPr>
            <a:spLocks noGrp="1"/>
          </p:cNvSpPr>
          <p:nvPr>
            <p:ph sz="quarter" idx="14"/>
          </p:nvPr>
        </p:nvSpPr>
        <p:spPr>
          <a:xfrm>
            <a:off x="5156200" y="1956816"/>
            <a:ext cx="18796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Middle Right"/>
          <p:cNvSpPr>
            <a:spLocks noGrp="1"/>
          </p:cNvSpPr>
          <p:nvPr>
            <p:ph type="body" idx="17" hasCustomPrompt="1"/>
          </p:nvPr>
        </p:nvSpPr>
        <p:spPr>
          <a:xfrm>
            <a:off x="7493000" y="1472184"/>
            <a:ext cx="18923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Middle Right"/>
          <p:cNvSpPr>
            <a:spLocks noGrp="1"/>
          </p:cNvSpPr>
          <p:nvPr>
            <p:ph sz="quarter" idx="16"/>
          </p:nvPr>
        </p:nvSpPr>
        <p:spPr>
          <a:xfrm>
            <a:off x="7493000" y="1956816"/>
            <a:ext cx="18923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Heading Right">
            <a:extLst>
              <a:ext uri="{FF2B5EF4-FFF2-40B4-BE49-F238E27FC236}">
                <a16:creationId xmlns:a16="http://schemas.microsoft.com/office/drawing/2014/main" id="{28D70AB5-46A8-4A97-AAB4-47C1BD4B837B}"/>
              </a:ext>
            </a:extLst>
          </p:cNvPr>
          <p:cNvSpPr>
            <a:spLocks noGrp="1"/>
          </p:cNvSpPr>
          <p:nvPr>
            <p:ph type="body" idx="18" hasCustomPrompt="1"/>
          </p:nvPr>
        </p:nvSpPr>
        <p:spPr>
          <a:xfrm>
            <a:off x="9842500" y="1472184"/>
            <a:ext cx="18923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21" name="Content Right">
            <a:extLst>
              <a:ext uri="{FF2B5EF4-FFF2-40B4-BE49-F238E27FC236}">
                <a16:creationId xmlns:a16="http://schemas.microsoft.com/office/drawing/2014/main" id="{8E85D35B-391E-43DD-85C1-F96075528789}"/>
              </a:ext>
            </a:extLst>
          </p:cNvPr>
          <p:cNvSpPr>
            <a:spLocks noGrp="1"/>
          </p:cNvSpPr>
          <p:nvPr>
            <p:ph sz="quarter" idx="19"/>
          </p:nvPr>
        </p:nvSpPr>
        <p:spPr>
          <a:xfrm>
            <a:off x="9842500" y="1956816"/>
            <a:ext cx="18923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927248744"/>
      </p:ext>
    </p:extLst>
  </p:cSld>
  <p:clrMapOvr>
    <a:masterClrMapping/>
  </p:clrMapOvr>
  <p:extLst>
    <p:ext uri="{DCECCB84-F9BA-43D5-87BE-67443E8EF086}">
      <p15:sldGuideLst xmlns:p15="http://schemas.microsoft.com/office/powerpoint/2012/main">
        <p15:guide id="5" orient="horz" pos="927" userDrawn="1">
          <p15:clr>
            <a:srgbClr val="FBAE40"/>
          </p15:clr>
        </p15:guide>
        <p15:guide id="6" pos="1480">
          <p15:clr>
            <a:srgbClr val="FBAE40"/>
          </p15:clr>
        </p15:guide>
        <p15:guide id="7" pos="1768">
          <p15:clr>
            <a:srgbClr val="FBAE40"/>
          </p15:clr>
        </p15:guide>
        <p15:guide id="8" pos="2960">
          <p15:clr>
            <a:srgbClr val="FBAE40"/>
          </p15:clr>
        </p15:guide>
        <p15:guide id="9" pos="3248">
          <p15:clr>
            <a:srgbClr val="FBAE40"/>
          </p15:clr>
        </p15:guide>
        <p15:guide id="10" pos="4432">
          <p15:clr>
            <a:srgbClr val="FBAE40"/>
          </p15:clr>
        </p15:guide>
        <p15:guide id="11" pos="4720">
          <p15:clr>
            <a:srgbClr val="FBAE40"/>
          </p15:clr>
        </p15:guide>
        <p15:guide id="12" pos="5912">
          <p15:clr>
            <a:srgbClr val="FBAE40"/>
          </p15:clr>
        </p15:guide>
        <p15:guide id="13" pos="6200">
          <p15:clr>
            <a:srgbClr val="FBAE40"/>
          </p15:clr>
        </p15:guide>
        <p15:guide id="15" orient="horz" pos="123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E182DE-5DA4-DE31-405C-2D692B141FBA}"/>
              </a:ext>
            </a:extLst>
          </p:cNvPr>
          <p:cNvGraphicFramePr>
            <a:graphicFrameLocks noChangeAspect="1"/>
          </p:cNvGraphicFramePr>
          <p:nvPr userDrawn="1">
            <p:custDataLst>
              <p:tags r:id="rId1"/>
            </p:custDataLst>
            <p:extLst>
              <p:ext uri="{D42A27DB-BD31-4B8C-83A1-F6EECF244321}">
                <p14:modId xmlns:p14="http://schemas.microsoft.com/office/powerpoint/2010/main" val="1609308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92E182DE-5DA4-DE31-405C-2D692B141F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Content"/>
          <p:cNvSpPr>
            <a:spLocks noGrp="1"/>
          </p:cNvSpPr>
          <p:nvPr>
            <p:ph idx="11"/>
          </p:nvPr>
        </p:nvSpPr>
        <p:spPr>
          <a:xfrm>
            <a:off x="457200" y="1472184"/>
            <a:ext cx="11277600" cy="492861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023662214"/>
      </p:ext>
    </p:extLst>
  </p:cSld>
  <p:clrMapOvr>
    <a:masterClrMapping/>
  </p:clrMapOvr>
  <p:extLst>
    <p:ext uri="{DCECCB84-F9BA-43D5-87BE-67443E8EF086}">
      <p15:sldGuideLst xmlns:p15="http://schemas.microsoft.com/office/powerpoint/2012/main">
        <p15:guide id="1" orient="horz" pos="92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6E4E901-CD4A-F66C-8E6B-2EE90D1ECBE9}"/>
              </a:ext>
            </a:extLst>
          </p:cNvPr>
          <p:cNvGraphicFramePr>
            <a:graphicFrameLocks noChangeAspect="1"/>
          </p:cNvGraphicFramePr>
          <p:nvPr userDrawn="1">
            <p:custDataLst>
              <p:tags r:id="rId1"/>
            </p:custDataLst>
            <p:extLst>
              <p:ext uri="{D42A27DB-BD31-4B8C-83A1-F6EECF244321}">
                <p14:modId xmlns:p14="http://schemas.microsoft.com/office/powerpoint/2010/main" val="582217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2" name="think-cell data - do not delete" hidden="1">
                        <a:extLst>
                          <a:ext uri="{FF2B5EF4-FFF2-40B4-BE49-F238E27FC236}">
                            <a16:creationId xmlns:a16="http://schemas.microsoft.com/office/drawing/2014/main" id="{36E4E901-CD4A-F66C-8E6B-2EE90D1ECB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Top"/>
          <p:cNvSpPr>
            <a:spLocks noGrp="1"/>
          </p:cNvSpPr>
          <p:nvPr>
            <p:ph type="body" idx="10" hasCustomPrompt="1"/>
          </p:nvPr>
        </p:nvSpPr>
        <p:spPr>
          <a:xfrm>
            <a:off x="457200" y="1472184"/>
            <a:ext cx="54102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956816"/>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6324600" y="1472184"/>
            <a:ext cx="5410199"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Top"/>
          <p:cNvSpPr>
            <a:spLocks noGrp="1"/>
          </p:cNvSpPr>
          <p:nvPr>
            <p:ph sz="quarter" idx="12"/>
          </p:nvPr>
        </p:nvSpPr>
        <p:spPr>
          <a:xfrm>
            <a:off x="6324600" y="1956816"/>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54102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Left Bottom"/>
          <p:cNvSpPr>
            <a:spLocks noGrp="1"/>
          </p:cNvSpPr>
          <p:nvPr>
            <p:ph sz="quarter" idx="14"/>
          </p:nvPr>
        </p:nvSpPr>
        <p:spPr>
          <a:xfrm>
            <a:off x="457200" y="448970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24600" y="4005072"/>
            <a:ext cx="5410199"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Bottom"/>
          <p:cNvSpPr>
            <a:spLocks noGrp="1"/>
          </p:cNvSpPr>
          <p:nvPr>
            <p:ph sz="quarter" idx="16"/>
          </p:nvPr>
        </p:nvSpPr>
        <p:spPr>
          <a:xfrm>
            <a:off x="6324600" y="448970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378831251"/>
      </p:ext>
    </p:extLst>
  </p:cSld>
  <p:clrMapOvr>
    <a:masterClrMapping/>
  </p:clrMapOvr>
  <p:extLst>
    <p:ext uri="{DCECCB84-F9BA-43D5-87BE-67443E8EF086}">
      <p15:sldGuideLst xmlns:p15="http://schemas.microsoft.com/office/powerpoint/2012/main">
        <p15:guide id="7" orient="horz" pos="926" userDrawn="1">
          <p15:clr>
            <a:srgbClr val="FBAE40"/>
          </p15:clr>
        </p15:guide>
        <p15:guide id="10" pos="3984">
          <p15:clr>
            <a:srgbClr val="FBAE40"/>
          </p15:clr>
        </p15:guide>
        <p15:guide id="14" pos="3696">
          <p15:clr>
            <a:srgbClr val="FBAE40"/>
          </p15:clr>
        </p15:guide>
        <p15:guide id="15" orient="horz" pos="1232" userDrawn="1">
          <p15:clr>
            <a:srgbClr val="FBAE40"/>
          </p15:clr>
        </p15:guide>
        <p15:guide id="17" orient="horz" pos="2832">
          <p15:clr>
            <a:srgbClr val="FBAE40"/>
          </p15:clr>
        </p15:guide>
        <p15:guide id="18" orient="horz" pos="25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0481675-BB89-6A90-C456-FDC4C750D189}"/>
              </a:ext>
            </a:extLst>
          </p:cNvPr>
          <p:cNvGraphicFramePr>
            <a:graphicFrameLocks noChangeAspect="1"/>
          </p:cNvGraphicFramePr>
          <p:nvPr userDrawn="1">
            <p:custDataLst>
              <p:tags r:id="rId1"/>
            </p:custDataLst>
            <p:extLst>
              <p:ext uri="{D42A27DB-BD31-4B8C-83A1-F6EECF244321}">
                <p14:modId xmlns:p14="http://schemas.microsoft.com/office/powerpoint/2010/main" val="236965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6" name="think-cell data - do not delete" hidden="1">
                        <a:extLst>
                          <a:ext uri="{FF2B5EF4-FFF2-40B4-BE49-F238E27FC236}">
                            <a16:creationId xmlns:a16="http://schemas.microsoft.com/office/drawing/2014/main" id="{C0481675-BB89-6A90-C456-FDC4C750D1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Top"/>
          <p:cNvSpPr>
            <a:spLocks noGrp="1"/>
          </p:cNvSpPr>
          <p:nvPr>
            <p:ph type="body" idx="10" hasCustomPrompt="1"/>
          </p:nvPr>
        </p:nvSpPr>
        <p:spPr>
          <a:xfrm>
            <a:off x="457200"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956816"/>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4368799"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Top"/>
          <p:cNvSpPr>
            <a:spLocks noGrp="1"/>
          </p:cNvSpPr>
          <p:nvPr>
            <p:ph sz="quarter" idx="12"/>
          </p:nvPr>
        </p:nvSpPr>
        <p:spPr>
          <a:xfrm>
            <a:off x="4368799" y="1956816"/>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280400"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Top"/>
          <p:cNvSpPr>
            <a:spLocks noGrp="1"/>
          </p:cNvSpPr>
          <p:nvPr>
            <p:ph sz="quarter" idx="14"/>
          </p:nvPr>
        </p:nvSpPr>
        <p:spPr>
          <a:xfrm>
            <a:off x="8280400" y="1956816"/>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Left Bottom"/>
          <p:cNvSpPr>
            <a:spLocks noGrp="1"/>
          </p:cNvSpPr>
          <p:nvPr>
            <p:ph sz="quarter" idx="16"/>
          </p:nvPr>
        </p:nvSpPr>
        <p:spPr>
          <a:xfrm>
            <a:off x="4572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368799" y="4005072"/>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2" name="Content Middle Bottom"/>
          <p:cNvSpPr>
            <a:spLocks noGrp="1"/>
          </p:cNvSpPr>
          <p:nvPr>
            <p:ph sz="quarter" idx="18"/>
          </p:nvPr>
        </p:nvSpPr>
        <p:spPr>
          <a:xfrm>
            <a:off x="4368799"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280400" y="4005072"/>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4" name="Content Right Bottom"/>
          <p:cNvSpPr>
            <a:spLocks noGrp="1"/>
          </p:cNvSpPr>
          <p:nvPr>
            <p:ph sz="quarter" idx="20"/>
          </p:nvPr>
        </p:nvSpPr>
        <p:spPr>
          <a:xfrm>
            <a:off x="82804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014178705"/>
      </p:ext>
    </p:extLst>
  </p:cSld>
  <p:clrMapOvr>
    <a:masterClrMapping/>
  </p:clrMapOvr>
  <p:extLst>
    <p:ext uri="{DCECCB84-F9BA-43D5-87BE-67443E8EF086}">
      <p15:sldGuideLst xmlns:p15="http://schemas.microsoft.com/office/powerpoint/2012/main">
        <p15:guide id="12" pos="2752">
          <p15:clr>
            <a:srgbClr val="FBAE40"/>
          </p15:clr>
        </p15:guide>
        <p15:guide id="14" pos="5216">
          <p15:clr>
            <a:srgbClr val="FBAE40"/>
          </p15:clr>
        </p15:guide>
        <p15:guide id="18" pos="2464">
          <p15:clr>
            <a:srgbClr val="FBAE40"/>
          </p15:clr>
        </p15:guide>
        <p15:guide id="20" pos="4928">
          <p15:clr>
            <a:srgbClr val="FBAE40"/>
          </p15:clr>
        </p15:guide>
        <p15:guide id="21" orient="horz" pos="2520">
          <p15:clr>
            <a:srgbClr val="FBAE40"/>
          </p15:clr>
        </p15:guide>
        <p15:guide id="24" orient="horz" pos="926" userDrawn="1">
          <p15:clr>
            <a:srgbClr val="FBAE40"/>
          </p15:clr>
        </p15:guide>
        <p15:guide id="25" orient="horz" pos="1232" userDrawn="1">
          <p15:clr>
            <a:srgbClr val="FBAE40"/>
          </p15:clr>
        </p15:guide>
        <p15:guide id="27" orient="horz" pos="283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EF874C-2EA1-6125-3345-43764D7943EC}"/>
              </a:ext>
            </a:extLst>
          </p:cNvPr>
          <p:cNvGraphicFramePr>
            <a:graphicFrameLocks noChangeAspect="1"/>
          </p:cNvGraphicFramePr>
          <p:nvPr userDrawn="1">
            <p:custDataLst>
              <p:tags r:id="rId1"/>
            </p:custDataLst>
            <p:extLst>
              <p:ext uri="{D42A27DB-BD31-4B8C-83A1-F6EECF244321}">
                <p14:modId xmlns:p14="http://schemas.microsoft.com/office/powerpoint/2010/main" val="257842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89EF874C-2EA1-6125-3345-43764D7943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hasCustomPrompt="1"/>
          </p:nvPr>
        </p:nvSpPr>
        <p:spPr/>
        <p:txBody>
          <a:bodyPr vert="horz"/>
          <a:lstStyle>
            <a:lvl1pPr>
              <a:defRPr/>
            </a:lvl1pPr>
          </a:lstStyle>
          <a:p>
            <a:r>
              <a:rPr lang="en-US"/>
              <a:t>Contents</a:t>
            </a:r>
            <a:endParaRPr/>
          </a:p>
        </p:txBody>
      </p:sp>
    </p:spTree>
    <p:extLst>
      <p:ext uri="{BB962C8B-B14F-4D97-AF65-F5344CB8AC3E}">
        <p14:creationId xmlns:p14="http://schemas.microsoft.com/office/powerpoint/2010/main" val="2830637757"/>
      </p:ext>
    </p:extLst>
  </p:cSld>
  <p:clrMapOvr>
    <a:masterClrMapping/>
  </p:clrMapOvr>
  <p:extLst>
    <p:ext uri="{DCECCB84-F9BA-43D5-87BE-67443E8EF086}">
      <p15:sldGuideLst xmlns:p15="http://schemas.microsoft.com/office/powerpoint/2012/main">
        <p15:guide id="1" orient="horz" pos="92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Backcover">
    <p:bg>
      <p:bgPr>
        <a:solidFill>
          <a:schemeClr val="accent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22FED64-17D2-F58B-220A-6B419C995C03}"/>
              </a:ext>
            </a:extLst>
          </p:cNvPr>
          <p:cNvGraphicFramePr>
            <a:graphicFrameLocks noChangeAspect="1"/>
          </p:cNvGraphicFramePr>
          <p:nvPr userDrawn="1">
            <p:custDataLst>
              <p:tags r:id="rId1"/>
            </p:custDataLst>
            <p:extLst>
              <p:ext uri="{D42A27DB-BD31-4B8C-83A1-F6EECF244321}">
                <p14:modId xmlns:p14="http://schemas.microsoft.com/office/powerpoint/2010/main" val="3666671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2" name="think-cell data - do not delete" hidden="1">
                        <a:extLst>
                          <a:ext uri="{FF2B5EF4-FFF2-40B4-BE49-F238E27FC236}">
                            <a16:creationId xmlns:a16="http://schemas.microsoft.com/office/drawing/2014/main" id="{422FED64-17D2-F58B-220A-6B419C995C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7" name="Group 16">
            <a:extLst>
              <a:ext uri="{FF2B5EF4-FFF2-40B4-BE49-F238E27FC236}">
                <a16:creationId xmlns:a16="http://schemas.microsoft.com/office/drawing/2014/main" id="{34B36623-DA41-6954-8EAD-0C9C59D5537E}"/>
              </a:ext>
            </a:extLst>
          </p:cNvPr>
          <p:cNvGrpSpPr/>
          <p:nvPr userDrawn="1"/>
        </p:nvGrpSpPr>
        <p:grpSpPr>
          <a:xfrm>
            <a:off x="3659437" y="3022599"/>
            <a:ext cx="4873124" cy="812800"/>
            <a:chOff x="1047076" y="1047095"/>
            <a:chExt cx="4199255" cy="700405"/>
          </a:xfrm>
        </p:grpSpPr>
        <p:sp>
          <p:nvSpPr>
            <p:cNvPr id="18" name="object 4">
              <a:extLst>
                <a:ext uri="{FF2B5EF4-FFF2-40B4-BE49-F238E27FC236}">
                  <a16:creationId xmlns:a16="http://schemas.microsoft.com/office/drawing/2014/main" id="{3EB46034-559F-3795-AACE-DC1EBCC11EDE}"/>
                </a:ext>
              </a:extLst>
            </p:cNvPr>
            <p:cNvSpPr/>
            <p:nvPr/>
          </p:nvSpPr>
          <p:spPr>
            <a:xfrm>
              <a:off x="1047076" y="1047095"/>
              <a:ext cx="4199255" cy="700405"/>
            </a:xfrm>
            <a:custGeom>
              <a:avLst/>
              <a:gdLst/>
              <a:ahLst/>
              <a:cxnLst/>
              <a:rect l="l" t="t" r="r" b="b"/>
              <a:pathLst>
                <a:path w="4199255" h="700405">
                  <a:moveTo>
                    <a:pt x="410883" y="499719"/>
                  </a:moveTo>
                  <a:lnTo>
                    <a:pt x="365188" y="504698"/>
                  </a:lnTo>
                  <a:lnTo>
                    <a:pt x="323481" y="518934"/>
                  </a:lnTo>
                  <a:lnTo>
                    <a:pt x="286372" y="541337"/>
                  </a:lnTo>
                  <a:lnTo>
                    <a:pt x="254914" y="570814"/>
                  </a:lnTo>
                  <a:lnTo>
                    <a:pt x="230225" y="606285"/>
                  </a:lnTo>
                  <a:lnTo>
                    <a:pt x="213360" y="646684"/>
                  </a:lnTo>
                  <a:lnTo>
                    <a:pt x="205409" y="690905"/>
                  </a:lnTo>
                  <a:lnTo>
                    <a:pt x="197307" y="646861"/>
                  </a:lnTo>
                  <a:lnTo>
                    <a:pt x="180365" y="606640"/>
                  </a:lnTo>
                  <a:lnTo>
                    <a:pt x="155638" y="571309"/>
                  </a:lnTo>
                  <a:lnTo>
                    <a:pt x="124206" y="541972"/>
                  </a:lnTo>
                  <a:lnTo>
                    <a:pt x="87147" y="519671"/>
                  </a:lnTo>
                  <a:lnTo>
                    <a:pt x="45529" y="505510"/>
                  </a:lnTo>
                  <a:lnTo>
                    <a:pt x="0" y="500570"/>
                  </a:lnTo>
                  <a:lnTo>
                    <a:pt x="6477" y="546430"/>
                  </a:lnTo>
                  <a:lnTo>
                    <a:pt x="22504" y="588454"/>
                  </a:lnTo>
                  <a:lnTo>
                    <a:pt x="46888" y="625475"/>
                  </a:lnTo>
                  <a:lnTo>
                    <a:pt x="78498" y="656310"/>
                  </a:lnTo>
                  <a:lnTo>
                    <a:pt x="116141" y="679805"/>
                  </a:lnTo>
                  <a:lnTo>
                    <a:pt x="158673" y="694804"/>
                  </a:lnTo>
                  <a:lnTo>
                    <a:pt x="204901" y="700125"/>
                  </a:lnTo>
                  <a:lnTo>
                    <a:pt x="205816" y="700125"/>
                  </a:lnTo>
                  <a:lnTo>
                    <a:pt x="252183" y="694778"/>
                  </a:lnTo>
                  <a:lnTo>
                    <a:pt x="294817" y="679716"/>
                  </a:lnTo>
                  <a:lnTo>
                    <a:pt x="332536" y="656107"/>
                  </a:lnTo>
                  <a:lnTo>
                    <a:pt x="364172" y="625144"/>
                  </a:lnTo>
                  <a:lnTo>
                    <a:pt x="388556" y="587971"/>
                  </a:lnTo>
                  <a:lnTo>
                    <a:pt x="404520" y="545769"/>
                  </a:lnTo>
                  <a:lnTo>
                    <a:pt x="410883" y="499719"/>
                  </a:lnTo>
                  <a:close/>
                </a:path>
                <a:path w="4199255" h="700405">
                  <a:moveTo>
                    <a:pt x="410883" y="309626"/>
                  </a:moveTo>
                  <a:lnTo>
                    <a:pt x="365175" y="314604"/>
                  </a:lnTo>
                  <a:lnTo>
                    <a:pt x="323481" y="328841"/>
                  </a:lnTo>
                  <a:lnTo>
                    <a:pt x="286359" y="351231"/>
                  </a:lnTo>
                  <a:lnTo>
                    <a:pt x="254914" y="380720"/>
                  </a:lnTo>
                  <a:lnTo>
                    <a:pt x="230225" y="416191"/>
                  </a:lnTo>
                  <a:lnTo>
                    <a:pt x="213360" y="456590"/>
                  </a:lnTo>
                  <a:lnTo>
                    <a:pt x="205409" y="500811"/>
                  </a:lnTo>
                  <a:lnTo>
                    <a:pt x="197307" y="456755"/>
                  </a:lnTo>
                  <a:lnTo>
                    <a:pt x="180365" y="416534"/>
                  </a:lnTo>
                  <a:lnTo>
                    <a:pt x="155638" y="381215"/>
                  </a:lnTo>
                  <a:lnTo>
                    <a:pt x="124206" y="351878"/>
                  </a:lnTo>
                  <a:lnTo>
                    <a:pt x="87147" y="329577"/>
                  </a:lnTo>
                  <a:lnTo>
                    <a:pt x="45529" y="315417"/>
                  </a:lnTo>
                  <a:lnTo>
                    <a:pt x="0" y="310451"/>
                  </a:lnTo>
                  <a:lnTo>
                    <a:pt x="6477" y="356336"/>
                  </a:lnTo>
                  <a:lnTo>
                    <a:pt x="22504" y="398360"/>
                  </a:lnTo>
                  <a:lnTo>
                    <a:pt x="46888" y="435381"/>
                  </a:lnTo>
                  <a:lnTo>
                    <a:pt x="78498" y="466217"/>
                  </a:lnTo>
                  <a:lnTo>
                    <a:pt x="116141" y="489712"/>
                  </a:lnTo>
                  <a:lnTo>
                    <a:pt x="158673" y="504698"/>
                  </a:lnTo>
                  <a:lnTo>
                    <a:pt x="204901" y="510032"/>
                  </a:lnTo>
                  <a:lnTo>
                    <a:pt x="205816" y="510032"/>
                  </a:lnTo>
                  <a:lnTo>
                    <a:pt x="252183" y="504685"/>
                  </a:lnTo>
                  <a:lnTo>
                    <a:pt x="294817" y="489623"/>
                  </a:lnTo>
                  <a:lnTo>
                    <a:pt x="332536" y="466013"/>
                  </a:lnTo>
                  <a:lnTo>
                    <a:pt x="364172" y="435038"/>
                  </a:lnTo>
                  <a:lnTo>
                    <a:pt x="388556" y="397878"/>
                  </a:lnTo>
                  <a:lnTo>
                    <a:pt x="404520" y="355676"/>
                  </a:lnTo>
                  <a:lnTo>
                    <a:pt x="410883" y="309626"/>
                  </a:lnTo>
                  <a:close/>
                </a:path>
                <a:path w="4199255" h="700405">
                  <a:moveTo>
                    <a:pt x="410883" y="110553"/>
                  </a:moveTo>
                  <a:lnTo>
                    <a:pt x="365175" y="115531"/>
                  </a:lnTo>
                  <a:lnTo>
                    <a:pt x="323481" y="129768"/>
                  </a:lnTo>
                  <a:lnTo>
                    <a:pt x="286359" y="152171"/>
                  </a:lnTo>
                  <a:lnTo>
                    <a:pt x="254914" y="181648"/>
                  </a:lnTo>
                  <a:lnTo>
                    <a:pt x="230225" y="217119"/>
                  </a:lnTo>
                  <a:lnTo>
                    <a:pt x="213360" y="257517"/>
                  </a:lnTo>
                  <a:lnTo>
                    <a:pt x="205409" y="301739"/>
                  </a:lnTo>
                  <a:lnTo>
                    <a:pt x="197307" y="257695"/>
                  </a:lnTo>
                  <a:lnTo>
                    <a:pt x="180365" y="217474"/>
                  </a:lnTo>
                  <a:lnTo>
                    <a:pt x="155638" y="182143"/>
                  </a:lnTo>
                  <a:lnTo>
                    <a:pt x="124206" y="152806"/>
                  </a:lnTo>
                  <a:lnTo>
                    <a:pt x="87147" y="130517"/>
                  </a:lnTo>
                  <a:lnTo>
                    <a:pt x="45529" y="116344"/>
                  </a:lnTo>
                  <a:lnTo>
                    <a:pt x="0" y="111391"/>
                  </a:lnTo>
                  <a:lnTo>
                    <a:pt x="6477" y="157264"/>
                  </a:lnTo>
                  <a:lnTo>
                    <a:pt x="22504" y="199288"/>
                  </a:lnTo>
                  <a:lnTo>
                    <a:pt x="46888" y="236308"/>
                  </a:lnTo>
                  <a:lnTo>
                    <a:pt x="78498" y="267144"/>
                  </a:lnTo>
                  <a:lnTo>
                    <a:pt x="116141" y="290639"/>
                  </a:lnTo>
                  <a:lnTo>
                    <a:pt x="158673" y="305638"/>
                  </a:lnTo>
                  <a:lnTo>
                    <a:pt x="204901" y="310959"/>
                  </a:lnTo>
                  <a:lnTo>
                    <a:pt x="205816" y="310959"/>
                  </a:lnTo>
                  <a:lnTo>
                    <a:pt x="252183" y="305612"/>
                  </a:lnTo>
                  <a:lnTo>
                    <a:pt x="294817" y="290550"/>
                  </a:lnTo>
                  <a:lnTo>
                    <a:pt x="332536" y="266941"/>
                  </a:lnTo>
                  <a:lnTo>
                    <a:pt x="364172" y="235978"/>
                  </a:lnTo>
                  <a:lnTo>
                    <a:pt x="388556" y="198805"/>
                  </a:lnTo>
                  <a:lnTo>
                    <a:pt x="404520" y="156603"/>
                  </a:lnTo>
                  <a:lnTo>
                    <a:pt x="410883" y="110553"/>
                  </a:lnTo>
                  <a:close/>
                </a:path>
                <a:path w="4199255" h="700405">
                  <a:moveTo>
                    <a:pt x="1017346" y="544576"/>
                  </a:moveTo>
                  <a:lnTo>
                    <a:pt x="923353" y="507834"/>
                  </a:lnTo>
                  <a:lnTo>
                    <a:pt x="901077" y="548170"/>
                  </a:lnTo>
                  <a:lnTo>
                    <a:pt x="870800" y="578561"/>
                  </a:lnTo>
                  <a:lnTo>
                    <a:pt x="833462" y="597738"/>
                  </a:lnTo>
                  <a:lnTo>
                    <a:pt x="790041" y="604418"/>
                  </a:lnTo>
                  <a:lnTo>
                    <a:pt x="745363" y="597344"/>
                  </a:lnTo>
                  <a:lnTo>
                    <a:pt x="707034" y="576935"/>
                  </a:lnTo>
                  <a:lnTo>
                    <a:pt x="677125" y="544423"/>
                  </a:lnTo>
                  <a:lnTo>
                    <a:pt x="657682" y="501040"/>
                  </a:lnTo>
                  <a:lnTo>
                    <a:pt x="650735" y="448017"/>
                  </a:lnTo>
                  <a:lnTo>
                    <a:pt x="656907" y="398043"/>
                  </a:lnTo>
                  <a:lnTo>
                    <a:pt x="674636" y="355244"/>
                  </a:lnTo>
                  <a:lnTo>
                    <a:pt x="702792" y="321881"/>
                  </a:lnTo>
                  <a:lnTo>
                    <a:pt x="740206" y="300202"/>
                  </a:lnTo>
                  <a:lnTo>
                    <a:pt x="785749" y="292468"/>
                  </a:lnTo>
                  <a:lnTo>
                    <a:pt x="825042" y="297802"/>
                  </a:lnTo>
                  <a:lnTo>
                    <a:pt x="859675" y="313944"/>
                  </a:lnTo>
                  <a:lnTo>
                    <a:pt x="887907" y="341147"/>
                  </a:lnTo>
                  <a:lnTo>
                    <a:pt x="907961" y="379653"/>
                  </a:lnTo>
                  <a:lnTo>
                    <a:pt x="1003693" y="341198"/>
                  </a:lnTo>
                  <a:lnTo>
                    <a:pt x="982141" y="297561"/>
                  </a:lnTo>
                  <a:lnTo>
                    <a:pt x="953287" y="261594"/>
                  </a:lnTo>
                  <a:lnTo>
                    <a:pt x="918222" y="233413"/>
                  </a:lnTo>
                  <a:lnTo>
                    <a:pt x="878014" y="213131"/>
                  </a:lnTo>
                  <a:lnTo>
                    <a:pt x="833780" y="200875"/>
                  </a:lnTo>
                  <a:lnTo>
                    <a:pt x="786612" y="196773"/>
                  </a:lnTo>
                  <a:lnTo>
                    <a:pt x="741857" y="200355"/>
                  </a:lnTo>
                  <a:lnTo>
                    <a:pt x="700252" y="210858"/>
                  </a:lnTo>
                  <a:lnTo>
                    <a:pt x="662381" y="227952"/>
                  </a:lnTo>
                  <a:lnTo>
                    <a:pt x="628777" y="251256"/>
                  </a:lnTo>
                  <a:lnTo>
                    <a:pt x="600036" y="280441"/>
                  </a:lnTo>
                  <a:lnTo>
                    <a:pt x="576694" y="315150"/>
                  </a:lnTo>
                  <a:lnTo>
                    <a:pt x="559320" y="355028"/>
                  </a:lnTo>
                  <a:lnTo>
                    <a:pt x="548487" y="399719"/>
                  </a:lnTo>
                  <a:lnTo>
                    <a:pt x="544753" y="448881"/>
                  </a:lnTo>
                  <a:lnTo>
                    <a:pt x="548525" y="498005"/>
                  </a:lnTo>
                  <a:lnTo>
                    <a:pt x="559447" y="542620"/>
                  </a:lnTo>
                  <a:lnTo>
                    <a:pt x="576973" y="582383"/>
                  </a:lnTo>
                  <a:lnTo>
                    <a:pt x="600544" y="616953"/>
                  </a:lnTo>
                  <a:lnTo>
                    <a:pt x="629577" y="645998"/>
                  </a:lnTo>
                  <a:lnTo>
                    <a:pt x="663524" y="669175"/>
                  </a:lnTo>
                  <a:lnTo>
                    <a:pt x="701814" y="686142"/>
                  </a:lnTo>
                  <a:lnTo>
                    <a:pt x="743877" y="696569"/>
                  </a:lnTo>
                  <a:lnTo>
                    <a:pt x="789178" y="700125"/>
                  </a:lnTo>
                  <a:lnTo>
                    <a:pt x="841095" y="695426"/>
                  </a:lnTo>
                  <a:lnTo>
                    <a:pt x="888593" y="681647"/>
                  </a:lnTo>
                  <a:lnTo>
                    <a:pt x="930821" y="659206"/>
                  </a:lnTo>
                  <a:lnTo>
                    <a:pt x="966927" y="628586"/>
                  </a:lnTo>
                  <a:lnTo>
                    <a:pt x="996061" y="590232"/>
                  </a:lnTo>
                  <a:lnTo>
                    <a:pt x="1017346" y="544576"/>
                  </a:lnTo>
                  <a:close/>
                </a:path>
                <a:path w="4199255" h="700405">
                  <a:moveTo>
                    <a:pt x="1536166" y="445452"/>
                  </a:moveTo>
                  <a:lnTo>
                    <a:pt x="1532623" y="402729"/>
                  </a:lnTo>
                  <a:lnTo>
                    <a:pt x="1516418" y="330885"/>
                  </a:lnTo>
                  <a:lnTo>
                    <a:pt x="1493850" y="287896"/>
                  </a:lnTo>
                  <a:lnTo>
                    <a:pt x="1490459" y="283933"/>
                  </a:lnTo>
                  <a:lnTo>
                    <a:pt x="1464703" y="253809"/>
                  </a:lnTo>
                  <a:lnTo>
                    <a:pt x="1433626" y="230555"/>
                  </a:lnTo>
                  <a:lnTo>
                    <a:pt x="1433626" y="402729"/>
                  </a:lnTo>
                  <a:lnTo>
                    <a:pt x="1181506" y="402729"/>
                  </a:lnTo>
                  <a:lnTo>
                    <a:pt x="1196733" y="354596"/>
                  </a:lnTo>
                  <a:lnTo>
                    <a:pt x="1223810" y="317055"/>
                  </a:lnTo>
                  <a:lnTo>
                    <a:pt x="1261795" y="292646"/>
                  </a:lnTo>
                  <a:lnTo>
                    <a:pt x="1309700" y="283933"/>
                  </a:lnTo>
                  <a:lnTo>
                    <a:pt x="1352981" y="290360"/>
                  </a:lnTo>
                  <a:lnTo>
                    <a:pt x="1391208" y="310959"/>
                  </a:lnTo>
                  <a:lnTo>
                    <a:pt x="1419669" y="347751"/>
                  </a:lnTo>
                  <a:lnTo>
                    <a:pt x="1433626" y="402729"/>
                  </a:lnTo>
                  <a:lnTo>
                    <a:pt x="1433626" y="230555"/>
                  </a:lnTo>
                  <a:lnTo>
                    <a:pt x="1430388" y="228130"/>
                  </a:lnTo>
                  <a:lnTo>
                    <a:pt x="1392313" y="210388"/>
                  </a:lnTo>
                  <a:lnTo>
                    <a:pt x="1351902" y="200088"/>
                  </a:lnTo>
                  <a:lnTo>
                    <a:pt x="1310551" y="196761"/>
                  </a:lnTo>
                  <a:lnTo>
                    <a:pt x="1260640" y="201637"/>
                  </a:lnTo>
                  <a:lnTo>
                    <a:pt x="1215161" y="215734"/>
                  </a:lnTo>
                  <a:lnTo>
                    <a:pt x="1174813" y="238277"/>
                  </a:lnTo>
                  <a:lnTo>
                    <a:pt x="1140269" y="268452"/>
                  </a:lnTo>
                  <a:lnTo>
                    <a:pt x="1112227" y="305473"/>
                  </a:lnTo>
                  <a:lnTo>
                    <a:pt x="1091349" y="348551"/>
                  </a:lnTo>
                  <a:lnTo>
                    <a:pt x="1078318" y="396900"/>
                  </a:lnTo>
                  <a:lnTo>
                    <a:pt x="1073823" y="449732"/>
                  </a:lnTo>
                  <a:lnTo>
                    <a:pt x="1077595" y="498157"/>
                  </a:lnTo>
                  <a:lnTo>
                    <a:pt x="1088517" y="542340"/>
                  </a:lnTo>
                  <a:lnTo>
                    <a:pt x="1106017" y="581875"/>
                  </a:lnTo>
                  <a:lnTo>
                    <a:pt x="1129538" y="616407"/>
                  </a:lnTo>
                  <a:lnTo>
                    <a:pt x="1158506" y="645515"/>
                  </a:lnTo>
                  <a:lnTo>
                    <a:pt x="1192339" y="668832"/>
                  </a:lnTo>
                  <a:lnTo>
                    <a:pt x="1230477" y="685965"/>
                  </a:lnTo>
                  <a:lnTo>
                    <a:pt x="1272349" y="696518"/>
                  </a:lnTo>
                  <a:lnTo>
                    <a:pt x="1317396" y="700125"/>
                  </a:lnTo>
                  <a:lnTo>
                    <a:pt x="1366634" y="695807"/>
                  </a:lnTo>
                  <a:lnTo>
                    <a:pt x="1411439" y="683387"/>
                  </a:lnTo>
                  <a:lnTo>
                    <a:pt x="1451203" y="663702"/>
                  </a:lnTo>
                  <a:lnTo>
                    <a:pt x="1485379" y="637552"/>
                  </a:lnTo>
                  <a:lnTo>
                    <a:pt x="1513370" y="605764"/>
                  </a:lnTo>
                  <a:lnTo>
                    <a:pt x="1534617" y="569175"/>
                  </a:lnTo>
                  <a:lnTo>
                    <a:pt x="1534883" y="568528"/>
                  </a:lnTo>
                  <a:lnTo>
                    <a:pt x="1535023" y="568210"/>
                  </a:lnTo>
                  <a:lnTo>
                    <a:pt x="1437538" y="535089"/>
                  </a:lnTo>
                  <a:lnTo>
                    <a:pt x="1416062" y="566051"/>
                  </a:lnTo>
                  <a:lnTo>
                    <a:pt x="1388376" y="589495"/>
                  </a:lnTo>
                  <a:lnTo>
                    <a:pt x="1355229" y="604342"/>
                  </a:lnTo>
                  <a:lnTo>
                    <a:pt x="1317396" y="609536"/>
                  </a:lnTo>
                  <a:lnTo>
                    <a:pt x="1274914" y="603707"/>
                  </a:lnTo>
                  <a:lnTo>
                    <a:pt x="1237856" y="586676"/>
                  </a:lnTo>
                  <a:lnTo>
                    <a:pt x="1207922" y="559142"/>
                  </a:lnTo>
                  <a:lnTo>
                    <a:pt x="1186865" y="521804"/>
                  </a:lnTo>
                  <a:lnTo>
                    <a:pt x="1176375" y="475373"/>
                  </a:lnTo>
                  <a:lnTo>
                    <a:pt x="1536166" y="475373"/>
                  </a:lnTo>
                  <a:lnTo>
                    <a:pt x="1536166" y="445452"/>
                  </a:lnTo>
                  <a:close/>
                </a:path>
                <a:path w="4199255" h="700405">
                  <a:moveTo>
                    <a:pt x="1934476" y="217906"/>
                  </a:moveTo>
                  <a:lnTo>
                    <a:pt x="1921954" y="213690"/>
                  </a:lnTo>
                  <a:lnTo>
                    <a:pt x="1909914" y="211086"/>
                  </a:lnTo>
                  <a:lnTo>
                    <a:pt x="1898192" y="209753"/>
                  </a:lnTo>
                  <a:lnTo>
                    <a:pt x="1886623" y="209384"/>
                  </a:lnTo>
                  <a:lnTo>
                    <a:pt x="1840331" y="216738"/>
                  </a:lnTo>
                  <a:lnTo>
                    <a:pt x="1800847" y="236829"/>
                  </a:lnTo>
                  <a:lnTo>
                    <a:pt x="1769211" y="266700"/>
                  </a:lnTo>
                  <a:lnTo>
                    <a:pt x="1746465" y="303390"/>
                  </a:lnTo>
                  <a:lnTo>
                    <a:pt x="1743049" y="303390"/>
                  </a:lnTo>
                  <a:lnTo>
                    <a:pt x="1743049" y="223037"/>
                  </a:lnTo>
                  <a:lnTo>
                    <a:pt x="1643913" y="223037"/>
                  </a:lnTo>
                  <a:lnTo>
                    <a:pt x="1643913" y="698207"/>
                  </a:lnTo>
                  <a:lnTo>
                    <a:pt x="1744776" y="698207"/>
                  </a:lnTo>
                  <a:lnTo>
                    <a:pt x="1744776" y="500799"/>
                  </a:lnTo>
                  <a:lnTo>
                    <a:pt x="1747050" y="460502"/>
                  </a:lnTo>
                  <a:lnTo>
                    <a:pt x="1754962" y="419709"/>
                  </a:lnTo>
                  <a:lnTo>
                    <a:pt x="1770202" y="381901"/>
                  </a:lnTo>
                  <a:lnTo>
                    <a:pt x="1794395" y="350583"/>
                  </a:lnTo>
                  <a:lnTo>
                    <a:pt x="1829244" y="329222"/>
                  </a:lnTo>
                  <a:lnTo>
                    <a:pt x="1876386" y="321335"/>
                  </a:lnTo>
                  <a:lnTo>
                    <a:pt x="1889417" y="321843"/>
                  </a:lnTo>
                  <a:lnTo>
                    <a:pt x="1904466" y="323469"/>
                  </a:lnTo>
                  <a:lnTo>
                    <a:pt x="1919986" y="326377"/>
                  </a:lnTo>
                  <a:lnTo>
                    <a:pt x="1934476" y="330720"/>
                  </a:lnTo>
                  <a:lnTo>
                    <a:pt x="1934476" y="217906"/>
                  </a:lnTo>
                  <a:close/>
                </a:path>
                <a:path w="4199255" h="700405">
                  <a:moveTo>
                    <a:pt x="2432761" y="445452"/>
                  </a:moveTo>
                  <a:lnTo>
                    <a:pt x="2429205" y="402729"/>
                  </a:lnTo>
                  <a:lnTo>
                    <a:pt x="2427592" y="383247"/>
                  </a:lnTo>
                  <a:lnTo>
                    <a:pt x="2413012" y="330885"/>
                  </a:lnTo>
                  <a:lnTo>
                    <a:pt x="2390444" y="287896"/>
                  </a:lnTo>
                  <a:lnTo>
                    <a:pt x="2387054" y="283933"/>
                  </a:lnTo>
                  <a:lnTo>
                    <a:pt x="2361298" y="253809"/>
                  </a:lnTo>
                  <a:lnTo>
                    <a:pt x="2330221" y="230555"/>
                  </a:lnTo>
                  <a:lnTo>
                    <a:pt x="2330221" y="402729"/>
                  </a:lnTo>
                  <a:lnTo>
                    <a:pt x="2078088" y="402729"/>
                  </a:lnTo>
                  <a:lnTo>
                    <a:pt x="2093315" y="354596"/>
                  </a:lnTo>
                  <a:lnTo>
                    <a:pt x="2120404" y="317055"/>
                  </a:lnTo>
                  <a:lnTo>
                    <a:pt x="2158377" y="292646"/>
                  </a:lnTo>
                  <a:lnTo>
                    <a:pt x="2206282" y="283933"/>
                  </a:lnTo>
                  <a:lnTo>
                    <a:pt x="2249563" y="290360"/>
                  </a:lnTo>
                  <a:lnTo>
                    <a:pt x="2287803" y="310959"/>
                  </a:lnTo>
                  <a:lnTo>
                    <a:pt x="2316264" y="347751"/>
                  </a:lnTo>
                  <a:lnTo>
                    <a:pt x="2330221" y="402729"/>
                  </a:lnTo>
                  <a:lnTo>
                    <a:pt x="2330221" y="230555"/>
                  </a:lnTo>
                  <a:lnTo>
                    <a:pt x="2326983" y="228130"/>
                  </a:lnTo>
                  <a:lnTo>
                    <a:pt x="2288908" y="210388"/>
                  </a:lnTo>
                  <a:lnTo>
                    <a:pt x="2248497" y="200088"/>
                  </a:lnTo>
                  <a:lnTo>
                    <a:pt x="2207145" y="196761"/>
                  </a:lnTo>
                  <a:lnTo>
                    <a:pt x="2157222" y="201637"/>
                  </a:lnTo>
                  <a:lnTo>
                    <a:pt x="2111743" y="215734"/>
                  </a:lnTo>
                  <a:lnTo>
                    <a:pt x="2071395" y="238277"/>
                  </a:lnTo>
                  <a:lnTo>
                    <a:pt x="2036864" y="268452"/>
                  </a:lnTo>
                  <a:lnTo>
                    <a:pt x="2008809" y="305473"/>
                  </a:lnTo>
                  <a:lnTo>
                    <a:pt x="1987931" y="348551"/>
                  </a:lnTo>
                  <a:lnTo>
                    <a:pt x="1974913" y="396900"/>
                  </a:lnTo>
                  <a:lnTo>
                    <a:pt x="1970417" y="449732"/>
                  </a:lnTo>
                  <a:lnTo>
                    <a:pt x="1974189" y="498157"/>
                  </a:lnTo>
                  <a:lnTo>
                    <a:pt x="1985098" y="542340"/>
                  </a:lnTo>
                  <a:lnTo>
                    <a:pt x="2002612" y="581875"/>
                  </a:lnTo>
                  <a:lnTo>
                    <a:pt x="2026132" y="616407"/>
                  </a:lnTo>
                  <a:lnTo>
                    <a:pt x="2055088" y="645515"/>
                  </a:lnTo>
                  <a:lnTo>
                    <a:pt x="2088921" y="668832"/>
                  </a:lnTo>
                  <a:lnTo>
                    <a:pt x="2127072" y="685965"/>
                  </a:lnTo>
                  <a:lnTo>
                    <a:pt x="2168944" y="696518"/>
                  </a:lnTo>
                  <a:lnTo>
                    <a:pt x="2213978" y="700125"/>
                  </a:lnTo>
                  <a:lnTo>
                    <a:pt x="2263229" y="695807"/>
                  </a:lnTo>
                  <a:lnTo>
                    <a:pt x="2308021" y="683387"/>
                  </a:lnTo>
                  <a:lnTo>
                    <a:pt x="2347798" y="663702"/>
                  </a:lnTo>
                  <a:lnTo>
                    <a:pt x="2381961" y="637552"/>
                  </a:lnTo>
                  <a:lnTo>
                    <a:pt x="2409964" y="605764"/>
                  </a:lnTo>
                  <a:lnTo>
                    <a:pt x="2431211" y="569175"/>
                  </a:lnTo>
                  <a:lnTo>
                    <a:pt x="2431465" y="568528"/>
                  </a:lnTo>
                  <a:lnTo>
                    <a:pt x="2431618" y="568210"/>
                  </a:lnTo>
                  <a:lnTo>
                    <a:pt x="2334120" y="535089"/>
                  </a:lnTo>
                  <a:lnTo>
                    <a:pt x="2312657" y="566051"/>
                  </a:lnTo>
                  <a:lnTo>
                    <a:pt x="2284958" y="589495"/>
                  </a:lnTo>
                  <a:lnTo>
                    <a:pt x="2251824" y="604342"/>
                  </a:lnTo>
                  <a:lnTo>
                    <a:pt x="2213978" y="609536"/>
                  </a:lnTo>
                  <a:lnTo>
                    <a:pt x="2171496" y="603707"/>
                  </a:lnTo>
                  <a:lnTo>
                    <a:pt x="2134438" y="586676"/>
                  </a:lnTo>
                  <a:lnTo>
                    <a:pt x="2104517" y="559142"/>
                  </a:lnTo>
                  <a:lnTo>
                    <a:pt x="2083447" y="521804"/>
                  </a:lnTo>
                  <a:lnTo>
                    <a:pt x="2072970" y="475373"/>
                  </a:lnTo>
                  <a:lnTo>
                    <a:pt x="2432761" y="475373"/>
                  </a:lnTo>
                  <a:lnTo>
                    <a:pt x="2432761" y="445452"/>
                  </a:lnTo>
                  <a:close/>
                </a:path>
                <a:path w="4199255" h="700405">
                  <a:moveTo>
                    <a:pt x="2884068" y="548868"/>
                  </a:moveTo>
                  <a:lnTo>
                    <a:pt x="2874886" y="499465"/>
                  </a:lnTo>
                  <a:lnTo>
                    <a:pt x="2851277" y="464223"/>
                  </a:lnTo>
                  <a:lnTo>
                    <a:pt x="2819082" y="440258"/>
                  </a:lnTo>
                  <a:lnTo>
                    <a:pt x="2784195" y="424713"/>
                  </a:lnTo>
                  <a:lnTo>
                    <a:pt x="2713139" y="403580"/>
                  </a:lnTo>
                  <a:lnTo>
                    <a:pt x="2681909" y="393954"/>
                  </a:lnTo>
                  <a:lnTo>
                    <a:pt x="2652357" y="380403"/>
                  </a:lnTo>
                  <a:lnTo>
                    <a:pt x="2630347" y="360921"/>
                  </a:lnTo>
                  <a:lnTo>
                    <a:pt x="2621711" y="333502"/>
                  </a:lnTo>
                  <a:lnTo>
                    <a:pt x="2626715" y="311391"/>
                  </a:lnTo>
                  <a:lnTo>
                    <a:pt x="2640609" y="294411"/>
                  </a:lnTo>
                  <a:lnTo>
                    <a:pt x="2661716" y="283514"/>
                  </a:lnTo>
                  <a:lnTo>
                    <a:pt x="2688361" y="279666"/>
                  </a:lnTo>
                  <a:lnTo>
                    <a:pt x="2720492" y="285153"/>
                  </a:lnTo>
                  <a:lnTo>
                    <a:pt x="2745511" y="299859"/>
                  </a:lnTo>
                  <a:lnTo>
                    <a:pt x="2763939" y="321119"/>
                  </a:lnTo>
                  <a:lnTo>
                    <a:pt x="2776372" y="346329"/>
                  </a:lnTo>
                  <a:lnTo>
                    <a:pt x="2870390" y="315556"/>
                  </a:lnTo>
                  <a:lnTo>
                    <a:pt x="2852801" y="277279"/>
                  </a:lnTo>
                  <a:lnTo>
                    <a:pt x="2825292" y="244576"/>
                  </a:lnTo>
                  <a:lnTo>
                    <a:pt x="2788793" y="219138"/>
                  </a:lnTo>
                  <a:lnTo>
                    <a:pt x="2744254" y="202641"/>
                  </a:lnTo>
                  <a:lnTo>
                    <a:pt x="2692628" y="196773"/>
                  </a:lnTo>
                  <a:lnTo>
                    <a:pt x="2647200" y="201117"/>
                  </a:lnTo>
                  <a:lnTo>
                    <a:pt x="2606103" y="213893"/>
                  </a:lnTo>
                  <a:lnTo>
                    <a:pt x="2571064" y="234683"/>
                  </a:lnTo>
                  <a:lnTo>
                    <a:pt x="2543873" y="263105"/>
                  </a:lnTo>
                  <a:lnTo>
                    <a:pt x="2526258" y="298742"/>
                  </a:lnTo>
                  <a:lnTo>
                    <a:pt x="2520010" y="341198"/>
                  </a:lnTo>
                  <a:lnTo>
                    <a:pt x="2528354" y="388670"/>
                  </a:lnTo>
                  <a:lnTo>
                    <a:pt x="2550274" y="424624"/>
                  </a:lnTo>
                  <a:lnTo>
                    <a:pt x="2581110" y="450850"/>
                  </a:lnTo>
                  <a:lnTo>
                    <a:pt x="2616162" y="469150"/>
                  </a:lnTo>
                  <a:lnTo>
                    <a:pt x="2700324" y="495884"/>
                  </a:lnTo>
                  <a:lnTo>
                    <a:pt x="2727706" y="504799"/>
                  </a:lnTo>
                  <a:lnTo>
                    <a:pt x="2752128" y="516610"/>
                  </a:lnTo>
                  <a:lnTo>
                    <a:pt x="2769654" y="533857"/>
                  </a:lnTo>
                  <a:lnTo>
                    <a:pt x="2776372" y="559130"/>
                  </a:lnTo>
                  <a:lnTo>
                    <a:pt x="2769070" y="586460"/>
                  </a:lnTo>
                  <a:lnTo>
                    <a:pt x="2750642" y="604088"/>
                  </a:lnTo>
                  <a:lnTo>
                    <a:pt x="2726271" y="613562"/>
                  </a:lnTo>
                  <a:lnTo>
                    <a:pt x="2701188" y="616381"/>
                  </a:lnTo>
                  <a:lnTo>
                    <a:pt x="2669908" y="611644"/>
                  </a:lnTo>
                  <a:lnTo>
                    <a:pt x="2639441" y="597039"/>
                  </a:lnTo>
                  <a:lnTo>
                    <a:pt x="2612491" y="572033"/>
                  </a:lnTo>
                  <a:lnTo>
                    <a:pt x="2591790" y="536041"/>
                  </a:lnTo>
                  <a:lnTo>
                    <a:pt x="2497772" y="566813"/>
                  </a:lnTo>
                  <a:lnTo>
                    <a:pt x="2513977" y="604278"/>
                  </a:lnTo>
                  <a:lnTo>
                    <a:pt x="2538196" y="636701"/>
                  </a:lnTo>
                  <a:lnTo>
                    <a:pt x="2569781" y="663270"/>
                  </a:lnTo>
                  <a:lnTo>
                    <a:pt x="2608059" y="683221"/>
                  </a:lnTo>
                  <a:lnTo>
                    <a:pt x="2652369" y="695769"/>
                  </a:lnTo>
                  <a:lnTo>
                    <a:pt x="2702039" y="700125"/>
                  </a:lnTo>
                  <a:lnTo>
                    <a:pt x="2753791" y="695147"/>
                  </a:lnTo>
                  <a:lnTo>
                    <a:pt x="2798229" y="680847"/>
                  </a:lnTo>
                  <a:lnTo>
                    <a:pt x="2834386" y="658139"/>
                  </a:lnTo>
                  <a:lnTo>
                    <a:pt x="2861373" y="627964"/>
                  </a:lnTo>
                  <a:lnTo>
                    <a:pt x="2878239" y="591223"/>
                  </a:lnTo>
                  <a:lnTo>
                    <a:pt x="2884068" y="548868"/>
                  </a:lnTo>
                  <a:close/>
                </a:path>
                <a:path w="4199255" h="700405">
                  <a:moveTo>
                    <a:pt x="3086671" y="14516"/>
                  </a:moveTo>
                  <a:lnTo>
                    <a:pt x="2985833" y="14516"/>
                  </a:lnTo>
                  <a:lnTo>
                    <a:pt x="2985833" y="698207"/>
                  </a:lnTo>
                  <a:lnTo>
                    <a:pt x="3086671" y="698207"/>
                  </a:lnTo>
                  <a:lnTo>
                    <a:pt x="3086671" y="14516"/>
                  </a:lnTo>
                  <a:close/>
                </a:path>
                <a:path w="4199255" h="700405">
                  <a:moveTo>
                    <a:pt x="3311664" y="223037"/>
                  </a:moveTo>
                  <a:lnTo>
                    <a:pt x="3210826" y="223037"/>
                  </a:lnTo>
                  <a:lnTo>
                    <a:pt x="3210826" y="698207"/>
                  </a:lnTo>
                  <a:lnTo>
                    <a:pt x="3311664" y="698207"/>
                  </a:lnTo>
                  <a:lnTo>
                    <a:pt x="3311664" y="223037"/>
                  </a:lnTo>
                  <a:close/>
                </a:path>
                <a:path w="4199255" h="700405">
                  <a:moveTo>
                    <a:pt x="3327069" y="69215"/>
                  </a:moveTo>
                  <a:lnTo>
                    <a:pt x="3322078" y="44284"/>
                  </a:lnTo>
                  <a:lnTo>
                    <a:pt x="3308362" y="23596"/>
                  </a:lnTo>
                  <a:lnTo>
                    <a:pt x="3287750" y="9486"/>
                  </a:lnTo>
                  <a:lnTo>
                    <a:pt x="3262096" y="4254"/>
                  </a:lnTo>
                  <a:lnTo>
                    <a:pt x="3235464" y="9486"/>
                  </a:lnTo>
                  <a:lnTo>
                    <a:pt x="3214357" y="23596"/>
                  </a:lnTo>
                  <a:lnTo>
                    <a:pt x="3200450" y="44284"/>
                  </a:lnTo>
                  <a:lnTo>
                    <a:pt x="3195434" y="69215"/>
                  </a:lnTo>
                  <a:lnTo>
                    <a:pt x="3200450" y="95631"/>
                  </a:lnTo>
                  <a:lnTo>
                    <a:pt x="3214357" y="117081"/>
                  </a:lnTo>
                  <a:lnTo>
                    <a:pt x="3235464" y="131470"/>
                  </a:lnTo>
                  <a:lnTo>
                    <a:pt x="3262096" y="136740"/>
                  </a:lnTo>
                  <a:lnTo>
                    <a:pt x="3287750" y="131470"/>
                  </a:lnTo>
                  <a:lnTo>
                    <a:pt x="3308362" y="117081"/>
                  </a:lnTo>
                  <a:lnTo>
                    <a:pt x="3322078" y="95631"/>
                  </a:lnTo>
                  <a:lnTo>
                    <a:pt x="3327069" y="69215"/>
                  </a:lnTo>
                  <a:close/>
                </a:path>
                <a:path w="4199255" h="700405">
                  <a:moveTo>
                    <a:pt x="3711638" y="16217"/>
                  </a:moveTo>
                  <a:lnTo>
                    <a:pt x="3691509" y="8636"/>
                  </a:lnTo>
                  <a:lnTo>
                    <a:pt x="3670414" y="3619"/>
                  </a:lnTo>
                  <a:lnTo>
                    <a:pt x="3649637" y="850"/>
                  </a:lnTo>
                  <a:lnTo>
                    <a:pt x="3630472" y="0"/>
                  </a:lnTo>
                  <a:lnTo>
                    <a:pt x="3586848" y="4648"/>
                  </a:lnTo>
                  <a:lnTo>
                    <a:pt x="3549624" y="18669"/>
                  </a:lnTo>
                  <a:lnTo>
                    <a:pt x="3519474" y="42189"/>
                  </a:lnTo>
                  <a:lnTo>
                    <a:pt x="3497084" y="75336"/>
                  </a:lnTo>
                  <a:lnTo>
                    <a:pt x="3483152" y="118198"/>
                  </a:lnTo>
                  <a:lnTo>
                    <a:pt x="3478352" y="170916"/>
                  </a:lnTo>
                  <a:lnTo>
                    <a:pt x="3478352" y="223050"/>
                  </a:lnTo>
                  <a:lnTo>
                    <a:pt x="3407397" y="223050"/>
                  </a:lnTo>
                  <a:lnTo>
                    <a:pt x="3407397" y="314490"/>
                  </a:lnTo>
                  <a:lnTo>
                    <a:pt x="3478352" y="314490"/>
                  </a:lnTo>
                  <a:lnTo>
                    <a:pt x="3478352" y="698207"/>
                  </a:lnTo>
                  <a:lnTo>
                    <a:pt x="3580041" y="698207"/>
                  </a:lnTo>
                  <a:lnTo>
                    <a:pt x="3580041" y="314490"/>
                  </a:lnTo>
                  <a:lnTo>
                    <a:pt x="3697986" y="314490"/>
                  </a:lnTo>
                  <a:lnTo>
                    <a:pt x="3697986" y="223050"/>
                  </a:lnTo>
                  <a:lnTo>
                    <a:pt x="3580041" y="223050"/>
                  </a:lnTo>
                  <a:lnTo>
                    <a:pt x="3580041" y="181165"/>
                  </a:lnTo>
                  <a:lnTo>
                    <a:pt x="3581146" y="147739"/>
                  </a:lnTo>
                  <a:lnTo>
                    <a:pt x="3588905" y="117500"/>
                  </a:lnTo>
                  <a:lnTo>
                    <a:pt x="3609962" y="95605"/>
                  </a:lnTo>
                  <a:lnTo>
                    <a:pt x="3650970" y="87160"/>
                  </a:lnTo>
                  <a:lnTo>
                    <a:pt x="3664889" y="87884"/>
                  </a:lnTo>
                  <a:lnTo>
                    <a:pt x="3679063" y="90360"/>
                  </a:lnTo>
                  <a:lnTo>
                    <a:pt x="3694353" y="95097"/>
                  </a:lnTo>
                  <a:lnTo>
                    <a:pt x="3711638" y="102539"/>
                  </a:lnTo>
                  <a:lnTo>
                    <a:pt x="3711638" y="16217"/>
                  </a:lnTo>
                  <a:close/>
                </a:path>
                <a:path w="4199255" h="700405">
                  <a:moveTo>
                    <a:pt x="4198823" y="445452"/>
                  </a:moveTo>
                  <a:lnTo>
                    <a:pt x="4195280" y="402729"/>
                  </a:lnTo>
                  <a:lnTo>
                    <a:pt x="4179074" y="330885"/>
                  </a:lnTo>
                  <a:lnTo>
                    <a:pt x="4156506" y="287896"/>
                  </a:lnTo>
                  <a:lnTo>
                    <a:pt x="4153116" y="283933"/>
                  </a:lnTo>
                  <a:lnTo>
                    <a:pt x="4127360" y="253809"/>
                  </a:lnTo>
                  <a:lnTo>
                    <a:pt x="4096283" y="230555"/>
                  </a:lnTo>
                  <a:lnTo>
                    <a:pt x="4096283" y="402729"/>
                  </a:lnTo>
                  <a:lnTo>
                    <a:pt x="3844163" y="402729"/>
                  </a:lnTo>
                  <a:lnTo>
                    <a:pt x="3859390" y="354596"/>
                  </a:lnTo>
                  <a:lnTo>
                    <a:pt x="3886466" y="317055"/>
                  </a:lnTo>
                  <a:lnTo>
                    <a:pt x="3924452" y="292646"/>
                  </a:lnTo>
                  <a:lnTo>
                    <a:pt x="3972356" y="283933"/>
                  </a:lnTo>
                  <a:lnTo>
                    <a:pt x="4015638" y="290360"/>
                  </a:lnTo>
                  <a:lnTo>
                    <a:pt x="4053865" y="310959"/>
                  </a:lnTo>
                  <a:lnTo>
                    <a:pt x="4082326" y="347751"/>
                  </a:lnTo>
                  <a:lnTo>
                    <a:pt x="4096283" y="402729"/>
                  </a:lnTo>
                  <a:lnTo>
                    <a:pt x="4096283" y="230555"/>
                  </a:lnTo>
                  <a:lnTo>
                    <a:pt x="4093045" y="228130"/>
                  </a:lnTo>
                  <a:lnTo>
                    <a:pt x="4054970" y="210388"/>
                  </a:lnTo>
                  <a:lnTo>
                    <a:pt x="4014559" y="200088"/>
                  </a:lnTo>
                  <a:lnTo>
                    <a:pt x="3973207" y="196761"/>
                  </a:lnTo>
                  <a:lnTo>
                    <a:pt x="3923296" y="201637"/>
                  </a:lnTo>
                  <a:lnTo>
                    <a:pt x="3877818" y="215734"/>
                  </a:lnTo>
                  <a:lnTo>
                    <a:pt x="3837470" y="238277"/>
                  </a:lnTo>
                  <a:lnTo>
                    <a:pt x="3802926" y="268452"/>
                  </a:lnTo>
                  <a:lnTo>
                    <a:pt x="3774884" y="305473"/>
                  </a:lnTo>
                  <a:lnTo>
                    <a:pt x="3754005" y="348551"/>
                  </a:lnTo>
                  <a:lnTo>
                    <a:pt x="3740975" y="396900"/>
                  </a:lnTo>
                  <a:lnTo>
                    <a:pt x="3736492" y="449732"/>
                  </a:lnTo>
                  <a:lnTo>
                    <a:pt x="3740251" y="498157"/>
                  </a:lnTo>
                  <a:lnTo>
                    <a:pt x="3751173" y="542340"/>
                  </a:lnTo>
                  <a:lnTo>
                    <a:pt x="3768674" y="581875"/>
                  </a:lnTo>
                  <a:lnTo>
                    <a:pt x="3792194" y="616407"/>
                  </a:lnTo>
                  <a:lnTo>
                    <a:pt x="3821163" y="645515"/>
                  </a:lnTo>
                  <a:lnTo>
                    <a:pt x="3854996" y="668832"/>
                  </a:lnTo>
                  <a:lnTo>
                    <a:pt x="3893134" y="685965"/>
                  </a:lnTo>
                  <a:lnTo>
                    <a:pt x="3935006" y="696518"/>
                  </a:lnTo>
                  <a:lnTo>
                    <a:pt x="3980053" y="700125"/>
                  </a:lnTo>
                  <a:lnTo>
                    <a:pt x="4029291" y="695807"/>
                  </a:lnTo>
                  <a:lnTo>
                    <a:pt x="4074096" y="683387"/>
                  </a:lnTo>
                  <a:lnTo>
                    <a:pt x="4113860" y="663702"/>
                  </a:lnTo>
                  <a:lnTo>
                    <a:pt x="4148036" y="637552"/>
                  </a:lnTo>
                  <a:lnTo>
                    <a:pt x="4176026" y="605764"/>
                  </a:lnTo>
                  <a:lnTo>
                    <a:pt x="4197273" y="569175"/>
                  </a:lnTo>
                  <a:lnTo>
                    <a:pt x="4197540" y="568528"/>
                  </a:lnTo>
                  <a:lnTo>
                    <a:pt x="4197693" y="568210"/>
                  </a:lnTo>
                  <a:lnTo>
                    <a:pt x="4100195" y="535089"/>
                  </a:lnTo>
                  <a:lnTo>
                    <a:pt x="4078719" y="566051"/>
                  </a:lnTo>
                  <a:lnTo>
                    <a:pt x="4051033" y="589495"/>
                  </a:lnTo>
                  <a:lnTo>
                    <a:pt x="4017886" y="604342"/>
                  </a:lnTo>
                  <a:lnTo>
                    <a:pt x="3980053" y="609536"/>
                  </a:lnTo>
                  <a:lnTo>
                    <a:pt x="3937571" y="603707"/>
                  </a:lnTo>
                  <a:lnTo>
                    <a:pt x="3900513" y="586676"/>
                  </a:lnTo>
                  <a:lnTo>
                    <a:pt x="3870579" y="559142"/>
                  </a:lnTo>
                  <a:lnTo>
                    <a:pt x="3849522" y="521804"/>
                  </a:lnTo>
                  <a:lnTo>
                    <a:pt x="3839032" y="475373"/>
                  </a:lnTo>
                  <a:lnTo>
                    <a:pt x="4198823" y="475373"/>
                  </a:lnTo>
                  <a:lnTo>
                    <a:pt x="4198823" y="445452"/>
                  </a:lnTo>
                  <a:close/>
                </a:path>
              </a:pathLst>
            </a:custGeom>
            <a:solidFill>
              <a:srgbClr val="FFFFFF"/>
            </a:solidFill>
          </p:spPr>
          <p:txBody>
            <a:bodyPr wrap="square" lIns="0" tIns="0" rIns="0" bIns="0" rtlCol="0"/>
            <a:lstStyle/>
            <a:p>
              <a:endParaRPr dirty="0"/>
            </a:p>
          </p:txBody>
        </p:sp>
        <p:pic>
          <p:nvPicPr>
            <p:cNvPr id="19" name="object 5">
              <a:extLst>
                <a:ext uri="{FF2B5EF4-FFF2-40B4-BE49-F238E27FC236}">
                  <a16:creationId xmlns:a16="http://schemas.microsoft.com/office/drawing/2014/main" id="{09113198-8DF1-5AB4-2A74-906F66955A02}"/>
                </a:ext>
              </a:extLst>
            </p:cNvPr>
            <p:cNvPicPr/>
            <p:nvPr/>
          </p:nvPicPr>
          <p:blipFill>
            <a:blip r:embed="rId5" cstate="print"/>
            <a:stretch>
              <a:fillRect/>
            </a:stretch>
          </p:blipFill>
          <p:spPr>
            <a:xfrm>
              <a:off x="1187091" y="1051352"/>
              <a:ext cx="131619" cy="132467"/>
            </a:xfrm>
            <a:prstGeom prst="rect">
              <a:avLst/>
            </a:prstGeom>
          </p:spPr>
        </p:pic>
      </p:grpSp>
    </p:spTree>
    <p:extLst>
      <p:ext uri="{BB962C8B-B14F-4D97-AF65-F5344CB8AC3E}">
        <p14:creationId xmlns:p14="http://schemas.microsoft.com/office/powerpoint/2010/main" val="24296526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1_Backcov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AE6DB42-72B1-E33D-0904-47B64AFF1575}"/>
              </a:ext>
            </a:extLst>
          </p:cNvPr>
          <p:cNvGraphicFramePr>
            <a:graphicFrameLocks noChangeAspect="1"/>
          </p:cNvGraphicFramePr>
          <p:nvPr userDrawn="1">
            <p:custDataLst>
              <p:tags r:id="rId1"/>
            </p:custDataLst>
            <p:extLst>
              <p:ext uri="{D42A27DB-BD31-4B8C-83A1-F6EECF244321}">
                <p14:modId xmlns:p14="http://schemas.microsoft.com/office/powerpoint/2010/main" val="3974063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2" name="think-cell data - do not delete" hidden="1">
                        <a:extLst>
                          <a:ext uri="{FF2B5EF4-FFF2-40B4-BE49-F238E27FC236}">
                            <a16:creationId xmlns:a16="http://schemas.microsoft.com/office/drawing/2014/main" id="{9AE6DB42-72B1-E33D-0904-47B64AFF15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327E3DE2-2EA2-F26B-D065-B9694246AC0D}"/>
              </a:ext>
            </a:extLst>
          </p:cNvPr>
          <p:cNvGrpSpPr/>
          <p:nvPr userDrawn="1"/>
        </p:nvGrpSpPr>
        <p:grpSpPr>
          <a:xfrm>
            <a:off x="3315629" y="2965224"/>
            <a:ext cx="5560742" cy="927552"/>
            <a:chOff x="10923753" y="1706758"/>
            <a:chExt cx="7512536" cy="1253118"/>
          </a:xfrm>
        </p:grpSpPr>
        <p:grpSp>
          <p:nvGrpSpPr>
            <p:cNvPr id="12" name="object 38">
              <a:extLst>
                <a:ext uri="{FF2B5EF4-FFF2-40B4-BE49-F238E27FC236}">
                  <a16:creationId xmlns:a16="http://schemas.microsoft.com/office/drawing/2014/main" id="{9880692F-70CA-AFDF-F956-A1BB5F57BFDC}"/>
                </a:ext>
              </a:extLst>
            </p:cNvPr>
            <p:cNvGrpSpPr/>
            <p:nvPr userDrawn="1"/>
          </p:nvGrpSpPr>
          <p:grpSpPr>
            <a:xfrm>
              <a:off x="10923753" y="1714382"/>
              <a:ext cx="735330" cy="1245235"/>
              <a:chOff x="10923753" y="1714382"/>
              <a:chExt cx="735330" cy="1245235"/>
            </a:xfrm>
          </p:grpSpPr>
          <p:sp>
            <p:nvSpPr>
              <p:cNvPr id="13" name="object 39">
                <a:extLst>
                  <a:ext uri="{FF2B5EF4-FFF2-40B4-BE49-F238E27FC236}">
                    <a16:creationId xmlns:a16="http://schemas.microsoft.com/office/drawing/2014/main" id="{B73F586D-D3DD-4390-E522-3763112099AD}"/>
                  </a:ext>
                </a:extLst>
              </p:cNvPr>
              <p:cNvSpPr/>
              <p:nvPr/>
            </p:nvSpPr>
            <p:spPr>
              <a:xfrm>
                <a:off x="10923753" y="1904561"/>
                <a:ext cx="735330" cy="1055370"/>
              </a:xfrm>
              <a:custGeom>
                <a:avLst/>
                <a:gdLst/>
                <a:ahLst/>
                <a:cxnLst/>
                <a:rect l="l" t="t" r="r" b="b"/>
                <a:pathLst>
                  <a:path w="735329" h="1055370">
                    <a:moveTo>
                      <a:pt x="735126" y="696264"/>
                    </a:moveTo>
                    <a:lnTo>
                      <a:pt x="689292" y="699173"/>
                    </a:lnTo>
                    <a:lnTo>
                      <a:pt x="686409" y="699350"/>
                    </a:lnTo>
                    <a:lnTo>
                      <a:pt x="677418" y="701116"/>
                    </a:lnTo>
                    <a:lnTo>
                      <a:pt x="640435" y="708329"/>
                    </a:lnTo>
                    <a:lnTo>
                      <a:pt x="596709" y="722833"/>
                    </a:lnTo>
                    <a:lnTo>
                      <a:pt x="555599" y="742480"/>
                    </a:lnTo>
                    <a:lnTo>
                      <a:pt x="517512" y="766876"/>
                    </a:lnTo>
                    <a:lnTo>
                      <a:pt x="482815" y="795629"/>
                    </a:lnTo>
                    <a:lnTo>
                      <a:pt x="451904" y="828370"/>
                    </a:lnTo>
                    <a:lnTo>
                      <a:pt x="425157" y="864704"/>
                    </a:lnTo>
                    <a:lnTo>
                      <a:pt x="402958" y="904252"/>
                    </a:lnTo>
                    <a:lnTo>
                      <a:pt x="385686" y="946632"/>
                    </a:lnTo>
                    <a:lnTo>
                      <a:pt x="373735" y="991450"/>
                    </a:lnTo>
                    <a:lnTo>
                      <a:pt x="367474" y="1038326"/>
                    </a:lnTo>
                    <a:lnTo>
                      <a:pt x="364477" y="1016482"/>
                    </a:lnTo>
                    <a:lnTo>
                      <a:pt x="361073" y="991628"/>
                    </a:lnTo>
                    <a:lnTo>
                      <a:pt x="348996" y="947000"/>
                    </a:lnTo>
                    <a:lnTo>
                      <a:pt x="331635" y="904811"/>
                    </a:lnTo>
                    <a:lnTo>
                      <a:pt x="309384" y="865428"/>
                    </a:lnTo>
                    <a:lnTo>
                      <a:pt x="282613" y="829246"/>
                    </a:lnTo>
                    <a:lnTo>
                      <a:pt x="251701" y="796658"/>
                    </a:lnTo>
                    <a:lnTo>
                      <a:pt x="217043" y="768032"/>
                    </a:lnTo>
                    <a:lnTo>
                      <a:pt x="179006" y="743750"/>
                    </a:lnTo>
                    <a:lnTo>
                      <a:pt x="165747" y="737450"/>
                    </a:lnTo>
                    <a:lnTo>
                      <a:pt x="137972" y="724204"/>
                    </a:lnTo>
                    <a:lnTo>
                      <a:pt x="94335" y="709764"/>
                    </a:lnTo>
                    <a:lnTo>
                      <a:pt x="48463" y="700824"/>
                    </a:lnTo>
                    <a:lnTo>
                      <a:pt x="0" y="697776"/>
                    </a:lnTo>
                    <a:lnTo>
                      <a:pt x="4559" y="746353"/>
                    </a:lnTo>
                    <a:lnTo>
                      <a:pt x="15227" y="792911"/>
                    </a:lnTo>
                    <a:lnTo>
                      <a:pt x="31597" y="836993"/>
                    </a:lnTo>
                    <a:lnTo>
                      <a:pt x="53225" y="878205"/>
                    </a:lnTo>
                    <a:lnTo>
                      <a:pt x="79730" y="916139"/>
                    </a:lnTo>
                    <a:lnTo>
                      <a:pt x="110680" y="950353"/>
                    </a:lnTo>
                    <a:lnTo>
                      <a:pt x="145656" y="980465"/>
                    </a:lnTo>
                    <a:lnTo>
                      <a:pt x="184264" y="1006043"/>
                    </a:lnTo>
                    <a:lnTo>
                      <a:pt x="226072" y="1026693"/>
                    </a:lnTo>
                    <a:lnTo>
                      <a:pt x="270675" y="1041971"/>
                    </a:lnTo>
                    <a:lnTo>
                      <a:pt x="317652" y="1051496"/>
                    </a:lnTo>
                    <a:lnTo>
                      <a:pt x="366585" y="1054836"/>
                    </a:lnTo>
                    <a:lnTo>
                      <a:pt x="368223" y="1054836"/>
                    </a:lnTo>
                    <a:lnTo>
                      <a:pt x="417309" y="1051483"/>
                    </a:lnTo>
                    <a:lnTo>
                      <a:pt x="464413" y="1041920"/>
                    </a:lnTo>
                    <a:lnTo>
                      <a:pt x="509130" y="1026566"/>
                    </a:lnTo>
                    <a:lnTo>
                      <a:pt x="551027" y="1005827"/>
                    </a:lnTo>
                    <a:lnTo>
                      <a:pt x="589711" y="980135"/>
                    </a:lnTo>
                    <a:lnTo>
                      <a:pt x="624738" y="949896"/>
                    </a:lnTo>
                    <a:lnTo>
                      <a:pt x="655713" y="915517"/>
                    </a:lnTo>
                    <a:lnTo>
                      <a:pt x="682205" y="877443"/>
                    </a:lnTo>
                    <a:lnTo>
                      <a:pt x="703821" y="836053"/>
                    </a:lnTo>
                    <a:lnTo>
                      <a:pt x="720115" y="791794"/>
                    </a:lnTo>
                    <a:lnTo>
                      <a:pt x="730694" y="745058"/>
                    </a:lnTo>
                    <a:lnTo>
                      <a:pt x="735114" y="696290"/>
                    </a:lnTo>
                    <a:close/>
                  </a:path>
                  <a:path w="735329" h="1055370">
                    <a:moveTo>
                      <a:pt x="735126" y="356158"/>
                    </a:moveTo>
                    <a:lnTo>
                      <a:pt x="686396" y="359244"/>
                    </a:lnTo>
                    <a:lnTo>
                      <a:pt x="640422" y="368223"/>
                    </a:lnTo>
                    <a:lnTo>
                      <a:pt x="596696" y="382739"/>
                    </a:lnTo>
                    <a:lnTo>
                      <a:pt x="555599" y="402374"/>
                    </a:lnTo>
                    <a:lnTo>
                      <a:pt x="517512" y="426770"/>
                    </a:lnTo>
                    <a:lnTo>
                      <a:pt x="482815" y="455523"/>
                    </a:lnTo>
                    <a:lnTo>
                      <a:pt x="451904" y="488264"/>
                    </a:lnTo>
                    <a:lnTo>
                      <a:pt x="425157" y="524598"/>
                    </a:lnTo>
                    <a:lnTo>
                      <a:pt x="402958" y="564146"/>
                    </a:lnTo>
                    <a:lnTo>
                      <a:pt x="385686" y="606526"/>
                    </a:lnTo>
                    <a:lnTo>
                      <a:pt x="373735" y="651344"/>
                    </a:lnTo>
                    <a:lnTo>
                      <a:pt x="367474" y="698220"/>
                    </a:lnTo>
                    <a:lnTo>
                      <a:pt x="361073" y="651522"/>
                    </a:lnTo>
                    <a:lnTo>
                      <a:pt x="348996" y="606894"/>
                    </a:lnTo>
                    <a:lnTo>
                      <a:pt x="331635" y="564692"/>
                    </a:lnTo>
                    <a:lnTo>
                      <a:pt x="309384" y="525310"/>
                    </a:lnTo>
                    <a:lnTo>
                      <a:pt x="282613" y="489140"/>
                    </a:lnTo>
                    <a:lnTo>
                      <a:pt x="251701" y="456552"/>
                    </a:lnTo>
                    <a:lnTo>
                      <a:pt x="217043" y="427926"/>
                    </a:lnTo>
                    <a:lnTo>
                      <a:pt x="179006" y="403644"/>
                    </a:lnTo>
                    <a:lnTo>
                      <a:pt x="137972" y="384098"/>
                    </a:lnTo>
                    <a:lnTo>
                      <a:pt x="94335" y="369658"/>
                    </a:lnTo>
                    <a:lnTo>
                      <a:pt x="48463" y="360718"/>
                    </a:lnTo>
                    <a:lnTo>
                      <a:pt x="0" y="357644"/>
                    </a:lnTo>
                    <a:lnTo>
                      <a:pt x="4559" y="406247"/>
                    </a:lnTo>
                    <a:lnTo>
                      <a:pt x="15227" y="452793"/>
                    </a:lnTo>
                    <a:lnTo>
                      <a:pt x="31597" y="496887"/>
                    </a:lnTo>
                    <a:lnTo>
                      <a:pt x="53238" y="538099"/>
                    </a:lnTo>
                    <a:lnTo>
                      <a:pt x="79730" y="576021"/>
                    </a:lnTo>
                    <a:lnTo>
                      <a:pt x="110680" y="610247"/>
                    </a:lnTo>
                    <a:lnTo>
                      <a:pt x="145669" y="640359"/>
                    </a:lnTo>
                    <a:lnTo>
                      <a:pt x="184264" y="665937"/>
                    </a:lnTo>
                    <a:lnTo>
                      <a:pt x="226072" y="686574"/>
                    </a:lnTo>
                    <a:lnTo>
                      <a:pt x="270675" y="701865"/>
                    </a:lnTo>
                    <a:lnTo>
                      <a:pt x="317652" y="711390"/>
                    </a:lnTo>
                    <a:lnTo>
                      <a:pt x="366585" y="714730"/>
                    </a:lnTo>
                    <a:lnTo>
                      <a:pt x="368223" y="714730"/>
                    </a:lnTo>
                    <a:lnTo>
                      <a:pt x="417309" y="711377"/>
                    </a:lnTo>
                    <a:lnTo>
                      <a:pt x="464413" y="701814"/>
                    </a:lnTo>
                    <a:lnTo>
                      <a:pt x="509130" y="686447"/>
                    </a:lnTo>
                    <a:lnTo>
                      <a:pt x="551027" y="665721"/>
                    </a:lnTo>
                    <a:lnTo>
                      <a:pt x="589711" y="640029"/>
                    </a:lnTo>
                    <a:lnTo>
                      <a:pt x="624738" y="609777"/>
                    </a:lnTo>
                    <a:lnTo>
                      <a:pt x="655713" y="575411"/>
                    </a:lnTo>
                    <a:lnTo>
                      <a:pt x="682205" y="537324"/>
                    </a:lnTo>
                    <a:lnTo>
                      <a:pt x="703821" y="495947"/>
                    </a:lnTo>
                    <a:lnTo>
                      <a:pt x="720115" y="451675"/>
                    </a:lnTo>
                    <a:lnTo>
                      <a:pt x="730694" y="404952"/>
                    </a:lnTo>
                    <a:lnTo>
                      <a:pt x="735126" y="356158"/>
                    </a:lnTo>
                    <a:close/>
                  </a:path>
                  <a:path w="735329" h="1055370">
                    <a:moveTo>
                      <a:pt x="735126" y="0"/>
                    </a:moveTo>
                    <a:lnTo>
                      <a:pt x="686396" y="3073"/>
                    </a:lnTo>
                    <a:lnTo>
                      <a:pt x="640422" y="12065"/>
                    </a:lnTo>
                    <a:lnTo>
                      <a:pt x="596696" y="26568"/>
                    </a:lnTo>
                    <a:lnTo>
                      <a:pt x="555599" y="46215"/>
                    </a:lnTo>
                    <a:lnTo>
                      <a:pt x="517512" y="70599"/>
                    </a:lnTo>
                    <a:lnTo>
                      <a:pt x="482815" y="99364"/>
                    </a:lnTo>
                    <a:lnTo>
                      <a:pt x="451904" y="132105"/>
                    </a:lnTo>
                    <a:lnTo>
                      <a:pt x="425157" y="168440"/>
                    </a:lnTo>
                    <a:lnTo>
                      <a:pt x="402958" y="207987"/>
                    </a:lnTo>
                    <a:lnTo>
                      <a:pt x="385686" y="250355"/>
                    </a:lnTo>
                    <a:lnTo>
                      <a:pt x="373735" y="295173"/>
                    </a:lnTo>
                    <a:lnTo>
                      <a:pt x="367474" y="342049"/>
                    </a:lnTo>
                    <a:lnTo>
                      <a:pt x="361073" y="295363"/>
                    </a:lnTo>
                    <a:lnTo>
                      <a:pt x="348996" y="250723"/>
                    </a:lnTo>
                    <a:lnTo>
                      <a:pt x="331635" y="208534"/>
                    </a:lnTo>
                    <a:lnTo>
                      <a:pt x="309384" y="169151"/>
                    </a:lnTo>
                    <a:lnTo>
                      <a:pt x="282613" y="132969"/>
                    </a:lnTo>
                    <a:lnTo>
                      <a:pt x="251701" y="100380"/>
                    </a:lnTo>
                    <a:lnTo>
                      <a:pt x="217043" y="71755"/>
                    </a:lnTo>
                    <a:lnTo>
                      <a:pt x="179006" y="47472"/>
                    </a:lnTo>
                    <a:lnTo>
                      <a:pt x="137972" y="27927"/>
                    </a:lnTo>
                    <a:lnTo>
                      <a:pt x="94335" y="13487"/>
                    </a:lnTo>
                    <a:lnTo>
                      <a:pt x="48463" y="4546"/>
                    </a:lnTo>
                    <a:lnTo>
                      <a:pt x="0" y="1485"/>
                    </a:lnTo>
                    <a:lnTo>
                      <a:pt x="4559" y="50088"/>
                    </a:lnTo>
                    <a:lnTo>
                      <a:pt x="15227" y="96634"/>
                    </a:lnTo>
                    <a:lnTo>
                      <a:pt x="31597" y="140716"/>
                    </a:lnTo>
                    <a:lnTo>
                      <a:pt x="53238" y="181940"/>
                    </a:lnTo>
                    <a:lnTo>
                      <a:pt x="79730" y="219862"/>
                    </a:lnTo>
                    <a:lnTo>
                      <a:pt x="110680" y="254088"/>
                    </a:lnTo>
                    <a:lnTo>
                      <a:pt x="145669" y="284187"/>
                    </a:lnTo>
                    <a:lnTo>
                      <a:pt x="184264" y="309778"/>
                    </a:lnTo>
                    <a:lnTo>
                      <a:pt x="226072" y="330415"/>
                    </a:lnTo>
                    <a:lnTo>
                      <a:pt x="270675" y="345706"/>
                    </a:lnTo>
                    <a:lnTo>
                      <a:pt x="317652" y="355219"/>
                    </a:lnTo>
                    <a:lnTo>
                      <a:pt x="366585" y="358559"/>
                    </a:lnTo>
                    <a:lnTo>
                      <a:pt x="368223" y="358559"/>
                    </a:lnTo>
                    <a:lnTo>
                      <a:pt x="417309" y="355206"/>
                    </a:lnTo>
                    <a:lnTo>
                      <a:pt x="464413" y="345643"/>
                    </a:lnTo>
                    <a:lnTo>
                      <a:pt x="509130" y="330288"/>
                    </a:lnTo>
                    <a:lnTo>
                      <a:pt x="551027" y="309549"/>
                    </a:lnTo>
                    <a:lnTo>
                      <a:pt x="589711" y="283857"/>
                    </a:lnTo>
                    <a:lnTo>
                      <a:pt x="624738" y="253619"/>
                    </a:lnTo>
                    <a:lnTo>
                      <a:pt x="655713" y="219252"/>
                    </a:lnTo>
                    <a:lnTo>
                      <a:pt x="682205" y="181165"/>
                    </a:lnTo>
                    <a:lnTo>
                      <a:pt x="703821" y="139776"/>
                    </a:lnTo>
                    <a:lnTo>
                      <a:pt x="720115" y="95516"/>
                    </a:lnTo>
                    <a:lnTo>
                      <a:pt x="730694" y="48780"/>
                    </a:lnTo>
                    <a:lnTo>
                      <a:pt x="735126" y="0"/>
                    </a:lnTo>
                    <a:close/>
                  </a:path>
                </a:pathLst>
              </a:custGeom>
              <a:solidFill>
                <a:srgbClr val="009FD3"/>
              </a:solidFill>
            </p:spPr>
            <p:txBody>
              <a:bodyPr wrap="square" lIns="0" tIns="0" rIns="0" bIns="0" rtlCol="0"/>
              <a:lstStyle/>
              <a:p>
                <a:endParaRPr dirty="0"/>
              </a:p>
            </p:txBody>
          </p:sp>
          <p:pic>
            <p:nvPicPr>
              <p:cNvPr id="14" name="object 40">
                <a:extLst>
                  <a:ext uri="{FF2B5EF4-FFF2-40B4-BE49-F238E27FC236}">
                    <a16:creationId xmlns:a16="http://schemas.microsoft.com/office/drawing/2014/main" id="{284065E2-19F9-F14A-EFCD-F2D20BEB4F22}"/>
                  </a:ext>
                </a:extLst>
              </p:cNvPr>
              <p:cNvPicPr/>
              <p:nvPr/>
            </p:nvPicPr>
            <p:blipFill>
              <a:blip r:embed="rId5" cstate="print"/>
              <a:stretch>
                <a:fillRect/>
              </a:stretch>
            </p:blipFill>
            <p:spPr>
              <a:xfrm>
                <a:off x="11174235" y="1714382"/>
                <a:ext cx="235500" cy="237008"/>
              </a:xfrm>
              <a:prstGeom prst="rect">
                <a:avLst/>
              </a:prstGeom>
            </p:spPr>
          </p:pic>
        </p:grpSp>
        <p:sp>
          <p:nvSpPr>
            <p:cNvPr id="15" name="object 41">
              <a:extLst>
                <a:ext uri="{FF2B5EF4-FFF2-40B4-BE49-F238E27FC236}">
                  <a16:creationId xmlns:a16="http://schemas.microsoft.com/office/drawing/2014/main" id="{88594B9C-0BAE-6E56-B9D5-2839EC4C90B4}"/>
                </a:ext>
              </a:extLst>
            </p:cNvPr>
            <p:cNvSpPr/>
            <p:nvPr userDrawn="1"/>
          </p:nvSpPr>
          <p:spPr>
            <a:xfrm>
              <a:off x="11898393" y="2058811"/>
              <a:ext cx="845819" cy="901065"/>
            </a:xfrm>
            <a:custGeom>
              <a:avLst/>
              <a:gdLst/>
              <a:ahLst/>
              <a:cxnLst/>
              <a:rect l="l" t="t" r="r" b="b"/>
              <a:pathLst>
                <a:path w="845820" h="901064">
                  <a:moveTo>
                    <a:pt x="432709" y="0"/>
                  </a:moveTo>
                  <a:lnTo>
                    <a:pt x="384043" y="2321"/>
                  </a:lnTo>
                  <a:lnTo>
                    <a:pt x="337266" y="9196"/>
                  </a:lnTo>
                  <a:lnTo>
                    <a:pt x="292595" y="20488"/>
                  </a:lnTo>
                  <a:lnTo>
                    <a:pt x="250247" y="36062"/>
                  </a:lnTo>
                  <a:lnTo>
                    <a:pt x="210441" y="55780"/>
                  </a:lnTo>
                  <a:lnTo>
                    <a:pt x="173394" y="79508"/>
                  </a:lnTo>
                  <a:lnTo>
                    <a:pt x="139322" y="107110"/>
                  </a:lnTo>
                  <a:lnTo>
                    <a:pt x="108445" y="138449"/>
                  </a:lnTo>
                  <a:lnTo>
                    <a:pt x="80979" y="173389"/>
                  </a:lnTo>
                  <a:lnTo>
                    <a:pt x="57141" y="211795"/>
                  </a:lnTo>
                  <a:lnTo>
                    <a:pt x="37150" y="253531"/>
                  </a:lnTo>
                  <a:lnTo>
                    <a:pt x="21223" y="298461"/>
                  </a:lnTo>
                  <a:lnTo>
                    <a:pt x="9577" y="346449"/>
                  </a:lnTo>
                  <a:lnTo>
                    <a:pt x="2430" y="397358"/>
                  </a:lnTo>
                  <a:lnTo>
                    <a:pt x="0" y="451054"/>
                  </a:lnTo>
                  <a:lnTo>
                    <a:pt x="2451" y="504730"/>
                  </a:lnTo>
                  <a:lnTo>
                    <a:pt x="9659" y="555585"/>
                  </a:lnTo>
                  <a:lnTo>
                    <a:pt x="21407" y="603488"/>
                  </a:lnTo>
                  <a:lnTo>
                    <a:pt x="37477" y="648308"/>
                  </a:lnTo>
                  <a:lnTo>
                    <a:pt x="57651" y="689916"/>
                  </a:lnTo>
                  <a:lnTo>
                    <a:pt x="81713" y="728180"/>
                  </a:lnTo>
                  <a:lnTo>
                    <a:pt x="109445" y="762971"/>
                  </a:lnTo>
                  <a:lnTo>
                    <a:pt x="140629" y="794157"/>
                  </a:lnTo>
                  <a:lnTo>
                    <a:pt x="175047" y="821609"/>
                  </a:lnTo>
                  <a:lnTo>
                    <a:pt x="212482" y="845195"/>
                  </a:lnTo>
                  <a:lnTo>
                    <a:pt x="252718" y="864785"/>
                  </a:lnTo>
                  <a:lnTo>
                    <a:pt x="295535" y="880250"/>
                  </a:lnTo>
                  <a:lnTo>
                    <a:pt x="340717" y="891457"/>
                  </a:lnTo>
                  <a:lnTo>
                    <a:pt x="388047" y="898277"/>
                  </a:lnTo>
                  <a:lnTo>
                    <a:pt x="437306" y="900579"/>
                  </a:lnTo>
                  <a:lnTo>
                    <a:pt x="488856" y="898061"/>
                  </a:lnTo>
                  <a:lnTo>
                    <a:pt x="538264" y="890595"/>
                  </a:lnTo>
                  <a:lnTo>
                    <a:pt x="585282" y="878310"/>
                  </a:lnTo>
                  <a:lnTo>
                    <a:pt x="629660" y="861339"/>
                  </a:lnTo>
                  <a:lnTo>
                    <a:pt x="671150" y="839811"/>
                  </a:lnTo>
                  <a:lnTo>
                    <a:pt x="709505" y="813859"/>
                  </a:lnTo>
                  <a:lnTo>
                    <a:pt x="744475" y="783611"/>
                  </a:lnTo>
                  <a:lnTo>
                    <a:pt x="775812" y="749201"/>
                  </a:lnTo>
                  <a:lnTo>
                    <a:pt x="803269" y="710757"/>
                  </a:lnTo>
                  <a:lnTo>
                    <a:pt x="826595" y="668411"/>
                  </a:lnTo>
                  <a:lnTo>
                    <a:pt x="845544" y="622295"/>
                  </a:lnTo>
                  <a:lnTo>
                    <a:pt x="677361" y="556548"/>
                  </a:lnTo>
                  <a:lnTo>
                    <a:pt x="656452" y="599824"/>
                  </a:lnTo>
                  <a:lnTo>
                    <a:pt x="630620" y="637616"/>
                  </a:lnTo>
                  <a:lnTo>
                    <a:pt x="600186" y="669496"/>
                  </a:lnTo>
                  <a:lnTo>
                    <a:pt x="565470" y="695035"/>
                  </a:lnTo>
                  <a:lnTo>
                    <a:pt x="526794" y="713808"/>
                  </a:lnTo>
                  <a:lnTo>
                    <a:pt x="484479" y="725385"/>
                  </a:lnTo>
                  <a:lnTo>
                    <a:pt x="438845" y="729339"/>
                  </a:lnTo>
                  <a:lnTo>
                    <a:pt x="393247" y="725381"/>
                  </a:lnTo>
                  <a:lnTo>
                    <a:pt x="350658" y="713759"/>
                  </a:lnTo>
                  <a:lnTo>
                    <a:pt x="311707" y="694850"/>
                  </a:lnTo>
                  <a:lnTo>
                    <a:pt x="277023" y="669033"/>
                  </a:lnTo>
                  <a:lnTo>
                    <a:pt x="247234" y="636684"/>
                  </a:lnTo>
                  <a:lnTo>
                    <a:pt x="222970" y="598181"/>
                  </a:lnTo>
                  <a:lnTo>
                    <a:pt x="204860" y="553902"/>
                  </a:lnTo>
                  <a:lnTo>
                    <a:pt x="193532" y="504224"/>
                  </a:lnTo>
                  <a:lnTo>
                    <a:pt x="189617" y="449525"/>
                  </a:lnTo>
                  <a:lnTo>
                    <a:pt x="193069" y="398502"/>
                  </a:lnTo>
                  <a:lnTo>
                    <a:pt x="203189" y="350889"/>
                  </a:lnTo>
                  <a:lnTo>
                    <a:pt x="219626" y="307378"/>
                  </a:lnTo>
                  <a:lnTo>
                    <a:pt x="242027" y="268662"/>
                  </a:lnTo>
                  <a:lnTo>
                    <a:pt x="270040" y="235432"/>
                  </a:lnTo>
                  <a:lnTo>
                    <a:pt x="303314" y="208382"/>
                  </a:lnTo>
                  <a:lnTo>
                    <a:pt x="341494" y="188204"/>
                  </a:lnTo>
                  <a:lnTo>
                    <a:pt x="384230" y="175589"/>
                  </a:lnTo>
                  <a:lnTo>
                    <a:pt x="431170" y="171230"/>
                  </a:lnTo>
                  <a:lnTo>
                    <a:pt x="478796" y="175457"/>
                  </a:lnTo>
                  <a:lnTo>
                    <a:pt x="523200" y="188222"/>
                  </a:lnTo>
                  <a:lnTo>
                    <a:pt x="563443" y="209653"/>
                  </a:lnTo>
                  <a:lnTo>
                    <a:pt x="598587" y="239875"/>
                  </a:lnTo>
                  <a:lnTo>
                    <a:pt x="627693" y="279017"/>
                  </a:lnTo>
                  <a:lnTo>
                    <a:pt x="649823" y="327204"/>
                  </a:lnTo>
                  <a:lnTo>
                    <a:pt x="821105" y="258390"/>
                  </a:lnTo>
                  <a:lnTo>
                    <a:pt x="799654" y="209917"/>
                  </a:lnTo>
                  <a:lnTo>
                    <a:pt x="773213" y="166352"/>
                  </a:lnTo>
                  <a:lnTo>
                    <a:pt x="742205" y="127739"/>
                  </a:lnTo>
                  <a:lnTo>
                    <a:pt x="707052" y="94125"/>
                  </a:lnTo>
                  <a:lnTo>
                    <a:pt x="668175" y="65556"/>
                  </a:lnTo>
                  <a:lnTo>
                    <a:pt x="625997" y="42079"/>
                  </a:lnTo>
                  <a:lnTo>
                    <a:pt x="580940" y="23738"/>
                  </a:lnTo>
                  <a:lnTo>
                    <a:pt x="533424" y="10581"/>
                  </a:lnTo>
                  <a:lnTo>
                    <a:pt x="483873" y="2652"/>
                  </a:lnTo>
                  <a:lnTo>
                    <a:pt x="432709" y="0"/>
                  </a:lnTo>
                  <a:close/>
                </a:path>
              </a:pathLst>
            </a:custGeom>
            <a:solidFill>
              <a:srgbClr val="009FD3"/>
            </a:solidFill>
          </p:spPr>
          <p:txBody>
            <a:bodyPr wrap="square" lIns="0" tIns="0" rIns="0" bIns="0" rtlCol="0"/>
            <a:lstStyle/>
            <a:p>
              <a:endParaRPr dirty="0"/>
            </a:p>
          </p:txBody>
        </p:sp>
        <p:sp>
          <p:nvSpPr>
            <p:cNvPr id="16" name="object 42">
              <a:extLst>
                <a:ext uri="{FF2B5EF4-FFF2-40B4-BE49-F238E27FC236}">
                  <a16:creationId xmlns:a16="http://schemas.microsoft.com/office/drawing/2014/main" id="{86DA75FA-0A63-0491-024B-7E3B6E83FFA1}"/>
                </a:ext>
              </a:extLst>
            </p:cNvPr>
            <p:cNvSpPr/>
            <p:nvPr userDrawn="1"/>
          </p:nvSpPr>
          <p:spPr>
            <a:xfrm>
              <a:off x="13864963" y="2081364"/>
              <a:ext cx="520065" cy="875030"/>
            </a:xfrm>
            <a:custGeom>
              <a:avLst/>
              <a:gdLst/>
              <a:ahLst/>
              <a:cxnLst/>
              <a:rect l="l" t="t" r="r" b="b"/>
              <a:pathLst>
                <a:path w="520065" h="875030">
                  <a:moveTo>
                    <a:pt x="434238" y="0"/>
                  </a:moveTo>
                  <a:lnTo>
                    <a:pt x="385526" y="4421"/>
                  </a:lnTo>
                  <a:lnTo>
                    <a:pt x="340530" y="17026"/>
                  </a:lnTo>
                  <a:lnTo>
                    <a:pt x="299597" y="36826"/>
                  </a:lnTo>
                  <a:lnTo>
                    <a:pt x="263076" y="62831"/>
                  </a:lnTo>
                  <a:lnTo>
                    <a:pt x="231316" y="94054"/>
                  </a:lnTo>
                  <a:lnTo>
                    <a:pt x="204665" y="129504"/>
                  </a:lnTo>
                  <a:lnTo>
                    <a:pt x="183470" y="168193"/>
                  </a:lnTo>
                  <a:lnTo>
                    <a:pt x="177387" y="168193"/>
                  </a:lnTo>
                  <a:lnTo>
                    <a:pt x="177387" y="24449"/>
                  </a:lnTo>
                  <a:lnTo>
                    <a:pt x="0" y="24449"/>
                  </a:lnTo>
                  <a:lnTo>
                    <a:pt x="0" y="874601"/>
                  </a:lnTo>
                  <a:lnTo>
                    <a:pt x="180455" y="874601"/>
                  </a:lnTo>
                  <a:lnTo>
                    <a:pt x="180455" y="521387"/>
                  </a:lnTo>
                  <a:lnTo>
                    <a:pt x="181846" y="478588"/>
                  </a:lnTo>
                  <a:lnTo>
                    <a:pt x="186448" y="434569"/>
                  </a:lnTo>
                  <a:lnTo>
                    <a:pt x="194902" y="390677"/>
                  </a:lnTo>
                  <a:lnTo>
                    <a:pt x="207851" y="348260"/>
                  </a:lnTo>
                  <a:lnTo>
                    <a:pt x="225938" y="308669"/>
                  </a:lnTo>
                  <a:lnTo>
                    <a:pt x="249803" y="273252"/>
                  </a:lnTo>
                  <a:lnTo>
                    <a:pt x="280091" y="243358"/>
                  </a:lnTo>
                  <a:lnTo>
                    <a:pt x="317441" y="220334"/>
                  </a:lnTo>
                  <a:lnTo>
                    <a:pt x="362498" y="205531"/>
                  </a:lnTo>
                  <a:lnTo>
                    <a:pt x="415903" y="200297"/>
                  </a:lnTo>
                  <a:lnTo>
                    <a:pt x="439236" y="201203"/>
                  </a:lnTo>
                  <a:lnTo>
                    <a:pt x="466157" y="204115"/>
                  </a:lnTo>
                  <a:lnTo>
                    <a:pt x="493939" y="209322"/>
                  </a:lnTo>
                  <a:lnTo>
                    <a:pt x="519858" y="217113"/>
                  </a:lnTo>
                  <a:lnTo>
                    <a:pt x="519858" y="15277"/>
                  </a:lnTo>
                  <a:lnTo>
                    <a:pt x="497459" y="7730"/>
                  </a:lnTo>
                  <a:lnTo>
                    <a:pt x="475917" y="3052"/>
                  </a:lnTo>
                  <a:lnTo>
                    <a:pt x="454940" y="667"/>
                  </a:lnTo>
                  <a:lnTo>
                    <a:pt x="434238" y="0"/>
                  </a:lnTo>
                  <a:close/>
                </a:path>
              </a:pathLst>
            </a:custGeom>
            <a:solidFill>
              <a:srgbClr val="009FD3"/>
            </a:solidFill>
          </p:spPr>
          <p:txBody>
            <a:bodyPr wrap="square" lIns="0" tIns="0" rIns="0" bIns="0" rtlCol="0"/>
            <a:lstStyle/>
            <a:p>
              <a:endParaRPr dirty="0"/>
            </a:p>
          </p:txBody>
        </p:sp>
        <p:sp>
          <p:nvSpPr>
            <p:cNvPr id="17" name="object 43">
              <a:extLst>
                <a:ext uri="{FF2B5EF4-FFF2-40B4-BE49-F238E27FC236}">
                  <a16:creationId xmlns:a16="http://schemas.microsoft.com/office/drawing/2014/main" id="{6C6DC449-E5C4-95B5-25B6-D5FD5173E0D0}"/>
                </a:ext>
              </a:extLst>
            </p:cNvPr>
            <p:cNvSpPr/>
            <p:nvPr userDrawn="1"/>
          </p:nvSpPr>
          <p:spPr>
            <a:xfrm>
              <a:off x="15392646" y="2058803"/>
              <a:ext cx="691515" cy="901065"/>
            </a:xfrm>
            <a:custGeom>
              <a:avLst/>
              <a:gdLst/>
              <a:ahLst/>
              <a:cxnLst/>
              <a:rect l="l" t="t" r="r" b="b"/>
              <a:pathLst>
                <a:path w="691515" h="901064">
                  <a:moveTo>
                    <a:pt x="348617" y="0"/>
                  </a:moveTo>
                  <a:lnTo>
                    <a:pt x="299106" y="2817"/>
                  </a:lnTo>
                  <a:lnTo>
                    <a:pt x="251924" y="11166"/>
                  </a:lnTo>
                  <a:lnTo>
                    <a:pt x="207748" y="24890"/>
                  </a:lnTo>
                  <a:lnTo>
                    <a:pt x="167260" y="43834"/>
                  </a:lnTo>
                  <a:lnTo>
                    <a:pt x="131137" y="67842"/>
                  </a:lnTo>
                  <a:lnTo>
                    <a:pt x="100059" y="96758"/>
                  </a:lnTo>
                  <a:lnTo>
                    <a:pt x="74705" y="130426"/>
                  </a:lnTo>
                  <a:lnTo>
                    <a:pt x="55754" y="168692"/>
                  </a:lnTo>
                  <a:lnTo>
                    <a:pt x="43885" y="211398"/>
                  </a:lnTo>
                  <a:lnTo>
                    <a:pt x="39778" y="258390"/>
                  </a:lnTo>
                  <a:lnTo>
                    <a:pt x="45816" y="314072"/>
                  </a:lnTo>
                  <a:lnTo>
                    <a:pt x="62568" y="361225"/>
                  </a:lnTo>
                  <a:lnTo>
                    <a:pt x="87992" y="400637"/>
                  </a:lnTo>
                  <a:lnTo>
                    <a:pt x="120044" y="433095"/>
                  </a:lnTo>
                  <a:lnTo>
                    <a:pt x="156684" y="459388"/>
                  </a:lnTo>
                  <a:lnTo>
                    <a:pt x="195867" y="480304"/>
                  </a:lnTo>
                  <a:lnTo>
                    <a:pt x="235553" y="496631"/>
                  </a:lnTo>
                  <a:lnTo>
                    <a:pt x="273698" y="509157"/>
                  </a:lnTo>
                  <a:lnTo>
                    <a:pt x="362386" y="535146"/>
                  </a:lnTo>
                  <a:lnTo>
                    <a:pt x="411388" y="551110"/>
                  </a:lnTo>
                  <a:lnTo>
                    <a:pt x="455080" y="572235"/>
                  </a:lnTo>
                  <a:lnTo>
                    <a:pt x="486442" y="603107"/>
                  </a:lnTo>
                  <a:lnTo>
                    <a:pt x="498456" y="648315"/>
                  </a:lnTo>
                  <a:lnTo>
                    <a:pt x="485392" y="697213"/>
                  </a:lnTo>
                  <a:lnTo>
                    <a:pt x="452410" y="728771"/>
                  </a:lnTo>
                  <a:lnTo>
                    <a:pt x="408818" y="745710"/>
                  </a:lnTo>
                  <a:lnTo>
                    <a:pt x="363926" y="750752"/>
                  </a:lnTo>
                  <a:lnTo>
                    <a:pt x="319209" y="745345"/>
                  </a:lnTo>
                  <a:lnTo>
                    <a:pt x="274782" y="728781"/>
                  </a:lnTo>
                  <a:lnTo>
                    <a:pt x="233142" y="700548"/>
                  </a:lnTo>
                  <a:lnTo>
                    <a:pt x="196787" y="660132"/>
                  </a:lnTo>
                  <a:lnTo>
                    <a:pt x="168214" y="607018"/>
                  </a:lnTo>
                  <a:lnTo>
                    <a:pt x="0" y="662063"/>
                  </a:lnTo>
                  <a:lnTo>
                    <a:pt x="15600" y="703298"/>
                  </a:lnTo>
                  <a:lnTo>
                    <a:pt x="36540" y="741477"/>
                  </a:lnTo>
                  <a:lnTo>
                    <a:pt x="62564" y="776297"/>
                  </a:lnTo>
                  <a:lnTo>
                    <a:pt x="93413" y="807457"/>
                  </a:lnTo>
                  <a:lnTo>
                    <a:pt x="128831" y="834653"/>
                  </a:lnTo>
                  <a:lnTo>
                    <a:pt x="168560" y="857584"/>
                  </a:lnTo>
                  <a:lnTo>
                    <a:pt x="212345" y="875945"/>
                  </a:lnTo>
                  <a:lnTo>
                    <a:pt x="259926" y="889435"/>
                  </a:lnTo>
                  <a:lnTo>
                    <a:pt x="311049" y="897751"/>
                  </a:lnTo>
                  <a:lnTo>
                    <a:pt x="365454" y="900590"/>
                  </a:lnTo>
                  <a:lnTo>
                    <a:pt x="422495" y="897347"/>
                  </a:lnTo>
                  <a:lnTo>
                    <a:pt x="475054" y="887856"/>
                  </a:lnTo>
                  <a:lnTo>
                    <a:pt x="522772" y="872475"/>
                  </a:lnTo>
                  <a:lnTo>
                    <a:pt x="565290" y="851563"/>
                  </a:lnTo>
                  <a:lnTo>
                    <a:pt x="602251" y="825476"/>
                  </a:lnTo>
                  <a:lnTo>
                    <a:pt x="633295" y="794572"/>
                  </a:lnTo>
                  <a:lnTo>
                    <a:pt x="658065" y="759210"/>
                  </a:lnTo>
                  <a:lnTo>
                    <a:pt x="676201" y="719747"/>
                  </a:lnTo>
                  <a:lnTo>
                    <a:pt x="687346" y="676541"/>
                  </a:lnTo>
                  <a:lnTo>
                    <a:pt x="691141" y="629949"/>
                  </a:lnTo>
                  <a:lnTo>
                    <a:pt x="684472" y="571470"/>
                  </a:lnTo>
                  <a:lnTo>
                    <a:pt x="666175" y="523636"/>
                  </a:lnTo>
                  <a:lnTo>
                    <a:pt x="638811" y="485192"/>
                  </a:lnTo>
                  <a:lnTo>
                    <a:pt x="604942" y="454882"/>
                  </a:lnTo>
                  <a:lnTo>
                    <a:pt x="567129" y="431453"/>
                  </a:lnTo>
                  <a:lnTo>
                    <a:pt x="527935" y="413648"/>
                  </a:lnTo>
                  <a:lnTo>
                    <a:pt x="489922" y="400213"/>
                  </a:lnTo>
                  <a:lnTo>
                    <a:pt x="385328" y="370030"/>
                  </a:lnTo>
                  <a:lnTo>
                    <a:pt x="340711" y="356690"/>
                  </a:lnTo>
                  <a:lnTo>
                    <a:pt x="296689" y="339319"/>
                  </a:lnTo>
                  <a:lnTo>
                    <a:pt x="258615" y="316079"/>
                  </a:lnTo>
                  <a:lnTo>
                    <a:pt x="231844" y="285132"/>
                  </a:lnTo>
                  <a:lnTo>
                    <a:pt x="221731" y="244641"/>
                  </a:lnTo>
                  <a:lnTo>
                    <a:pt x="230686" y="205079"/>
                  </a:lnTo>
                  <a:lnTo>
                    <a:pt x="255548" y="174692"/>
                  </a:lnTo>
                  <a:lnTo>
                    <a:pt x="293315" y="155199"/>
                  </a:lnTo>
                  <a:lnTo>
                    <a:pt x="340984" y="148320"/>
                  </a:lnTo>
                  <a:lnTo>
                    <a:pt x="398485" y="158137"/>
                  </a:lnTo>
                  <a:lnTo>
                    <a:pt x="443228" y="184439"/>
                  </a:lnTo>
                  <a:lnTo>
                    <a:pt x="476217" y="222497"/>
                  </a:lnTo>
                  <a:lnTo>
                    <a:pt x="498456" y="267583"/>
                  </a:lnTo>
                  <a:lnTo>
                    <a:pt x="666660" y="212538"/>
                  </a:lnTo>
                  <a:lnTo>
                    <a:pt x="651471" y="173433"/>
                  </a:lnTo>
                  <a:lnTo>
                    <a:pt x="630571" y="136996"/>
                  </a:lnTo>
                  <a:lnTo>
                    <a:pt x="604248" y="103745"/>
                  </a:lnTo>
                  <a:lnTo>
                    <a:pt x="572792" y="74194"/>
                  </a:lnTo>
                  <a:lnTo>
                    <a:pt x="536491" y="48859"/>
                  </a:lnTo>
                  <a:lnTo>
                    <a:pt x="495634" y="28257"/>
                  </a:lnTo>
                  <a:lnTo>
                    <a:pt x="450510" y="12902"/>
                  </a:lnTo>
                  <a:lnTo>
                    <a:pt x="401408" y="3311"/>
                  </a:lnTo>
                  <a:lnTo>
                    <a:pt x="348617" y="0"/>
                  </a:lnTo>
                  <a:close/>
                </a:path>
              </a:pathLst>
            </a:custGeom>
            <a:solidFill>
              <a:srgbClr val="009FD3"/>
            </a:solidFill>
          </p:spPr>
          <p:txBody>
            <a:bodyPr wrap="square" lIns="0" tIns="0" rIns="0" bIns="0" rtlCol="0"/>
            <a:lstStyle/>
            <a:p>
              <a:endParaRPr dirty="0"/>
            </a:p>
          </p:txBody>
        </p:sp>
        <p:sp>
          <p:nvSpPr>
            <p:cNvPr id="18" name="object 44">
              <a:extLst>
                <a:ext uri="{FF2B5EF4-FFF2-40B4-BE49-F238E27FC236}">
                  <a16:creationId xmlns:a16="http://schemas.microsoft.com/office/drawing/2014/main" id="{58CBFBA7-125D-4F7F-4D58-D0ACE580913F}"/>
                </a:ext>
              </a:extLst>
            </p:cNvPr>
            <p:cNvSpPr/>
            <p:nvPr userDrawn="1"/>
          </p:nvSpPr>
          <p:spPr>
            <a:xfrm>
              <a:off x="16265861" y="1732732"/>
              <a:ext cx="180975" cy="1223645"/>
            </a:xfrm>
            <a:custGeom>
              <a:avLst/>
              <a:gdLst/>
              <a:ahLst/>
              <a:cxnLst/>
              <a:rect l="l" t="t" r="r" b="b"/>
              <a:pathLst>
                <a:path w="180975" h="1223645">
                  <a:moveTo>
                    <a:pt x="180402" y="0"/>
                  </a:moveTo>
                  <a:lnTo>
                    <a:pt x="0" y="0"/>
                  </a:lnTo>
                  <a:lnTo>
                    <a:pt x="0" y="1223219"/>
                  </a:lnTo>
                  <a:lnTo>
                    <a:pt x="180402" y="1223219"/>
                  </a:lnTo>
                  <a:lnTo>
                    <a:pt x="180402" y="0"/>
                  </a:lnTo>
                  <a:close/>
                </a:path>
              </a:pathLst>
            </a:custGeom>
            <a:solidFill>
              <a:srgbClr val="6F7070"/>
            </a:solidFill>
          </p:spPr>
          <p:txBody>
            <a:bodyPr wrap="square" lIns="0" tIns="0" rIns="0" bIns="0" rtlCol="0"/>
            <a:lstStyle/>
            <a:p>
              <a:endParaRPr dirty="0"/>
            </a:p>
          </p:txBody>
        </p:sp>
        <p:sp>
          <p:nvSpPr>
            <p:cNvPr id="19" name="object 45">
              <a:extLst>
                <a:ext uri="{FF2B5EF4-FFF2-40B4-BE49-F238E27FC236}">
                  <a16:creationId xmlns:a16="http://schemas.microsoft.com/office/drawing/2014/main" id="{67A12A31-AA61-D372-EF1A-A0479FDCD17F}"/>
                </a:ext>
              </a:extLst>
            </p:cNvPr>
            <p:cNvSpPr/>
            <p:nvPr userDrawn="1"/>
          </p:nvSpPr>
          <p:spPr>
            <a:xfrm>
              <a:off x="16640864" y="1714387"/>
              <a:ext cx="235585" cy="1242060"/>
            </a:xfrm>
            <a:custGeom>
              <a:avLst/>
              <a:gdLst/>
              <a:ahLst/>
              <a:cxnLst/>
              <a:rect l="l" t="t" r="r" b="b"/>
              <a:pathLst>
                <a:path w="235584" h="1242060">
                  <a:moveTo>
                    <a:pt x="207951" y="391433"/>
                  </a:moveTo>
                  <a:lnTo>
                    <a:pt x="27548" y="391433"/>
                  </a:lnTo>
                  <a:lnTo>
                    <a:pt x="27548" y="1241585"/>
                  </a:lnTo>
                  <a:lnTo>
                    <a:pt x="207951" y="1241585"/>
                  </a:lnTo>
                  <a:lnTo>
                    <a:pt x="207951" y="391433"/>
                  </a:lnTo>
                  <a:close/>
                </a:path>
                <a:path w="235584" h="1242060">
                  <a:moveTo>
                    <a:pt x="119273" y="0"/>
                  </a:moveTo>
                  <a:lnTo>
                    <a:pt x="71614" y="9342"/>
                  </a:lnTo>
                  <a:lnTo>
                    <a:pt x="33839" y="34598"/>
                  </a:lnTo>
                  <a:lnTo>
                    <a:pt x="8962" y="71606"/>
                  </a:lnTo>
                  <a:lnTo>
                    <a:pt x="0" y="116205"/>
                  </a:lnTo>
                  <a:lnTo>
                    <a:pt x="8962" y="163467"/>
                  </a:lnTo>
                  <a:lnTo>
                    <a:pt x="33839" y="201839"/>
                  </a:lnTo>
                  <a:lnTo>
                    <a:pt x="71614" y="227595"/>
                  </a:lnTo>
                  <a:lnTo>
                    <a:pt x="119273" y="237008"/>
                  </a:lnTo>
                  <a:lnTo>
                    <a:pt x="165171" y="227595"/>
                  </a:lnTo>
                  <a:lnTo>
                    <a:pt x="202042" y="201839"/>
                  </a:lnTo>
                  <a:lnTo>
                    <a:pt x="226585" y="163467"/>
                  </a:lnTo>
                  <a:lnTo>
                    <a:pt x="235500" y="116205"/>
                  </a:lnTo>
                  <a:lnTo>
                    <a:pt x="226585" y="71606"/>
                  </a:lnTo>
                  <a:lnTo>
                    <a:pt x="202042" y="34598"/>
                  </a:lnTo>
                  <a:lnTo>
                    <a:pt x="165171" y="9342"/>
                  </a:lnTo>
                  <a:lnTo>
                    <a:pt x="119273" y="0"/>
                  </a:lnTo>
                  <a:close/>
                </a:path>
              </a:pathLst>
            </a:custGeom>
            <a:solidFill>
              <a:srgbClr val="6F7070"/>
            </a:solidFill>
          </p:spPr>
          <p:txBody>
            <a:bodyPr wrap="square" lIns="0" tIns="0" rIns="0" bIns="0" rtlCol="0"/>
            <a:lstStyle/>
            <a:p>
              <a:endParaRPr dirty="0"/>
            </a:p>
          </p:txBody>
        </p:sp>
        <p:sp>
          <p:nvSpPr>
            <p:cNvPr id="20" name="object 46">
              <a:extLst>
                <a:ext uri="{FF2B5EF4-FFF2-40B4-BE49-F238E27FC236}">
                  <a16:creationId xmlns:a16="http://schemas.microsoft.com/office/drawing/2014/main" id="{6980EA68-1914-7952-25E7-E35CE45986C9}"/>
                </a:ext>
              </a:extLst>
            </p:cNvPr>
            <p:cNvSpPr/>
            <p:nvPr userDrawn="1"/>
          </p:nvSpPr>
          <p:spPr>
            <a:xfrm>
              <a:off x="17020103" y="1706758"/>
              <a:ext cx="544830" cy="1249680"/>
            </a:xfrm>
            <a:custGeom>
              <a:avLst/>
              <a:gdLst/>
              <a:ahLst/>
              <a:cxnLst/>
              <a:rect l="l" t="t" r="r" b="b"/>
              <a:pathLst>
                <a:path w="544830" h="1249680">
                  <a:moveTo>
                    <a:pt x="399108" y="0"/>
                  </a:moveTo>
                  <a:lnTo>
                    <a:pt x="350985" y="2989"/>
                  </a:lnTo>
                  <a:lnTo>
                    <a:pt x="306799" y="11987"/>
                  </a:lnTo>
                  <a:lnTo>
                    <a:pt x="266815" y="27041"/>
                  </a:lnTo>
                  <a:lnTo>
                    <a:pt x="231300" y="48195"/>
                  </a:lnTo>
                  <a:lnTo>
                    <a:pt x="200520" y="75496"/>
                  </a:lnTo>
                  <a:lnTo>
                    <a:pt x="174739" y="108989"/>
                  </a:lnTo>
                  <a:lnTo>
                    <a:pt x="154225" y="148720"/>
                  </a:lnTo>
                  <a:lnTo>
                    <a:pt x="139243" y="194736"/>
                  </a:lnTo>
                  <a:lnTo>
                    <a:pt x="130059" y="247081"/>
                  </a:lnTo>
                  <a:lnTo>
                    <a:pt x="126938" y="305802"/>
                  </a:lnTo>
                  <a:lnTo>
                    <a:pt x="126938" y="399055"/>
                  </a:lnTo>
                  <a:lnTo>
                    <a:pt x="0" y="399055"/>
                  </a:lnTo>
                  <a:lnTo>
                    <a:pt x="0" y="562663"/>
                  </a:lnTo>
                  <a:lnTo>
                    <a:pt x="126938" y="562663"/>
                  </a:lnTo>
                  <a:lnTo>
                    <a:pt x="126938" y="1249197"/>
                  </a:lnTo>
                  <a:lnTo>
                    <a:pt x="308880" y="1249197"/>
                  </a:lnTo>
                  <a:lnTo>
                    <a:pt x="308880" y="562663"/>
                  </a:lnTo>
                  <a:lnTo>
                    <a:pt x="519900" y="562663"/>
                  </a:lnTo>
                  <a:lnTo>
                    <a:pt x="519900" y="399055"/>
                  </a:lnTo>
                  <a:lnTo>
                    <a:pt x="308880" y="399055"/>
                  </a:lnTo>
                  <a:lnTo>
                    <a:pt x="308880" y="324136"/>
                  </a:lnTo>
                  <a:lnTo>
                    <a:pt x="309468" y="284076"/>
                  </a:lnTo>
                  <a:lnTo>
                    <a:pt x="313580" y="245202"/>
                  </a:lnTo>
                  <a:lnTo>
                    <a:pt x="346479" y="181890"/>
                  </a:lnTo>
                  <a:lnTo>
                    <a:pt x="382316" y="162890"/>
                  </a:lnTo>
                  <a:lnTo>
                    <a:pt x="435777" y="155953"/>
                  </a:lnTo>
                  <a:lnTo>
                    <a:pt x="460697" y="157243"/>
                  </a:lnTo>
                  <a:lnTo>
                    <a:pt x="486044" y="161686"/>
                  </a:lnTo>
                  <a:lnTo>
                    <a:pt x="513395" y="170142"/>
                  </a:lnTo>
                  <a:lnTo>
                    <a:pt x="544328" y="183470"/>
                  </a:lnTo>
                  <a:lnTo>
                    <a:pt x="544328" y="29025"/>
                  </a:lnTo>
                  <a:lnTo>
                    <a:pt x="508322" y="15460"/>
                  </a:lnTo>
                  <a:lnTo>
                    <a:pt x="470583" y="6486"/>
                  </a:lnTo>
                  <a:lnTo>
                    <a:pt x="433412" y="1525"/>
                  </a:lnTo>
                  <a:lnTo>
                    <a:pt x="399108" y="0"/>
                  </a:lnTo>
                  <a:close/>
                </a:path>
              </a:pathLst>
            </a:custGeom>
            <a:solidFill>
              <a:srgbClr val="6F7070"/>
            </a:solidFill>
          </p:spPr>
          <p:txBody>
            <a:bodyPr wrap="square" lIns="0" tIns="0" rIns="0" bIns="0" rtlCol="0"/>
            <a:lstStyle/>
            <a:p>
              <a:endParaRPr dirty="0"/>
            </a:p>
          </p:txBody>
        </p:sp>
        <p:sp>
          <p:nvSpPr>
            <p:cNvPr id="21" name="object 47">
              <a:extLst>
                <a:ext uri="{FF2B5EF4-FFF2-40B4-BE49-F238E27FC236}">
                  <a16:creationId xmlns:a16="http://schemas.microsoft.com/office/drawing/2014/main" id="{31B6662E-E5E3-03F7-4D48-D6A3C49B5B81}"/>
                </a:ext>
              </a:extLst>
            </p:cNvPr>
            <p:cNvSpPr/>
            <p:nvPr userDrawn="1"/>
          </p:nvSpPr>
          <p:spPr>
            <a:xfrm>
              <a:off x="14449116" y="2058803"/>
              <a:ext cx="827405" cy="901065"/>
            </a:xfrm>
            <a:custGeom>
              <a:avLst/>
              <a:gdLst/>
              <a:ahLst/>
              <a:cxnLst/>
              <a:rect l="l" t="t" r="r" b="b"/>
              <a:pathLst>
                <a:path w="827405" h="901064">
                  <a:moveTo>
                    <a:pt x="423536" y="0"/>
                  </a:moveTo>
                  <a:lnTo>
                    <a:pt x="374987" y="2512"/>
                  </a:lnTo>
                  <a:lnTo>
                    <a:pt x="328539" y="9907"/>
                  </a:lnTo>
                  <a:lnTo>
                    <a:pt x="284376" y="21968"/>
                  </a:lnTo>
                  <a:lnTo>
                    <a:pt x="242684" y="38482"/>
                  </a:lnTo>
                  <a:lnTo>
                    <a:pt x="203647" y="59234"/>
                  </a:lnTo>
                  <a:lnTo>
                    <a:pt x="167450" y="84010"/>
                  </a:lnTo>
                  <a:lnTo>
                    <a:pt x="134278" y="112593"/>
                  </a:lnTo>
                  <a:lnTo>
                    <a:pt x="104317" y="144770"/>
                  </a:lnTo>
                  <a:lnTo>
                    <a:pt x="77750" y="180326"/>
                  </a:lnTo>
                  <a:lnTo>
                    <a:pt x="54763" y="219046"/>
                  </a:lnTo>
                  <a:lnTo>
                    <a:pt x="35541" y="260715"/>
                  </a:lnTo>
                  <a:lnTo>
                    <a:pt x="20269" y="305119"/>
                  </a:lnTo>
                  <a:lnTo>
                    <a:pt x="9132" y="352044"/>
                  </a:lnTo>
                  <a:lnTo>
                    <a:pt x="2313" y="401273"/>
                  </a:lnTo>
                  <a:lnTo>
                    <a:pt x="0" y="452593"/>
                  </a:lnTo>
                  <a:lnTo>
                    <a:pt x="2450" y="505453"/>
                  </a:lnTo>
                  <a:lnTo>
                    <a:pt x="9655" y="555675"/>
                  </a:lnTo>
                  <a:lnTo>
                    <a:pt x="21394" y="603111"/>
                  </a:lnTo>
                  <a:lnTo>
                    <a:pt x="37448" y="647611"/>
                  </a:lnTo>
                  <a:lnTo>
                    <a:pt x="57595" y="689025"/>
                  </a:lnTo>
                  <a:lnTo>
                    <a:pt x="81615" y="727205"/>
                  </a:lnTo>
                  <a:lnTo>
                    <a:pt x="109289" y="762000"/>
                  </a:lnTo>
                  <a:lnTo>
                    <a:pt x="140397" y="793261"/>
                  </a:lnTo>
                  <a:lnTo>
                    <a:pt x="174717" y="820840"/>
                  </a:lnTo>
                  <a:lnTo>
                    <a:pt x="212029" y="844585"/>
                  </a:lnTo>
                  <a:lnTo>
                    <a:pt x="252115" y="864348"/>
                  </a:lnTo>
                  <a:lnTo>
                    <a:pt x="294752" y="879980"/>
                  </a:lnTo>
                  <a:lnTo>
                    <a:pt x="339722" y="891330"/>
                  </a:lnTo>
                  <a:lnTo>
                    <a:pt x="386804" y="898250"/>
                  </a:lnTo>
                  <a:lnTo>
                    <a:pt x="435777" y="900590"/>
                  </a:lnTo>
                  <a:lnTo>
                    <a:pt x="489540" y="897772"/>
                  </a:lnTo>
                  <a:lnTo>
                    <a:pt x="540585" y="889528"/>
                  </a:lnTo>
                  <a:lnTo>
                    <a:pt x="588690" y="876176"/>
                  </a:lnTo>
                  <a:lnTo>
                    <a:pt x="633633" y="858032"/>
                  </a:lnTo>
                  <a:lnTo>
                    <a:pt x="675191" y="835414"/>
                  </a:lnTo>
                  <a:lnTo>
                    <a:pt x="713143" y="808638"/>
                  </a:lnTo>
                  <a:lnTo>
                    <a:pt x="747265" y="778021"/>
                  </a:lnTo>
                  <a:lnTo>
                    <a:pt x="777336" y="743880"/>
                  </a:lnTo>
                  <a:lnTo>
                    <a:pt x="781044" y="738511"/>
                  </a:lnTo>
                  <a:lnTo>
                    <a:pt x="435777" y="738511"/>
                  </a:lnTo>
                  <a:lnTo>
                    <a:pt x="387306" y="734405"/>
                  </a:lnTo>
                  <a:lnTo>
                    <a:pt x="342170" y="722288"/>
                  </a:lnTo>
                  <a:lnTo>
                    <a:pt x="301121" y="702467"/>
                  </a:lnTo>
                  <a:lnTo>
                    <a:pt x="264909" y="675246"/>
                  </a:lnTo>
                  <a:lnTo>
                    <a:pt x="234287" y="640929"/>
                  </a:lnTo>
                  <a:lnTo>
                    <a:pt x="210008" y="599822"/>
                  </a:lnTo>
                  <a:lnTo>
                    <a:pt x="192822" y="552229"/>
                  </a:lnTo>
                  <a:lnTo>
                    <a:pt x="183481" y="498456"/>
                  </a:lnTo>
                  <a:lnTo>
                    <a:pt x="827210" y="498456"/>
                  </a:lnTo>
                  <a:lnTo>
                    <a:pt x="827210" y="444949"/>
                  </a:lnTo>
                  <a:lnTo>
                    <a:pt x="824522" y="383338"/>
                  </a:lnTo>
                  <a:lnTo>
                    <a:pt x="822469" y="368491"/>
                  </a:lnTo>
                  <a:lnTo>
                    <a:pt x="192653" y="368491"/>
                  </a:lnTo>
                  <a:lnTo>
                    <a:pt x="205522" y="317240"/>
                  </a:lnTo>
                  <a:lnTo>
                    <a:pt x="225559" y="271525"/>
                  </a:lnTo>
                  <a:lnTo>
                    <a:pt x="252443" y="232202"/>
                  </a:lnTo>
                  <a:lnTo>
                    <a:pt x="285851" y="200127"/>
                  </a:lnTo>
                  <a:lnTo>
                    <a:pt x="325463" y="176157"/>
                  </a:lnTo>
                  <a:lnTo>
                    <a:pt x="370955" y="161146"/>
                  </a:lnTo>
                  <a:lnTo>
                    <a:pt x="422008" y="155953"/>
                  </a:lnTo>
                  <a:lnTo>
                    <a:pt x="746090" y="155953"/>
                  </a:lnTo>
                  <a:lnTo>
                    <a:pt x="741928" y="149612"/>
                  </a:lnTo>
                  <a:lnTo>
                    <a:pt x="714261" y="116820"/>
                  </a:lnTo>
                  <a:lnTo>
                    <a:pt x="683773" y="88374"/>
                  </a:lnTo>
                  <a:lnTo>
                    <a:pt x="650846" y="64145"/>
                  </a:lnTo>
                  <a:lnTo>
                    <a:pt x="615864" y="44001"/>
                  </a:lnTo>
                  <a:lnTo>
                    <a:pt x="579210" y="27813"/>
                  </a:lnTo>
                  <a:lnTo>
                    <a:pt x="541267" y="15449"/>
                  </a:lnTo>
                  <a:lnTo>
                    <a:pt x="502418" y="6779"/>
                  </a:lnTo>
                  <a:lnTo>
                    <a:pt x="463047" y="1673"/>
                  </a:lnTo>
                  <a:lnTo>
                    <a:pt x="423536" y="0"/>
                  </a:lnTo>
                  <a:close/>
                </a:path>
                <a:path w="827405" h="901064">
                  <a:moveTo>
                    <a:pt x="650744" y="605311"/>
                  </a:moveTo>
                  <a:lnTo>
                    <a:pt x="626428" y="643642"/>
                  </a:lnTo>
                  <a:lnTo>
                    <a:pt x="596971" y="676278"/>
                  </a:lnTo>
                  <a:lnTo>
                    <a:pt x="562776" y="702652"/>
                  </a:lnTo>
                  <a:lnTo>
                    <a:pt x="524059" y="722288"/>
                  </a:lnTo>
                  <a:lnTo>
                    <a:pt x="523916" y="722288"/>
                  </a:lnTo>
                  <a:lnTo>
                    <a:pt x="481541" y="734405"/>
                  </a:lnTo>
                  <a:lnTo>
                    <a:pt x="481034" y="734405"/>
                  </a:lnTo>
                  <a:lnTo>
                    <a:pt x="435777" y="738511"/>
                  </a:lnTo>
                  <a:lnTo>
                    <a:pt x="781044" y="738511"/>
                  </a:lnTo>
                  <a:lnTo>
                    <a:pt x="803134" y="706532"/>
                  </a:lnTo>
                  <a:lnTo>
                    <a:pt x="824435" y="666293"/>
                  </a:lnTo>
                  <a:lnTo>
                    <a:pt x="824697" y="665728"/>
                  </a:lnTo>
                  <a:lnTo>
                    <a:pt x="824906" y="665131"/>
                  </a:lnTo>
                  <a:lnTo>
                    <a:pt x="825168" y="664566"/>
                  </a:lnTo>
                  <a:lnTo>
                    <a:pt x="650744" y="605311"/>
                  </a:lnTo>
                  <a:close/>
                </a:path>
                <a:path w="827405" h="901064">
                  <a:moveTo>
                    <a:pt x="746090" y="155953"/>
                  </a:moveTo>
                  <a:lnTo>
                    <a:pt x="422008" y="155953"/>
                  </a:lnTo>
                  <a:lnTo>
                    <a:pt x="466874" y="159622"/>
                  </a:lnTo>
                  <a:lnTo>
                    <a:pt x="509973" y="171076"/>
                  </a:lnTo>
                  <a:lnTo>
                    <a:pt x="549726" y="190981"/>
                  </a:lnTo>
                  <a:lnTo>
                    <a:pt x="584557" y="220008"/>
                  </a:lnTo>
                  <a:lnTo>
                    <a:pt x="612887" y="258822"/>
                  </a:lnTo>
                  <a:lnTo>
                    <a:pt x="633140" y="308094"/>
                  </a:lnTo>
                  <a:lnTo>
                    <a:pt x="643739" y="368491"/>
                  </a:lnTo>
                  <a:lnTo>
                    <a:pt x="822469" y="368491"/>
                  </a:lnTo>
                  <a:lnTo>
                    <a:pt x="816712" y="326855"/>
                  </a:lnTo>
                  <a:lnTo>
                    <a:pt x="804165" y="275372"/>
                  </a:lnTo>
                  <a:lnTo>
                    <a:pt x="787263" y="228757"/>
                  </a:lnTo>
                  <a:lnTo>
                    <a:pt x="766390" y="186881"/>
                  </a:lnTo>
                  <a:lnTo>
                    <a:pt x="746090" y="155953"/>
                  </a:lnTo>
                  <a:close/>
                </a:path>
              </a:pathLst>
            </a:custGeom>
            <a:solidFill>
              <a:srgbClr val="009FD3"/>
            </a:solidFill>
          </p:spPr>
          <p:txBody>
            <a:bodyPr wrap="square" lIns="0" tIns="0" rIns="0" bIns="0" rtlCol="0"/>
            <a:lstStyle/>
            <a:p>
              <a:endParaRPr dirty="0"/>
            </a:p>
          </p:txBody>
        </p:sp>
        <p:sp>
          <p:nvSpPr>
            <p:cNvPr id="22" name="object 48">
              <a:extLst>
                <a:ext uri="{FF2B5EF4-FFF2-40B4-BE49-F238E27FC236}">
                  <a16:creationId xmlns:a16="http://schemas.microsoft.com/office/drawing/2014/main" id="{6AF75E10-409D-EF71-C894-33540E6046E2}"/>
                </a:ext>
              </a:extLst>
            </p:cNvPr>
            <p:cNvSpPr/>
            <p:nvPr userDrawn="1"/>
          </p:nvSpPr>
          <p:spPr>
            <a:xfrm>
              <a:off x="12844981" y="2058803"/>
              <a:ext cx="827405" cy="901065"/>
            </a:xfrm>
            <a:custGeom>
              <a:avLst/>
              <a:gdLst/>
              <a:ahLst/>
              <a:cxnLst/>
              <a:rect l="l" t="t" r="r" b="b"/>
              <a:pathLst>
                <a:path w="827405" h="901064">
                  <a:moveTo>
                    <a:pt x="423536" y="0"/>
                  </a:moveTo>
                  <a:lnTo>
                    <a:pt x="374987" y="2512"/>
                  </a:lnTo>
                  <a:lnTo>
                    <a:pt x="328539" y="9907"/>
                  </a:lnTo>
                  <a:lnTo>
                    <a:pt x="284376" y="21968"/>
                  </a:lnTo>
                  <a:lnTo>
                    <a:pt x="242684" y="38482"/>
                  </a:lnTo>
                  <a:lnTo>
                    <a:pt x="203647" y="59234"/>
                  </a:lnTo>
                  <a:lnTo>
                    <a:pt x="167450" y="84010"/>
                  </a:lnTo>
                  <a:lnTo>
                    <a:pt x="134278" y="112593"/>
                  </a:lnTo>
                  <a:lnTo>
                    <a:pt x="104317" y="144770"/>
                  </a:lnTo>
                  <a:lnTo>
                    <a:pt x="77750" y="180326"/>
                  </a:lnTo>
                  <a:lnTo>
                    <a:pt x="54763" y="219046"/>
                  </a:lnTo>
                  <a:lnTo>
                    <a:pt x="35541" y="260715"/>
                  </a:lnTo>
                  <a:lnTo>
                    <a:pt x="20269" y="305119"/>
                  </a:lnTo>
                  <a:lnTo>
                    <a:pt x="9132" y="352044"/>
                  </a:lnTo>
                  <a:lnTo>
                    <a:pt x="2313" y="401273"/>
                  </a:lnTo>
                  <a:lnTo>
                    <a:pt x="0" y="452593"/>
                  </a:lnTo>
                  <a:lnTo>
                    <a:pt x="2450" y="505453"/>
                  </a:lnTo>
                  <a:lnTo>
                    <a:pt x="9655" y="555675"/>
                  </a:lnTo>
                  <a:lnTo>
                    <a:pt x="21394" y="603111"/>
                  </a:lnTo>
                  <a:lnTo>
                    <a:pt x="37448" y="647611"/>
                  </a:lnTo>
                  <a:lnTo>
                    <a:pt x="57595" y="689025"/>
                  </a:lnTo>
                  <a:lnTo>
                    <a:pt x="81615" y="727205"/>
                  </a:lnTo>
                  <a:lnTo>
                    <a:pt x="109289" y="762000"/>
                  </a:lnTo>
                  <a:lnTo>
                    <a:pt x="140397" y="793261"/>
                  </a:lnTo>
                  <a:lnTo>
                    <a:pt x="174717" y="820840"/>
                  </a:lnTo>
                  <a:lnTo>
                    <a:pt x="212029" y="844585"/>
                  </a:lnTo>
                  <a:lnTo>
                    <a:pt x="252115" y="864348"/>
                  </a:lnTo>
                  <a:lnTo>
                    <a:pt x="294752" y="879980"/>
                  </a:lnTo>
                  <a:lnTo>
                    <a:pt x="339722" y="891330"/>
                  </a:lnTo>
                  <a:lnTo>
                    <a:pt x="386804" y="898250"/>
                  </a:lnTo>
                  <a:lnTo>
                    <a:pt x="435777" y="900590"/>
                  </a:lnTo>
                  <a:lnTo>
                    <a:pt x="489540" y="897772"/>
                  </a:lnTo>
                  <a:lnTo>
                    <a:pt x="540586" y="889528"/>
                  </a:lnTo>
                  <a:lnTo>
                    <a:pt x="588692" y="876176"/>
                  </a:lnTo>
                  <a:lnTo>
                    <a:pt x="633636" y="858032"/>
                  </a:lnTo>
                  <a:lnTo>
                    <a:pt x="675195" y="835414"/>
                  </a:lnTo>
                  <a:lnTo>
                    <a:pt x="713147" y="808638"/>
                  </a:lnTo>
                  <a:lnTo>
                    <a:pt x="747270" y="778021"/>
                  </a:lnTo>
                  <a:lnTo>
                    <a:pt x="777340" y="743880"/>
                  </a:lnTo>
                  <a:lnTo>
                    <a:pt x="781048" y="738511"/>
                  </a:lnTo>
                  <a:lnTo>
                    <a:pt x="435777" y="738511"/>
                  </a:lnTo>
                  <a:lnTo>
                    <a:pt x="387306" y="734405"/>
                  </a:lnTo>
                  <a:lnTo>
                    <a:pt x="342170" y="722288"/>
                  </a:lnTo>
                  <a:lnTo>
                    <a:pt x="301121" y="702467"/>
                  </a:lnTo>
                  <a:lnTo>
                    <a:pt x="264909" y="675246"/>
                  </a:lnTo>
                  <a:lnTo>
                    <a:pt x="234287" y="640929"/>
                  </a:lnTo>
                  <a:lnTo>
                    <a:pt x="210008" y="599822"/>
                  </a:lnTo>
                  <a:lnTo>
                    <a:pt x="192822" y="552229"/>
                  </a:lnTo>
                  <a:lnTo>
                    <a:pt x="183481" y="498456"/>
                  </a:lnTo>
                  <a:lnTo>
                    <a:pt x="827210" y="498456"/>
                  </a:lnTo>
                  <a:lnTo>
                    <a:pt x="827210" y="444949"/>
                  </a:lnTo>
                  <a:lnTo>
                    <a:pt x="824522" y="383338"/>
                  </a:lnTo>
                  <a:lnTo>
                    <a:pt x="822469" y="368491"/>
                  </a:lnTo>
                  <a:lnTo>
                    <a:pt x="192653" y="368491"/>
                  </a:lnTo>
                  <a:lnTo>
                    <a:pt x="205519" y="317240"/>
                  </a:lnTo>
                  <a:lnTo>
                    <a:pt x="225554" y="271525"/>
                  </a:lnTo>
                  <a:lnTo>
                    <a:pt x="252438" y="232202"/>
                  </a:lnTo>
                  <a:lnTo>
                    <a:pt x="285848" y="200127"/>
                  </a:lnTo>
                  <a:lnTo>
                    <a:pt x="325461" y="176157"/>
                  </a:lnTo>
                  <a:lnTo>
                    <a:pt x="370955" y="161146"/>
                  </a:lnTo>
                  <a:lnTo>
                    <a:pt x="422008" y="155953"/>
                  </a:lnTo>
                  <a:lnTo>
                    <a:pt x="746090" y="155953"/>
                  </a:lnTo>
                  <a:lnTo>
                    <a:pt x="741928" y="149612"/>
                  </a:lnTo>
                  <a:lnTo>
                    <a:pt x="714261" y="116820"/>
                  </a:lnTo>
                  <a:lnTo>
                    <a:pt x="683773" y="88374"/>
                  </a:lnTo>
                  <a:lnTo>
                    <a:pt x="650846" y="64145"/>
                  </a:lnTo>
                  <a:lnTo>
                    <a:pt x="615864" y="44001"/>
                  </a:lnTo>
                  <a:lnTo>
                    <a:pt x="579210" y="27813"/>
                  </a:lnTo>
                  <a:lnTo>
                    <a:pt x="541267" y="15449"/>
                  </a:lnTo>
                  <a:lnTo>
                    <a:pt x="502418" y="6779"/>
                  </a:lnTo>
                  <a:lnTo>
                    <a:pt x="463047" y="1673"/>
                  </a:lnTo>
                  <a:lnTo>
                    <a:pt x="423536" y="0"/>
                  </a:lnTo>
                  <a:close/>
                </a:path>
                <a:path w="827405" h="901064">
                  <a:moveTo>
                    <a:pt x="650744" y="605311"/>
                  </a:moveTo>
                  <a:lnTo>
                    <a:pt x="626428" y="643642"/>
                  </a:lnTo>
                  <a:lnTo>
                    <a:pt x="596971" y="676278"/>
                  </a:lnTo>
                  <a:lnTo>
                    <a:pt x="562776" y="702652"/>
                  </a:lnTo>
                  <a:lnTo>
                    <a:pt x="524059" y="722288"/>
                  </a:lnTo>
                  <a:lnTo>
                    <a:pt x="523916" y="722288"/>
                  </a:lnTo>
                  <a:lnTo>
                    <a:pt x="481541" y="734405"/>
                  </a:lnTo>
                  <a:lnTo>
                    <a:pt x="481034" y="734405"/>
                  </a:lnTo>
                  <a:lnTo>
                    <a:pt x="435777" y="738511"/>
                  </a:lnTo>
                  <a:lnTo>
                    <a:pt x="781048" y="738511"/>
                  </a:lnTo>
                  <a:lnTo>
                    <a:pt x="803136" y="706532"/>
                  </a:lnTo>
                  <a:lnTo>
                    <a:pt x="824435" y="666293"/>
                  </a:lnTo>
                  <a:lnTo>
                    <a:pt x="824697" y="665728"/>
                  </a:lnTo>
                  <a:lnTo>
                    <a:pt x="824906" y="665131"/>
                  </a:lnTo>
                  <a:lnTo>
                    <a:pt x="825168" y="664566"/>
                  </a:lnTo>
                  <a:lnTo>
                    <a:pt x="650744" y="605311"/>
                  </a:lnTo>
                  <a:close/>
                </a:path>
                <a:path w="827405" h="901064">
                  <a:moveTo>
                    <a:pt x="746090" y="155953"/>
                  </a:moveTo>
                  <a:lnTo>
                    <a:pt x="422008" y="155953"/>
                  </a:lnTo>
                  <a:lnTo>
                    <a:pt x="466874" y="159622"/>
                  </a:lnTo>
                  <a:lnTo>
                    <a:pt x="509973" y="171076"/>
                  </a:lnTo>
                  <a:lnTo>
                    <a:pt x="549726" y="190981"/>
                  </a:lnTo>
                  <a:lnTo>
                    <a:pt x="584557" y="220008"/>
                  </a:lnTo>
                  <a:lnTo>
                    <a:pt x="612887" y="258822"/>
                  </a:lnTo>
                  <a:lnTo>
                    <a:pt x="633140" y="308094"/>
                  </a:lnTo>
                  <a:lnTo>
                    <a:pt x="643739" y="368491"/>
                  </a:lnTo>
                  <a:lnTo>
                    <a:pt x="822469" y="368491"/>
                  </a:lnTo>
                  <a:lnTo>
                    <a:pt x="816712" y="326855"/>
                  </a:lnTo>
                  <a:lnTo>
                    <a:pt x="804165" y="275372"/>
                  </a:lnTo>
                  <a:lnTo>
                    <a:pt x="787263" y="228757"/>
                  </a:lnTo>
                  <a:lnTo>
                    <a:pt x="766390" y="186881"/>
                  </a:lnTo>
                  <a:lnTo>
                    <a:pt x="746090" y="155953"/>
                  </a:lnTo>
                  <a:close/>
                </a:path>
              </a:pathLst>
            </a:custGeom>
            <a:solidFill>
              <a:srgbClr val="009FD3"/>
            </a:solidFill>
          </p:spPr>
          <p:txBody>
            <a:bodyPr wrap="square" lIns="0" tIns="0" rIns="0" bIns="0" rtlCol="0"/>
            <a:lstStyle/>
            <a:p>
              <a:endParaRPr dirty="0"/>
            </a:p>
          </p:txBody>
        </p:sp>
        <p:sp>
          <p:nvSpPr>
            <p:cNvPr id="23" name="object 49">
              <a:extLst>
                <a:ext uri="{FF2B5EF4-FFF2-40B4-BE49-F238E27FC236}">
                  <a16:creationId xmlns:a16="http://schemas.microsoft.com/office/drawing/2014/main" id="{778227E3-BEEC-B011-F12E-2F9C618C433B}"/>
                </a:ext>
              </a:extLst>
            </p:cNvPr>
            <p:cNvSpPr/>
            <p:nvPr userDrawn="1"/>
          </p:nvSpPr>
          <p:spPr>
            <a:xfrm>
              <a:off x="17608884" y="2058803"/>
              <a:ext cx="827405" cy="901065"/>
            </a:xfrm>
            <a:custGeom>
              <a:avLst/>
              <a:gdLst/>
              <a:ahLst/>
              <a:cxnLst/>
              <a:rect l="l" t="t" r="r" b="b"/>
              <a:pathLst>
                <a:path w="827405" h="901064">
                  <a:moveTo>
                    <a:pt x="423536" y="0"/>
                  </a:moveTo>
                  <a:lnTo>
                    <a:pt x="374987" y="2512"/>
                  </a:lnTo>
                  <a:lnTo>
                    <a:pt x="328539" y="9907"/>
                  </a:lnTo>
                  <a:lnTo>
                    <a:pt x="284376" y="21968"/>
                  </a:lnTo>
                  <a:lnTo>
                    <a:pt x="242684" y="38482"/>
                  </a:lnTo>
                  <a:lnTo>
                    <a:pt x="203647" y="59234"/>
                  </a:lnTo>
                  <a:lnTo>
                    <a:pt x="167450" y="84010"/>
                  </a:lnTo>
                  <a:lnTo>
                    <a:pt x="134278" y="112593"/>
                  </a:lnTo>
                  <a:lnTo>
                    <a:pt x="104317" y="144770"/>
                  </a:lnTo>
                  <a:lnTo>
                    <a:pt x="77750" y="180326"/>
                  </a:lnTo>
                  <a:lnTo>
                    <a:pt x="54763" y="219046"/>
                  </a:lnTo>
                  <a:lnTo>
                    <a:pt x="35541" y="260715"/>
                  </a:lnTo>
                  <a:lnTo>
                    <a:pt x="20269" y="305119"/>
                  </a:lnTo>
                  <a:lnTo>
                    <a:pt x="9132" y="352044"/>
                  </a:lnTo>
                  <a:lnTo>
                    <a:pt x="2313" y="401273"/>
                  </a:lnTo>
                  <a:lnTo>
                    <a:pt x="0" y="452593"/>
                  </a:lnTo>
                  <a:lnTo>
                    <a:pt x="2450" y="505453"/>
                  </a:lnTo>
                  <a:lnTo>
                    <a:pt x="9655" y="555675"/>
                  </a:lnTo>
                  <a:lnTo>
                    <a:pt x="21394" y="603111"/>
                  </a:lnTo>
                  <a:lnTo>
                    <a:pt x="37448" y="647611"/>
                  </a:lnTo>
                  <a:lnTo>
                    <a:pt x="57595" y="689025"/>
                  </a:lnTo>
                  <a:lnTo>
                    <a:pt x="81615" y="727205"/>
                  </a:lnTo>
                  <a:lnTo>
                    <a:pt x="109289" y="762000"/>
                  </a:lnTo>
                  <a:lnTo>
                    <a:pt x="140397" y="793261"/>
                  </a:lnTo>
                  <a:lnTo>
                    <a:pt x="174717" y="820840"/>
                  </a:lnTo>
                  <a:lnTo>
                    <a:pt x="212029" y="844585"/>
                  </a:lnTo>
                  <a:lnTo>
                    <a:pt x="252115" y="864348"/>
                  </a:lnTo>
                  <a:lnTo>
                    <a:pt x="294752" y="879980"/>
                  </a:lnTo>
                  <a:lnTo>
                    <a:pt x="339722" y="891330"/>
                  </a:lnTo>
                  <a:lnTo>
                    <a:pt x="386804" y="898250"/>
                  </a:lnTo>
                  <a:lnTo>
                    <a:pt x="435777" y="900590"/>
                  </a:lnTo>
                  <a:lnTo>
                    <a:pt x="489542" y="897772"/>
                  </a:lnTo>
                  <a:lnTo>
                    <a:pt x="540590" y="889528"/>
                  </a:lnTo>
                  <a:lnTo>
                    <a:pt x="588696" y="876176"/>
                  </a:lnTo>
                  <a:lnTo>
                    <a:pt x="633640" y="858032"/>
                  </a:lnTo>
                  <a:lnTo>
                    <a:pt x="675199" y="835414"/>
                  </a:lnTo>
                  <a:lnTo>
                    <a:pt x="713150" y="808638"/>
                  </a:lnTo>
                  <a:lnTo>
                    <a:pt x="747272" y="778021"/>
                  </a:lnTo>
                  <a:lnTo>
                    <a:pt x="777341" y="743880"/>
                  </a:lnTo>
                  <a:lnTo>
                    <a:pt x="781049" y="738511"/>
                  </a:lnTo>
                  <a:lnTo>
                    <a:pt x="435777" y="738511"/>
                  </a:lnTo>
                  <a:lnTo>
                    <a:pt x="387306" y="734405"/>
                  </a:lnTo>
                  <a:lnTo>
                    <a:pt x="342170" y="722288"/>
                  </a:lnTo>
                  <a:lnTo>
                    <a:pt x="301121" y="702467"/>
                  </a:lnTo>
                  <a:lnTo>
                    <a:pt x="264909" y="675246"/>
                  </a:lnTo>
                  <a:lnTo>
                    <a:pt x="234287" y="640929"/>
                  </a:lnTo>
                  <a:lnTo>
                    <a:pt x="210008" y="599822"/>
                  </a:lnTo>
                  <a:lnTo>
                    <a:pt x="192822" y="552229"/>
                  </a:lnTo>
                  <a:lnTo>
                    <a:pt x="183481" y="498456"/>
                  </a:lnTo>
                  <a:lnTo>
                    <a:pt x="827210" y="498456"/>
                  </a:lnTo>
                  <a:lnTo>
                    <a:pt x="827210" y="444949"/>
                  </a:lnTo>
                  <a:lnTo>
                    <a:pt x="824522" y="383338"/>
                  </a:lnTo>
                  <a:lnTo>
                    <a:pt x="822469" y="368491"/>
                  </a:lnTo>
                  <a:lnTo>
                    <a:pt x="192653" y="368491"/>
                  </a:lnTo>
                  <a:lnTo>
                    <a:pt x="205522" y="317240"/>
                  </a:lnTo>
                  <a:lnTo>
                    <a:pt x="225559" y="271525"/>
                  </a:lnTo>
                  <a:lnTo>
                    <a:pt x="252443" y="232202"/>
                  </a:lnTo>
                  <a:lnTo>
                    <a:pt x="285851" y="200127"/>
                  </a:lnTo>
                  <a:lnTo>
                    <a:pt x="325463" y="176157"/>
                  </a:lnTo>
                  <a:lnTo>
                    <a:pt x="370955" y="161146"/>
                  </a:lnTo>
                  <a:lnTo>
                    <a:pt x="422008" y="155953"/>
                  </a:lnTo>
                  <a:lnTo>
                    <a:pt x="746090" y="155953"/>
                  </a:lnTo>
                  <a:lnTo>
                    <a:pt x="741928" y="149612"/>
                  </a:lnTo>
                  <a:lnTo>
                    <a:pt x="714261" y="116820"/>
                  </a:lnTo>
                  <a:lnTo>
                    <a:pt x="683773" y="88374"/>
                  </a:lnTo>
                  <a:lnTo>
                    <a:pt x="650846" y="64145"/>
                  </a:lnTo>
                  <a:lnTo>
                    <a:pt x="615864" y="44001"/>
                  </a:lnTo>
                  <a:lnTo>
                    <a:pt x="579210" y="27813"/>
                  </a:lnTo>
                  <a:lnTo>
                    <a:pt x="541267" y="15449"/>
                  </a:lnTo>
                  <a:lnTo>
                    <a:pt x="502418" y="6779"/>
                  </a:lnTo>
                  <a:lnTo>
                    <a:pt x="463047" y="1673"/>
                  </a:lnTo>
                  <a:lnTo>
                    <a:pt x="423536" y="0"/>
                  </a:lnTo>
                  <a:close/>
                </a:path>
                <a:path w="827405" h="901064">
                  <a:moveTo>
                    <a:pt x="650744" y="605311"/>
                  </a:moveTo>
                  <a:lnTo>
                    <a:pt x="626428" y="643642"/>
                  </a:lnTo>
                  <a:lnTo>
                    <a:pt x="596971" y="676278"/>
                  </a:lnTo>
                  <a:lnTo>
                    <a:pt x="562776" y="702652"/>
                  </a:lnTo>
                  <a:lnTo>
                    <a:pt x="524059" y="722288"/>
                  </a:lnTo>
                  <a:lnTo>
                    <a:pt x="523916" y="722288"/>
                  </a:lnTo>
                  <a:lnTo>
                    <a:pt x="481541" y="734405"/>
                  </a:lnTo>
                  <a:lnTo>
                    <a:pt x="481034" y="734405"/>
                  </a:lnTo>
                  <a:lnTo>
                    <a:pt x="435777" y="738511"/>
                  </a:lnTo>
                  <a:lnTo>
                    <a:pt x="781049" y="738511"/>
                  </a:lnTo>
                  <a:lnTo>
                    <a:pt x="803136" y="706532"/>
                  </a:lnTo>
                  <a:lnTo>
                    <a:pt x="824435" y="666293"/>
                  </a:lnTo>
                  <a:lnTo>
                    <a:pt x="824697" y="665728"/>
                  </a:lnTo>
                  <a:lnTo>
                    <a:pt x="824906" y="665131"/>
                  </a:lnTo>
                  <a:lnTo>
                    <a:pt x="825168" y="664566"/>
                  </a:lnTo>
                  <a:lnTo>
                    <a:pt x="650744" y="605311"/>
                  </a:lnTo>
                  <a:close/>
                </a:path>
                <a:path w="827405" h="901064">
                  <a:moveTo>
                    <a:pt x="746090" y="155953"/>
                  </a:moveTo>
                  <a:lnTo>
                    <a:pt x="422008" y="155953"/>
                  </a:lnTo>
                  <a:lnTo>
                    <a:pt x="466874" y="159622"/>
                  </a:lnTo>
                  <a:lnTo>
                    <a:pt x="509973" y="171076"/>
                  </a:lnTo>
                  <a:lnTo>
                    <a:pt x="549726" y="190981"/>
                  </a:lnTo>
                  <a:lnTo>
                    <a:pt x="584557" y="220008"/>
                  </a:lnTo>
                  <a:lnTo>
                    <a:pt x="612887" y="258822"/>
                  </a:lnTo>
                  <a:lnTo>
                    <a:pt x="633140" y="308094"/>
                  </a:lnTo>
                  <a:lnTo>
                    <a:pt x="643739" y="368491"/>
                  </a:lnTo>
                  <a:lnTo>
                    <a:pt x="822469" y="368491"/>
                  </a:lnTo>
                  <a:lnTo>
                    <a:pt x="816712" y="326855"/>
                  </a:lnTo>
                  <a:lnTo>
                    <a:pt x="804165" y="275372"/>
                  </a:lnTo>
                  <a:lnTo>
                    <a:pt x="787263" y="228757"/>
                  </a:lnTo>
                  <a:lnTo>
                    <a:pt x="766390" y="186881"/>
                  </a:lnTo>
                  <a:lnTo>
                    <a:pt x="746090" y="155953"/>
                  </a:lnTo>
                  <a:close/>
                </a:path>
              </a:pathLst>
            </a:custGeom>
            <a:solidFill>
              <a:srgbClr val="6F7070"/>
            </a:solidFill>
          </p:spPr>
          <p:txBody>
            <a:bodyPr wrap="square" lIns="0" tIns="0" rIns="0" bIns="0" rtlCol="0"/>
            <a:lstStyle/>
            <a:p>
              <a:endParaRPr dirty="0"/>
            </a:p>
          </p:txBody>
        </p:sp>
      </p:grpSp>
    </p:spTree>
    <p:extLst>
      <p:ext uri="{BB962C8B-B14F-4D97-AF65-F5344CB8AC3E}">
        <p14:creationId xmlns:p14="http://schemas.microsoft.com/office/powerpoint/2010/main" val="22478704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4014ACA-BDC5-6284-6DC4-E3D743FBFEE6}"/>
              </a:ext>
            </a:extLst>
          </p:cNvPr>
          <p:cNvGraphicFramePr>
            <a:graphicFrameLocks noChangeAspect="1"/>
          </p:cNvGraphicFramePr>
          <p:nvPr userDrawn="1">
            <p:custDataLst>
              <p:tags r:id="rId1"/>
            </p:custDataLst>
            <p:extLst>
              <p:ext uri="{D42A27DB-BD31-4B8C-83A1-F6EECF244321}">
                <p14:modId xmlns:p14="http://schemas.microsoft.com/office/powerpoint/2010/main" val="2337655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2" name="think-cell data - do not delete" hidden="1">
                        <a:extLst>
                          <a:ext uri="{FF2B5EF4-FFF2-40B4-BE49-F238E27FC236}">
                            <a16:creationId xmlns:a16="http://schemas.microsoft.com/office/drawing/2014/main" id="{B4014ACA-BDC5-6284-6DC4-E3D743FBFE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3132534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5000">
              <a:schemeClr val="accent1"/>
            </a:gs>
            <a:gs pos="100000">
              <a:srgbClr val="71CEEE"/>
            </a:gs>
          </a:gsLst>
          <a:lin ang="54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3479E95-3594-15EB-A89B-E1225FD05DD6}"/>
              </a:ext>
            </a:extLst>
          </p:cNvPr>
          <p:cNvGraphicFramePr>
            <a:graphicFrameLocks noChangeAspect="1"/>
          </p:cNvGraphicFramePr>
          <p:nvPr userDrawn="1">
            <p:custDataLst>
              <p:tags r:id="rId1"/>
            </p:custDataLst>
            <p:extLst>
              <p:ext uri="{D42A27DB-BD31-4B8C-83A1-F6EECF244321}">
                <p14:modId xmlns:p14="http://schemas.microsoft.com/office/powerpoint/2010/main" val="2386713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63479E95-3594-15EB-A89B-E1225FD05D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body" sz="quarter" idx="10" hasCustomPrompt="1"/>
          </p:nvPr>
        </p:nvSpPr>
        <p:spPr>
          <a:xfrm>
            <a:off x="457201" y="3979102"/>
            <a:ext cx="7148285" cy="893771"/>
          </a:xfrm>
        </p:spPr>
        <p:txBody>
          <a:bodyPr wrap="square" lIns="0" tIns="0" rIns="0" bIns="0" anchor="b">
            <a:spAutoFit/>
          </a:bodyPr>
          <a:lstStyle>
            <a:lvl1pPr marL="0" indent="0" fontAlgn="base">
              <a:lnSpc>
                <a:spcPct val="88000"/>
              </a:lnSpc>
              <a:spcBef>
                <a:spcPts val="0"/>
              </a:spcBef>
              <a:spcAft>
                <a:spcPts val="0"/>
              </a:spcAft>
              <a:buFont typeface="Arial" panose="020B0604020202020204" pitchFamily="34" charset="0"/>
              <a:buNone/>
              <a:defRPr sz="6600" b="1">
                <a:solidFill>
                  <a:schemeClr val="bg1"/>
                </a:solidFill>
                <a:latin typeface="+mj-lt"/>
                <a:ea typeface="+mj-ea"/>
                <a:cs typeface="+mj-cs"/>
              </a:defRPr>
            </a:lvl1pPr>
            <a:lvl2pPr marL="0" indent="0" fontAlgn="base">
              <a:lnSpc>
                <a:spcPct val="88000"/>
              </a:lnSpc>
              <a:spcBef>
                <a:spcPts val="0"/>
              </a:spcBef>
              <a:spcAft>
                <a:spcPts val="0"/>
              </a:spcAft>
              <a:buFont typeface="Arial" panose="020B0604020202020204" pitchFamily="34" charset="0"/>
              <a:buChar char="​"/>
              <a:defRPr sz="2800">
                <a:solidFill>
                  <a:schemeClr val="tx1"/>
                </a:solidFill>
              </a:defRPr>
            </a:lvl2pPr>
            <a:lvl3pPr marL="0" indent="0">
              <a:lnSpc>
                <a:spcPct val="88000"/>
              </a:lnSpc>
              <a:spcBef>
                <a:spcPts val="0"/>
              </a:spcBef>
              <a:spcAft>
                <a:spcPts val="0"/>
              </a:spcAft>
              <a:buFont typeface="Arial" panose="020B0604020202020204" pitchFamily="34" charset="0"/>
              <a:buChar char="​"/>
              <a:defRPr sz="2800">
                <a:solidFill>
                  <a:schemeClr val="tx1"/>
                </a:solidFill>
              </a:defRPr>
            </a:lvl3pPr>
            <a:lvl4pPr marL="0" indent="0">
              <a:lnSpc>
                <a:spcPct val="88000"/>
              </a:lnSpc>
              <a:spcBef>
                <a:spcPts val="0"/>
              </a:spcBef>
              <a:spcAft>
                <a:spcPts val="0"/>
              </a:spcAft>
              <a:buFont typeface="Arial" panose="020B0604020202020204" pitchFamily="34" charset="0"/>
              <a:buChar char="​"/>
              <a:defRPr sz="2800">
                <a:solidFill>
                  <a:schemeClr val="tx1"/>
                </a:solidFill>
              </a:defRPr>
            </a:lvl4pPr>
            <a:lvl5pPr marL="0" indent="0">
              <a:lnSpc>
                <a:spcPct val="88000"/>
              </a:lnSpc>
              <a:spcBef>
                <a:spcPts val="0"/>
              </a:spcBef>
              <a:spcAft>
                <a:spcPts val="0"/>
              </a:spcAft>
              <a:buFont typeface="Arial" panose="020B0604020202020204" pitchFamily="34" charset="0"/>
              <a:buChar char="​"/>
              <a:defRPr sz="2800">
                <a:solidFill>
                  <a:schemeClr val="tx1"/>
                </a:solidFill>
              </a:defRPr>
            </a:lvl5pPr>
            <a:lvl6pPr marL="0" indent="0">
              <a:lnSpc>
                <a:spcPct val="88000"/>
              </a:lnSpc>
              <a:spcBef>
                <a:spcPts val="0"/>
              </a:spcBef>
              <a:spcAft>
                <a:spcPts val="0"/>
              </a:spcAft>
              <a:buFont typeface="Arial" panose="020B0604020202020204" pitchFamily="34" charset="0"/>
              <a:buChar char="​"/>
              <a:defRPr sz="2800">
                <a:solidFill>
                  <a:schemeClr val="tx1"/>
                </a:solidFill>
              </a:defRPr>
            </a:lvl6pPr>
            <a:lvl7pPr marL="0" indent="0">
              <a:lnSpc>
                <a:spcPct val="88000"/>
              </a:lnSpc>
              <a:spcBef>
                <a:spcPts val="0"/>
              </a:spcBef>
              <a:spcAft>
                <a:spcPts val="0"/>
              </a:spcAft>
              <a:buFont typeface="Arial" panose="020B0604020202020204" pitchFamily="34" charset="0"/>
              <a:buChar char="​"/>
              <a:defRPr sz="2800">
                <a:solidFill>
                  <a:schemeClr val="tx1"/>
                </a:solidFill>
              </a:defRPr>
            </a:lvl7pPr>
            <a:lvl8pPr marL="0" indent="0">
              <a:lnSpc>
                <a:spcPct val="88000"/>
              </a:lnSpc>
              <a:spcBef>
                <a:spcPts val="0"/>
              </a:spcBef>
              <a:spcAft>
                <a:spcPts val="0"/>
              </a:spcAft>
              <a:buFont typeface="Arial" panose="020B0604020202020204" pitchFamily="34" charset="0"/>
              <a:buChar char="​"/>
              <a:defRPr sz="2800">
                <a:solidFill>
                  <a:schemeClr val="tx1"/>
                </a:solidFill>
              </a:defRPr>
            </a:lvl8pPr>
            <a:lvl9pPr marL="0" indent="0">
              <a:lnSpc>
                <a:spcPct val="100000"/>
              </a:lnSpc>
              <a:spcBef>
                <a:spcPts val="0"/>
              </a:spcBef>
              <a:spcAft>
                <a:spcPts val="0"/>
              </a:spcAft>
              <a:buFont typeface="Arial" panose="020B0604020202020204" pitchFamily="34" charset="0"/>
              <a:buChar char="​"/>
              <a:defRPr sz="2800">
                <a:solidFill>
                  <a:schemeClr val="tx1"/>
                </a:solidFill>
              </a:defRPr>
            </a:lvl9pPr>
          </a:lstStyle>
          <a:p>
            <a:pPr lvl="0"/>
            <a:r>
              <a:rPr lang="en-US"/>
              <a:t>Title</a:t>
            </a:r>
          </a:p>
        </p:txBody>
      </p:sp>
      <p:sp>
        <p:nvSpPr>
          <p:cNvPr id="3" name="Subtitle"/>
          <p:cNvSpPr>
            <a:spLocks noGrp="1"/>
          </p:cNvSpPr>
          <p:nvPr>
            <p:ph type="body" sz="quarter" idx="11" hasCustomPrompt="1"/>
          </p:nvPr>
        </p:nvSpPr>
        <p:spPr>
          <a:xfrm>
            <a:off x="457201" y="5023212"/>
            <a:ext cx="7148285" cy="430887"/>
          </a:xfrm>
        </p:spPr>
        <p:txBody>
          <a:bodyPr wrap="square" lIns="0" tIns="0" rIns="0" bIns="0">
            <a:spAutoFit/>
          </a:bodyPr>
          <a:lstStyle>
            <a:lvl1pPr marL="0" indent="0">
              <a:spcBef>
                <a:spcPts val="0"/>
              </a:spcBef>
              <a:spcAft>
                <a:spcPts val="0"/>
              </a:spcAft>
              <a:buFont typeface="Arial" panose="020B0604020202020204" pitchFamily="34" charset="0"/>
              <a:buChar char="​"/>
              <a:defRPr sz="2800">
                <a:solidFill>
                  <a:schemeClr val="bg1"/>
                </a:solidFill>
              </a:defRPr>
            </a:lvl1pPr>
            <a:lvl2pPr marL="0" indent="0">
              <a:spcBef>
                <a:spcPts val="0"/>
              </a:spcBef>
              <a:spcAft>
                <a:spcPts val="0"/>
              </a:spcAft>
              <a:buFont typeface="Arial" panose="020B0604020202020204" pitchFamily="34" charset="0"/>
              <a:buChar char="​"/>
              <a:defRPr sz="2800">
                <a:solidFill>
                  <a:schemeClr val="tx1"/>
                </a:solidFill>
              </a:defRPr>
            </a:lvl2pPr>
            <a:lvl3pPr marL="0" indent="0">
              <a:spcBef>
                <a:spcPts val="0"/>
              </a:spcBef>
              <a:spcAft>
                <a:spcPts val="0"/>
              </a:spcAft>
              <a:buFont typeface="Arial" panose="020B0604020202020204" pitchFamily="34" charset="0"/>
              <a:buChar char="​"/>
              <a:defRPr sz="2800">
                <a:solidFill>
                  <a:schemeClr val="tx1"/>
                </a:solidFill>
              </a:defRPr>
            </a:lvl3pPr>
            <a:lvl4pPr marL="0" indent="0">
              <a:spcBef>
                <a:spcPts val="0"/>
              </a:spcBef>
              <a:spcAft>
                <a:spcPts val="0"/>
              </a:spcAft>
              <a:buFont typeface="Arial" panose="020B0604020202020204" pitchFamily="34" charset="0"/>
              <a:buChar char="​"/>
              <a:defRPr sz="2800">
                <a:solidFill>
                  <a:schemeClr val="tx1"/>
                </a:solidFill>
              </a:defRPr>
            </a:lvl4pPr>
            <a:lvl5pPr marL="0" indent="0">
              <a:spcBef>
                <a:spcPts val="0"/>
              </a:spcBef>
              <a:spcAft>
                <a:spcPts val="0"/>
              </a:spcAft>
              <a:buFont typeface="Arial" panose="020B0604020202020204" pitchFamily="34" charset="0"/>
              <a:buChar char="​"/>
              <a:defRPr sz="2800">
                <a:solidFill>
                  <a:schemeClr val="tx1"/>
                </a:solidFill>
              </a:defRPr>
            </a:lvl5pPr>
            <a:lvl6pPr marL="0" indent="0">
              <a:spcBef>
                <a:spcPts val="0"/>
              </a:spcBef>
              <a:spcAft>
                <a:spcPts val="0"/>
              </a:spcAft>
              <a:buFont typeface="Arial" panose="020B0604020202020204" pitchFamily="34" charset="0"/>
              <a:buChar char="​"/>
              <a:defRPr sz="2800">
                <a:solidFill>
                  <a:schemeClr val="tx1"/>
                </a:solidFill>
              </a:defRPr>
            </a:lvl6pPr>
            <a:lvl7pPr marL="0" indent="0">
              <a:spcBef>
                <a:spcPts val="0"/>
              </a:spcBef>
              <a:spcAft>
                <a:spcPts val="0"/>
              </a:spcAft>
              <a:buFont typeface="Arial" panose="020B0604020202020204" pitchFamily="34" charset="0"/>
              <a:buChar char="​"/>
              <a:defRPr sz="2800">
                <a:solidFill>
                  <a:schemeClr val="tx1"/>
                </a:solidFill>
              </a:defRPr>
            </a:lvl7pPr>
            <a:lvl8pPr marL="0" indent="0">
              <a:spcBef>
                <a:spcPts val="0"/>
              </a:spcBef>
              <a:spcAft>
                <a:spcPts val="0"/>
              </a:spcAft>
              <a:buFont typeface="Arial" panose="020B0604020202020204" pitchFamily="34" charset="0"/>
              <a:buChar char="​"/>
              <a:defRPr sz="2800">
                <a:solidFill>
                  <a:schemeClr val="tx1"/>
                </a:solidFill>
              </a:defRPr>
            </a:lvl8pPr>
            <a:lvl9pPr marL="0" indent="0">
              <a:spcBef>
                <a:spcPts val="0"/>
              </a:spcBef>
              <a:spcAft>
                <a:spcPts val="0"/>
              </a:spcAft>
              <a:buFont typeface="Arial" panose="020B0604020202020204" pitchFamily="34" charset="0"/>
              <a:buChar char="​"/>
              <a:defRPr sz="2800">
                <a:solidFill>
                  <a:schemeClr val="tx1"/>
                </a:solidFill>
              </a:defRPr>
            </a:lvl9pPr>
          </a:lstStyle>
          <a:p>
            <a:pPr lvl="0"/>
            <a:r>
              <a:rPr lang="en-US"/>
              <a:t>Subtitle</a:t>
            </a:r>
          </a:p>
        </p:txBody>
      </p:sp>
      <p:sp>
        <p:nvSpPr>
          <p:cNvPr id="4" name="Presenter"/>
          <p:cNvSpPr>
            <a:spLocks noGrp="1"/>
          </p:cNvSpPr>
          <p:nvPr>
            <p:ph type="body" sz="quarter" idx="13" hasCustomPrompt="1"/>
          </p:nvPr>
        </p:nvSpPr>
        <p:spPr>
          <a:xfrm>
            <a:off x="457201" y="6103780"/>
            <a:ext cx="7148285" cy="246221"/>
          </a:xfrm>
        </p:spPr>
        <p:txBody>
          <a:bodyPr wrap="square" lIns="0" tIns="0" rIns="0" bIns="0" anchor="b">
            <a:spAutoFit/>
          </a:bodyPr>
          <a:lstStyle>
            <a:lvl1pPr marL="0" indent="0" fontAlgn="base">
              <a:spcBef>
                <a:spcPts val="0"/>
              </a:spcBef>
              <a:spcAft>
                <a:spcPts val="0"/>
              </a:spcAft>
              <a:buFont typeface="Arial" panose="020B0604020202020204" pitchFamily="34" charset="0"/>
              <a:buChar char="​"/>
              <a:defRPr sz="1600">
                <a:solidFill>
                  <a:schemeClr val="accent3"/>
                </a:solidFill>
              </a:defRPr>
            </a:lvl1pPr>
            <a:lvl2pPr marL="0" indent="0" fontAlgn="base">
              <a:spcBef>
                <a:spcPts val="0"/>
              </a:spcBef>
              <a:spcAft>
                <a:spcPts val="0"/>
              </a:spcAft>
              <a:buFont typeface="Arial" panose="020B0604020202020204" pitchFamily="34" charset="0"/>
              <a:buChar char="​"/>
              <a:defRPr sz="1600">
                <a:solidFill>
                  <a:schemeClr val="tx1"/>
                </a:solidFill>
              </a:defRPr>
            </a:lvl2pPr>
            <a:lvl3pPr marL="0" indent="0">
              <a:spcBef>
                <a:spcPts val="0"/>
              </a:spcBef>
              <a:spcAft>
                <a:spcPts val="0"/>
              </a:spcAft>
              <a:buFont typeface="Arial" panose="020B0604020202020204" pitchFamily="34" charset="0"/>
              <a:buChar char="​"/>
              <a:defRPr sz="1600">
                <a:solidFill>
                  <a:schemeClr val="tx1"/>
                </a:solidFill>
              </a:defRPr>
            </a:lvl3pPr>
            <a:lvl4pPr marL="0" indent="0">
              <a:spcBef>
                <a:spcPts val="0"/>
              </a:spcBef>
              <a:spcAft>
                <a:spcPts val="0"/>
              </a:spcAft>
              <a:buFont typeface="Arial" panose="020B0604020202020204" pitchFamily="34" charset="0"/>
              <a:buChar char="​"/>
              <a:defRPr sz="1600">
                <a:solidFill>
                  <a:schemeClr val="tx1"/>
                </a:solidFill>
              </a:defRPr>
            </a:lvl4pPr>
            <a:lvl5pPr marL="0" indent="0">
              <a:spcBef>
                <a:spcPts val="0"/>
              </a:spcBef>
              <a:spcAft>
                <a:spcPts val="0"/>
              </a:spcAft>
              <a:buFont typeface="Arial" panose="020B0604020202020204" pitchFamily="34" charset="0"/>
              <a:buChar char="​"/>
              <a:defRPr sz="1600">
                <a:solidFill>
                  <a:schemeClr val="tx1"/>
                </a:solidFill>
              </a:defRPr>
            </a:lvl5pPr>
            <a:lvl6pPr marL="0" indent="0">
              <a:spcBef>
                <a:spcPts val="0"/>
              </a:spcBef>
              <a:spcAft>
                <a:spcPts val="0"/>
              </a:spcAft>
              <a:buFont typeface="Arial" panose="020B0604020202020204" pitchFamily="34" charset="0"/>
              <a:buChar char="​"/>
              <a:defRPr sz="1600">
                <a:solidFill>
                  <a:schemeClr val="tx1"/>
                </a:solidFill>
              </a:defRPr>
            </a:lvl6pPr>
            <a:lvl7pPr marL="0" indent="0">
              <a:spcBef>
                <a:spcPts val="0"/>
              </a:spcBef>
              <a:spcAft>
                <a:spcPts val="0"/>
              </a:spcAft>
              <a:buFont typeface="Arial" panose="020B0604020202020204" pitchFamily="34" charset="0"/>
              <a:buChar char="​"/>
              <a:defRPr sz="1600">
                <a:solidFill>
                  <a:schemeClr val="tx1"/>
                </a:solidFill>
              </a:defRPr>
            </a:lvl7pPr>
            <a:lvl8pPr marL="0" indent="0">
              <a:spcBef>
                <a:spcPts val="0"/>
              </a:spcBef>
              <a:spcAft>
                <a:spcPts val="0"/>
              </a:spcAft>
              <a:buFont typeface="Arial" panose="020B0604020202020204" pitchFamily="34" charset="0"/>
              <a:buChar char="​"/>
              <a:defRPr sz="1600">
                <a:solidFill>
                  <a:schemeClr val="tx1"/>
                </a:solidFill>
              </a:defRPr>
            </a:lvl8pPr>
            <a:lvl9pPr marL="0" indent="0">
              <a:spcBef>
                <a:spcPts val="0"/>
              </a:spcBef>
              <a:spcAft>
                <a:spcPts val="0"/>
              </a:spcAft>
              <a:buFont typeface="Arial" panose="020B0604020202020204" pitchFamily="34" charset="0"/>
              <a:buChar char="​"/>
              <a:defRPr sz="1600">
                <a:solidFill>
                  <a:schemeClr val="tx1"/>
                </a:solidFill>
              </a:defRPr>
            </a:lvl9pPr>
          </a:lstStyle>
          <a:p>
            <a:pPr lvl="0"/>
            <a:r>
              <a:rPr lang="en-US"/>
              <a:t>Date</a:t>
            </a:r>
          </a:p>
        </p:txBody>
      </p:sp>
      <p:pic>
        <p:nvPicPr>
          <p:cNvPr id="9" name="object 6">
            <a:extLst>
              <a:ext uri="{FF2B5EF4-FFF2-40B4-BE49-F238E27FC236}">
                <a16:creationId xmlns:a16="http://schemas.microsoft.com/office/drawing/2014/main" id="{2F9CE019-4A13-B90F-D1BC-B185260D24FC}"/>
              </a:ext>
            </a:extLst>
          </p:cNvPr>
          <p:cNvPicPr>
            <a:picLocks/>
          </p:cNvPicPr>
          <p:nvPr userDrawn="1"/>
        </p:nvPicPr>
        <p:blipFill>
          <a:blip r:embed="rId5" cstate="print"/>
          <a:stretch>
            <a:fillRect/>
          </a:stretch>
        </p:blipFill>
        <p:spPr>
          <a:xfrm>
            <a:off x="7888483" y="507999"/>
            <a:ext cx="3846317" cy="6350002"/>
          </a:xfrm>
          <a:prstGeom prst="rect">
            <a:avLst/>
          </a:prstGeom>
        </p:spPr>
      </p:pic>
      <p:grpSp>
        <p:nvGrpSpPr>
          <p:cNvPr id="16" name="Group 15">
            <a:extLst>
              <a:ext uri="{FF2B5EF4-FFF2-40B4-BE49-F238E27FC236}">
                <a16:creationId xmlns:a16="http://schemas.microsoft.com/office/drawing/2014/main" id="{EDD15E0F-7440-1F39-2C91-0A700C532750}"/>
              </a:ext>
            </a:extLst>
          </p:cNvPr>
          <p:cNvGrpSpPr/>
          <p:nvPr userDrawn="1"/>
        </p:nvGrpSpPr>
        <p:grpSpPr>
          <a:xfrm>
            <a:off x="457201" y="381000"/>
            <a:ext cx="2826424" cy="471427"/>
            <a:chOff x="1047076" y="1047095"/>
            <a:chExt cx="4199255" cy="700405"/>
          </a:xfrm>
        </p:grpSpPr>
        <p:sp>
          <p:nvSpPr>
            <p:cNvPr id="17" name="object 4">
              <a:extLst>
                <a:ext uri="{FF2B5EF4-FFF2-40B4-BE49-F238E27FC236}">
                  <a16:creationId xmlns:a16="http://schemas.microsoft.com/office/drawing/2014/main" id="{4403A0AB-CF43-F3E2-A996-87C26FD561E4}"/>
                </a:ext>
              </a:extLst>
            </p:cNvPr>
            <p:cNvSpPr/>
            <p:nvPr/>
          </p:nvSpPr>
          <p:spPr>
            <a:xfrm>
              <a:off x="1047076" y="1047095"/>
              <a:ext cx="4199255" cy="700405"/>
            </a:xfrm>
            <a:custGeom>
              <a:avLst/>
              <a:gdLst/>
              <a:ahLst/>
              <a:cxnLst/>
              <a:rect l="l" t="t" r="r" b="b"/>
              <a:pathLst>
                <a:path w="4199255" h="700405">
                  <a:moveTo>
                    <a:pt x="410883" y="499719"/>
                  </a:moveTo>
                  <a:lnTo>
                    <a:pt x="365188" y="504698"/>
                  </a:lnTo>
                  <a:lnTo>
                    <a:pt x="323481" y="518934"/>
                  </a:lnTo>
                  <a:lnTo>
                    <a:pt x="286372" y="541337"/>
                  </a:lnTo>
                  <a:lnTo>
                    <a:pt x="254914" y="570814"/>
                  </a:lnTo>
                  <a:lnTo>
                    <a:pt x="230225" y="606285"/>
                  </a:lnTo>
                  <a:lnTo>
                    <a:pt x="213360" y="646684"/>
                  </a:lnTo>
                  <a:lnTo>
                    <a:pt x="205409" y="690905"/>
                  </a:lnTo>
                  <a:lnTo>
                    <a:pt x="197307" y="646861"/>
                  </a:lnTo>
                  <a:lnTo>
                    <a:pt x="180365" y="606640"/>
                  </a:lnTo>
                  <a:lnTo>
                    <a:pt x="155638" y="571309"/>
                  </a:lnTo>
                  <a:lnTo>
                    <a:pt x="124206" y="541972"/>
                  </a:lnTo>
                  <a:lnTo>
                    <a:pt x="87147" y="519671"/>
                  </a:lnTo>
                  <a:lnTo>
                    <a:pt x="45529" y="505510"/>
                  </a:lnTo>
                  <a:lnTo>
                    <a:pt x="0" y="500570"/>
                  </a:lnTo>
                  <a:lnTo>
                    <a:pt x="6477" y="546430"/>
                  </a:lnTo>
                  <a:lnTo>
                    <a:pt x="22504" y="588454"/>
                  </a:lnTo>
                  <a:lnTo>
                    <a:pt x="46888" y="625475"/>
                  </a:lnTo>
                  <a:lnTo>
                    <a:pt x="78498" y="656310"/>
                  </a:lnTo>
                  <a:lnTo>
                    <a:pt x="116141" y="679805"/>
                  </a:lnTo>
                  <a:lnTo>
                    <a:pt x="158673" y="694804"/>
                  </a:lnTo>
                  <a:lnTo>
                    <a:pt x="204901" y="700125"/>
                  </a:lnTo>
                  <a:lnTo>
                    <a:pt x="205816" y="700125"/>
                  </a:lnTo>
                  <a:lnTo>
                    <a:pt x="252183" y="694778"/>
                  </a:lnTo>
                  <a:lnTo>
                    <a:pt x="294817" y="679716"/>
                  </a:lnTo>
                  <a:lnTo>
                    <a:pt x="332536" y="656107"/>
                  </a:lnTo>
                  <a:lnTo>
                    <a:pt x="364172" y="625144"/>
                  </a:lnTo>
                  <a:lnTo>
                    <a:pt x="388556" y="587971"/>
                  </a:lnTo>
                  <a:lnTo>
                    <a:pt x="404520" y="545769"/>
                  </a:lnTo>
                  <a:lnTo>
                    <a:pt x="410883" y="499719"/>
                  </a:lnTo>
                  <a:close/>
                </a:path>
                <a:path w="4199255" h="700405">
                  <a:moveTo>
                    <a:pt x="410883" y="309626"/>
                  </a:moveTo>
                  <a:lnTo>
                    <a:pt x="365175" y="314604"/>
                  </a:lnTo>
                  <a:lnTo>
                    <a:pt x="323481" y="328841"/>
                  </a:lnTo>
                  <a:lnTo>
                    <a:pt x="286359" y="351231"/>
                  </a:lnTo>
                  <a:lnTo>
                    <a:pt x="254914" y="380720"/>
                  </a:lnTo>
                  <a:lnTo>
                    <a:pt x="230225" y="416191"/>
                  </a:lnTo>
                  <a:lnTo>
                    <a:pt x="213360" y="456590"/>
                  </a:lnTo>
                  <a:lnTo>
                    <a:pt x="205409" y="500811"/>
                  </a:lnTo>
                  <a:lnTo>
                    <a:pt x="197307" y="456755"/>
                  </a:lnTo>
                  <a:lnTo>
                    <a:pt x="180365" y="416534"/>
                  </a:lnTo>
                  <a:lnTo>
                    <a:pt x="155638" y="381215"/>
                  </a:lnTo>
                  <a:lnTo>
                    <a:pt x="124206" y="351878"/>
                  </a:lnTo>
                  <a:lnTo>
                    <a:pt x="87147" y="329577"/>
                  </a:lnTo>
                  <a:lnTo>
                    <a:pt x="45529" y="315417"/>
                  </a:lnTo>
                  <a:lnTo>
                    <a:pt x="0" y="310451"/>
                  </a:lnTo>
                  <a:lnTo>
                    <a:pt x="6477" y="356336"/>
                  </a:lnTo>
                  <a:lnTo>
                    <a:pt x="22504" y="398360"/>
                  </a:lnTo>
                  <a:lnTo>
                    <a:pt x="46888" y="435381"/>
                  </a:lnTo>
                  <a:lnTo>
                    <a:pt x="78498" y="466217"/>
                  </a:lnTo>
                  <a:lnTo>
                    <a:pt x="116141" y="489712"/>
                  </a:lnTo>
                  <a:lnTo>
                    <a:pt x="158673" y="504698"/>
                  </a:lnTo>
                  <a:lnTo>
                    <a:pt x="204901" y="510032"/>
                  </a:lnTo>
                  <a:lnTo>
                    <a:pt x="205816" y="510032"/>
                  </a:lnTo>
                  <a:lnTo>
                    <a:pt x="252183" y="504685"/>
                  </a:lnTo>
                  <a:lnTo>
                    <a:pt x="294817" y="489623"/>
                  </a:lnTo>
                  <a:lnTo>
                    <a:pt x="332536" y="466013"/>
                  </a:lnTo>
                  <a:lnTo>
                    <a:pt x="364172" y="435038"/>
                  </a:lnTo>
                  <a:lnTo>
                    <a:pt x="388556" y="397878"/>
                  </a:lnTo>
                  <a:lnTo>
                    <a:pt x="404520" y="355676"/>
                  </a:lnTo>
                  <a:lnTo>
                    <a:pt x="410883" y="309626"/>
                  </a:lnTo>
                  <a:close/>
                </a:path>
                <a:path w="4199255" h="700405">
                  <a:moveTo>
                    <a:pt x="410883" y="110553"/>
                  </a:moveTo>
                  <a:lnTo>
                    <a:pt x="365175" y="115531"/>
                  </a:lnTo>
                  <a:lnTo>
                    <a:pt x="323481" y="129768"/>
                  </a:lnTo>
                  <a:lnTo>
                    <a:pt x="286359" y="152171"/>
                  </a:lnTo>
                  <a:lnTo>
                    <a:pt x="254914" y="181648"/>
                  </a:lnTo>
                  <a:lnTo>
                    <a:pt x="230225" y="217119"/>
                  </a:lnTo>
                  <a:lnTo>
                    <a:pt x="213360" y="257517"/>
                  </a:lnTo>
                  <a:lnTo>
                    <a:pt x="205409" y="301739"/>
                  </a:lnTo>
                  <a:lnTo>
                    <a:pt x="197307" y="257695"/>
                  </a:lnTo>
                  <a:lnTo>
                    <a:pt x="180365" y="217474"/>
                  </a:lnTo>
                  <a:lnTo>
                    <a:pt x="155638" y="182143"/>
                  </a:lnTo>
                  <a:lnTo>
                    <a:pt x="124206" y="152806"/>
                  </a:lnTo>
                  <a:lnTo>
                    <a:pt x="87147" y="130517"/>
                  </a:lnTo>
                  <a:lnTo>
                    <a:pt x="45529" y="116344"/>
                  </a:lnTo>
                  <a:lnTo>
                    <a:pt x="0" y="111391"/>
                  </a:lnTo>
                  <a:lnTo>
                    <a:pt x="6477" y="157264"/>
                  </a:lnTo>
                  <a:lnTo>
                    <a:pt x="22504" y="199288"/>
                  </a:lnTo>
                  <a:lnTo>
                    <a:pt x="46888" y="236308"/>
                  </a:lnTo>
                  <a:lnTo>
                    <a:pt x="78498" y="267144"/>
                  </a:lnTo>
                  <a:lnTo>
                    <a:pt x="116141" y="290639"/>
                  </a:lnTo>
                  <a:lnTo>
                    <a:pt x="158673" y="305638"/>
                  </a:lnTo>
                  <a:lnTo>
                    <a:pt x="204901" y="310959"/>
                  </a:lnTo>
                  <a:lnTo>
                    <a:pt x="205816" y="310959"/>
                  </a:lnTo>
                  <a:lnTo>
                    <a:pt x="252183" y="305612"/>
                  </a:lnTo>
                  <a:lnTo>
                    <a:pt x="294817" y="290550"/>
                  </a:lnTo>
                  <a:lnTo>
                    <a:pt x="332536" y="266941"/>
                  </a:lnTo>
                  <a:lnTo>
                    <a:pt x="364172" y="235978"/>
                  </a:lnTo>
                  <a:lnTo>
                    <a:pt x="388556" y="198805"/>
                  </a:lnTo>
                  <a:lnTo>
                    <a:pt x="404520" y="156603"/>
                  </a:lnTo>
                  <a:lnTo>
                    <a:pt x="410883" y="110553"/>
                  </a:lnTo>
                  <a:close/>
                </a:path>
                <a:path w="4199255" h="700405">
                  <a:moveTo>
                    <a:pt x="1017346" y="544576"/>
                  </a:moveTo>
                  <a:lnTo>
                    <a:pt x="923353" y="507834"/>
                  </a:lnTo>
                  <a:lnTo>
                    <a:pt x="901077" y="548170"/>
                  </a:lnTo>
                  <a:lnTo>
                    <a:pt x="870800" y="578561"/>
                  </a:lnTo>
                  <a:lnTo>
                    <a:pt x="833462" y="597738"/>
                  </a:lnTo>
                  <a:lnTo>
                    <a:pt x="790041" y="604418"/>
                  </a:lnTo>
                  <a:lnTo>
                    <a:pt x="745363" y="597344"/>
                  </a:lnTo>
                  <a:lnTo>
                    <a:pt x="707034" y="576935"/>
                  </a:lnTo>
                  <a:lnTo>
                    <a:pt x="677125" y="544423"/>
                  </a:lnTo>
                  <a:lnTo>
                    <a:pt x="657682" y="501040"/>
                  </a:lnTo>
                  <a:lnTo>
                    <a:pt x="650735" y="448017"/>
                  </a:lnTo>
                  <a:lnTo>
                    <a:pt x="656907" y="398043"/>
                  </a:lnTo>
                  <a:lnTo>
                    <a:pt x="674636" y="355244"/>
                  </a:lnTo>
                  <a:lnTo>
                    <a:pt x="702792" y="321881"/>
                  </a:lnTo>
                  <a:lnTo>
                    <a:pt x="740206" y="300202"/>
                  </a:lnTo>
                  <a:lnTo>
                    <a:pt x="785749" y="292468"/>
                  </a:lnTo>
                  <a:lnTo>
                    <a:pt x="825042" y="297802"/>
                  </a:lnTo>
                  <a:lnTo>
                    <a:pt x="859675" y="313944"/>
                  </a:lnTo>
                  <a:lnTo>
                    <a:pt x="887907" y="341147"/>
                  </a:lnTo>
                  <a:lnTo>
                    <a:pt x="907961" y="379653"/>
                  </a:lnTo>
                  <a:lnTo>
                    <a:pt x="1003693" y="341198"/>
                  </a:lnTo>
                  <a:lnTo>
                    <a:pt x="982141" y="297561"/>
                  </a:lnTo>
                  <a:lnTo>
                    <a:pt x="953287" y="261594"/>
                  </a:lnTo>
                  <a:lnTo>
                    <a:pt x="918222" y="233413"/>
                  </a:lnTo>
                  <a:lnTo>
                    <a:pt x="878014" y="213131"/>
                  </a:lnTo>
                  <a:lnTo>
                    <a:pt x="833780" y="200875"/>
                  </a:lnTo>
                  <a:lnTo>
                    <a:pt x="786612" y="196773"/>
                  </a:lnTo>
                  <a:lnTo>
                    <a:pt x="741857" y="200355"/>
                  </a:lnTo>
                  <a:lnTo>
                    <a:pt x="700252" y="210858"/>
                  </a:lnTo>
                  <a:lnTo>
                    <a:pt x="662381" y="227952"/>
                  </a:lnTo>
                  <a:lnTo>
                    <a:pt x="628777" y="251256"/>
                  </a:lnTo>
                  <a:lnTo>
                    <a:pt x="600036" y="280441"/>
                  </a:lnTo>
                  <a:lnTo>
                    <a:pt x="576694" y="315150"/>
                  </a:lnTo>
                  <a:lnTo>
                    <a:pt x="559320" y="355028"/>
                  </a:lnTo>
                  <a:lnTo>
                    <a:pt x="548487" y="399719"/>
                  </a:lnTo>
                  <a:lnTo>
                    <a:pt x="544753" y="448881"/>
                  </a:lnTo>
                  <a:lnTo>
                    <a:pt x="548525" y="498005"/>
                  </a:lnTo>
                  <a:lnTo>
                    <a:pt x="559447" y="542620"/>
                  </a:lnTo>
                  <a:lnTo>
                    <a:pt x="576973" y="582383"/>
                  </a:lnTo>
                  <a:lnTo>
                    <a:pt x="600544" y="616953"/>
                  </a:lnTo>
                  <a:lnTo>
                    <a:pt x="629577" y="645998"/>
                  </a:lnTo>
                  <a:lnTo>
                    <a:pt x="663524" y="669175"/>
                  </a:lnTo>
                  <a:lnTo>
                    <a:pt x="701814" y="686142"/>
                  </a:lnTo>
                  <a:lnTo>
                    <a:pt x="743877" y="696569"/>
                  </a:lnTo>
                  <a:lnTo>
                    <a:pt x="789178" y="700125"/>
                  </a:lnTo>
                  <a:lnTo>
                    <a:pt x="841095" y="695426"/>
                  </a:lnTo>
                  <a:lnTo>
                    <a:pt x="888593" y="681647"/>
                  </a:lnTo>
                  <a:lnTo>
                    <a:pt x="930821" y="659206"/>
                  </a:lnTo>
                  <a:lnTo>
                    <a:pt x="966927" y="628586"/>
                  </a:lnTo>
                  <a:lnTo>
                    <a:pt x="996061" y="590232"/>
                  </a:lnTo>
                  <a:lnTo>
                    <a:pt x="1017346" y="544576"/>
                  </a:lnTo>
                  <a:close/>
                </a:path>
                <a:path w="4199255" h="700405">
                  <a:moveTo>
                    <a:pt x="1536166" y="445452"/>
                  </a:moveTo>
                  <a:lnTo>
                    <a:pt x="1532623" y="402729"/>
                  </a:lnTo>
                  <a:lnTo>
                    <a:pt x="1516418" y="330885"/>
                  </a:lnTo>
                  <a:lnTo>
                    <a:pt x="1493850" y="287896"/>
                  </a:lnTo>
                  <a:lnTo>
                    <a:pt x="1490459" y="283933"/>
                  </a:lnTo>
                  <a:lnTo>
                    <a:pt x="1464703" y="253809"/>
                  </a:lnTo>
                  <a:lnTo>
                    <a:pt x="1433626" y="230555"/>
                  </a:lnTo>
                  <a:lnTo>
                    <a:pt x="1433626" y="402729"/>
                  </a:lnTo>
                  <a:lnTo>
                    <a:pt x="1181506" y="402729"/>
                  </a:lnTo>
                  <a:lnTo>
                    <a:pt x="1196733" y="354596"/>
                  </a:lnTo>
                  <a:lnTo>
                    <a:pt x="1223810" y="317055"/>
                  </a:lnTo>
                  <a:lnTo>
                    <a:pt x="1261795" y="292646"/>
                  </a:lnTo>
                  <a:lnTo>
                    <a:pt x="1309700" y="283933"/>
                  </a:lnTo>
                  <a:lnTo>
                    <a:pt x="1352981" y="290360"/>
                  </a:lnTo>
                  <a:lnTo>
                    <a:pt x="1391208" y="310959"/>
                  </a:lnTo>
                  <a:lnTo>
                    <a:pt x="1419669" y="347751"/>
                  </a:lnTo>
                  <a:lnTo>
                    <a:pt x="1433626" y="402729"/>
                  </a:lnTo>
                  <a:lnTo>
                    <a:pt x="1433626" y="230555"/>
                  </a:lnTo>
                  <a:lnTo>
                    <a:pt x="1430388" y="228130"/>
                  </a:lnTo>
                  <a:lnTo>
                    <a:pt x="1392313" y="210388"/>
                  </a:lnTo>
                  <a:lnTo>
                    <a:pt x="1351902" y="200088"/>
                  </a:lnTo>
                  <a:lnTo>
                    <a:pt x="1310551" y="196761"/>
                  </a:lnTo>
                  <a:lnTo>
                    <a:pt x="1260640" y="201637"/>
                  </a:lnTo>
                  <a:lnTo>
                    <a:pt x="1215161" y="215734"/>
                  </a:lnTo>
                  <a:lnTo>
                    <a:pt x="1174813" y="238277"/>
                  </a:lnTo>
                  <a:lnTo>
                    <a:pt x="1140269" y="268452"/>
                  </a:lnTo>
                  <a:lnTo>
                    <a:pt x="1112227" y="305473"/>
                  </a:lnTo>
                  <a:lnTo>
                    <a:pt x="1091349" y="348551"/>
                  </a:lnTo>
                  <a:lnTo>
                    <a:pt x="1078318" y="396900"/>
                  </a:lnTo>
                  <a:lnTo>
                    <a:pt x="1073823" y="449732"/>
                  </a:lnTo>
                  <a:lnTo>
                    <a:pt x="1077595" y="498157"/>
                  </a:lnTo>
                  <a:lnTo>
                    <a:pt x="1088517" y="542340"/>
                  </a:lnTo>
                  <a:lnTo>
                    <a:pt x="1106017" y="581875"/>
                  </a:lnTo>
                  <a:lnTo>
                    <a:pt x="1129538" y="616407"/>
                  </a:lnTo>
                  <a:lnTo>
                    <a:pt x="1158506" y="645515"/>
                  </a:lnTo>
                  <a:lnTo>
                    <a:pt x="1192339" y="668832"/>
                  </a:lnTo>
                  <a:lnTo>
                    <a:pt x="1230477" y="685965"/>
                  </a:lnTo>
                  <a:lnTo>
                    <a:pt x="1272349" y="696518"/>
                  </a:lnTo>
                  <a:lnTo>
                    <a:pt x="1317396" y="700125"/>
                  </a:lnTo>
                  <a:lnTo>
                    <a:pt x="1366634" y="695807"/>
                  </a:lnTo>
                  <a:lnTo>
                    <a:pt x="1411439" y="683387"/>
                  </a:lnTo>
                  <a:lnTo>
                    <a:pt x="1451203" y="663702"/>
                  </a:lnTo>
                  <a:lnTo>
                    <a:pt x="1485379" y="637552"/>
                  </a:lnTo>
                  <a:lnTo>
                    <a:pt x="1513370" y="605764"/>
                  </a:lnTo>
                  <a:lnTo>
                    <a:pt x="1534617" y="569175"/>
                  </a:lnTo>
                  <a:lnTo>
                    <a:pt x="1534883" y="568528"/>
                  </a:lnTo>
                  <a:lnTo>
                    <a:pt x="1535023" y="568210"/>
                  </a:lnTo>
                  <a:lnTo>
                    <a:pt x="1437538" y="535089"/>
                  </a:lnTo>
                  <a:lnTo>
                    <a:pt x="1416062" y="566051"/>
                  </a:lnTo>
                  <a:lnTo>
                    <a:pt x="1388376" y="589495"/>
                  </a:lnTo>
                  <a:lnTo>
                    <a:pt x="1355229" y="604342"/>
                  </a:lnTo>
                  <a:lnTo>
                    <a:pt x="1317396" y="609536"/>
                  </a:lnTo>
                  <a:lnTo>
                    <a:pt x="1274914" y="603707"/>
                  </a:lnTo>
                  <a:lnTo>
                    <a:pt x="1237856" y="586676"/>
                  </a:lnTo>
                  <a:lnTo>
                    <a:pt x="1207922" y="559142"/>
                  </a:lnTo>
                  <a:lnTo>
                    <a:pt x="1186865" y="521804"/>
                  </a:lnTo>
                  <a:lnTo>
                    <a:pt x="1176375" y="475373"/>
                  </a:lnTo>
                  <a:lnTo>
                    <a:pt x="1536166" y="475373"/>
                  </a:lnTo>
                  <a:lnTo>
                    <a:pt x="1536166" y="445452"/>
                  </a:lnTo>
                  <a:close/>
                </a:path>
                <a:path w="4199255" h="700405">
                  <a:moveTo>
                    <a:pt x="1934476" y="217906"/>
                  </a:moveTo>
                  <a:lnTo>
                    <a:pt x="1921954" y="213690"/>
                  </a:lnTo>
                  <a:lnTo>
                    <a:pt x="1909914" y="211086"/>
                  </a:lnTo>
                  <a:lnTo>
                    <a:pt x="1898192" y="209753"/>
                  </a:lnTo>
                  <a:lnTo>
                    <a:pt x="1886623" y="209384"/>
                  </a:lnTo>
                  <a:lnTo>
                    <a:pt x="1840331" y="216738"/>
                  </a:lnTo>
                  <a:lnTo>
                    <a:pt x="1800847" y="236829"/>
                  </a:lnTo>
                  <a:lnTo>
                    <a:pt x="1769211" y="266700"/>
                  </a:lnTo>
                  <a:lnTo>
                    <a:pt x="1746465" y="303390"/>
                  </a:lnTo>
                  <a:lnTo>
                    <a:pt x="1743049" y="303390"/>
                  </a:lnTo>
                  <a:lnTo>
                    <a:pt x="1743049" y="223037"/>
                  </a:lnTo>
                  <a:lnTo>
                    <a:pt x="1643913" y="223037"/>
                  </a:lnTo>
                  <a:lnTo>
                    <a:pt x="1643913" y="698207"/>
                  </a:lnTo>
                  <a:lnTo>
                    <a:pt x="1744776" y="698207"/>
                  </a:lnTo>
                  <a:lnTo>
                    <a:pt x="1744776" y="500799"/>
                  </a:lnTo>
                  <a:lnTo>
                    <a:pt x="1747050" y="460502"/>
                  </a:lnTo>
                  <a:lnTo>
                    <a:pt x="1754962" y="419709"/>
                  </a:lnTo>
                  <a:lnTo>
                    <a:pt x="1770202" y="381901"/>
                  </a:lnTo>
                  <a:lnTo>
                    <a:pt x="1794395" y="350583"/>
                  </a:lnTo>
                  <a:lnTo>
                    <a:pt x="1829244" y="329222"/>
                  </a:lnTo>
                  <a:lnTo>
                    <a:pt x="1876386" y="321335"/>
                  </a:lnTo>
                  <a:lnTo>
                    <a:pt x="1889417" y="321843"/>
                  </a:lnTo>
                  <a:lnTo>
                    <a:pt x="1904466" y="323469"/>
                  </a:lnTo>
                  <a:lnTo>
                    <a:pt x="1919986" y="326377"/>
                  </a:lnTo>
                  <a:lnTo>
                    <a:pt x="1934476" y="330720"/>
                  </a:lnTo>
                  <a:lnTo>
                    <a:pt x="1934476" y="217906"/>
                  </a:lnTo>
                  <a:close/>
                </a:path>
                <a:path w="4199255" h="700405">
                  <a:moveTo>
                    <a:pt x="2432761" y="445452"/>
                  </a:moveTo>
                  <a:lnTo>
                    <a:pt x="2429205" y="402729"/>
                  </a:lnTo>
                  <a:lnTo>
                    <a:pt x="2427592" y="383247"/>
                  </a:lnTo>
                  <a:lnTo>
                    <a:pt x="2413012" y="330885"/>
                  </a:lnTo>
                  <a:lnTo>
                    <a:pt x="2390444" y="287896"/>
                  </a:lnTo>
                  <a:lnTo>
                    <a:pt x="2387054" y="283933"/>
                  </a:lnTo>
                  <a:lnTo>
                    <a:pt x="2361298" y="253809"/>
                  </a:lnTo>
                  <a:lnTo>
                    <a:pt x="2330221" y="230555"/>
                  </a:lnTo>
                  <a:lnTo>
                    <a:pt x="2330221" y="402729"/>
                  </a:lnTo>
                  <a:lnTo>
                    <a:pt x="2078088" y="402729"/>
                  </a:lnTo>
                  <a:lnTo>
                    <a:pt x="2093315" y="354596"/>
                  </a:lnTo>
                  <a:lnTo>
                    <a:pt x="2120404" y="317055"/>
                  </a:lnTo>
                  <a:lnTo>
                    <a:pt x="2158377" y="292646"/>
                  </a:lnTo>
                  <a:lnTo>
                    <a:pt x="2206282" y="283933"/>
                  </a:lnTo>
                  <a:lnTo>
                    <a:pt x="2249563" y="290360"/>
                  </a:lnTo>
                  <a:lnTo>
                    <a:pt x="2287803" y="310959"/>
                  </a:lnTo>
                  <a:lnTo>
                    <a:pt x="2316264" y="347751"/>
                  </a:lnTo>
                  <a:lnTo>
                    <a:pt x="2330221" y="402729"/>
                  </a:lnTo>
                  <a:lnTo>
                    <a:pt x="2330221" y="230555"/>
                  </a:lnTo>
                  <a:lnTo>
                    <a:pt x="2326983" y="228130"/>
                  </a:lnTo>
                  <a:lnTo>
                    <a:pt x="2288908" y="210388"/>
                  </a:lnTo>
                  <a:lnTo>
                    <a:pt x="2248497" y="200088"/>
                  </a:lnTo>
                  <a:lnTo>
                    <a:pt x="2207145" y="196761"/>
                  </a:lnTo>
                  <a:lnTo>
                    <a:pt x="2157222" y="201637"/>
                  </a:lnTo>
                  <a:lnTo>
                    <a:pt x="2111743" y="215734"/>
                  </a:lnTo>
                  <a:lnTo>
                    <a:pt x="2071395" y="238277"/>
                  </a:lnTo>
                  <a:lnTo>
                    <a:pt x="2036864" y="268452"/>
                  </a:lnTo>
                  <a:lnTo>
                    <a:pt x="2008809" y="305473"/>
                  </a:lnTo>
                  <a:lnTo>
                    <a:pt x="1987931" y="348551"/>
                  </a:lnTo>
                  <a:lnTo>
                    <a:pt x="1974913" y="396900"/>
                  </a:lnTo>
                  <a:lnTo>
                    <a:pt x="1970417" y="449732"/>
                  </a:lnTo>
                  <a:lnTo>
                    <a:pt x="1974189" y="498157"/>
                  </a:lnTo>
                  <a:lnTo>
                    <a:pt x="1985098" y="542340"/>
                  </a:lnTo>
                  <a:lnTo>
                    <a:pt x="2002612" y="581875"/>
                  </a:lnTo>
                  <a:lnTo>
                    <a:pt x="2026132" y="616407"/>
                  </a:lnTo>
                  <a:lnTo>
                    <a:pt x="2055088" y="645515"/>
                  </a:lnTo>
                  <a:lnTo>
                    <a:pt x="2088921" y="668832"/>
                  </a:lnTo>
                  <a:lnTo>
                    <a:pt x="2127072" y="685965"/>
                  </a:lnTo>
                  <a:lnTo>
                    <a:pt x="2168944" y="696518"/>
                  </a:lnTo>
                  <a:lnTo>
                    <a:pt x="2213978" y="700125"/>
                  </a:lnTo>
                  <a:lnTo>
                    <a:pt x="2263229" y="695807"/>
                  </a:lnTo>
                  <a:lnTo>
                    <a:pt x="2308021" y="683387"/>
                  </a:lnTo>
                  <a:lnTo>
                    <a:pt x="2347798" y="663702"/>
                  </a:lnTo>
                  <a:lnTo>
                    <a:pt x="2381961" y="637552"/>
                  </a:lnTo>
                  <a:lnTo>
                    <a:pt x="2409964" y="605764"/>
                  </a:lnTo>
                  <a:lnTo>
                    <a:pt x="2431211" y="569175"/>
                  </a:lnTo>
                  <a:lnTo>
                    <a:pt x="2431465" y="568528"/>
                  </a:lnTo>
                  <a:lnTo>
                    <a:pt x="2431618" y="568210"/>
                  </a:lnTo>
                  <a:lnTo>
                    <a:pt x="2334120" y="535089"/>
                  </a:lnTo>
                  <a:lnTo>
                    <a:pt x="2312657" y="566051"/>
                  </a:lnTo>
                  <a:lnTo>
                    <a:pt x="2284958" y="589495"/>
                  </a:lnTo>
                  <a:lnTo>
                    <a:pt x="2251824" y="604342"/>
                  </a:lnTo>
                  <a:lnTo>
                    <a:pt x="2213978" y="609536"/>
                  </a:lnTo>
                  <a:lnTo>
                    <a:pt x="2171496" y="603707"/>
                  </a:lnTo>
                  <a:lnTo>
                    <a:pt x="2134438" y="586676"/>
                  </a:lnTo>
                  <a:lnTo>
                    <a:pt x="2104517" y="559142"/>
                  </a:lnTo>
                  <a:lnTo>
                    <a:pt x="2083447" y="521804"/>
                  </a:lnTo>
                  <a:lnTo>
                    <a:pt x="2072970" y="475373"/>
                  </a:lnTo>
                  <a:lnTo>
                    <a:pt x="2432761" y="475373"/>
                  </a:lnTo>
                  <a:lnTo>
                    <a:pt x="2432761" y="445452"/>
                  </a:lnTo>
                  <a:close/>
                </a:path>
                <a:path w="4199255" h="700405">
                  <a:moveTo>
                    <a:pt x="2884068" y="548868"/>
                  </a:moveTo>
                  <a:lnTo>
                    <a:pt x="2874886" y="499465"/>
                  </a:lnTo>
                  <a:lnTo>
                    <a:pt x="2851277" y="464223"/>
                  </a:lnTo>
                  <a:lnTo>
                    <a:pt x="2819082" y="440258"/>
                  </a:lnTo>
                  <a:lnTo>
                    <a:pt x="2784195" y="424713"/>
                  </a:lnTo>
                  <a:lnTo>
                    <a:pt x="2713139" y="403580"/>
                  </a:lnTo>
                  <a:lnTo>
                    <a:pt x="2681909" y="393954"/>
                  </a:lnTo>
                  <a:lnTo>
                    <a:pt x="2652357" y="380403"/>
                  </a:lnTo>
                  <a:lnTo>
                    <a:pt x="2630347" y="360921"/>
                  </a:lnTo>
                  <a:lnTo>
                    <a:pt x="2621711" y="333502"/>
                  </a:lnTo>
                  <a:lnTo>
                    <a:pt x="2626715" y="311391"/>
                  </a:lnTo>
                  <a:lnTo>
                    <a:pt x="2640609" y="294411"/>
                  </a:lnTo>
                  <a:lnTo>
                    <a:pt x="2661716" y="283514"/>
                  </a:lnTo>
                  <a:lnTo>
                    <a:pt x="2688361" y="279666"/>
                  </a:lnTo>
                  <a:lnTo>
                    <a:pt x="2720492" y="285153"/>
                  </a:lnTo>
                  <a:lnTo>
                    <a:pt x="2745511" y="299859"/>
                  </a:lnTo>
                  <a:lnTo>
                    <a:pt x="2763939" y="321119"/>
                  </a:lnTo>
                  <a:lnTo>
                    <a:pt x="2776372" y="346329"/>
                  </a:lnTo>
                  <a:lnTo>
                    <a:pt x="2870390" y="315556"/>
                  </a:lnTo>
                  <a:lnTo>
                    <a:pt x="2852801" y="277279"/>
                  </a:lnTo>
                  <a:lnTo>
                    <a:pt x="2825292" y="244576"/>
                  </a:lnTo>
                  <a:lnTo>
                    <a:pt x="2788793" y="219138"/>
                  </a:lnTo>
                  <a:lnTo>
                    <a:pt x="2744254" y="202641"/>
                  </a:lnTo>
                  <a:lnTo>
                    <a:pt x="2692628" y="196773"/>
                  </a:lnTo>
                  <a:lnTo>
                    <a:pt x="2647200" y="201117"/>
                  </a:lnTo>
                  <a:lnTo>
                    <a:pt x="2606103" y="213893"/>
                  </a:lnTo>
                  <a:lnTo>
                    <a:pt x="2571064" y="234683"/>
                  </a:lnTo>
                  <a:lnTo>
                    <a:pt x="2543873" y="263105"/>
                  </a:lnTo>
                  <a:lnTo>
                    <a:pt x="2526258" y="298742"/>
                  </a:lnTo>
                  <a:lnTo>
                    <a:pt x="2520010" y="341198"/>
                  </a:lnTo>
                  <a:lnTo>
                    <a:pt x="2528354" y="388670"/>
                  </a:lnTo>
                  <a:lnTo>
                    <a:pt x="2550274" y="424624"/>
                  </a:lnTo>
                  <a:lnTo>
                    <a:pt x="2581110" y="450850"/>
                  </a:lnTo>
                  <a:lnTo>
                    <a:pt x="2616162" y="469150"/>
                  </a:lnTo>
                  <a:lnTo>
                    <a:pt x="2700324" y="495884"/>
                  </a:lnTo>
                  <a:lnTo>
                    <a:pt x="2727706" y="504799"/>
                  </a:lnTo>
                  <a:lnTo>
                    <a:pt x="2752128" y="516610"/>
                  </a:lnTo>
                  <a:lnTo>
                    <a:pt x="2769654" y="533857"/>
                  </a:lnTo>
                  <a:lnTo>
                    <a:pt x="2776372" y="559130"/>
                  </a:lnTo>
                  <a:lnTo>
                    <a:pt x="2769070" y="586460"/>
                  </a:lnTo>
                  <a:lnTo>
                    <a:pt x="2750642" y="604088"/>
                  </a:lnTo>
                  <a:lnTo>
                    <a:pt x="2726271" y="613562"/>
                  </a:lnTo>
                  <a:lnTo>
                    <a:pt x="2701188" y="616381"/>
                  </a:lnTo>
                  <a:lnTo>
                    <a:pt x="2669908" y="611644"/>
                  </a:lnTo>
                  <a:lnTo>
                    <a:pt x="2639441" y="597039"/>
                  </a:lnTo>
                  <a:lnTo>
                    <a:pt x="2612491" y="572033"/>
                  </a:lnTo>
                  <a:lnTo>
                    <a:pt x="2591790" y="536041"/>
                  </a:lnTo>
                  <a:lnTo>
                    <a:pt x="2497772" y="566813"/>
                  </a:lnTo>
                  <a:lnTo>
                    <a:pt x="2513977" y="604278"/>
                  </a:lnTo>
                  <a:lnTo>
                    <a:pt x="2538196" y="636701"/>
                  </a:lnTo>
                  <a:lnTo>
                    <a:pt x="2569781" y="663270"/>
                  </a:lnTo>
                  <a:lnTo>
                    <a:pt x="2608059" y="683221"/>
                  </a:lnTo>
                  <a:lnTo>
                    <a:pt x="2652369" y="695769"/>
                  </a:lnTo>
                  <a:lnTo>
                    <a:pt x="2702039" y="700125"/>
                  </a:lnTo>
                  <a:lnTo>
                    <a:pt x="2753791" y="695147"/>
                  </a:lnTo>
                  <a:lnTo>
                    <a:pt x="2798229" y="680847"/>
                  </a:lnTo>
                  <a:lnTo>
                    <a:pt x="2834386" y="658139"/>
                  </a:lnTo>
                  <a:lnTo>
                    <a:pt x="2861373" y="627964"/>
                  </a:lnTo>
                  <a:lnTo>
                    <a:pt x="2878239" y="591223"/>
                  </a:lnTo>
                  <a:lnTo>
                    <a:pt x="2884068" y="548868"/>
                  </a:lnTo>
                  <a:close/>
                </a:path>
                <a:path w="4199255" h="700405">
                  <a:moveTo>
                    <a:pt x="3086671" y="14516"/>
                  </a:moveTo>
                  <a:lnTo>
                    <a:pt x="2985833" y="14516"/>
                  </a:lnTo>
                  <a:lnTo>
                    <a:pt x="2985833" y="698207"/>
                  </a:lnTo>
                  <a:lnTo>
                    <a:pt x="3086671" y="698207"/>
                  </a:lnTo>
                  <a:lnTo>
                    <a:pt x="3086671" y="14516"/>
                  </a:lnTo>
                  <a:close/>
                </a:path>
                <a:path w="4199255" h="700405">
                  <a:moveTo>
                    <a:pt x="3311664" y="223037"/>
                  </a:moveTo>
                  <a:lnTo>
                    <a:pt x="3210826" y="223037"/>
                  </a:lnTo>
                  <a:lnTo>
                    <a:pt x="3210826" y="698207"/>
                  </a:lnTo>
                  <a:lnTo>
                    <a:pt x="3311664" y="698207"/>
                  </a:lnTo>
                  <a:lnTo>
                    <a:pt x="3311664" y="223037"/>
                  </a:lnTo>
                  <a:close/>
                </a:path>
                <a:path w="4199255" h="700405">
                  <a:moveTo>
                    <a:pt x="3327069" y="69215"/>
                  </a:moveTo>
                  <a:lnTo>
                    <a:pt x="3322078" y="44284"/>
                  </a:lnTo>
                  <a:lnTo>
                    <a:pt x="3308362" y="23596"/>
                  </a:lnTo>
                  <a:lnTo>
                    <a:pt x="3287750" y="9486"/>
                  </a:lnTo>
                  <a:lnTo>
                    <a:pt x="3262096" y="4254"/>
                  </a:lnTo>
                  <a:lnTo>
                    <a:pt x="3235464" y="9486"/>
                  </a:lnTo>
                  <a:lnTo>
                    <a:pt x="3214357" y="23596"/>
                  </a:lnTo>
                  <a:lnTo>
                    <a:pt x="3200450" y="44284"/>
                  </a:lnTo>
                  <a:lnTo>
                    <a:pt x="3195434" y="69215"/>
                  </a:lnTo>
                  <a:lnTo>
                    <a:pt x="3200450" y="95631"/>
                  </a:lnTo>
                  <a:lnTo>
                    <a:pt x="3214357" y="117081"/>
                  </a:lnTo>
                  <a:lnTo>
                    <a:pt x="3235464" y="131470"/>
                  </a:lnTo>
                  <a:lnTo>
                    <a:pt x="3262096" y="136740"/>
                  </a:lnTo>
                  <a:lnTo>
                    <a:pt x="3287750" y="131470"/>
                  </a:lnTo>
                  <a:lnTo>
                    <a:pt x="3308362" y="117081"/>
                  </a:lnTo>
                  <a:lnTo>
                    <a:pt x="3322078" y="95631"/>
                  </a:lnTo>
                  <a:lnTo>
                    <a:pt x="3327069" y="69215"/>
                  </a:lnTo>
                  <a:close/>
                </a:path>
                <a:path w="4199255" h="700405">
                  <a:moveTo>
                    <a:pt x="3711638" y="16217"/>
                  </a:moveTo>
                  <a:lnTo>
                    <a:pt x="3691509" y="8636"/>
                  </a:lnTo>
                  <a:lnTo>
                    <a:pt x="3670414" y="3619"/>
                  </a:lnTo>
                  <a:lnTo>
                    <a:pt x="3649637" y="850"/>
                  </a:lnTo>
                  <a:lnTo>
                    <a:pt x="3630472" y="0"/>
                  </a:lnTo>
                  <a:lnTo>
                    <a:pt x="3586848" y="4648"/>
                  </a:lnTo>
                  <a:lnTo>
                    <a:pt x="3549624" y="18669"/>
                  </a:lnTo>
                  <a:lnTo>
                    <a:pt x="3519474" y="42189"/>
                  </a:lnTo>
                  <a:lnTo>
                    <a:pt x="3497084" y="75336"/>
                  </a:lnTo>
                  <a:lnTo>
                    <a:pt x="3483152" y="118198"/>
                  </a:lnTo>
                  <a:lnTo>
                    <a:pt x="3478352" y="170916"/>
                  </a:lnTo>
                  <a:lnTo>
                    <a:pt x="3478352" y="223050"/>
                  </a:lnTo>
                  <a:lnTo>
                    <a:pt x="3407397" y="223050"/>
                  </a:lnTo>
                  <a:lnTo>
                    <a:pt x="3407397" y="314490"/>
                  </a:lnTo>
                  <a:lnTo>
                    <a:pt x="3478352" y="314490"/>
                  </a:lnTo>
                  <a:lnTo>
                    <a:pt x="3478352" y="698207"/>
                  </a:lnTo>
                  <a:lnTo>
                    <a:pt x="3580041" y="698207"/>
                  </a:lnTo>
                  <a:lnTo>
                    <a:pt x="3580041" y="314490"/>
                  </a:lnTo>
                  <a:lnTo>
                    <a:pt x="3697986" y="314490"/>
                  </a:lnTo>
                  <a:lnTo>
                    <a:pt x="3697986" y="223050"/>
                  </a:lnTo>
                  <a:lnTo>
                    <a:pt x="3580041" y="223050"/>
                  </a:lnTo>
                  <a:lnTo>
                    <a:pt x="3580041" y="181165"/>
                  </a:lnTo>
                  <a:lnTo>
                    <a:pt x="3581146" y="147739"/>
                  </a:lnTo>
                  <a:lnTo>
                    <a:pt x="3588905" y="117500"/>
                  </a:lnTo>
                  <a:lnTo>
                    <a:pt x="3609962" y="95605"/>
                  </a:lnTo>
                  <a:lnTo>
                    <a:pt x="3650970" y="87160"/>
                  </a:lnTo>
                  <a:lnTo>
                    <a:pt x="3664889" y="87884"/>
                  </a:lnTo>
                  <a:lnTo>
                    <a:pt x="3679063" y="90360"/>
                  </a:lnTo>
                  <a:lnTo>
                    <a:pt x="3694353" y="95097"/>
                  </a:lnTo>
                  <a:lnTo>
                    <a:pt x="3711638" y="102539"/>
                  </a:lnTo>
                  <a:lnTo>
                    <a:pt x="3711638" y="16217"/>
                  </a:lnTo>
                  <a:close/>
                </a:path>
                <a:path w="4199255" h="700405">
                  <a:moveTo>
                    <a:pt x="4198823" y="445452"/>
                  </a:moveTo>
                  <a:lnTo>
                    <a:pt x="4195280" y="402729"/>
                  </a:lnTo>
                  <a:lnTo>
                    <a:pt x="4179074" y="330885"/>
                  </a:lnTo>
                  <a:lnTo>
                    <a:pt x="4156506" y="287896"/>
                  </a:lnTo>
                  <a:lnTo>
                    <a:pt x="4153116" y="283933"/>
                  </a:lnTo>
                  <a:lnTo>
                    <a:pt x="4127360" y="253809"/>
                  </a:lnTo>
                  <a:lnTo>
                    <a:pt x="4096283" y="230555"/>
                  </a:lnTo>
                  <a:lnTo>
                    <a:pt x="4096283" y="402729"/>
                  </a:lnTo>
                  <a:lnTo>
                    <a:pt x="3844163" y="402729"/>
                  </a:lnTo>
                  <a:lnTo>
                    <a:pt x="3859390" y="354596"/>
                  </a:lnTo>
                  <a:lnTo>
                    <a:pt x="3886466" y="317055"/>
                  </a:lnTo>
                  <a:lnTo>
                    <a:pt x="3924452" y="292646"/>
                  </a:lnTo>
                  <a:lnTo>
                    <a:pt x="3972356" y="283933"/>
                  </a:lnTo>
                  <a:lnTo>
                    <a:pt x="4015638" y="290360"/>
                  </a:lnTo>
                  <a:lnTo>
                    <a:pt x="4053865" y="310959"/>
                  </a:lnTo>
                  <a:lnTo>
                    <a:pt x="4082326" y="347751"/>
                  </a:lnTo>
                  <a:lnTo>
                    <a:pt x="4096283" y="402729"/>
                  </a:lnTo>
                  <a:lnTo>
                    <a:pt x="4096283" y="230555"/>
                  </a:lnTo>
                  <a:lnTo>
                    <a:pt x="4093045" y="228130"/>
                  </a:lnTo>
                  <a:lnTo>
                    <a:pt x="4054970" y="210388"/>
                  </a:lnTo>
                  <a:lnTo>
                    <a:pt x="4014559" y="200088"/>
                  </a:lnTo>
                  <a:lnTo>
                    <a:pt x="3973207" y="196761"/>
                  </a:lnTo>
                  <a:lnTo>
                    <a:pt x="3923296" y="201637"/>
                  </a:lnTo>
                  <a:lnTo>
                    <a:pt x="3877818" y="215734"/>
                  </a:lnTo>
                  <a:lnTo>
                    <a:pt x="3837470" y="238277"/>
                  </a:lnTo>
                  <a:lnTo>
                    <a:pt x="3802926" y="268452"/>
                  </a:lnTo>
                  <a:lnTo>
                    <a:pt x="3774884" y="305473"/>
                  </a:lnTo>
                  <a:lnTo>
                    <a:pt x="3754005" y="348551"/>
                  </a:lnTo>
                  <a:lnTo>
                    <a:pt x="3740975" y="396900"/>
                  </a:lnTo>
                  <a:lnTo>
                    <a:pt x="3736492" y="449732"/>
                  </a:lnTo>
                  <a:lnTo>
                    <a:pt x="3740251" y="498157"/>
                  </a:lnTo>
                  <a:lnTo>
                    <a:pt x="3751173" y="542340"/>
                  </a:lnTo>
                  <a:lnTo>
                    <a:pt x="3768674" y="581875"/>
                  </a:lnTo>
                  <a:lnTo>
                    <a:pt x="3792194" y="616407"/>
                  </a:lnTo>
                  <a:lnTo>
                    <a:pt x="3821163" y="645515"/>
                  </a:lnTo>
                  <a:lnTo>
                    <a:pt x="3854996" y="668832"/>
                  </a:lnTo>
                  <a:lnTo>
                    <a:pt x="3893134" y="685965"/>
                  </a:lnTo>
                  <a:lnTo>
                    <a:pt x="3935006" y="696518"/>
                  </a:lnTo>
                  <a:lnTo>
                    <a:pt x="3980053" y="700125"/>
                  </a:lnTo>
                  <a:lnTo>
                    <a:pt x="4029291" y="695807"/>
                  </a:lnTo>
                  <a:lnTo>
                    <a:pt x="4074096" y="683387"/>
                  </a:lnTo>
                  <a:lnTo>
                    <a:pt x="4113860" y="663702"/>
                  </a:lnTo>
                  <a:lnTo>
                    <a:pt x="4148036" y="637552"/>
                  </a:lnTo>
                  <a:lnTo>
                    <a:pt x="4176026" y="605764"/>
                  </a:lnTo>
                  <a:lnTo>
                    <a:pt x="4197273" y="569175"/>
                  </a:lnTo>
                  <a:lnTo>
                    <a:pt x="4197540" y="568528"/>
                  </a:lnTo>
                  <a:lnTo>
                    <a:pt x="4197693" y="568210"/>
                  </a:lnTo>
                  <a:lnTo>
                    <a:pt x="4100195" y="535089"/>
                  </a:lnTo>
                  <a:lnTo>
                    <a:pt x="4078719" y="566051"/>
                  </a:lnTo>
                  <a:lnTo>
                    <a:pt x="4051033" y="589495"/>
                  </a:lnTo>
                  <a:lnTo>
                    <a:pt x="4017886" y="604342"/>
                  </a:lnTo>
                  <a:lnTo>
                    <a:pt x="3980053" y="609536"/>
                  </a:lnTo>
                  <a:lnTo>
                    <a:pt x="3937571" y="603707"/>
                  </a:lnTo>
                  <a:lnTo>
                    <a:pt x="3900513" y="586676"/>
                  </a:lnTo>
                  <a:lnTo>
                    <a:pt x="3870579" y="559142"/>
                  </a:lnTo>
                  <a:lnTo>
                    <a:pt x="3849522" y="521804"/>
                  </a:lnTo>
                  <a:lnTo>
                    <a:pt x="3839032" y="475373"/>
                  </a:lnTo>
                  <a:lnTo>
                    <a:pt x="4198823" y="475373"/>
                  </a:lnTo>
                  <a:lnTo>
                    <a:pt x="4198823" y="445452"/>
                  </a:lnTo>
                  <a:close/>
                </a:path>
              </a:pathLst>
            </a:custGeom>
            <a:solidFill>
              <a:srgbClr val="FFFFFF"/>
            </a:solidFill>
          </p:spPr>
          <p:txBody>
            <a:bodyPr wrap="square" lIns="0" tIns="0" rIns="0" bIns="0" rtlCol="0"/>
            <a:lstStyle/>
            <a:p>
              <a:endParaRPr lang="en-US" dirty="0"/>
            </a:p>
          </p:txBody>
        </p:sp>
        <p:pic>
          <p:nvPicPr>
            <p:cNvPr id="18" name="object 5">
              <a:extLst>
                <a:ext uri="{FF2B5EF4-FFF2-40B4-BE49-F238E27FC236}">
                  <a16:creationId xmlns:a16="http://schemas.microsoft.com/office/drawing/2014/main" id="{61B68D68-BF5B-9913-E41C-C71E13C59A5F}"/>
                </a:ext>
              </a:extLst>
            </p:cNvPr>
            <p:cNvPicPr/>
            <p:nvPr/>
          </p:nvPicPr>
          <p:blipFill>
            <a:blip r:embed="rId6" cstate="print"/>
            <a:stretch>
              <a:fillRect/>
            </a:stretch>
          </p:blipFill>
          <p:spPr>
            <a:xfrm>
              <a:off x="1187091" y="1051352"/>
              <a:ext cx="131619" cy="132467"/>
            </a:xfrm>
            <a:prstGeom prst="rect">
              <a:avLst/>
            </a:prstGeom>
          </p:spPr>
        </p:pic>
      </p:grpSp>
    </p:spTree>
    <p:extLst>
      <p:ext uri="{BB962C8B-B14F-4D97-AF65-F5344CB8AC3E}">
        <p14:creationId xmlns:p14="http://schemas.microsoft.com/office/powerpoint/2010/main" val="33479159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E182DE-5DA4-DE31-405C-2D692B141FBA}"/>
              </a:ext>
            </a:extLst>
          </p:cNvPr>
          <p:cNvGraphicFramePr>
            <a:graphicFrameLocks noChangeAspect="1"/>
          </p:cNvGraphicFramePr>
          <p:nvPr userDrawn="1">
            <p:custDataLst>
              <p:tags r:id="rId1"/>
            </p:custDataLst>
            <p:extLst>
              <p:ext uri="{D42A27DB-BD31-4B8C-83A1-F6EECF244321}">
                <p14:modId xmlns:p14="http://schemas.microsoft.com/office/powerpoint/2010/main" val="1609308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92E182DE-5DA4-DE31-405C-2D692B141F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Content"/>
          <p:cNvSpPr>
            <a:spLocks noGrp="1"/>
          </p:cNvSpPr>
          <p:nvPr>
            <p:ph idx="11"/>
          </p:nvPr>
        </p:nvSpPr>
        <p:spPr>
          <a:xfrm>
            <a:off x="457200" y="1472184"/>
            <a:ext cx="11277600" cy="492861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123715753"/>
      </p:ext>
    </p:extLst>
  </p:cSld>
  <p:clrMapOvr>
    <a:masterClrMapping/>
  </p:clrMapOvr>
  <p:extLst>
    <p:ext uri="{DCECCB84-F9BA-43D5-87BE-67443E8EF086}">
      <p15:sldGuideLst xmlns:p15="http://schemas.microsoft.com/office/powerpoint/2012/main">
        <p15:guide id="1" orient="horz" pos="92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B7D4C5A-55D1-783B-6263-F536408F8EB4}"/>
              </a:ext>
            </a:extLst>
          </p:cNvPr>
          <p:cNvGraphicFramePr>
            <a:graphicFrameLocks noChangeAspect="1"/>
          </p:cNvGraphicFramePr>
          <p:nvPr userDrawn="1">
            <p:custDataLst>
              <p:tags r:id="rId1"/>
            </p:custDataLst>
            <p:extLst>
              <p:ext uri="{D42A27DB-BD31-4B8C-83A1-F6EECF244321}">
                <p14:modId xmlns:p14="http://schemas.microsoft.com/office/powerpoint/2010/main" val="233303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4" name="think-cell data - do not delete" hidden="1">
                        <a:extLst>
                          <a:ext uri="{FF2B5EF4-FFF2-40B4-BE49-F238E27FC236}">
                            <a16:creationId xmlns:a16="http://schemas.microsoft.com/office/drawing/2014/main" id="{1B7D4C5A-55D1-783B-6263-F536408F8E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Tree>
    <p:extLst>
      <p:ext uri="{BB962C8B-B14F-4D97-AF65-F5344CB8AC3E}">
        <p14:creationId xmlns:p14="http://schemas.microsoft.com/office/powerpoint/2010/main" val="3559441125"/>
      </p:ext>
    </p:extLst>
  </p:cSld>
  <p:clrMapOvr>
    <a:masterClrMapping/>
  </p:clrMapOvr>
  <p:extLst>
    <p:ext uri="{DCECCB84-F9BA-43D5-87BE-67443E8EF086}">
      <p15:sldGuideLst xmlns:p15="http://schemas.microsoft.com/office/powerpoint/2012/main">
        <p15:guide id="1" orient="horz" pos="92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187A9D9-9AAC-8C44-9FEA-4F1B2900CD73}"/>
              </a:ext>
            </a:extLst>
          </p:cNvPr>
          <p:cNvGraphicFramePr>
            <a:graphicFrameLocks noChangeAspect="1"/>
          </p:cNvGraphicFramePr>
          <p:nvPr userDrawn="1">
            <p:custDataLst>
              <p:tags r:id="rId1"/>
            </p:custDataLst>
            <p:extLst>
              <p:ext uri="{D42A27DB-BD31-4B8C-83A1-F6EECF244321}">
                <p14:modId xmlns:p14="http://schemas.microsoft.com/office/powerpoint/2010/main" val="1910680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6187A9D9-9AAC-8C44-9FEA-4F1B2900CD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p:cNvSpPr>
            <a:spLocks noGrp="1"/>
          </p:cNvSpPr>
          <p:nvPr>
            <p:ph type="body" idx="10" hasCustomPrompt="1"/>
          </p:nvPr>
        </p:nvSpPr>
        <p:spPr>
          <a:xfrm>
            <a:off x="457200" y="1472184"/>
            <a:ext cx="112776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846499984"/>
      </p:ext>
    </p:extLst>
  </p:cSld>
  <p:clrMapOvr>
    <a:masterClrMapping/>
  </p:clrMapOvr>
  <p:extLst>
    <p:ext uri="{DCECCB84-F9BA-43D5-87BE-67443E8EF086}">
      <p15:sldGuideLst xmlns:p15="http://schemas.microsoft.com/office/powerpoint/2012/main">
        <p15:guide id="3" orient="horz" pos="924">
          <p15:clr>
            <a:srgbClr val="FBAE40"/>
          </p15:clr>
        </p15:guide>
        <p15:guide id="5" orient="horz" pos="123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B7D4C5A-55D1-783B-6263-F536408F8EB4}"/>
              </a:ext>
            </a:extLst>
          </p:cNvPr>
          <p:cNvGraphicFramePr>
            <a:graphicFrameLocks noChangeAspect="1"/>
          </p:cNvGraphicFramePr>
          <p:nvPr userDrawn="1">
            <p:custDataLst>
              <p:tags r:id="rId1"/>
            </p:custDataLst>
            <p:extLst>
              <p:ext uri="{D42A27DB-BD31-4B8C-83A1-F6EECF244321}">
                <p14:modId xmlns:p14="http://schemas.microsoft.com/office/powerpoint/2010/main" val="233303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4" name="think-cell data - do not delete" hidden="1">
                        <a:extLst>
                          <a:ext uri="{FF2B5EF4-FFF2-40B4-BE49-F238E27FC236}">
                            <a16:creationId xmlns:a16="http://schemas.microsoft.com/office/drawing/2014/main" id="{1B7D4C5A-55D1-783B-6263-F536408F8E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Tree>
    <p:extLst>
      <p:ext uri="{BB962C8B-B14F-4D97-AF65-F5344CB8AC3E}">
        <p14:creationId xmlns:p14="http://schemas.microsoft.com/office/powerpoint/2010/main" val="3118582563"/>
      </p:ext>
    </p:extLst>
  </p:cSld>
  <p:clrMapOvr>
    <a:masterClrMapping/>
  </p:clrMapOvr>
  <p:extLst>
    <p:ext uri="{DCECCB84-F9BA-43D5-87BE-67443E8EF086}">
      <p15:sldGuideLst xmlns:p15="http://schemas.microsoft.com/office/powerpoint/2012/main">
        <p15:guide id="1" orient="horz" pos="926"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05ACAA-EDA1-1D89-323B-00F1195C160C}"/>
              </a:ext>
            </a:extLst>
          </p:cNvPr>
          <p:cNvGraphicFramePr>
            <a:graphicFrameLocks noChangeAspect="1"/>
          </p:cNvGraphicFramePr>
          <p:nvPr userDrawn="1">
            <p:custDataLst>
              <p:tags r:id="rId1"/>
            </p:custDataLst>
            <p:extLst>
              <p:ext uri="{D42A27DB-BD31-4B8C-83A1-F6EECF244321}">
                <p14:modId xmlns:p14="http://schemas.microsoft.com/office/powerpoint/2010/main" val="2463287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6" name="think-cell data - do not delete" hidden="1">
                        <a:extLst>
                          <a:ext uri="{FF2B5EF4-FFF2-40B4-BE49-F238E27FC236}">
                            <a16:creationId xmlns:a16="http://schemas.microsoft.com/office/drawing/2014/main" id="{3005ACAA-EDA1-1D89-323B-00F1195C16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p:cNvSpPr>
            <a:spLocks noGrp="1"/>
          </p:cNvSpPr>
          <p:nvPr>
            <p:ph type="body" idx="10" hasCustomPrompt="1"/>
          </p:nvPr>
        </p:nvSpPr>
        <p:spPr>
          <a:xfrm>
            <a:off x="457200" y="1472184"/>
            <a:ext cx="11277600" cy="429768"/>
          </a:xfrm>
        </p:spPr>
        <p:txBody>
          <a:bodyPr/>
          <a:lstStyle>
            <a:lvl1pPr marL="0" indent="0">
              <a:spcBef>
                <a:spcPts val="0"/>
              </a:spcBef>
              <a:buFont typeface="Arial" panose="020B0604020202020204" pitchFamily="34" charset="0"/>
              <a:buNone/>
              <a:defRPr sz="1400" b="1">
                <a:solidFill>
                  <a:schemeClr val="tx1"/>
                </a:solidFill>
              </a:defRPr>
            </a:lvl1pPr>
            <a:lvl2pPr marL="285750" indent="-285750">
              <a:spcBef>
                <a:spcPts val="0"/>
              </a:spcBef>
              <a:buFont typeface="Arial" panose="020B0604020202020204" pitchFamily="34" charset="0"/>
              <a:buNone/>
              <a:defRPr sz="1400" b="0" kern="0" dirty="0">
                <a:solidFill>
                  <a:schemeClr val="tx1"/>
                </a:solidFill>
                <a:latin typeface="Figtree Medium" pitchFamily="2" charset="0"/>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Heading 14 pt</a:t>
            </a:r>
          </a:p>
          <a:p>
            <a:pPr lvl="1"/>
            <a:r>
              <a:rPr lang="en-US"/>
              <a:t>Subheading 14 pt</a:t>
            </a:r>
          </a:p>
        </p:txBody>
      </p:sp>
      <p:sp>
        <p:nvSpPr>
          <p:cNvPr id="4" name="Content"/>
          <p:cNvSpPr>
            <a:spLocks noGrp="1"/>
          </p:cNvSpPr>
          <p:nvPr>
            <p:ph idx="11"/>
          </p:nvPr>
        </p:nvSpPr>
        <p:spPr>
          <a:xfrm>
            <a:off x="457200" y="1956816"/>
            <a:ext cx="112776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185205496"/>
      </p:ext>
    </p:extLst>
  </p:cSld>
  <p:clrMapOvr>
    <a:masterClrMapping/>
  </p:clrMapOvr>
  <p:extLst>
    <p:ext uri="{DCECCB84-F9BA-43D5-87BE-67443E8EF086}">
      <p15:sldGuideLst xmlns:p15="http://schemas.microsoft.com/office/powerpoint/2012/main">
        <p15:guide id="3" orient="horz" pos="927">
          <p15:clr>
            <a:srgbClr val="FBAE40"/>
          </p15:clr>
        </p15:guide>
        <p15:guide id="6" orient="horz" pos="123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ig portrait photo on righ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A476F82-3362-673A-BFF2-BCC557E636B6}"/>
              </a:ext>
            </a:extLst>
          </p:cNvPr>
          <p:cNvGraphicFramePr>
            <a:graphicFrameLocks noChangeAspect="1"/>
          </p:cNvGraphicFramePr>
          <p:nvPr userDrawn="1">
            <p:custDataLst>
              <p:tags r:id="rId1"/>
            </p:custDataLst>
            <p:extLst>
              <p:ext uri="{D42A27DB-BD31-4B8C-83A1-F6EECF244321}">
                <p14:modId xmlns:p14="http://schemas.microsoft.com/office/powerpoint/2010/main" val="3791938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6" name="think-cell data - do not delete" hidden="1">
                        <a:extLst>
                          <a:ext uri="{FF2B5EF4-FFF2-40B4-BE49-F238E27FC236}">
                            <a16:creationId xmlns:a16="http://schemas.microsoft.com/office/drawing/2014/main" id="{7A476F82-3362-673A-BFF2-BCC557E636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Heading"/>
          <p:cNvSpPr>
            <a:spLocks noGrp="1"/>
          </p:cNvSpPr>
          <p:nvPr>
            <p:ph type="body" idx="10" hasCustomPrompt="1"/>
          </p:nvPr>
        </p:nvSpPr>
        <p:spPr>
          <a:xfrm>
            <a:off x="457199" y="1472184"/>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285750" indent="-285750">
              <a:spcBef>
                <a:spcPts val="0"/>
              </a:spcBef>
              <a:buFont typeface="Arial" panose="020B0604020202020204" pitchFamily="34" charset="0"/>
              <a:buChar char="​"/>
              <a:defRPr sz="1400" kern="0" dirty="0">
                <a:solidFill>
                  <a:schemeClr val="tx1"/>
                </a:solidFill>
                <a:latin typeface="Figtree Medium" pitchFamily="2" charset="0"/>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marL="0" lvl="1" indent="0" algn="l" defTabSz="914370" rtl="0" eaLnBrk="1" latinLnBrk="0" hangingPunct="1">
              <a:spcBef>
                <a:spcPts val="0"/>
              </a:spcBef>
              <a:buFont typeface="Arial" panose="020B0604020202020204" pitchFamily="34" charset="0"/>
              <a:buChar char="​"/>
            </a:pPr>
            <a:r>
              <a:t>Subheading 14 pt</a:t>
            </a:r>
          </a:p>
        </p:txBody>
      </p:sp>
      <p:sp>
        <p:nvSpPr>
          <p:cNvPr id="4" name="Content"/>
          <p:cNvSpPr>
            <a:spLocks noGrp="1"/>
          </p:cNvSpPr>
          <p:nvPr>
            <p:ph sz="half" idx="11"/>
          </p:nvPr>
        </p:nvSpPr>
        <p:spPr>
          <a:xfrm>
            <a:off x="457198" y="1956816"/>
            <a:ext cx="73660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280400" y="0"/>
            <a:ext cx="3911600" cy="6858000"/>
          </a:xfrm>
        </p:spPr>
        <p:txBody>
          <a:bodyPr tIns="640080" anchor="ctr"/>
          <a:lstStyle>
            <a:lvl1pPr marL="0" indent="0" algn="ctr">
              <a:buNone/>
              <a:defRPr sz="1400">
                <a:solidFill>
                  <a:srgbClr val="C3C3C3"/>
                </a:solidFill>
              </a:defRPr>
            </a:lvl1pPr>
          </a:lstStyle>
          <a:p>
            <a:r>
              <a:rPr lang="en-US" dirty="0"/>
              <a:t>Click icon to add picture</a:t>
            </a:r>
            <a:endParaRPr dirty="0"/>
          </a:p>
        </p:txBody>
      </p:sp>
      <p:sp>
        <p:nvSpPr>
          <p:cNvPr id="7" name="Title 6">
            <a:extLst>
              <a:ext uri="{FF2B5EF4-FFF2-40B4-BE49-F238E27FC236}">
                <a16:creationId xmlns:a16="http://schemas.microsoft.com/office/drawing/2014/main" id="{E4D872BF-784E-4FB4-185C-724FC8193818}"/>
              </a:ext>
            </a:extLst>
          </p:cNvPr>
          <p:cNvSpPr>
            <a:spLocks noGrp="1"/>
          </p:cNvSpPr>
          <p:nvPr>
            <p:ph type="title"/>
          </p:nvPr>
        </p:nvSpPr>
        <p:spPr>
          <a:xfrm>
            <a:off x="457200" y="457200"/>
            <a:ext cx="7366000" cy="758952"/>
          </a:xfrm>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85226910"/>
      </p:ext>
    </p:extLst>
  </p:cSld>
  <p:clrMapOvr>
    <a:masterClrMapping/>
  </p:clrMapOvr>
  <p:extLst>
    <p:ext uri="{DCECCB84-F9BA-43D5-87BE-67443E8EF086}">
      <p15:sldGuideLst xmlns:p15="http://schemas.microsoft.com/office/powerpoint/2012/main">
        <p15:guide id="1" orient="horz" pos="924">
          <p15:clr>
            <a:srgbClr val="FBAE40"/>
          </p15:clr>
        </p15:guide>
        <p15:guide id="4" orient="horz" pos="1232">
          <p15:clr>
            <a:srgbClr val="FBAE40"/>
          </p15:clr>
        </p15:guide>
        <p15:guide id="6" pos="4928">
          <p15:clr>
            <a:srgbClr val="FBAE40"/>
          </p15:clr>
        </p15:guide>
        <p15:guide id="9" pos="521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secHead" preserve="1">
  <p:cSld name="Section">
    <p:bg>
      <p:bgPr>
        <a:solidFill>
          <a:srgbClr val="009FD3"/>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8F42BEE-1737-CC49-3AA0-D55A2FAF2CA7}"/>
              </a:ext>
            </a:extLst>
          </p:cNvPr>
          <p:cNvGraphicFramePr>
            <a:graphicFrameLocks noChangeAspect="1"/>
          </p:cNvGraphicFramePr>
          <p:nvPr userDrawn="1">
            <p:custDataLst>
              <p:tags r:id="rId1"/>
            </p:custDataLst>
            <p:extLst>
              <p:ext uri="{D42A27DB-BD31-4B8C-83A1-F6EECF244321}">
                <p14:modId xmlns:p14="http://schemas.microsoft.com/office/powerpoint/2010/main" val="3938065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38F42BEE-1737-CC49-3AA0-D55A2FAF2C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ectionTitle"/>
          <p:cNvSpPr>
            <a:spLocks noGrp="1"/>
          </p:cNvSpPr>
          <p:nvPr>
            <p:ph type="body" sz="quarter" idx="11" hasCustomPrompt="1"/>
          </p:nvPr>
        </p:nvSpPr>
        <p:spPr>
          <a:xfrm>
            <a:off x="457200" y="4681728"/>
            <a:ext cx="6273800" cy="948978"/>
          </a:xfrm>
        </p:spPr>
        <p:txBody>
          <a:bodyPr vert="horz" wrap="square" lIns="0" tIns="0" rIns="0" bIns="0" numCol="1" anchor="t" anchorCtr="0" compatLnSpc="1">
            <a:prstTxWarp prst="textNoShape">
              <a:avLst/>
            </a:prstTxWarp>
            <a:spAutoFit/>
          </a:bodyPr>
          <a:lstStyle>
            <a:lvl1pPr marL="0" indent="0" algn="l" fontAlgn="base">
              <a:lnSpc>
                <a:spcPct val="100000"/>
              </a:lnSpc>
              <a:spcBef>
                <a:spcPts val="0"/>
              </a:spcBef>
              <a:spcAft>
                <a:spcPts val="200"/>
              </a:spcAft>
              <a:buFont typeface="Arial" panose="020B0604020202020204" pitchFamily="34" charset="0"/>
              <a:buChar char="​"/>
              <a:defRPr sz="4000">
                <a:solidFill>
                  <a:schemeClr val="bg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2000">
                <a:solidFill>
                  <a:schemeClr val="bg1"/>
                </a:solidFill>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t>Click to add section title</a:t>
            </a:r>
          </a:p>
          <a:p>
            <a:pPr lvl="1"/>
            <a:r>
              <a:t>Click to add section subtitle</a:t>
            </a:r>
          </a:p>
        </p:txBody>
      </p:sp>
      <p:sp>
        <p:nvSpPr>
          <p:cNvPr id="3" name="SectionNumber"/>
          <p:cNvSpPr>
            <a:spLocks noGrp="1"/>
          </p:cNvSpPr>
          <p:nvPr>
            <p:ph type="body" sz="quarter" idx="12" hasCustomPrompt="1"/>
          </p:nvPr>
        </p:nvSpPr>
        <p:spPr>
          <a:xfrm>
            <a:off x="457200" y="3340100"/>
            <a:ext cx="6273800" cy="1341628"/>
          </a:xfrm>
        </p:spPr>
        <p:txBody>
          <a:bodyPr lIns="0" tIns="0" rIns="0" bIns="0" anchor="b"/>
          <a:lstStyle>
            <a:lvl1pPr marL="342900" indent="-342900" algn="l" fontAlgn="base">
              <a:lnSpc>
                <a:spcPct val="100000"/>
              </a:lnSpc>
              <a:spcBef>
                <a:spcPts val="0"/>
              </a:spcBef>
              <a:spcAft>
                <a:spcPts val="0"/>
              </a:spcAft>
              <a:buFont typeface="Arial" panose="020B0604020202020204" pitchFamily="34" charset="0"/>
              <a:buChar char="​"/>
              <a:defRPr sz="11500" b="1" kern="0" dirty="0">
                <a:solidFill>
                  <a:schemeClr val="bg1"/>
                </a:solidFill>
                <a:latin typeface="+mj-lt"/>
                <a:ea typeface="+mj-ea"/>
                <a:cs typeface="+mj-cs"/>
              </a:defRPr>
            </a:lvl1pPr>
            <a:lvl2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9pPr>
          </a:lstStyle>
          <a:p>
            <a:pPr marL="0" lvl="0" indent="0" algn="l" defTabSz="914370" rtl="0" eaLnBrk="1" fontAlgn="base" latinLnBrk="0" hangingPunct="1">
              <a:lnSpc>
                <a:spcPct val="88000"/>
              </a:lnSpc>
              <a:spcBef>
                <a:spcPts val="0"/>
              </a:spcBef>
              <a:spcAft>
                <a:spcPts val="0"/>
              </a:spcAft>
              <a:buFont typeface="Arial" panose="020B0604020202020204" pitchFamily="34" charset="0"/>
              <a:buChar char="​"/>
            </a:pPr>
            <a:r>
              <a:t>##</a:t>
            </a:r>
          </a:p>
        </p:txBody>
      </p:sp>
      <p:grpSp>
        <p:nvGrpSpPr>
          <p:cNvPr id="4" name="Group 3">
            <a:extLst>
              <a:ext uri="{FF2B5EF4-FFF2-40B4-BE49-F238E27FC236}">
                <a16:creationId xmlns:a16="http://schemas.microsoft.com/office/drawing/2014/main" id="{7D185872-D6C1-AAE6-46ED-D1631F36F9B6}"/>
              </a:ext>
            </a:extLst>
          </p:cNvPr>
          <p:cNvGrpSpPr/>
          <p:nvPr userDrawn="1"/>
        </p:nvGrpSpPr>
        <p:grpSpPr>
          <a:xfrm>
            <a:off x="7101763" y="123"/>
            <a:ext cx="4940816" cy="6857754"/>
            <a:chOff x="7226300" y="123"/>
            <a:chExt cx="4940816" cy="6857754"/>
          </a:xfrm>
        </p:grpSpPr>
        <p:sp>
          <p:nvSpPr>
            <p:cNvPr id="5" name="object 5">
              <a:extLst>
                <a:ext uri="{FF2B5EF4-FFF2-40B4-BE49-F238E27FC236}">
                  <a16:creationId xmlns:a16="http://schemas.microsoft.com/office/drawing/2014/main" id="{3BB29A60-9D36-6427-D48F-5260AF2AC7B2}"/>
                </a:ext>
              </a:extLst>
            </p:cNvPr>
            <p:cNvSpPr/>
            <p:nvPr/>
          </p:nvSpPr>
          <p:spPr>
            <a:xfrm>
              <a:off x="10679200" y="6037749"/>
              <a:ext cx="332700" cy="477101"/>
            </a:xfrm>
            <a:custGeom>
              <a:avLst/>
              <a:gdLst/>
              <a:ahLst/>
              <a:cxnLst/>
              <a:rect l="l" t="t" r="r" b="b"/>
              <a:pathLst>
                <a:path w="548640" h="786765">
                  <a:moveTo>
                    <a:pt x="548043" y="266611"/>
                  </a:moveTo>
                  <a:lnTo>
                    <a:pt x="500380" y="270649"/>
                  </a:lnTo>
                  <a:lnTo>
                    <a:pt x="455853" y="282308"/>
                  </a:lnTo>
                  <a:lnTo>
                    <a:pt x="414616" y="300901"/>
                  </a:lnTo>
                  <a:lnTo>
                    <a:pt x="377355" y="325780"/>
                  </a:lnTo>
                  <a:lnTo>
                    <a:pt x="344728" y="356235"/>
                  </a:lnTo>
                  <a:lnTo>
                    <a:pt x="317411" y="391629"/>
                  </a:lnTo>
                  <a:lnTo>
                    <a:pt x="296087" y="431253"/>
                  </a:lnTo>
                  <a:lnTo>
                    <a:pt x="281432" y="474446"/>
                  </a:lnTo>
                  <a:lnTo>
                    <a:pt x="274091" y="520534"/>
                  </a:lnTo>
                  <a:lnTo>
                    <a:pt x="266915" y="474256"/>
                  </a:lnTo>
                  <a:lnTo>
                    <a:pt x="252361" y="430885"/>
                  </a:lnTo>
                  <a:lnTo>
                    <a:pt x="231101" y="391096"/>
                  </a:lnTo>
                  <a:lnTo>
                    <a:pt x="203809" y="355561"/>
                  </a:lnTo>
                  <a:lnTo>
                    <a:pt x="171157" y="324954"/>
                  </a:lnTo>
                  <a:lnTo>
                    <a:pt x="133845" y="299986"/>
                  </a:lnTo>
                  <a:lnTo>
                    <a:pt x="92544" y="281292"/>
                  </a:lnTo>
                  <a:lnTo>
                    <a:pt x="47917" y="269582"/>
                  </a:lnTo>
                  <a:lnTo>
                    <a:pt x="12" y="265531"/>
                  </a:lnTo>
                  <a:lnTo>
                    <a:pt x="5461" y="313690"/>
                  </a:lnTo>
                  <a:lnTo>
                    <a:pt x="18846" y="358952"/>
                  </a:lnTo>
                  <a:lnTo>
                    <a:pt x="39471" y="400583"/>
                  </a:lnTo>
                  <a:lnTo>
                    <a:pt x="66560" y="437832"/>
                  </a:lnTo>
                  <a:lnTo>
                    <a:pt x="99402" y="469988"/>
                  </a:lnTo>
                  <a:lnTo>
                    <a:pt x="137261" y="496303"/>
                  </a:lnTo>
                  <a:lnTo>
                    <a:pt x="179387" y="516026"/>
                  </a:lnTo>
                  <a:lnTo>
                    <a:pt x="225056" y="528459"/>
                  </a:lnTo>
                  <a:lnTo>
                    <a:pt x="273532" y="532841"/>
                  </a:lnTo>
                  <a:lnTo>
                    <a:pt x="274751" y="532841"/>
                  </a:lnTo>
                  <a:lnTo>
                    <a:pt x="323100" y="528472"/>
                  </a:lnTo>
                  <a:lnTo>
                    <a:pt x="368655" y="516102"/>
                  </a:lnTo>
                  <a:lnTo>
                    <a:pt x="410679" y="496468"/>
                  </a:lnTo>
                  <a:lnTo>
                    <a:pt x="448475" y="470268"/>
                  </a:lnTo>
                  <a:lnTo>
                    <a:pt x="481266" y="438251"/>
                  </a:lnTo>
                  <a:lnTo>
                    <a:pt x="508368" y="401154"/>
                  </a:lnTo>
                  <a:lnTo>
                    <a:pt x="529005" y="359689"/>
                  </a:lnTo>
                  <a:lnTo>
                    <a:pt x="542480" y="314604"/>
                  </a:lnTo>
                  <a:lnTo>
                    <a:pt x="548043" y="266611"/>
                  </a:lnTo>
                  <a:close/>
                </a:path>
                <a:path w="548640" h="786765">
                  <a:moveTo>
                    <a:pt x="548043" y="1092"/>
                  </a:moveTo>
                  <a:lnTo>
                    <a:pt x="500380" y="5130"/>
                  </a:lnTo>
                  <a:lnTo>
                    <a:pt x="455853" y="16789"/>
                  </a:lnTo>
                  <a:lnTo>
                    <a:pt x="414616" y="35382"/>
                  </a:lnTo>
                  <a:lnTo>
                    <a:pt x="377355" y="60248"/>
                  </a:lnTo>
                  <a:lnTo>
                    <a:pt x="344728" y="90716"/>
                  </a:lnTo>
                  <a:lnTo>
                    <a:pt x="317411" y="126098"/>
                  </a:lnTo>
                  <a:lnTo>
                    <a:pt x="296087" y="165722"/>
                  </a:lnTo>
                  <a:lnTo>
                    <a:pt x="281432" y="208915"/>
                  </a:lnTo>
                  <a:lnTo>
                    <a:pt x="274091" y="255003"/>
                  </a:lnTo>
                  <a:lnTo>
                    <a:pt x="266915" y="208724"/>
                  </a:lnTo>
                  <a:lnTo>
                    <a:pt x="252361" y="165354"/>
                  </a:lnTo>
                  <a:lnTo>
                    <a:pt x="231101" y="125564"/>
                  </a:lnTo>
                  <a:lnTo>
                    <a:pt x="203809" y="90030"/>
                  </a:lnTo>
                  <a:lnTo>
                    <a:pt x="171157" y="59436"/>
                  </a:lnTo>
                  <a:lnTo>
                    <a:pt x="133845" y="34455"/>
                  </a:lnTo>
                  <a:lnTo>
                    <a:pt x="92544" y="15773"/>
                  </a:lnTo>
                  <a:lnTo>
                    <a:pt x="47917" y="4064"/>
                  </a:lnTo>
                  <a:lnTo>
                    <a:pt x="12" y="0"/>
                  </a:lnTo>
                  <a:lnTo>
                    <a:pt x="5461" y="48171"/>
                  </a:lnTo>
                  <a:lnTo>
                    <a:pt x="18846"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79" y="230936"/>
                  </a:lnTo>
                  <a:lnTo>
                    <a:pt x="448475" y="204749"/>
                  </a:lnTo>
                  <a:lnTo>
                    <a:pt x="481266" y="172732"/>
                  </a:lnTo>
                  <a:lnTo>
                    <a:pt x="508368" y="135623"/>
                  </a:lnTo>
                  <a:lnTo>
                    <a:pt x="529005" y="94170"/>
                  </a:lnTo>
                  <a:lnTo>
                    <a:pt x="542480" y="49085"/>
                  </a:lnTo>
                  <a:lnTo>
                    <a:pt x="548043" y="1092"/>
                  </a:lnTo>
                  <a:close/>
                </a:path>
                <a:path w="548640" h="786765">
                  <a:moveTo>
                    <a:pt x="548093" y="520204"/>
                  </a:moveTo>
                  <a:lnTo>
                    <a:pt x="500380" y="524217"/>
                  </a:lnTo>
                  <a:lnTo>
                    <a:pt x="455853" y="535876"/>
                  </a:lnTo>
                  <a:lnTo>
                    <a:pt x="414616" y="554469"/>
                  </a:lnTo>
                  <a:lnTo>
                    <a:pt x="377355" y="579348"/>
                  </a:lnTo>
                  <a:lnTo>
                    <a:pt x="344728" y="609803"/>
                  </a:lnTo>
                  <a:lnTo>
                    <a:pt x="317411" y="645172"/>
                  </a:lnTo>
                  <a:lnTo>
                    <a:pt x="296087" y="684796"/>
                  </a:lnTo>
                  <a:lnTo>
                    <a:pt x="281419" y="727989"/>
                  </a:lnTo>
                  <a:lnTo>
                    <a:pt x="274091" y="774065"/>
                  </a:lnTo>
                  <a:lnTo>
                    <a:pt x="266915" y="727824"/>
                  </a:lnTo>
                  <a:lnTo>
                    <a:pt x="252361" y="684453"/>
                  </a:lnTo>
                  <a:lnTo>
                    <a:pt x="231101" y="644652"/>
                  </a:lnTo>
                  <a:lnTo>
                    <a:pt x="203809" y="609117"/>
                  </a:lnTo>
                  <a:lnTo>
                    <a:pt x="171157" y="578523"/>
                  </a:lnTo>
                  <a:lnTo>
                    <a:pt x="133845" y="553542"/>
                  </a:lnTo>
                  <a:lnTo>
                    <a:pt x="92544" y="534835"/>
                  </a:lnTo>
                  <a:lnTo>
                    <a:pt x="47917" y="523125"/>
                  </a:lnTo>
                  <a:lnTo>
                    <a:pt x="0" y="519074"/>
                  </a:lnTo>
                  <a:lnTo>
                    <a:pt x="5448" y="567245"/>
                  </a:lnTo>
                  <a:lnTo>
                    <a:pt x="18846" y="612521"/>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2DB7EA"/>
            </a:solidFill>
          </p:spPr>
          <p:txBody>
            <a:bodyPr wrap="square" lIns="0" tIns="0" rIns="0" bIns="0" rtlCol="0"/>
            <a:lstStyle/>
            <a:p>
              <a:endParaRPr dirty="0"/>
            </a:p>
          </p:txBody>
        </p:sp>
        <p:pic>
          <p:nvPicPr>
            <p:cNvPr id="6" name="object 6">
              <a:extLst>
                <a:ext uri="{FF2B5EF4-FFF2-40B4-BE49-F238E27FC236}">
                  <a16:creationId xmlns:a16="http://schemas.microsoft.com/office/drawing/2014/main" id="{66ABBC9D-CC24-2249-D6F8-BDC377D8AC49}"/>
                </a:ext>
              </a:extLst>
            </p:cNvPr>
            <p:cNvPicPr/>
            <p:nvPr/>
          </p:nvPicPr>
          <p:blipFill>
            <a:blip r:embed="rId5" cstate="print"/>
            <a:stretch>
              <a:fillRect/>
            </a:stretch>
          </p:blipFill>
          <p:spPr>
            <a:xfrm>
              <a:off x="10791857" y="5951762"/>
              <a:ext cx="106445" cy="107156"/>
            </a:xfrm>
            <a:prstGeom prst="rect">
              <a:avLst/>
            </a:prstGeom>
          </p:spPr>
        </p:pic>
        <p:sp>
          <p:nvSpPr>
            <p:cNvPr id="31" name="object 7">
              <a:extLst>
                <a:ext uri="{FF2B5EF4-FFF2-40B4-BE49-F238E27FC236}">
                  <a16:creationId xmlns:a16="http://schemas.microsoft.com/office/drawing/2014/main" id="{17C54F7B-4082-7639-45A7-623B81A997BF}"/>
                </a:ext>
              </a:extLst>
            </p:cNvPr>
            <p:cNvSpPr/>
            <p:nvPr/>
          </p:nvSpPr>
          <p:spPr>
            <a:xfrm>
              <a:off x="10679200" y="5383587"/>
              <a:ext cx="332700" cy="477101"/>
            </a:xfrm>
            <a:custGeom>
              <a:avLst/>
              <a:gdLst/>
              <a:ahLst/>
              <a:cxnLst/>
              <a:rect l="l" t="t" r="r" b="b"/>
              <a:pathLst>
                <a:path w="548640" h="786765">
                  <a:moveTo>
                    <a:pt x="548043" y="266623"/>
                  </a:moveTo>
                  <a:lnTo>
                    <a:pt x="500380" y="270649"/>
                  </a:lnTo>
                  <a:lnTo>
                    <a:pt x="455853" y="282308"/>
                  </a:lnTo>
                  <a:lnTo>
                    <a:pt x="414616" y="300913"/>
                  </a:lnTo>
                  <a:lnTo>
                    <a:pt x="377355" y="325780"/>
                  </a:lnTo>
                  <a:lnTo>
                    <a:pt x="344728" y="356235"/>
                  </a:lnTo>
                  <a:lnTo>
                    <a:pt x="317411" y="391617"/>
                  </a:lnTo>
                  <a:lnTo>
                    <a:pt x="296087" y="431241"/>
                  </a:lnTo>
                  <a:lnTo>
                    <a:pt x="281432" y="474446"/>
                  </a:lnTo>
                  <a:lnTo>
                    <a:pt x="274091" y="520522"/>
                  </a:lnTo>
                  <a:lnTo>
                    <a:pt x="266915"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46" y="358952"/>
                  </a:lnTo>
                  <a:lnTo>
                    <a:pt x="39471" y="400583"/>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79" y="496455"/>
                  </a:lnTo>
                  <a:lnTo>
                    <a:pt x="448475" y="470268"/>
                  </a:lnTo>
                  <a:lnTo>
                    <a:pt x="481266" y="438251"/>
                  </a:lnTo>
                  <a:lnTo>
                    <a:pt x="508368" y="401154"/>
                  </a:lnTo>
                  <a:lnTo>
                    <a:pt x="529005" y="359689"/>
                  </a:lnTo>
                  <a:lnTo>
                    <a:pt x="542480" y="314604"/>
                  </a:lnTo>
                  <a:lnTo>
                    <a:pt x="548043" y="266623"/>
                  </a:lnTo>
                  <a:close/>
                </a:path>
                <a:path w="548640" h="786765">
                  <a:moveTo>
                    <a:pt x="548043" y="1079"/>
                  </a:moveTo>
                  <a:lnTo>
                    <a:pt x="500380" y="5118"/>
                  </a:lnTo>
                  <a:lnTo>
                    <a:pt x="455853" y="16764"/>
                  </a:lnTo>
                  <a:lnTo>
                    <a:pt x="414616" y="35369"/>
                  </a:lnTo>
                  <a:lnTo>
                    <a:pt x="377355" y="60236"/>
                  </a:lnTo>
                  <a:lnTo>
                    <a:pt x="344728" y="90703"/>
                  </a:lnTo>
                  <a:lnTo>
                    <a:pt x="317411" y="126085"/>
                  </a:lnTo>
                  <a:lnTo>
                    <a:pt x="296087" y="165722"/>
                  </a:lnTo>
                  <a:lnTo>
                    <a:pt x="281432" y="208915"/>
                  </a:lnTo>
                  <a:lnTo>
                    <a:pt x="274091" y="255003"/>
                  </a:lnTo>
                  <a:lnTo>
                    <a:pt x="266915" y="208724"/>
                  </a:lnTo>
                  <a:lnTo>
                    <a:pt x="252361" y="165354"/>
                  </a:lnTo>
                  <a:lnTo>
                    <a:pt x="231101" y="125564"/>
                  </a:lnTo>
                  <a:lnTo>
                    <a:pt x="203809" y="90030"/>
                  </a:lnTo>
                  <a:lnTo>
                    <a:pt x="171157" y="59423"/>
                  </a:lnTo>
                  <a:lnTo>
                    <a:pt x="133845" y="34442"/>
                  </a:lnTo>
                  <a:lnTo>
                    <a:pt x="92544" y="15760"/>
                  </a:lnTo>
                  <a:lnTo>
                    <a:pt x="47917" y="4051"/>
                  </a:lnTo>
                  <a:lnTo>
                    <a:pt x="12" y="0"/>
                  </a:lnTo>
                  <a:lnTo>
                    <a:pt x="5461" y="48158"/>
                  </a:lnTo>
                  <a:lnTo>
                    <a:pt x="18846"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36"/>
                  </a:lnTo>
                  <a:lnTo>
                    <a:pt x="481266" y="172720"/>
                  </a:lnTo>
                  <a:lnTo>
                    <a:pt x="508368" y="135623"/>
                  </a:lnTo>
                  <a:lnTo>
                    <a:pt x="529005" y="94157"/>
                  </a:lnTo>
                  <a:lnTo>
                    <a:pt x="542480" y="49072"/>
                  </a:lnTo>
                  <a:lnTo>
                    <a:pt x="548043" y="1079"/>
                  </a:lnTo>
                  <a:close/>
                </a:path>
                <a:path w="548640" h="786765">
                  <a:moveTo>
                    <a:pt x="548093" y="520192"/>
                  </a:moveTo>
                  <a:lnTo>
                    <a:pt x="500380" y="524217"/>
                  </a:lnTo>
                  <a:lnTo>
                    <a:pt x="455853" y="535876"/>
                  </a:lnTo>
                  <a:lnTo>
                    <a:pt x="414616" y="554469"/>
                  </a:lnTo>
                  <a:lnTo>
                    <a:pt x="377355" y="579335"/>
                  </a:lnTo>
                  <a:lnTo>
                    <a:pt x="344728" y="609790"/>
                  </a:lnTo>
                  <a:lnTo>
                    <a:pt x="317411" y="645172"/>
                  </a:lnTo>
                  <a:lnTo>
                    <a:pt x="296087" y="684796"/>
                  </a:lnTo>
                  <a:lnTo>
                    <a:pt x="281419" y="727976"/>
                  </a:lnTo>
                  <a:lnTo>
                    <a:pt x="274091" y="774065"/>
                  </a:lnTo>
                  <a:lnTo>
                    <a:pt x="266915" y="727811"/>
                  </a:lnTo>
                  <a:lnTo>
                    <a:pt x="252361" y="684441"/>
                  </a:lnTo>
                  <a:lnTo>
                    <a:pt x="231101" y="644652"/>
                  </a:lnTo>
                  <a:lnTo>
                    <a:pt x="203809" y="609117"/>
                  </a:lnTo>
                  <a:lnTo>
                    <a:pt x="171157" y="578523"/>
                  </a:lnTo>
                  <a:lnTo>
                    <a:pt x="133845" y="553542"/>
                  </a:lnTo>
                  <a:lnTo>
                    <a:pt x="92544" y="534847"/>
                  </a:lnTo>
                  <a:lnTo>
                    <a:pt x="47917" y="523125"/>
                  </a:lnTo>
                  <a:lnTo>
                    <a:pt x="0" y="519061"/>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27"/>
                  </a:lnTo>
                  <a:lnTo>
                    <a:pt x="368655" y="769670"/>
                  </a:lnTo>
                  <a:lnTo>
                    <a:pt x="410679" y="750023"/>
                  </a:lnTo>
                  <a:lnTo>
                    <a:pt x="448475" y="723823"/>
                  </a:lnTo>
                  <a:lnTo>
                    <a:pt x="449313" y="723011"/>
                  </a:lnTo>
                  <a:lnTo>
                    <a:pt x="481266" y="691819"/>
                  </a:lnTo>
                  <a:lnTo>
                    <a:pt x="508393" y="654697"/>
                  </a:lnTo>
                  <a:lnTo>
                    <a:pt x="529056" y="613244"/>
                  </a:lnTo>
                  <a:lnTo>
                    <a:pt x="542531" y="568172"/>
                  </a:lnTo>
                  <a:lnTo>
                    <a:pt x="548093" y="520192"/>
                  </a:lnTo>
                  <a:close/>
                </a:path>
              </a:pathLst>
            </a:custGeom>
            <a:solidFill>
              <a:srgbClr val="7ED3F1"/>
            </a:solidFill>
          </p:spPr>
          <p:txBody>
            <a:bodyPr wrap="square" lIns="0" tIns="0" rIns="0" bIns="0" rtlCol="0"/>
            <a:lstStyle/>
            <a:p>
              <a:endParaRPr dirty="0"/>
            </a:p>
          </p:txBody>
        </p:sp>
        <p:pic>
          <p:nvPicPr>
            <p:cNvPr id="32" name="object 8">
              <a:extLst>
                <a:ext uri="{FF2B5EF4-FFF2-40B4-BE49-F238E27FC236}">
                  <a16:creationId xmlns:a16="http://schemas.microsoft.com/office/drawing/2014/main" id="{2485B320-F4A1-0823-2352-EC0029152ADB}"/>
                </a:ext>
              </a:extLst>
            </p:cNvPr>
            <p:cNvPicPr/>
            <p:nvPr/>
          </p:nvPicPr>
          <p:blipFill>
            <a:blip r:embed="rId6" cstate="print"/>
            <a:stretch>
              <a:fillRect/>
            </a:stretch>
          </p:blipFill>
          <p:spPr>
            <a:xfrm>
              <a:off x="10791857" y="5297596"/>
              <a:ext cx="106445" cy="107156"/>
            </a:xfrm>
            <a:prstGeom prst="rect">
              <a:avLst/>
            </a:prstGeom>
          </p:spPr>
        </p:pic>
        <p:sp>
          <p:nvSpPr>
            <p:cNvPr id="33" name="object 9">
              <a:extLst>
                <a:ext uri="{FF2B5EF4-FFF2-40B4-BE49-F238E27FC236}">
                  <a16:creationId xmlns:a16="http://schemas.microsoft.com/office/drawing/2014/main" id="{EA596C49-8163-FEF5-9F25-F3FE81597C8F}"/>
                </a:ext>
              </a:extLst>
            </p:cNvPr>
            <p:cNvSpPr/>
            <p:nvPr/>
          </p:nvSpPr>
          <p:spPr>
            <a:xfrm>
              <a:off x="10679208" y="6691912"/>
              <a:ext cx="332700" cy="165965"/>
            </a:xfrm>
            <a:custGeom>
              <a:avLst/>
              <a:gdLst/>
              <a:ahLst/>
              <a:cxnLst/>
              <a:rect l="l" t="t" r="r" b="b"/>
              <a:pathLst>
                <a:path w="548640" h="273684">
                  <a:moveTo>
                    <a:pt x="62560" y="273431"/>
                  </a:moveTo>
                  <a:lnTo>
                    <a:pt x="47904" y="269595"/>
                  </a:lnTo>
                  <a:lnTo>
                    <a:pt x="0" y="265544"/>
                  </a:lnTo>
                  <a:lnTo>
                    <a:pt x="889" y="273431"/>
                  </a:lnTo>
                  <a:lnTo>
                    <a:pt x="62560" y="273431"/>
                  </a:lnTo>
                  <a:close/>
                </a:path>
                <a:path w="548640" h="273684">
                  <a:moveTo>
                    <a:pt x="548030" y="266623"/>
                  </a:moveTo>
                  <a:lnTo>
                    <a:pt x="500367" y="270649"/>
                  </a:lnTo>
                  <a:lnTo>
                    <a:pt x="489724" y="273431"/>
                  </a:lnTo>
                  <a:lnTo>
                    <a:pt x="547243" y="273431"/>
                  </a:lnTo>
                  <a:lnTo>
                    <a:pt x="548030" y="266623"/>
                  </a:lnTo>
                  <a:close/>
                </a:path>
                <a:path w="548640" h="273684">
                  <a:moveTo>
                    <a:pt x="548030" y="1079"/>
                  </a:moveTo>
                  <a:lnTo>
                    <a:pt x="500367" y="5118"/>
                  </a:lnTo>
                  <a:lnTo>
                    <a:pt x="455841" y="16776"/>
                  </a:lnTo>
                  <a:lnTo>
                    <a:pt x="414604" y="35382"/>
                  </a:lnTo>
                  <a:lnTo>
                    <a:pt x="377342" y="60248"/>
                  </a:lnTo>
                  <a:lnTo>
                    <a:pt x="344716" y="90716"/>
                  </a:lnTo>
                  <a:lnTo>
                    <a:pt x="317398" y="126098"/>
                  </a:lnTo>
                  <a:lnTo>
                    <a:pt x="296075" y="165722"/>
                  </a:lnTo>
                  <a:lnTo>
                    <a:pt x="281419" y="208915"/>
                  </a:lnTo>
                  <a:lnTo>
                    <a:pt x="274078" y="255003"/>
                  </a:lnTo>
                  <a:lnTo>
                    <a:pt x="266903" y="208724"/>
                  </a:lnTo>
                  <a:lnTo>
                    <a:pt x="252349" y="165354"/>
                  </a:lnTo>
                  <a:lnTo>
                    <a:pt x="231089" y="125564"/>
                  </a:lnTo>
                  <a:lnTo>
                    <a:pt x="203796" y="90030"/>
                  </a:lnTo>
                  <a:lnTo>
                    <a:pt x="171145" y="59436"/>
                  </a:lnTo>
                  <a:lnTo>
                    <a:pt x="133832" y="34455"/>
                  </a:lnTo>
                  <a:lnTo>
                    <a:pt x="92532" y="15773"/>
                  </a:lnTo>
                  <a:lnTo>
                    <a:pt x="47904" y="4064"/>
                  </a:lnTo>
                  <a:lnTo>
                    <a:pt x="0" y="0"/>
                  </a:lnTo>
                  <a:lnTo>
                    <a:pt x="5448" y="48171"/>
                  </a:lnTo>
                  <a:lnTo>
                    <a:pt x="18834" y="93421"/>
                  </a:lnTo>
                  <a:lnTo>
                    <a:pt x="39458" y="135051"/>
                  </a:lnTo>
                  <a:lnTo>
                    <a:pt x="66548" y="172313"/>
                  </a:lnTo>
                  <a:lnTo>
                    <a:pt x="99390" y="204457"/>
                  </a:lnTo>
                  <a:lnTo>
                    <a:pt x="137248" y="230771"/>
                  </a:lnTo>
                  <a:lnTo>
                    <a:pt x="179374" y="250507"/>
                  </a:lnTo>
                  <a:lnTo>
                    <a:pt x="225044" y="262928"/>
                  </a:lnTo>
                  <a:lnTo>
                    <a:pt x="273519" y="267309"/>
                  </a:lnTo>
                  <a:lnTo>
                    <a:pt x="274739" y="267309"/>
                  </a:lnTo>
                  <a:lnTo>
                    <a:pt x="323088" y="262940"/>
                  </a:lnTo>
                  <a:lnTo>
                    <a:pt x="368642" y="250583"/>
                  </a:lnTo>
                  <a:lnTo>
                    <a:pt x="410667" y="230936"/>
                  </a:lnTo>
                  <a:lnTo>
                    <a:pt x="448462" y="204736"/>
                  </a:lnTo>
                  <a:lnTo>
                    <a:pt x="481253" y="172720"/>
                  </a:lnTo>
                  <a:lnTo>
                    <a:pt x="508355" y="135623"/>
                  </a:lnTo>
                  <a:lnTo>
                    <a:pt x="528993" y="94157"/>
                  </a:lnTo>
                  <a:lnTo>
                    <a:pt x="542467" y="49072"/>
                  </a:lnTo>
                  <a:lnTo>
                    <a:pt x="548030" y="1079"/>
                  </a:lnTo>
                  <a:close/>
                </a:path>
              </a:pathLst>
            </a:custGeom>
            <a:solidFill>
              <a:srgbClr val="7ED3F1"/>
            </a:solidFill>
          </p:spPr>
          <p:txBody>
            <a:bodyPr wrap="square" lIns="0" tIns="0" rIns="0" bIns="0" rtlCol="0"/>
            <a:lstStyle/>
            <a:p>
              <a:endParaRPr dirty="0"/>
            </a:p>
          </p:txBody>
        </p:sp>
        <p:pic>
          <p:nvPicPr>
            <p:cNvPr id="34" name="object 10">
              <a:extLst>
                <a:ext uri="{FF2B5EF4-FFF2-40B4-BE49-F238E27FC236}">
                  <a16:creationId xmlns:a16="http://schemas.microsoft.com/office/drawing/2014/main" id="{7D73331D-B43E-2C86-85D3-19EC542628BB}"/>
                </a:ext>
              </a:extLst>
            </p:cNvPr>
            <p:cNvPicPr/>
            <p:nvPr/>
          </p:nvPicPr>
          <p:blipFill>
            <a:blip r:embed="rId6" cstate="print"/>
            <a:stretch>
              <a:fillRect/>
            </a:stretch>
          </p:blipFill>
          <p:spPr>
            <a:xfrm>
              <a:off x="10791857" y="6605926"/>
              <a:ext cx="106445" cy="107156"/>
            </a:xfrm>
            <a:prstGeom prst="rect">
              <a:avLst/>
            </a:prstGeom>
          </p:spPr>
        </p:pic>
        <p:sp>
          <p:nvSpPr>
            <p:cNvPr id="35" name="object 11">
              <a:extLst>
                <a:ext uri="{FF2B5EF4-FFF2-40B4-BE49-F238E27FC236}">
                  <a16:creationId xmlns:a16="http://schemas.microsoft.com/office/drawing/2014/main" id="{EBB07008-3D95-C899-1085-8247E2C1ED9C}"/>
                </a:ext>
              </a:extLst>
            </p:cNvPr>
            <p:cNvSpPr/>
            <p:nvPr/>
          </p:nvSpPr>
          <p:spPr>
            <a:xfrm>
              <a:off x="10294123" y="6479532"/>
              <a:ext cx="332700" cy="316141"/>
            </a:xfrm>
            <a:custGeom>
              <a:avLst/>
              <a:gdLst/>
              <a:ahLst/>
              <a:cxnLst/>
              <a:rect l="l" t="t" r="r" b="b"/>
              <a:pathLst>
                <a:path w="548640" h="521334">
                  <a:moveTo>
                    <a:pt x="548081" y="520852"/>
                  </a:moveTo>
                  <a:lnTo>
                    <a:pt x="542632" y="472694"/>
                  </a:lnTo>
                  <a:lnTo>
                    <a:pt x="529234" y="427431"/>
                  </a:lnTo>
                  <a:lnTo>
                    <a:pt x="508622" y="385800"/>
                  </a:lnTo>
                  <a:lnTo>
                    <a:pt x="481520" y="348551"/>
                  </a:lnTo>
                  <a:lnTo>
                    <a:pt x="448691" y="316395"/>
                  </a:lnTo>
                  <a:lnTo>
                    <a:pt x="410832" y="290093"/>
                  </a:lnTo>
                  <a:lnTo>
                    <a:pt x="368706" y="270357"/>
                  </a:lnTo>
                  <a:lnTo>
                    <a:pt x="323037" y="257924"/>
                  </a:lnTo>
                  <a:lnTo>
                    <a:pt x="274561" y="253555"/>
                  </a:lnTo>
                  <a:lnTo>
                    <a:pt x="273329" y="253555"/>
                  </a:lnTo>
                  <a:lnTo>
                    <a:pt x="224993" y="257911"/>
                  </a:lnTo>
                  <a:lnTo>
                    <a:pt x="179438" y="270281"/>
                  </a:lnTo>
                  <a:lnTo>
                    <a:pt x="137401" y="289915"/>
                  </a:lnTo>
                  <a:lnTo>
                    <a:pt x="99618" y="316115"/>
                  </a:lnTo>
                  <a:lnTo>
                    <a:pt x="66814" y="348132"/>
                  </a:lnTo>
                  <a:lnTo>
                    <a:pt x="39725" y="385229"/>
                  </a:lnTo>
                  <a:lnTo>
                    <a:pt x="19075" y="426694"/>
                  </a:lnTo>
                  <a:lnTo>
                    <a:pt x="5613" y="471792"/>
                  </a:lnTo>
                  <a:lnTo>
                    <a:pt x="50" y="519772"/>
                  </a:lnTo>
                  <a:lnTo>
                    <a:pt x="47713" y="515747"/>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27"/>
                  </a:lnTo>
                  <a:lnTo>
                    <a:pt x="295719" y="355498"/>
                  </a:lnTo>
                  <a:lnTo>
                    <a:pt x="316992" y="395300"/>
                  </a:lnTo>
                  <a:lnTo>
                    <a:pt x="344284" y="430834"/>
                  </a:lnTo>
                  <a:lnTo>
                    <a:pt x="376923" y="461429"/>
                  </a:lnTo>
                  <a:lnTo>
                    <a:pt x="414248" y="486410"/>
                  </a:lnTo>
                  <a:lnTo>
                    <a:pt x="455549" y="505091"/>
                  </a:lnTo>
                  <a:lnTo>
                    <a:pt x="500164" y="516801"/>
                  </a:lnTo>
                  <a:lnTo>
                    <a:pt x="548081" y="520852"/>
                  </a:lnTo>
                  <a:close/>
                </a:path>
                <a:path w="548640" h="521334">
                  <a:moveTo>
                    <a:pt x="548093" y="267322"/>
                  </a:moveTo>
                  <a:lnTo>
                    <a:pt x="542645" y="219138"/>
                  </a:lnTo>
                  <a:lnTo>
                    <a:pt x="529247" y="173875"/>
                  </a:lnTo>
                  <a:lnTo>
                    <a:pt x="508635" y="132245"/>
                  </a:lnTo>
                  <a:lnTo>
                    <a:pt x="481533" y="94996"/>
                  </a:lnTo>
                  <a:lnTo>
                    <a:pt x="448691" y="62839"/>
                  </a:lnTo>
                  <a:lnTo>
                    <a:pt x="410845" y="36537"/>
                  </a:lnTo>
                  <a:lnTo>
                    <a:pt x="368706" y="16814"/>
                  </a:lnTo>
                  <a:lnTo>
                    <a:pt x="323037" y="4368"/>
                  </a:lnTo>
                  <a:lnTo>
                    <a:pt x="274561" y="12"/>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77" y="231914"/>
                  </a:lnTo>
                  <a:lnTo>
                    <a:pt x="170738" y="207048"/>
                  </a:lnTo>
                  <a:lnTo>
                    <a:pt x="203365" y="176593"/>
                  </a:lnTo>
                  <a:lnTo>
                    <a:pt x="230682" y="141211"/>
                  </a:lnTo>
                  <a:lnTo>
                    <a:pt x="252006" y="101600"/>
                  </a:lnTo>
                  <a:lnTo>
                    <a:pt x="266674" y="58407"/>
                  </a:lnTo>
                  <a:lnTo>
                    <a:pt x="273989" y="12357"/>
                  </a:lnTo>
                  <a:lnTo>
                    <a:pt x="281165" y="58572"/>
                  </a:lnTo>
                  <a:lnTo>
                    <a:pt x="295719" y="101942"/>
                  </a:lnTo>
                  <a:lnTo>
                    <a:pt x="316992" y="141744"/>
                  </a:lnTo>
                  <a:lnTo>
                    <a:pt x="344284" y="177279"/>
                  </a:lnTo>
                  <a:lnTo>
                    <a:pt x="376923" y="207873"/>
                  </a:lnTo>
                  <a:lnTo>
                    <a:pt x="414248" y="232854"/>
                  </a:lnTo>
                  <a:lnTo>
                    <a:pt x="455549"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36" name="object 12">
              <a:extLst>
                <a:ext uri="{FF2B5EF4-FFF2-40B4-BE49-F238E27FC236}">
                  <a16:creationId xmlns:a16="http://schemas.microsoft.com/office/drawing/2014/main" id="{1CAA0DAD-94F4-4435-4E4C-D082B4F19406}"/>
                </a:ext>
              </a:extLst>
            </p:cNvPr>
            <p:cNvPicPr/>
            <p:nvPr/>
          </p:nvPicPr>
          <p:blipFill>
            <a:blip r:embed="rId7" cstate="print"/>
            <a:stretch>
              <a:fillRect/>
            </a:stretch>
          </p:blipFill>
          <p:spPr>
            <a:xfrm>
              <a:off x="10330217" y="6794307"/>
              <a:ext cx="260137" cy="63416"/>
            </a:xfrm>
            <a:prstGeom prst="rect">
              <a:avLst/>
            </a:prstGeom>
          </p:spPr>
        </p:pic>
        <p:sp>
          <p:nvSpPr>
            <p:cNvPr id="43" name="object 13">
              <a:extLst>
                <a:ext uri="{FF2B5EF4-FFF2-40B4-BE49-F238E27FC236}">
                  <a16:creationId xmlns:a16="http://schemas.microsoft.com/office/drawing/2014/main" id="{26C3C9D9-F0BE-5974-1E4A-2D0A93ECF36B}"/>
                </a:ext>
              </a:extLst>
            </p:cNvPr>
            <p:cNvSpPr/>
            <p:nvPr/>
          </p:nvSpPr>
          <p:spPr>
            <a:xfrm>
              <a:off x="10294123" y="5171198"/>
              <a:ext cx="332700" cy="477101"/>
            </a:xfrm>
            <a:custGeom>
              <a:avLst/>
              <a:gdLst/>
              <a:ahLst/>
              <a:cxnLst/>
              <a:rect l="l" t="t" r="r" b="b"/>
              <a:pathLst>
                <a:path w="548640" h="786765">
                  <a:moveTo>
                    <a:pt x="548081" y="786396"/>
                  </a:moveTo>
                  <a:lnTo>
                    <a:pt x="542632" y="738225"/>
                  </a:lnTo>
                  <a:lnTo>
                    <a:pt x="529234" y="692975"/>
                  </a:lnTo>
                  <a:lnTo>
                    <a:pt x="508622" y="651344"/>
                  </a:lnTo>
                  <a:lnTo>
                    <a:pt x="481520" y="614083"/>
                  </a:lnTo>
                  <a:lnTo>
                    <a:pt x="448691" y="581939"/>
                  </a:lnTo>
                  <a:lnTo>
                    <a:pt x="410832" y="555625"/>
                  </a:lnTo>
                  <a:lnTo>
                    <a:pt x="368706" y="535889"/>
                  </a:lnTo>
                  <a:lnTo>
                    <a:pt x="323037" y="523468"/>
                  </a:lnTo>
                  <a:lnTo>
                    <a:pt x="274561" y="519087"/>
                  </a:lnTo>
                  <a:lnTo>
                    <a:pt x="273329" y="519087"/>
                  </a:lnTo>
                  <a:lnTo>
                    <a:pt x="224993" y="523455"/>
                  </a:lnTo>
                  <a:lnTo>
                    <a:pt x="179438" y="535813"/>
                  </a:lnTo>
                  <a:lnTo>
                    <a:pt x="137401" y="555459"/>
                  </a:lnTo>
                  <a:lnTo>
                    <a:pt x="99618" y="581660"/>
                  </a:lnTo>
                  <a:lnTo>
                    <a:pt x="66814" y="613676"/>
                  </a:lnTo>
                  <a:lnTo>
                    <a:pt x="39725" y="650773"/>
                  </a:lnTo>
                  <a:lnTo>
                    <a:pt x="19075" y="692238"/>
                  </a:lnTo>
                  <a:lnTo>
                    <a:pt x="5613" y="737323"/>
                  </a:lnTo>
                  <a:lnTo>
                    <a:pt x="50" y="785317"/>
                  </a:lnTo>
                  <a:lnTo>
                    <a:pt x="47713" y="781278"/>
                  </a:lnTo>
                  <a:lnTo>
                    <a:pt x="92240" y="769620"/>
                  </a:lnTo>
                  <a:lnTo>
                    <a:pt x="133477" y="751027"/>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48" y="751941"/>
                  </a:lnTo>
                  <a:lnTo>
                    <a:pt x="455549" y="770623"/>
                  </a:lnTo>
                  <a:lnTo>
                    <a:pt x="500164" y="782332"/>
                  </a:lnTo>
                  <a:lnTo>
                    <a:pt x="548081" y="786396"/>
                  </a:lnTo>
                  <a:close/>
                </a:path>
                <a:path w="548640" h="786765">
                  <a:moveTo>
                    <a:pt x="548081" y="520865"/>
                  </a:moveTo>
                  <a:lnTo>
                    <a:pt x="542632" y="472706"/>
                  </a:lnTo>
                  <a:lnTo>
                    <a:pt x="529234" y="427443"/>
                  </a:lnTo>
                  <a:lnTo>
                    <a:pt x="508622" y="385813"/>
                  </a:lnTo>
                  <a:lnTo>
                    <a:pt x="481520" y="348551"/>
                  </a:lnTo>
                  <a:lnTo>
                    <a:pt x="448691" y="316407"/>
                  </a:lnTo>
                  <a:lnTo>
                    <a:pt x="410832" y="290093"/>
                  </a:lnTo>
                  <a:lnTo>
                    <a:pt x="368706" y="270357"/>
                  </a:lnTo>
                  <a:lnTo>
                    <a:pt x="323037" y="257937"/>
                  </a:lnTo>
                  <a:lnTo>
                    <a:pt x="274561" y="253568"/>
                  </a:lnTo>
                  <a:lnTo>
                    <a:pt x="273329" y="253568"/>
                  </a:lnTo>
                  <a:lnTo>
                    <a:pt x="224993" y="257924"/>
                  </a:lnTo>
                  <a:lnTo>
                    <a:pt x="179438" y="270281"/>
                  </a:lnTo>
                  <a:lnTo>
                    <a:pt x="137401" y="289928"/>
                  </a:lnTo>
                  <a:lnTo>
                    <a:pt x="99618" y="316128"/>
                  </a:lnTo>
                  <a:lnTo>
                    <a:pt x="66814" y="348132"/>
                  </a:lnTo>
                  <a:lnTo>
                    <a:pt x="39725" y="385241"/>
                  </a:lnTo>
                  <a:lnTo>
                    <a:pt x="19075" y="426694"/>
                  </a:lnTo>
                  <a:lnTo>
                    <a:pt x="5613" y="471792"/>
                  </a:lnTo>
                  <a:lnTo>
                    <a:pt x="50" y="519772"/>
                  </a:lnTo>
                  <a:lnTo>
                    <a:pt x="47713" y="515734"/>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48" y="486410"/>
                  </a:lnTo>
                  <a:lnTo>
                    <a:pt x="455549" y="505104"/>
                  </a:lnTo>
                  <a:lnTo>
                    <a:pt x="500164" y="516813"/>
                  </a:lnTo>
                  <a:lnTo>
                    <a:pt x="548081" y="520865"/>
                  </a:lnTo>
                  <a:close/>
                </a:path>
                <a:path w="548640" h="786765">
                  <a:moveTo>
                    <a:pt x="548093" y="267322"/>
                  </a:moveTo>
                  <a:lnTo>
                    <a:pt x="542645" y="219151"/>
                  </a:lnTo>
                  <a:lnTo>
                    <a:pt x="529247" y="173875"/>
                  </a:lnTo>
                  <a:lnTo>
                    <a:pt x="508635" y="132245"/>
                  </a:lnTo>
                  <a:lnTo>
                    <a:pt x="481533" y="94996"/>
                  </a:lnTo>
                  <a:lnTo>
                    <a:pt x="465277" y="79095"/>
                  </a:lnTo>
                  <a:lnTo>
                    <a:pt x="448691" y="62852"/>
                  </a:lnTo>
                  <a:lnTo>
                    <a:pt x="426351" y="47332"/>
                  </a:lnTo>
                  <a:lnTo>
                    <a:pt x="410845" y="36537"/>
                  </a:lnTo>
                  <a:lnTo>
                    <a:pt x="397395" y="30251"/>
                  </a:lnTo>
                  <a:lnTo>
                    <a:pt x="368706" y="16814"/>
                  </a:lnTo>
                  <a:lnTo>
                    <a:pt x="323037" y="4394"/>
                  </a:lnTo>
                  <a:lnTo>
                    <a:pt x="274561" y="12"/>
                  </a:lnTo>
                  <a:lnTo>
                    <a:pt x="273329" y="0"/>
                  </a:lnTo>
                  <a:lnTo>
                    <a:pt x="224993" y="4356"/>
                  </a:lnTo>
                  <a:lnTo>
                    <a:pt x="179438" y="16725"/>
                  </a:lnTo>
                  <a:lnTo>
                    <a:pt x="137401" y="36372"/>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77" y="231927"/>
                  </a:lnTo>
                  <a:lnTo>
                    <a:pt x="170738" y="207048"/>
                  </a:lnTo>
                  <a:lnTo>
                    <a:pt x="203365" y="176593"/>
                  </a:lnTo>
                  <a:lnTo>
                    <a:pt x="230682" y="141211"/>
                  </a:lnTo>
                  <a:lnTo>
                    <a:pt x="252006" y="101600"/>
                  </a:lnTo>
                  <a:lnTo>
                    <a:pt x="266674" y="58407"/>
                  </a:lnTo>
                  <a:lnTo>
                    <a:pt x="273989" y="12357"/>
                  </a:lnTo>
                  <a:lnTo>
                    <a:pt x="280047" y="51409"/>
                  </a:lnTo>
                  <a:lnTo>
                    <a:pt x="295719" y="101942"/>
                  </a:lnTo>
                  <a:lnTo>
                    <a:pt x="316992" y="141744"/>
                  </a:lnTo>
                  <a:lnTo>
                    <a:pt x="344284" y="177279"/>
                  </a:lnTo>
                  <a:lnTo>
                    <a:pt x="376923" y="207873"/>
                  </a:lnTo>
                  <a:lnTo>
                    <a:pt x="414248" y="232867"/>
                  </a:lnTo>
                  <a:lnTo>
                    <a:pt x="455549"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44" name="object 14">
              <a:extLst>
                <a:ext uri="{FF2B5EF4-FFF2-40B4-BE49-F238E27FC236}">
                  <a16:creationId xmlns:a16="http://schemas.microsoft.com/office/drawing/2014/main" id="{F80B0C10-74AD-3D48-FAAE-6DD3F3EDF68B}"/>
                </a:ext>
              </a:extLst>
            </p:cNvPr>
            <p:cNvPicPr/>
            <p:nvPr/>
          </p:nvPicPr>
          <p:blipFill>
            <a:blip r:embed="rId8" cstate="print"/>
            <a:stretch>
              <a:fillRect/>
            </a:stretch>
          </p:blipFill>
          <p:spPr>
            <a:xfrm>
              <a:off x="10407394" y="5626898"/>
              <a:ext cx="106445" cy="107156"/>
            </a:xfrm>
            <a:prstGeom prst="rect">
              <a:avLst/>
            </a:prstGeom>
          </p:spPr>
        </p:pic>
        <p:sp>
          <p:nvSpPr>
            <p:cNvPr id="45" name="object 15">
              <a:extLst>
                <a:ext uri="{FF2B5EF4-FFF2-40B4-BE49-F238E27FC236}">
                  <a16:creationId xmlns:a16="http://schemas.microsoft.com/office/drawing/2014/main" id="{7C361EF0-C489-05A2-AFD5-F5CB6A7918B6}"/>
                </a:ext>
              </a:extLst>
            </p:cNvPr>
            <p:cNvSpPr/>
            <p:nvPr/>
          </p:nvSpPr>
          <p:spPr>
            <a:xfrm>
              <a:off x="10294123" y="5825360"/>
              <a:ext cx="332700" cy="477101"/>
            </a:xfrm>
            <a:custGeom>
              <a:avLst/>
              <a:gdLst/>
              <a:ahLst/>
              <a:cxnLst/>
              <a:rect l="l" t="t" r="r" b="b"/>
              <a:pathLst>
                <a:path w="548640" h="786765">
                  <a:moveTo>
                    <a:pt x="548081" y="786396"/>
                  </a:moveTo>
                  <a:lnTo>
                    <a:pt x="542632" y="738238"/>
                  </a:lnTo>
                  <a:lnTo>
                    <a:pt x="529234" y="692975"/>
                  </a:lnTo>
                  <a:lnTo>
                    <a:pt x="508622" y="651344"/>
                  </a:lnTo>
                  <a:lnTo>
                    <a:pt x="481520" y="614095"/>
                  </a:lnTo>
                  <a:lnTo>
                    <a:pt x="448691" y="581939"/>
                  </a:lnTo>
                  <a:lnTo>
                    <a:pt x="410832" y="555637"/>
                  </a:lnTo>
                  <a:lnTo>
                    <a:pt x="368706" y="535901"/>
                  </a:lnTo>
                  <a:lnTo>
                    <a:pt x="323037" y="523481"/>
                  </a:lnTo>
                  <a:lnTo>
                    <a:pt x="274561" y="519099"/>
                  </a:lnTo>
                  <a:lnTo>
                    <a:pt x="273329" y="519099"/>
                  </a:lnTo>
                  <a:lnTo>
                    <a:pt x="224993" y="523455"/>
                  </a:lnTo>
                  <a:lnTo>
                    <a:pt x="179438" y="535825"/>
                  </a:lnTo>
                  <a:lnTo>
                    <a:pt x="137401" y="555472"/>
                  </a:lnTo>
                  <a:lnTo>
                    <a:pt x="99618" y="581660"/>
                  </a:lnTo>
                  <a:lnTo>
                    <a:pt x="66814" y="613676"/>
                  </a:lnTo>
                  <a:lnTo>
                    <a:pt x="39725" y="650773"/>
                  </a:lnTo>
                  <a:lnTo>
                    <a:pt x="19075" y="692238"/>
                  </a:lnTo>
                  <a:lnTo>
                    <a:pt x="5613" y="737323"/>
                  </a:lnTo>
                  <a:lnTo>
                    <a:pt x="50" y="785304"/>
                  </a:lnTo>
                  <a:lnTo>
                    <a:pt x="47713" y="781278"/>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48"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91" y="316407"/>
                  </a:lnTo>
                  <a:lnTo>
                    <a:pt x="410832" y="290093"/>
                  </a:lnTo>
                  <a:lnTo>
                    <a:pt x="368706" y="270370"/>
                  </a:lnTo>
                  <a:lnTo>
                    <a:pt x="323037" y="257937"/>
                  </a:lnTo>
                  <a:lnTo>
                    <a:pt x="274561" y="253555"/>
                  </a:lnTo>
                  <a:lnTo>
                    <a:pt x="273329" y="253555"/>
                  </a:lnTo>
                  <a:lnTo>
                    <a:pt x="224993" y="257924"/>
                  </a:lnTo>
                  <a:lnTo>
                    <a:pt x="179438" y="270294"/>
                  </a:lnTo>
                  <a:lnTo>
                    <a:pt x="137401" y="289928"/>
                  </a:lnTo>
                  <a:lnTo>
                    <a:pt x="99618" y="316128"/>
                  </a:lnTo>
                  <a:lnTo>
                    <a:pt x="66814" y="348145"/>
                  </a:lnTo>
                  <a:lnTo>
                    <a:pt x="39725" y="385241"/>
                  </a:lnTo>
                  <a:lnTo>
                    <a:pt x="19075" y="426694"/>
                  </a:lnTo>
                  <a:lnTo>
                    <a:pt x="5613" y="471792"/>
                  </a:lnTo>
                  <a:lnTo>
                    <a:pt x="50" y="519772"/>
                  </a:lnTo>
                  <a:lnTo>
                    <a:pt x="47713" y="515734"/>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48" y="486410"/>
                  </a:lnTo>
                  <a:lnTo>
                    <a:pt x="455549" y="505104"/>
                  </a:lnTo>
                  <a:lnTo>
                    <a:pt x="500164" y="516813"/>
                  </a:lnTo>
                  <a:lnTo>
                    <a:pt x="548081" y="520865"/>
                  </a:lnTo>
                  <a:close/>
                </a:path>
                <a:path w="548640" h="786765">
                  <a:moveTo>
                    <a:pt x="548093" y="267322"/>
                  </a:moveTo>
                  <a:lnTo>
                    <a:pt x="542645" y="219151"/>
                  </a:lnTo>
                  <a:lnTo>
                    <a:pt x="529247" y="173888"/>
                  </a:lnTo>
                  <a:lnTo>
                    <a:pt x="508635" y="132257"/>
                  </a:lnTo>
                  <a:lnTo>
                    <a:pt x="481533" y="94996"/>
                  </a:lnTo>
                  <a:lnTo>
                    <a:pt x="448691" y="62852"/>
                  </a:lnTo>
                  <a:lnTo>
                    <a:pt x="410845" y="36550"/>
                  </a:lnTo>
                  <a:lnTo>
                    <a:pt x="368706" y="16814"/>
                  </a:lnTo>
                  <a:lnTo>
                    <a:pt x="323037" y="4394"/>
                  </a:lnTo>
                  <a:lnTo>
                    <a:pt x="274561" y="0"/>
                  </a:lnTo>
                  <a:lnTo>
                    <a:pt x="273329" y="0"/>
                  </a:lnTo>
                  <a:lnTo>
                    <a:pt x="224993" y="4356"/>
                  </a:lnTo>
                  <a:lnTo>
                    <a:pt x="179438" y="16725"/>
                  </a:lnTo>
                  <a:lnTo>
                    <a:pt x="137401" y="36372"/>
                  </a:lnTo>
                  <a:lnTo>
                    <a:pt x="99618" y="62572"/>
                  </a:lnTo>
                  <a:lnTo>
                    <a:pt x="98780" y="63385"/>
                  </a:lnTo>
                  <a:lnTo>
                    <a:pt x="66814" y="94576"/>
                  </a:lnTo>
                  <a:lnTo>
                    <a:pt x="39700" y="131686"/>
                  </a:lnTo>
                  <a:lnTo>
                    <a:pt x="19037" y="173139"/>
                  </a:lnTo>
                  <a:lnTo>
                    <a:pt x="5562" y="218224"/>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3989" y="12369"/>
                  </a:lnTo>
                  <a:lnTo>
                    <a:pt x="281165" y="58585"/>
                  </a:lnTo>
                  <a:lnTo>
                    <a:pt x="295719" y="101955"/>
                  </a:lnTo>
                  <a:lnTo>
                    <a:pt x="316992" y="141744"/>
                  </a:lnTo>
                  <a:lnTo>
                    <a:pt x="344284" y="177279"/>
                  </a:lnTo>
                  <a:lnTo>
                    <a:pt x="376936" y="207886"/>
                  </a:lnTo>
                  <a:lnTo>
                    <a:pt x="414248" y="232867"/>
                  </a:lnTo>
                  <a:lnTo>
                    <a:pt x="455549"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46" name="object 16">
              <a:extLst>
                <a:ext uri="{FF2B5EF4-FFF2-40B4-BE49-F238E27FC236}">
                  <a16:creationId xmlns:a16="http://schemas.microsoft.com/office/drawing/2014/main" id="{BC061557-27F7-1C5A-6F91-AAD334B6F9ED}"/>
                </a:ext>
              </a:extLst>
            </p:cNvPr>
            <p:cNvPicPr/>
            <p:nvPr/>
          </p:nvPicPr>
          <p:blipFill>
            <a:blip r:embed="rId9" cstate="print"/>
            <a:stretch>
              <a:fillRect/>
            </a:stretch>
          </p:blipFill>
          <p:spPr>
            <a:xfrm>
              <a:off x="10407394" y="6281064"/>
              <a:ext cx="106445" cy="107156"/>
            </a:xfrm>
            <a:prstGeom prst="rect">
              <a:avLst/>
            </a:prstGeom>
          </p:spPr>
        </p:pic>
        <p:sp>
          <p:nvSpPr>
            <p:cNvPr id="47" name="object 17">
              <a:extLst>
                <a:ext uri="{FF2B5EF4-FFF2-40B4-BE49-F238E27FC236}">
                  <a16:creationId xmlns:a16="http://schemas.microsoft.com/office/drawing/2014/main" id="{F321619D-0692-37BA-C3C0-7936B603F15E}"/>
                </a:ext>
              </a:extLst>
            </p:cNvPr>
            <p:cNvSpPr/>
            <p:nvPr/>
          </p:nvSpPr>
          <p:spPr>
            <a:xfrm>
              <a:off x="11449331" y="6037749"/>
              <a:ext cx="332700" cy="477101"/>
            </a:xfrm>
            <a:custGeom>
              <a:avLst/>
              <a:gdLst/>
              <a:ahLst/>
              <a:cxnLst/>
              <a:rect l="l" t="t" r="r" b="b"/>
              <a:pathLst>
                <a:path w="548640" h="786765">
                  <a:moveTo>
                    <a:pt x="548055" y="266611"/>
                  </a:moveTo>
                  <a:lnTo>
                    <a:pt x="500380" y="270649"/>
                  </a:lnTo>
                  <a:lnTo>
                    <a:pt x="455853" y="282308"/>
                  </a:lnTo>
                  <a:lnTo>
                    <a:pt x="414616" y="300901"/>
                  </a:lnTo>
                  <a:lnTo>
                    <a:pt x="377355" y="325780"/>
                  </a:lnTo>
                  <a:lnTo>
                    <a:pt x="344728" y="356235"/>
                  </a:lnTo>
                  <a:lnTo>
                    <a:pt x="317423" y="391629"/>
                  </a:lnTo>
                  <a:lnTo>
                    <a:pt x="296100" y="431253"/>
                  </a:lnTo>
                  <a:lnTo>
                    <a:pt x="281432" y="474446"/>
                  </a:lnTo>
                  <a:lnTo>
                    <a:pt x="274104" y="520534"/>
                  </a:lnTo>
                  <a:lnTo>
                    <a:pt x="266928" y="474256"/>
                  </a:lnTo>
                  <a:lnTo>
                    <a:pt x="252374" y="430885"/>
                  </a:lnTo>
                  <a:lnTo>
                    <a:pt x="231101" y="391096"/>
                  </a:lnTo>
                  <a:lnTo>
                    <a:pt x="203809" y="355561"/>
                  </a:lnTo>
                  <a:lnTo>
                    <a:pt x="171170" y="324954"/>
                  </a:lnTo>
                  <a:lnTo>
                    <a:pt x="133858" y="299986"/>
                  </a:lnTo>
                  <a:lnTo>
                    <a:pt x="92544" y="281292"/>
                  </a:lnTo>
                  <a:lnTo>
                    <a:pt x="47929" y="269582"/>
                  </a:lnTo>
                  <a:lnTo>
                    <a:pt x="12" y="265531"/>
                  </a:lnTo>
                  <a:lnTo>
                    <a:pt x="5461" y="313690"/>
                  </a:lnTo>
                  <a:lnTo>
                    <a:pt x="18859" y="358952"/>
                  </a:lnTo>
                  <a:lnTo>
                    <a:pt x="39471" y="400583"/>
                  </a:lnTo>
                  <a:lnTo>
                    <a:pt x="66573" y="437832"/>
                  </a:lnTo>
                  <a:lnTo>
                    <a:pt x="99415" y="469988"/>
                  </a:lnTo>
                  <a:lnTo>
                    <a:pt x="137261" y="496303"/>
                  </a:lnTo>
                  <a:lnTo>
                    <a:pt x="179387" y="516026"/>
                  </a:lnTo>
                  <a:lnTo>
                    <a:pt x="225056" y="528459"/>
                  </a:lnTo>
                  <a:lnTo>
                    <a:pt x="273532" y="532841"/>
                  </a:lnTo>
                  <a:lnTo>
                    <a:pt x="274764" y="532841"/>
                  </a:lnTo>
                  <a:lnTo>
                    <a:pt x="323100" y="528472"/>
                  </a:lnTo>
                  <a:lnTo>
                    <a:pt x="368655" y="516102"/>
                  </a:lnTo>
                  <a:lnTo>
                    <a:pt x="410692" y="496468"/>
                  </a:lnTo>
                  <a:lnTo>
                    <a:pt x="448475" y="470268"/>
                  </a:lnTo>
                  <a:lnTo>
                    <a:pt x="481279" y="438251"/>
                  </a:lnTo>
                  <a:lnTo>
                    <a:pt x="508368" y="401154"/>
                  </a:lnTo>
                  <a:lnTo>
                    <a:pt x="529018" y="359689"/>
                  </a:lnTo>
                  <a:lnTo>
                    <a:pt x="542480" y="314604"/>
                  </a:lnTo>
                  <a:lnTo>
                    <a:pt x="548055" y="266611"/>
                  </a:lnTo>
                  <a:close/>
                </a:path>
                <a:path w="548640" h="786765">
                  <a:moveTo>
                    <a:pt x="548055" y="1092"/>
                  </a:moveTo>
                  <a:lnTo>
                    <a:pt x="500380" y="5130"/>
                  </a:lnTo>
                  <a:lnTo>
                    <a:pt x="455853" y="16789"/>
                  </a:lnTo>
                  <a:lnTo>
                    <a:pt x="414616" y="35382"/>
                  </a:lnTo>
                  <a:lnTo>
                    <a:pt x="377355" y="60248"/>
                  </a:lnTo>
                  <a:lnTo>
                    <a:pt x="344728" y="90716"/>
                  </a:lnTo>
                  <a:lnTo>
                    <a:pt x="317423" y="126098"/>
                  </a:lnTo>
                  <a:lnTo>
                    <a:pt x="296100" y="165722"/>
                  </a:lnTo>
                  <a:lnTo>
                    <a:pt x="281432" y="208915"/>
                  </a:lnTo>
                  <a:lnTo>
                    <a:pt x="274104" y="255003"/>
                  </a:lnTo>
                  <a:lnTo>
                    <a:pt x="266928" y="208724"/>
                  </a:lnTo>
                  <a:lnTo>
                    <a:pt x="252374" y="165354"/>
                  </a:lnTo>
                  <a:lnTo>
                    <a:pt x="231101" y="125564"/>
                  </a:lnTo>
                  <a:lnTo>
                    <a:pt x="203809" y="90030"/>
                  </a:lnTo>
                  <a:lnTo>
                    <a:pt x="171170" y="59436"/>
                  </a:lnTo>
                  <a:lnTo>
                    <a:pt x="133858" y="34455"/>
                  </a:lnTo>
                  <a:lnTo>
                    <a:pt x="92544" y="15773"/>
                  </a:lnTo>
                  <a:lnTo>
                    <a:pt x="47929" y="4064"/>
                  </a:lnTo>
                  <a:lnTo>
                    <a:pt x="12" y="0"/>
                  </a:lnTo>
                  <a:lnTo>
                    <a:pt x="5461" y="48171"/>
                  </a:lnTo>
                  <a:lnTo>
                    <a:pt x="18859" y="93433"/>
                  </a:lnTo>
                  <a:lnTo>
                    <a:pt x="39471" y="135051"/>
                  </a:lnTo>
                  <a:lnTo>
                    <a:pt x="66573" y="172313"/>
                  </a:lnTo>
                  <a:lnTo>
                    <a:pt x="99415" y="204457"/>
                  </a:lnTo>
                  <a:lnTo>
                    <a:pt x="137261" y="230771"/>
                  </a:lnTo>
                  <a:lnTo>
                    <a:pt x="179387" y="250507"/>
                  </a:lnTo>
                  <a:lnTo>
                    <a:pt x="225056" y="262928"/>
                  </a:lnTo>
                  <a:lnTo>
                    <a:pt x="273532" y="267309"/>
                  </a:lnTo>
                  <a:lnTo>
                    <a:pt x="274764" y="267309"/>
                  </a:lnTo>
                  <a:lnTo>
                    <a:pt x="323100" y="262953"/>
                  </a:lnTo>
                  <a:lnTo>
                    <a:pt x="368655" y="250583"/>
                  </a:lnTo>
                  <a:lnTo>
                    <a:pt x="410692" y="230936"/>
                  </a:lnTo>
                  <a:lnTo>
                    <a:pt x="448475" y="204749"/>
                  </a:lnTo>
                  <a:lnTo>
                    <a:pt x="481279" y="172732"/>
                  </a:lnTo>
                  <a:lnTo>
                    <a:pt x="508368" y="135623"/>
                  </a:lnTo>
                  <a:lnTo>
                    <a:pt x="529018" y="94170"/>
                  </a:lnTo>
                  <a:lnTo>
                    <a:pt x="542480" y="49085"/>
                  </a:lnTo>
                  <a:lnTo>
                    <a:pt x="548055" y="1092"/>
                  </a:lnTo>
                  <a:close/>
                </a:path>
                <a:path w="548640" h="786765">
                  <a:moveTo>
                    <a:pt x="548093" y="520204"/>
                  </a:moveTo>
                  <a:lnTo>
                    <a:pt x="500380" y="524217"/>
                  </a:lnTo>
                  <a:lnTo>
                    <a:pt x="455853" y="535876"/>
                  </a:lnTo>
                  <a:lnTo>
                    <a:pt x="414616" y="554469"/>
                  </a:lnTo>
                  <a:lnTo>
                    <a:pt x="377355" y="579348"/>
                  </a:lnTo>
                  <a:lnTo>
                    <a:pt x="344728" y="609803"/>
                  </a:lnTo>
                  <a:lnTo>
                    <a:pt x="317411" y="645172"/>
                  </a:lnTo>
                  <a:lnTo>
                    <a:pt x="296087" y="684796"/>
                  </a:lnTo>
                  <a:lnTo>
                    <a:pt x="281419" y="727989"/>
                  </a:lnTo>
                  <a:lnTo>
                    <a:pt x="274091" y="774039"/>
                  </a:lnTo>
                  <a:lnTo>
                    <a:pt x="266928" y="727824"/>
                  </a:lnTo>
                  <a:lnTo>
                    <a:pt x="252374" y="684453"/>
                  </a:lnTo>
                  <a:lnTo>
                    <a:pt x="231101" y="644652"/>
                  </a:lnTo>
                  <a:lnTo>
                    <a:pt x="203809" y="609117"/>
                  </a:lnTo>
                  <a:lnTo>
                    <a:pt x="171170" y="578523"/>
                  </a:lnTo>
                  <a:lnTo>
                    <a:pt x="133858" y="553542"/>
                  </a:lnTo>
                  <a:lnTo>
                    <a:pt x="92532" y="534835"/>
                  </a:lnTo>
                  <a:lnTo>
                    <a:pt x="47917" y="523125"/>
                  </a:lnTo>
                  <a:lnTo>
                    <a:pt x="0" y="519074"/>
                  </a:lnTo>
                  <a:lnTo>
                    <a:pt x="5448" y="567245"/>
                  </a:lnTo>
                  <a:lnTo>
                    <a:pt x="18846" y="612508"/>
                  </a:lnTo>
                  <a:lnTo>
                    <a:pt x="39458" y="654138"/>
                  </a:lnTo>
                  <a:lnTo>
                    <a:pt x="66560" y="691400"/>
                  </a:lnTo>
                  <a:lnTo>
                    <a:pt x="99402" y="723544"/>
                  </a:lnTo>
                  <a:lnTo>
                    <a:pt x="125717" y="741832"/>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2DB7EA"/>
            </a:solidFill>
          </p:spPr>
          <p:txBody>
            <a:bodyPr wrap="square" lIns="0" tIns="0" rIns="0" bIns="0" rtlCol="0"/>
            <a:lstStyle/>
            <a:p>
              <a:endParaRPr dirty="0"/>
            </a:p>
          </p:txBody>
        </p:sp>
        <p:pic>
          <p:nvPicPr>
            <p:cNvPr id="48" name="object 18">
              <a:extLst>
                <a:ext uri="{FF2B5EF4-FFF2-40B4-BE49-F238E27FC236}">
                  <a16:creationId xmlns:a16="http://schemas.microsoft.com/office/drawing/2014/main" id="{A2EB85AB-851E-386F-371D-305245C58A74}"/>
                </a:ext>
              </a:extLst>
            </p:cNvPr>
            <p:cNvPicPr/>
            <p:nvPr/>
          </p:nvPicPr>
          <p:blipFill>
            <a:blip r:embed="rId10" cstate="print"/>
            <a:stretch>
              <a:fillRect/>
            </a:stretch>
          </p:blipFill>
          <p:spPr>
            <a:xfrm>
              <a:off x="11561989" y="5951762"/>
              <a:ext cx="106445" cy="107156"/>
            </a:xfrm>
            <a:prstGeom prst="rect">
              <a:avLst/>
            </a:prstGeom>
          </p:spPr>
        </p:pic>
        <p:sp>
          <p:nvSpPr>
            <p:cNvPr id="49" name="object 19">
              <a:extLst>
                <a:ext uri="{FF2B5EF4-FFF2-40B4-BE49-F238E27FC236}">
                  <a16:creationId xmlns:a16="http://schemas.microsoft.com/office/drawing/2014/main" id="{6A065237-ECF6-4338-F0A7-5BE9DF4EA193}"/>
                </a:ext>
              </a:extLst>
            </p:cNvPr>
            <p:cNvSpPr/>
            <p:nvPr/>
          </p:nvSpPr>
          <p:spPr>
            <a:xfrm>
              <a:off x="11449331" y="5383587"/>
              <a:ext cx="332700" cy="477101"/>
            </a:xfrm>
            <a:custGeom>
              <a:avLst/>
              <a:gdLst/>
              <a:ahLst/>
              <a:cxnLst/>
              <a:rect l="l" t="t" r="r" b="b"/>
              <a:pathLst>
                <a:path w="548640" h="786765">
                  <a:moveTo>
                    <a:pt x="548055" y="266623"/>
                  </a:moveTo>
                  <a:lnTo>
                    <a:pt x="500380" y="270649"/>
                  </a:lnTo>
                  <a:lnTo>
                    <a:pt x="455853" y="282308"/>
                  </a:lnTo>
                  <a:lnTo>
                    <a:pt x="414616" y="300913"/>
                  </a:lnTo>
                  <a:lnTo>
                    <a:pt x="377355" y="325780"/>
                  </a:lnTo>
                  <a:lnTo>
                    <a:pt x="344728" y="356235"/>
                  </a:lnTo>
                  <a:lnTo>
                    <a:pt x="317423" y="391617"/>
                  </a:lnTo>
                  <a:lnTo>
                    <a:pt x="296100" y="431241"/>
                  </a:lnTo>
                  <a:lnTo>
                    <a:pt x="281432" y="474446"/>
                  </a:lnTo>
                  <a:lnTo>
                    <a:pt x="274104" y="520522"/>
                  </a:lnTo>
                  <a:lnTo>
                    <a:pt x="266928" y="474256"/>
                  </a:lnTo>
                  <a:lnTo>
                    <a:pt x="252374" y="430885"/>
                  </a:lnTo>
                  <a:lnTo>
                    <a:pt x="231101" y="391083"/>
                  </a:lnTo>
                  <a:lnTo>
                    <a:pt x="203809" y="355549"/>
                  </a:lnTo>
                  <a:lnTo>
                    <a:pt x="171170" y="324954"/>
                  </a:lnTo>
                  <a:lnTo>
                    <a:pt x="133858" y="299974"/>
                  </a:lnTo>
                  <a:lnTo>
                    <a:pt x="92544" y="281292"/>
                  </a:lnTo>
                  <a:lnTo>
                    <a:pt x="47929" y="269582"/>
                  </a:lnTo>
                  <a:lnTo>
                    <a:pt x="12" y="265531"/>
                  </a:lnTo>
                  <a:lnTo>
                    <a:pt x="5461" y="313690"/>
                  </a:lnTo>
                  <a:lnTo>
                    <a:pt x="18859" y="358952"/>
                  </a:lnTo>
                  <a:lnTo>
                    <a:pt x="39471" y="400583"/>
                  </a:lnTo>
                  <a:lnTo>
                    <a:pt x="66573" y="437832"/>
                  </a:lnTo>
                  <a:lnTo>
                    <a:pt x="99415" y="469976"/>
                  </a:lnTo>
                  <a:lnTo>
                    <a:pt x="137261" y="496290"/>
                  </a:lnTo>
                  <a:lnTo>
                    <a:pt x="179387" y="516026"/>
                  </a:lnTo>
                  <a:lnTo>
                    <a:pt x="225056" y="528447"/>
                  </a:lnTo>
                  <a:lnTo>
                    <a:pt x="273532" y="532828"/>
                  </a:lnTo>
                  <a:lnTo>
                    <a:pt x="274764" y="532828"/>
                  </a:lnTo>
                  <a:lnTo>
                    <a:pt x="323100" y="528472"/>
                  </a:lnTo>
                  <a:lnTo>
                    <a:pt x="368655" y="516102"/>
                  </a:lnTo>
                  <a:lnTo>
                    <a:pt x="410692" y="496455"/>
                  </a:lnTo>
                  <a:lnTo>
                    <a:pt x="448475" y="470268"/>
                  </a:lnTo>
                  <a:lnTo>
                    <a:pt x="481279" y="438251"/>
                  </a:lnTo>
                  <a:lnTo>
                    <a:pt x="508368" y="401154"/>
                  </a:lnTo>
                  <a:lnTo>
                    <a:pt x="529018" y="359689"/>
                  </a:lnTo>
                  <a:lnTo>
                    <a:pt x="542480" y="314604"/>
                  </a:lnTo>
                  <a:lnTo>
                    <a:pt x="548055" y="266623"/>
                  </a:lnTo>
                  <a:close/>
                </a:path>
                <a:path w="548640" h="786765">
                  <a:moveTo>
                    <a:pt x="548055" y="1079"/>
                  </a:moveTo>
                  <a:lnTo>
                    <a:pt x="500380" y="5118"/>
                  </a:lnTo>
                  <a:lnTo>
                    <a:pt x="455853" y="16764"/>
                  </a:lnTo>
                  <a:lnTo>
                    <a:pt x="414616" y="35369"/>
                  </a:lnTo>
                  <a:lnTo>
                    <a:pt x="377355" y="60236"/>
                  </a:lnTo>
                  <a:lnTo>
                    <a:pt x="344728" y="90703"/>
                  </a:lnTo>
                  <a:lnTo>
                    <a:pt x="317423" y="126085"/>
                  </a:lnTo>
                  <a:lnTo>
                    <a:pt x="296100" y="165722"/>
                  </a:lnTo>
                  <a:lnTo>
                    <a:pt x="281432" y="208915"/>
                  </a:lnTo>
                  <a:lnTo>
                    <a:pt x="274104" y="255003"/>
                  </a:lnTo>
                  <a:lnTo>
                    <a:pt x="266928" y="208724"/>
                  </a:lnTo>
                  <a:lnTo>
                    <a:pt x="252374" y="165354"/>
                  </a:lnTo>
                  <a:lnTo>
                    <a:pt x="231101" y="125564"/>
                  </a:lnTo>
                  <a:lnTo>
                    <a:pt x="203809" y="90030"/>
                  </a:lnTo>
                  <a:lnTo>
                    <a:pt x="171170" y="59423"/>
                  </a:lnTo>
                  <a:lnTo>
                    <a:pt x="133858" y="34442"/>
                  </a:lnTo>
                  <a:lnTo>
                    <a:pt x="92544" y="15760"/>
                  </a:lnTo>
                  <a:lnTo>
                    <a:pt x="47929" y="4051"/>
                  </a:lnTo>
                  <a:lnTo>
                    <a:pt x="12" y="0"/>
                  </a:lnTo>
                  <a:lnTo>
                    <a:pt x="5461" y="48158"/>
                  </a:lnTo>
                  <a:lnTo>
                    <a:pt x="18859" y="93421"/>
                  </a:lnTo>
                  <a:lnTo>
                    <a:pt x="39471" y="135051"/>
                  </a:lnTo>
                  <a:lnTo>
                    <a:pt x="66573" y="172300"/>
                  </a:lnTo>
                  <a:lnTo>
                    <a:pt x="99415" y="204457"/>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36"/>
                  </a:lnTo>
                  <a:lnTo>
                    <a:pt x="481279" y="172720"/>
                  </a:lnTo>
                  <a:lnTo>
                    <a:pt x="508368" y="135623"/>
                  </a:lnTo>
                  <a:lnTo>
                    <a:pt x="529018" y="94157"/>
                  </a:lnTo>
                  <a:lnTo>
                    <a:pt x="542480" y="49072"/>
                  </a:lnTo>
                  <a:lnTo>
                    <a:pt x="548055" y="1079"/>
                  </a:lnTo>
                  <a:close/>
                </a:path>
                <a:path w="548640" h="786765">
                  <a:moveTo>
                    <a:pt x="548093" y="520192"/>
                  </a:moveTo>
                  <a:lnTo>
                    <a:pt x="500380" y="524217"/>
                  </a:lnTo>
                  <a:lnTo>
                    <a:pt x="455853" y="535876"/>
                  </a:lnTo>
                  <a:lnTo>
                    <a:pt x="414616" y="554469"/>
                  </a:lnTo>
                  <a:lnTo>
                    <a:pt x="377355" y="579335"/>
                  </a:lnTo>
                  <a:lnTo>
                    <a:pt x="344728" y="609790"/>
                  </a:lnTo>
                  <a:lnTo>
                    <a:pt x="317411" y="645172"/>
                  </a:lnTo>
                  <a:lnTo>
                    <a:pt x="296087" y="684796"/>
                  </a:lnTo>
                  <a:lnTo>
                    <a:pt x="281419" y="727976"/>
                  </a:lnTo>
                  <a:lnTo>
                    <a:pt x="274091" y="774039"/>
                  </a:lnTo>
                  <a:lnTo>
                    <a:pt x="266928" y="727811"/>
                  </a:lnTo>
                  <a:lnTo>
                    <a:pt x="252374" y="684441"/>
                  </a:lnTo>
                  <a:lnTo>
                    <a:pt x="231101" y="644652"/>
                  </a:lnTo>
                  <a:lnTo>
                    <a:pt x="203809" y="609117"/>
                  </a:lnTo>
                  <a:lnTo>
                    <a:pt x="171170" y="578523"/>
                  </a:lnTo>
                  <a:lnTo>
                    <a:pt x="133858" y="553542"/>
                  </a:lnTo>
                  <a:lnTo>
                    <a:pt x="92544" y="534847"/>
                  </a:lnTo>
                  <a:lnTo>
                    <a:pt x="47917" y="523125"/>
                  </a:lnTo>
                  <a:lnTo>
                    <a:pt x="0" y="519061"/>
                  </a:lnTo>
                  <a:lnTo>
                    <a:pt x="5448" y="567245"/>
                  </a:lnTo>
                  <a:lnTo>
                    <a:pt x="18846" y="612508"/>
                  </a:lnTo>
                  <a:lnTo>
                    <a:pt x="39458" y="654138"/>
                  </a:lnTo>
                  <a:lnTo>
                    <a:pt x="66560" y="691388"/>
                  </a:lnTo>
                  <a:lnTo>
                    <a:pt x="67259" y="692073"/>
                  </a:lnTo>
                  <a:lnTo>
                    <a:pt x="99402" y="723544"/>
                  </a:lnTo>
                  <a:lnTo>
                    <a:pt x="125717" y="741832"/>
                  </a:lnTo>
                  <a:lnTo>
                    <a:pt x="137261" y="749858"/>
                  </a:lnTo>
                  <a:lnTo>
                    <a:pt x="179387" y="769594"/>
                  </a:lnTo>
                  <a:lnTo>
                    <a:pt x="225056" y="782015"/>
                  </a:lnTo>
                  <a:lnTo>
                    <a:pt x="273532" y="786396"/>
                  </a:lnTo>
                  <a:lnTo>
                    <a:pt x="274764" y="786396"/>
                  </a:lnTo>
                  <a:lnTo>
                    <a:pt x="323100" y="782027"/>
                  </a:lnTo>
                  <a:lnTo>
                    <a:pt x="368655" y="769670"/>
                  </a:lnTo>
                  <a:lnTo>
                    <a:pt x="410692" y="750023"/>
                  </a:lnTo>
                  <a:lnTo>
                    <a:pt x="448475" y="723823"/>
                  </a:lnTo>
                  <a:lnTo>
                    <a:pt x="481279" y="691819"/>
                  </a:lnTo>
                  <a:lnTo>
                    <a:pt x="508393" y="654697"/>
                  </a:lnTo>
                  <a:lnTo>
                    <a:pt x="529043" y="613244"/>
                  </a:lnTo>
                  <a:lnTo>
                    <a:pt x="542531" y="568172"/>
                  </a:lnTo>
                  <a:lnTo>
                    <a:pt x="548093" y="520192"/>
                  </a:lnTo>
                  <a:close/>
                </a:path>
              </a:pathLst>
            </a:custGeom>
            <a:solidFill>
              <a:srgbClr val="7ED3F1"/>
            </a:solidFill>
          </p:spPr>
          <p:txBody>
            <a:bodyPr wrap="square" lIns="0" tIns="0" rIns="0" bIns="0" rtlCol="0"/>
            <a:lstStyle/>
            <a:p>
              <a:endParaRPr dirty="0"/>
            </a:p>
          </p:txBody>
        </p:sp>
        <p:pic>
          <p:nvPicPr>
            <p:cNvPr id="50" name="object 20">
              <a:extLst>
                <a:ext uri="{FF2B5EF4-FFF2-40B4-BE49-F238E27FC236}">
                  <a16:creationId xmlns:a16="http://schemas.microsoft.com/office/drawing/2014/main" id="{8533895A-B6A4-E6BC-FB03-C55DADE4575A}"/>
                </a:ext>
              </a:extLst>
            </p:cNvPr>
            <p:cNvPicPr/>
            <p:nvPr/>
          </p:nvPicPr>
          <p:blipFill>
            <a:blip r:embed="rId11" cstate="print"/>
            <a:stretch>
              <a:fillRect/>
            </a:stretch>
          </p:blipFill>
          <p:spPr>
            <a:xfrm>
              <a:off x="11561989" y="5297596"/>
              <a:ext cx="106445" cy="107156"/>
            </a:xfrm>
            <a:prstGeom prst="rect">
              <a:avLst/>
            </a:prstGeom>
          </p:spPr>
        </p:pic>
        <p:sp>
          <p:nvSpPr>
            <p:cNvPr id="51" name="object 21">
              <a:extLst>
                <a:ext uri="{FF2B5EF4-FFF2-40B4-BE49-F238E27FC236}">
                  <a16:creationId xmlns:a16="http://schemas.microsoft.com/office/drawing/2014/main" id="{9088F55A-F73E-9E1A-A32E-0D8CC5CBCA40}"/>
                </a:ext>
              </a:extLst>
            </p:cNvPr>
            <p:cNvSpPr/>
            <p:nvPr/>
          </p:nvSpPr>
          <p:spPr>
            <a:xfrm>
              <a:off x="11449339" y="6691912"/>
              <a:ext cx="332700" cy="165965"/>
            </a:xfrm>
            <a:custGeom>
              <a:avLst/>
              <a:gdLst/>
              <a:ahLst/>
              <a:cxnLst/>
              <a:rect l="l" t="t" r="r" b="b"/>
              <a:pathLst>
                <a:path w="548640" h="273684">
                  <a:moveTo>
                    <a:pt x="62560" y="273431"/>
                  </a:moveTo>
                  <a:lnTo>
                    <a:pt x="47917" y="269595"/>
                  </a:lnTo>
                  <a:lnTo>
                    <a:pt x="0" y="265544"/>
                  </a:lnTo>
                  <a:lnTo>
                    <a:pt x="889" y="273431"/>
                  </a:lnTo>
                  <a:lnTo>
                    <a:pt x="62560" y="273431"/>
                  </a:lnTo>
                  <a:close/>
                </a:path>
                <a:path w="548640" h="273684">
                  <a:moveTo>
                    <a:pt x="548030" y="266623"/>
                  </a:moveTo>
                  <a:lnTo>
                    <a:pt x="500367" y="270649"/>
                  </a:lnTo>
                  <a:lnTo>
                    <a:pt x="489724" y="273431"/>
                  </a:lnTo>
                  <a:lnTo>
                    <a:pt x="547243" y="273431"/>
                  </a:lnTo>
                  <a:lnTo>
                    <a:pt x="548030" y="266623"/>
                  </a:lnTo>
                  <a:close/>
                </a:path>
                <a:path w="548640" h="273684">
                  <a:moveTo>
                    <a:pt x="548043" y="1079"/>
                  </a:moveTo>
                  <a:lnTo>
                    <a:pt x="500367" y="5118"/>
                  </a:lnTo>
                  <a:lnTo>
                    <a:pt x="455841" y="16776"/>
                  </a:lnTo>
                  <a:lnTo>
                    <a:pt x="414604" y="35382"/>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21"/>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57"/>
                  </a:lnTo>
                  <a:lnTo>
                    <a:pt x="542467" y="49072"/>
                  </a:lnTo>
                  <a:lnTo>
                    <a:pt x="548043" y="1079"/>
                  </a:lnTo>
                  <a:close/>
                </a:path>
              </a:pathLst>
            </a:custGeom>
            <a:solidFill>
              <a:srgbClr val="7ED3F1"/>
            </a:solidFill>
          </p:spPr>
          <p:txBody>
            <a:bodyPr wrap="square" lIns="0" tIns="0" rIns="0" bIns="0" rtlCol="0"/>
            <a:lstStyle/>
            <a:p>
              <a:endParaRPr dirty="0"/>
            </a:p>
          </p:txBody>
        </p:sp>
        <p:pic>
          <p:nvPicPr>
            <p:cNvPr id="52" name="object 22">
              <a:extLst>
                <a:ext uri="{FF2B5EF4-FFF2-40B4-BE49-F238E27FC236}">
                  <a16:creationId xmlns:a16="http://schemas.microsoft.com/office/drawing/2014/main" id="{C8BDFF27-D837-2D80-8C83-24029881B5A0}"/>
                </a:ext>
              </a:extLst>
            </p:cNvPr>
            <p:cNvPicPr/>
            <p:nvPr/>
          </p:nvPicPr>
          <p:blipFill>
            <a:blip r:embed="rId11" cstate="print"/>
            <a:stretch>
              <a:fillRect/>
            </a:stretch>
          </p:blipFill>
          <p:spPr>
            <a:xfrm>
              <a:off x="11561989" y="6605926"/>
              <a:ext cx="106445" cy="107156"/>
            </a:xfrm>
            <a:prstGeom prst="rect">
              <a:avLst/>
            </a:prstGeom>
          </p:spPr>
        </p:pic>
        <p:sp>
          <p:nvSpPr>
            <p:cNvPr id="53" name="object 23">
              <a:extLst>
                <a:ext uri="{FF2B5EF4-FFF2-40B4-BE49-F238E27FC236}">
                  <a16:creationId xmlns:a16="http://schemas.microsoft.com/office/drawing/2014/main" id="{92EBD77F-203E-5437-5DA7-F074577C65C4}"/>
                </a:ext>
              </a:extLst>
            </p:cNvPr>
            <p:cNvSpPr/>
            <p:nvPr/>
          </p:nvSpPr>
          <p:spPr>
            <a:xfrm>
              <a:off x="11064254" y="6479532"/>
              <a:ext cx="332700" cy="316141"/>
            </a:xfrm>
            <a:custGeom>
              <a:avLst/>
              <a:gdLst/>
              <a:ahLst/>
              <a:cxnLst/>
              <a:rect l="l" t="t" r="r" b="b"/>
              <a:pathLst>
                <a:path w="548640" h="521334">
                  <a:moveTo>
                    <a:pt x="548081" y="520852"/>
                  </a:moveTo>
                  <a:lnTo>
                    <a:pt x="542632" y="472694"/>
                  </a:lnTo>
                  <a:lnTo>
                    <a:pt x="529234" y="427431"/>
                  </a:lnTo>
                  <a:lnTo>
                    <a:pt x="508622" y="385800"/>
                  </a:lnTo>
                  <a:lnTo>
                    <a:pt x="481520" y="348551"/>
                  </a:lnTo>
                  <a:lnTo>
                    <a:pt x="448678" y="316395"/>
                  </a:lnTo>
                  <a:lnTo>
                    <a:pt x="410832" y="290093"/>
                  </a:lnTo>
                  <a:lnTo>
                    <a:pt x="368706" y="270357"/>
                  </a:lnTo>
                  <a:lnTo>
                    <a:pt x="323037" y="257924"/>
                  </a:lnTo>
                  <a:lnTo>
                    <a:pt x="274561" y="253555"/>
                  </a:lnTo>
                  <a:lnTo>
                    <a:pt x="273329" y="253555"/>
                  </a:lnTo>
                  <a:lnTo>
                    <a:pt x="224993" y="257911"/>
                  </a:lnTo>
                  <a:lnTo>
                    <a:pt x="179438" y="270281"/>
                  </a:lnTo>
                  <a:lnTo>
                    <a:pt x="137401" y="289915"/>
                  </a:lnTo>
                  <a:lnTo>
                    <a:pt x="99618" y="316115"/>
                  </a:lnTo>
                  <a:lnTo>
                    <a:pt x="66814" y="348132"/>
                  </a:lnTo>
                  <a:lnTo>
                    <a:pt x="39725" y="385229"/>
                  </a:lnTo>
                  <a:lnTo>
                    <a:pt x="19075" y="426694"/>
                  </a:lnTo>
                  <a:lnTo>
                    <a:pt x="5613" y="471792"/>
                  </a:lnTo>
                  <a:lnTo>
                    <a:pt x="38" y="519772"/>
                  </a:lnTo>
                  <a:lnTo>
                    <a:pt x="47713" y="515747"/>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27"/>
                  </a:lnTo>
                  <a:lnTo>
                    <a:pt x="295719" y="355498"/>
                  </a:lnTo>
                  <a:lnTo>
                    <a:pt x="316992" y="395300"/>
                  </a:lnTo>
                  <a:lnTo>
                    <a:pt x="344284" y="430834"/>
                  </a:lnTo>
                  <a:lnTo>
                    <a:pt x="376923" y="461429"/>
                  </a:lnTo>
                  <a:lnTo>
                    <a:pt x="414235" y="486410"/>
                  </a:lnTo>
                  <a:lnTo>
                    <a:pt x="455549" y="505091"/>
                  </a:lnTo>
                  <a:lnTo>
                    <a:pt x="500164" y="516801"/>
                  </a:lnTo>
                  <a:lnTo>
                    <a:pt x="548081" y="520852"/>
                  </a:lnTo>
                  <a:close/>
                </a:path>
                <a:path w="548640" h="521334">
                  <a:moveTo>
                    <a:pt x="548081" y="267322"/>
                  </a:moveTo>
                  <a:lnTo>
                    <a:pt x="547077" y="258432"/>
                  </a:lnTo>
                  <a:lnTo>
                    <a:pt x="542645" y="219138"/>
                  </a:lnTo>
                  <a:lnTo>
                    <a:pt x="529247" y="173875"/>
                  </a:lnTo>
                  <a:lnTo>
                    <a:pt x="508635" y="132245"/>
                  </a:lnTo>
                  <a:lnTo>
                    <a:pt x="481533" y="94996"/>
                  </a:lnTo>
                  <a:lnTo>
                    <a:pt x="448691" y="62839"/>
                  </a:lnTo>
                  <a:lnTo>
                    <a:pt x="433158" y="52057"/>
                  </a:lnTo>
                  <a:lnTo>
                    <a:pt x="410832" y="36537"/>
                  </a:lnTo>
                  <a:lnTo>
                    <a:pt x="368706" y="16814"/>
                  </a:lnTo>
                  <a:lnTo>
                    <a:pt x="323037" y="4368"/>
                  </a:lnTo>
                  <a:lnTo>
                    <a:pt x="274561" y="12"/>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64" y="231914"/>
                  </a:lnTo>
                  <a:lnTo>
                    <a:pt x="170738" y="207048"/>
                  </a:lnTo>
                  <a:lnTo>
                    <a:pt x="203365" y="176593"/>
                  </a:lnTo>
                  <a:lnTo>
                    <a:pt x="230682" y="141211"/>
                  </a:lnTo>
                  <a:lnTo>
                    <a:pt x="252006" y="101600"/>
                  </a:lnTo>
                  <a:lnTo>
                    <a:pt x="266674" y="58407"/>
                  </a:lnTo>
                  <a:lnTo>
                    <a:pt x="273989" y="12357"/>
                  </a:lnTo>
                  <a:lnTo>
                    <a:pt x="281165" y="58572"/>
                  </a:lnTo>
                  <a:lnTo>
                    <a:pt x="295719" y="101942"/>
                  </a:lnTo>
                  <a:lnTo>
                    <a:pt x="316992" y="141744"/>
                  </a:lnTo>
                  <a:lnTo>
                    <a:pt x="344284" y="177279"/>
                  </a:lnTo>
                  <a:lnTo>
                    <a:pt x="376923" y="207873"/>
                  </a:lnTo>
                  <a:lnTo>
                    <a:pt x="414235" y="232854"/>
                  </a:lnTo>
                  <a:lnTo>
                    <a:pt x="455549" y="251548"/>
                  </a:lnTo>
                  <a:lnTo>
                    <a:pt x="500176" y="263258"/>
                  </a:lnTo>
                  <a:lnTo>
                    <a:pt x="548081" y="267322"/>
                  </a:lnTo>
                  <a:close/>
                </a:path>
              </a:pathLst>
            </a:custGeom>
            <a:solidFill>
              <a:srgbClr val="2DB7EA"/>
            </a:solidFill>
          </p:spPr>
          <p:txBody>
            <a:bodyPr wrap="square" lIns="0" tIns="0" rIns="0" bIns="0" rtlCol="0"/>
            <a:lstStyle/>
            <a:p>
              <a:endParaRPr dirty="0"/>
            </a:p>
          </p:txBody>
        </p:sp>
        <p:pic>
          <p:nvPicPr>
            <p:cNvPr id="54" name="object 24">
              <a:extLst>
                <a:ext uri="{FF2B5EF4-FFF2-40B4-BE49-F238E27FC236}">
                  <a16:creationId xmlns:a16="http://schemas.microsoft.com/office/drawing/2014/main" id="{B9064BDF-D9E5-939A-739E-E130F02A71CE}"/>
                </a:ext>
              </a:extLst>
            </p:cNvPr>
            <p:cNvPicPr/>
            <p:nvPr/>
          </p:nvPicPr>
          <p:blipFill>
            <a:blip r:embed="rId12" cstate="print"/>
            <a:stretch>
              <a:fillRect/>
            </a:stretch>
          </p:blipFill>
          <p:spPr>
            <a:xfrm>
              <a:off x="11100347" y="6794307"/>
              <a:ext cx="260137" cy="63416"/>
            </a:xfrm>
            <a:prstGeom prst="rect">
              <a:avLst/>
            </a:prstGeom>
          </p:spPr>
        </p:pic>
        <p:sp>
          <p:nvSpPr>
            <p:cNvPr id="173" name="object 25">
              <a:extLst>
                <a:ext uri="{FF2B5EF4-FFF2-40B4-BE49-F238E27FC236}">
                  <a16:creationId xmlns:a16="http://schemas.microsoft.com/office/drawing/2014/main" id="{79C9C21D-471B-0D20-1521-14580EB0BB88}"/>
                </a:ext>
              </a:extLst>
            </p:cNvPr>
            <p:cNvSpPr/>
            <p:nvPr/>
          </p:nvSpPr>
          <p:spPr>
            <a:xfrm>
              <a:off x="11064254" y="5171198"/>
              <a:ext cx="332700" cy="477101"/>
            </a:xfrm>
            <a:custGeom>
              <a:avLst/>
              <a:gdLst/>
              <a:ahLst/>
              <a:cxnLst/>
              <a:rect l="l" t="t" r="r" b="b"/>
              <a:pathLst>
                <a:path w="548640" h="786765">
                  <a:moveTo>
                    <a:pt x="548081" y="786396"/>
                  </a:moveTo>
                  <a:lnTo>
                    <a:pt x="542632" y="738225"/>
                  </a:lnTo>
                  <a:lnTo>
                    <a:pt x="529234" y="692975"/>
                  </a:lnTo>
                  <a:lnTo>
                    <a:pt x="508622" y="651344"/>
                  </a:lnTo>
                  <a:lnTo>
                    <a:pt x="481520" y="614083"/>
                  </a:lnTo>
                  <a:lnTo>
                    <a:pt x="448678" y="581939"/>
                  </a:lnTo>
                  <a:lnTo>
                    <a:pt x="410832" y="555625"/>
                  </a:lnTo>
                  <a:lnTo>
                    <a:pt x="368706" y="535889"/>
                  </a:lnTo>
                  <a:lnTo>
                    <a:pt x="323037" y="523468"/>
                  </a:lnTo>
                  <a:lnTo>
                    <a:pt x="274561" y="519087"/>
                  </a:lnTo>
                  <a:lnTo>
                    <a:pt x="273329" y="519087"/>
                  </a:lnTo>
                  <a:lnTo>
                    <a:pt x="224993" y="523455"/>
                  </a:lnTo>
                  <a:lnTo>
                    <a:pt x="179438" y="535813"/>
                  </a:lnTo>
                  <a:lnTo>
                    <a:pt x="137401" y="555459"/>
                  </a:lnTo>
                  <a:lnTo>
                    <a:pt x="99618" y="581660"/>
                  </a:lnTo>
                  <a:lnTo>
                    <a:pt x="66814" y="613676"/>
                  </a:lnTo>
                  <a:lnTo>
                    <a:pt x="39725" y="650773"/>
                  </a:lnTo>
                  <a:lnTo>
                    <a:pt x="19075" y="692238"/>
                  </a:lnTo>
                  <a:lnTo>
                    <a:pt x="5613" y="737323"/>
                  </a:lnTo>
                  <a:lnTo>
                    <a:pt x="38" y="785317"/>
                  </a:lnTo>
                  <a:lnTo>
                    <a:pt x="47713" y="781278"/>
                  </a:lnTo>
                  <a:lnTo>
                    <a:pt x="92240" y="769620"/>
                  </a:lnTo>
                  <a:lnTo>
                    <a:pt x="133464" y="751027"/>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35" y="751941"/>
                  </a:lnTo>
                  <a:lnTo>
                    <a:pt x="455549" y="770623"/>
                  </a:lnTo>
                  <a:lnTo>
                    <a:pt x="500164" y="782332"/>
                  </a:lnTo>
                  <a:lnTo>
                    <a:pt x="548081" y="786396"/>
                  </a:lnTo>
                  <a:close/>
                </a:path>
                <a:path w="548640" h="786765">
                  <a:moveTo>
                    <a:pt x="548081" y="520865"/>
                  </a:moveTo>
                  <a:lnTo>
                    <a:pt x="542632" y="472706"/>
                  </a:lnTo>
                  <a:lnTo>
                    <a:pt x="529234" y="427443"/>
                  </a:lnTo>
                  <a:lnTo>
                    <a:pt x="508622" y="385813"/>
                  </a:lnTo>
                  <a:lnTo>
                    <a:pt x="481520" y="348551"/>
                  </a:lnTo>
                  <a:lnTo>
                    <a:pt x="448678" y="316407"/>
                  </a:lnTo>
                  <a:lnTo>
                    <a:pt x="410832" y="290093"/>
                  </a:lnTo>
                  <a:lnTo>
                    <a:pt x="368706" y="270357"/>
                  </a:lnTo>
                  <a:lnTo>
                    <a:pt x="323037" y="257937"/>
                  </a:lnTo>
                  <a:lnTo>
                    <a:pt x="274561" y="253568"/>
                  </a:lnTo>
                  <a:lnTo>
                    <a:pt x="273329" y="253568"/>
                  </a:lnTo>
                  <a:lnTo>
                    <a:pt x="224993" y="257924"/>
                  </a:lnTo>
                  <a:lnTo>
                    <a:pt x="179438" y="270281"/>
                  </a:lnTo>
                  <a:lnTo>
                    <a:pt x="137401" y="289928"/>
                  </a:lnTo>
                  <a:lnTo>
                    <a:pt x="99618" y="316128"/>
                  </a:lnTo>
                  <a:lnTo>
                    <a:pt x="66814" y="348132"/>
                  </a:lnTo>
                  <a:lnTo>
                    <a:pt x="39725" y="385241"/>
                  </a:lnTo>
                  <a:lnTo>
                    <a:pt x="19075" y="426694"/>
                  </a:lnTo>
                  <a:lnTo>
                    <a:pt x="5613" y="471792"/>
                  </a:lnTo>
                  <a:lnTo>
                    <a:pt x="38" y="519772"/>
                  </a:lnTo>
                  <a:lnTo>
                    <a:pt x="47713" y="515734"/>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5">
                  <a:moveTo>
                    <a:pt x="548081" y="267322"/>
                  </a:moveTo>
                  <a:lnTo>
                    <a:pt x="546976" y="257530"/>
                  </a:lnTo>
                  <a:lnTo>
                    <a:pt x="542645" y="219151"/>
                  </a:lnTo>
                  <a:lnTo>
                    <a:pt x="529247" y="173875"/>
                  </a:lnTo>
                  <a:lnTo>
                    <a:pt x="508635" y="132245"/>
                  </a:lnTo>
                  <a:lnTo>
                    <a:pt x="481533" y="94996"/>
                  </a:lnTo>
                  <a:lnTo>
                    <a:pt x="449376" y="63525"/>
                  </a:lnTo>
                  <a:lnTo>
                    <a:pt x="448691" y="62852"/>
                  </a:lnTo>
                  <a:lnTo>
                    <a:pt x="410832" y="36537"/>
                  </a:lnTo>
                  <a:lnTo>
                    <a:pt x="368706" y="16814"/>
                  </a:lnTo>
                  <a:lnTo>
                    <a:pt x="323037" y="4394"/>
                  </a:lnTo>
                  <a:lnTo>
                    <a:pt x="274561" y="12"/>
                  </a:lnTo>
                  <a:lnTo>
                    <a:pt x="273329" y="0"/>
                  </a:lnTo>
                  <a:lnTo>
                    <a:pt x="224993" y="4356"/>
                  </a:lnTo>
                  <a:lnTo>
                    <a:pt x="179438" y="16725"/>
                  </a:lnTo>
                  <a:lnTo>
                    <a:pt x="137401" y="36372"/>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64" y="231927"/>
                  </a:lnTo>
                  <a:lnTo>
                    <a:pt x="170738" y="207048"/>
                  </a:lnTo>
                  <a:lnTo>
                    <a:pt x="203365" y="176593"/>
                  </a:lnTo>
                  <a:lnTo>
                    <a:pt x="230682" y="141211"/>
                  </a:lnTo>
                  <a:lnTo>
                    <a:pt x="252006" y="101600"/>
                  </a:lnTo>
                  <a:lnTo>
                    <a:pt x="266674" y="58407"/>
                  </a:lnTo>
                  <a:lnTo>
                    <a:pt x="273989" y="12357"/>
                  </a:lnTo>
                  <a:lnTo>
                    <a:pt x="280047" y="51409"/>
                  </a:lnTo>
                  <a:lnTo>
                    <a:pt x="295719" y="101942"/>
                  </a:lnTo>
                  <a:lnTo>
                    <a:pt x="316992" y="141744"/>
                  </a:lnTo>
                  <a:lnTo>
                    <a:pt x="344284" y="177279"/>
                  </a:lnTo>
                  <a:lnTo>
                    <a:pt x="376923" y="207873"/>
                  </a:lnTo>
                  <a:lnTo>
                    <a:pt x="414248" y="232867"/>
                  </a:lnTo>
                  <a:lnTo>
                    <a:pt x="455549" y="251548"/>
                  </a:lnTo>
                  <a:lnTo>
                    <a:pt x="500176" y="263258"/>
                  </a:lnTo>
                  <a:lnTo>
                    <a:pt x="548081" y="267322"/>
                  </a:lnTo>
                  <a:close/>
                </a:path>
              </a:pathLst>
            </a:custGeom>
            <a:solidFill>
              <a:srgbClr val="2DB7EA"/>
            </a:solidFill>
          </p:spPr>
          <p:txBody>
            <a:bodyPr wrap="square" lIns="0" tIns="0" rIns="0" bIns="0" rtlCol="0"/>
            <a:lstStyle/>
            <a:p>
              <a:endParaRPr dirty="0"/>
            </a:p>
          </p:txBody>
        </p:sp>
        <p:pic>
          <p:nvPicPr>
            <p:cNvPr id="174" name="object 26">
              <a:extLst>
                <a:ext uri="{FF2B5EF4-FFF2-40B4-BE49-F238E27FC236}">
                  <a16:creationId xmlns:a16="http://schemas.microsoft.com/office/drawing/2014/main" id="{44F8AA1E-3282-BE7A-6231-2479C68DA0E7}"/>
                </a:ext>
              </a:extLst>
            </p:cNvPr>
            <p:cNvPicPr/>
            <p:nvPr/>
          </p:nvPicPr>
          <p:blipFill>
            <a:blip r:embed="rId13" cstate="print"/>
            <a:stretch>
              <a:fillRect/>
            </a:stretch>
          </p:blipFill>
          <p:spPr>
            <a:xfrm>
              <a:off x="11177526" y="5626898"/>
              <a:ext cx="106445" cy="107156"/>
            </a:xfrm>
            <a:prstGeom prst="rect">
              <a:avLst/>
            </a:prstGeom>
          </p:spPr>
        </p:pic>
        <p:sp>
          <p:nvSpPr>
            <p:cNvPr id="175" name="object 27">
              <a:extLst>
                <a:ext uri="{FF2B5EF4-FFF2-40B4-BE49-F238E27FC236}">
                  <a16:creationId xmlns:a16="http://schemas.microsoft.com/office/drawing/2014/main" id="{A5DD5590-4613-F8B2-1FF3-B61EDB1A2B4A}"/>
                </a:ext>
              </a:extLst>
            </p:cNvPr>
            <p:cNvSpPr/>
            <p:nvPr/>
          </p:nvSpPr>
          <p:spPr>
            <a:xfrm>
              <a:off x="11064254" y="5825360"/>
              <a:ext cx="332700" cy="477101"/>
            </a:xfrm>
            <a:custGeom>
              <a:avLst/>
              <a:gdLst/>
              <a:ahLst/>
              <a:cxnLst/>
              <a:rect l="l" t="t" r="r" b="b"/>
              <a:pathLst>
                <a:path w="548640" h="786765">
                  <a:moveTo>
                    <a:pt x="548081" y="786396"/>
                  </a:moveTo>
                  <a:lnTo>
                    <a:pt x="542632" y="738238"/>
                  </a:lnTo>
                  <a:lnTo>
                    <a:pt x="529234" y="692975"/>
                  </a:lnTo>
                  <a:lnTo>
                    <a:pt x="508622" y="651344"/>
                  </a:lnTo>
                  <a:lnTo>
                    <a:pt x="481520" y="614095"/>
                  </a:lnTo>
                  <a:lnTo>
                    <a:pt x="448678" y="581939"/>
                  </a:lnTo>
                  <a:lnTo>
                    <a:pt x="410832" y="555637"/>
                  </a:lnTo>
                  <a:lnTo>
                    <a:pt x="368706" y="535901"/>
                  </a:lnTo>
                  <a:lnTo>
                    <a:pt x="323037" y="523481"/>
                  </a:lnTo>
                  <a:lnTo>
                    <a:pt x="274561" y="519099"/>
                  </a:lnTo>
                  <a:lnTo>
                    <a:pt x="273329" y="519099"/>
                  </a:lnTo>
                  <a:lnTo>
                    <a:pt x="224993" y="523455"/>
                  </a:lnTo>
                  <a:lnTo>
                    <a:pt x="179438" y="535825"/>
                  </a:lnTo>
                  <a:lnTo>
                    <a:pt x="137401" y="555472"/>
                  </a:lnTo>
                  <a:lnTo>
                    <a:pt x="99618" y="581660"/>
                  </a:lnTo>
                  <a:lnTo>
                    <a:pt x="66814" y="613676"/>
                  </a:lnTo>
                  <a:lnTo>
                    <a:pt x="39725" y="650773"/>
                  </a:lnTo>
                  <a:lnTo>
                    <a:pt x="19075" y="692238"/>
                  </a:lnTo>
                  <a:lnTo>
                    <a:pt x="5613" y="737323"/>
                  </a:lnTo>
                  <a:lnTo>
                    <a:pt x="38" y="785304"/>
                  </a:lnTo>
                  <a:lnTo>
                    <a:pt x="47713" y="781278"/>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35"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78" y="316407"/>
                  </a:lnTo>
                  <a:lnTo>
                    <a:pt x="410832" y="290093"/>
                  </a:lnTo>
                  <a:lnTo>
                    <a:pt x="368706" y="270370"/>
                  </a:lnTo>
                  <a:lnTo>
                    <a:pt x="323037" y="257937"/>
                  </a:lnTo>
                  <a:lnTo>
                    <a:pt x="274561" y="253555"/>
                  </a:lnTo>
                  <a:lnTo>
                    <a:pt x="273329" y="253555"/>
                  </a:lnTo>
                  <a:lnTo>
                    <a:pt x="224993" y="257924"/>
                  </a:lnTo>
                  <a:lnTo>
                    <a:pt x="179438" y="270294"/>
                  </a:lnTo>
                  <a:lnTo>
                    <a:pt x="137401" y="289928"/>
                  </a:lnTo>
                  <a:lnTo>
                    <a:pt x="99618" y="316128"/>
                  </a:lnTo>
                  <a:lnTo>
                    <a:pt x="66814" y="348145"/>
                  </a:lnTo>
                  <a:lnTo>
                    <a:pt x="39725" y="385241"/>
                  </a:lnTo>
                  <a:lnTo>
                    <a:pt x="19075" y="426694"/>
                  </a:lnTo>
                  <a:lnTo>
                    <a:pt x="5613" y="471792"/>
                  </a:lnTo>
                  <a:lnTo>
                    <a:pt x="38" y="519772"/>
                  </a:lnTo>
                  <a:lnTo>
                    <a:pt x="47713" y="515734"/>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5">
                  <a:moveTo>
                    <a:pt x="548081" y="267322"/>
                  </a:moveTo>
                  <a:lnTo>
                    <a:pt x="547458" y="261874"/>
                  </a:lnTo>
                  <a:lnTo>
                    <a:pt x="542645" y="219151"/>
                  </a:lnTo>
                  <a:lnTo>
                    <a:pt x="529247" y="173888"/>
                  </a:lnTo>
                  <a:lnTo>
                    <a:pt x="508635" y="132257"/>
                  </a:lnTo>
                  <a:lnTo>
                    <a:pt x="481533" y="94996"/>
                  </a:lnTo>
                  <a:lnTo>
                    <a:pt x="448691" y="62852"/>
                  </a:lnTo>
                  <a:lnTo>
                    <a:pt x="433158" y="52070"/>
                  </a:lnTo>
                  <a:lnTo>
                    <a:pt x="410832" y="36550"/>
                  </a:lnTo>
                  <a:lnTo>
                    <a:pt x="368706" y="16814"/>
                  </a:lnTo>
                  <a:lnTo>
                    <a:pt x="323037" y="4394"/>
                  </a:lnTo>
                  <a:lnTo>
                    <a:pt x="274561" y="0"/>
                  </a:lnTo>
                  <a:lnTo>
                    <a:pt x="273329" y="0"/>
                  </a:lnTo>
                  <a:lnTo>
                    <a:pt x="224993" y="4356"/>
                  </a:lnTo>
                  <a:lnTo>
                    <a:pt x="179438" y="16725"/>
                  </a:lnTo>
                  <a:lnTo>
                    <a:pt x="137401" y="36372"/>
                  </a:lnTo>
                  <a:lnTo>
                    <a:pt x="99618" y="62572"/>
                  </a:lnTo>
                  <a:lnTo>
                    <a:pt x="98780" y="63385"/>
                  </a:lnTo>
                  <a:lnTo>
                    <a:pt x="66814" y="94576"/>
                  </a:lnTo>
                  <a:lnTo>
                    <a:pt x="39700" y="131686"/>
                  </a:lnTo>
                  <a:lnTo>
                    <a:pt x="19037" y="173139"/>
                  </a:lnTo>
                  <a:lnTo>
                    <a:pt x="5562" y="218224"/>
                  </a:lnTo>
                  <a:lnTo>
                    <a:pt x="0" y="266192"/>
                  </a:lnTo>
                  <a:lnTo>
                    <a:pt x="47713" y="262178"/>
                  </a:lnTo>
                  <a:lnTo>
                    <a:pt x="92240" y="250532"/>
                  </a:lnTo>
                  <a:lnTo>
                    <a:pt x="133464" y="231927"/>
                  </a:lnTo>
                  <a:lnTo>
                    <a:pt x="170738" y="207060"/>
                  </a:lnTo>
                  <a:lnTo>
                    <a:pt x="203365" y="176593"/>
                  </a:lnTo>
                  <a:lnTo>
                    <a:pt x="230682" y="141224"/>
                  </a:lnTo>
                  <a:lnTo>
                    <a:pt x="252006" y="101600"/>
                  </a:lnTo>
                  <a:lnTo>
                    <a:pt x="266674" y="58407"/>
                  </a:lnTo>
                  <a:lnTo>
                    <a:pt x="273989" y="12369"/>
                  </a:lnTo>
                  <a:lnTo>
                    <a:pt x="281165" y="58585"/>
                  </a:lnTo>
                  <a:lnTo>
                    <a:pt x="295719" y="101955"/>
                  </a:lnTo>
                  <a:lnTo>
                    <a:pt x="316992" y="141744"/>
                  </a:lnTo>
                  <a:lnTo>
                    <a:pt x="344284" y="177279"/>
                  </a:lnTo>
                  <a:lnTo>
                    <a:pt x="376936" y="207886"/>
                  </a:lnTo>
                  <a:lnTo>
                    <a:pt x="414248" y="232867"/>
                  </a:lnTo>
                  <a:lnTo>
                    <a:pt x="455549" y="251561"/>
                  </a:lnTo>
                  <a:lnTo>
                    <a:pt x="500176" y="263271"/>
                  </a:lnTo>
                  <a:lnTo>
                    <a:pt x="548081" y="267322"/>
                  </a:lnTo>
                  <a:close/>
                </a:path>
              </a:pathLst>
            </a:custGeom>
            <a:solidFill>
              <a:srgbClr val="7ED3F1"/>
            </a:solidFill>
          </p:spPr>
          <p:txBody>
            <a:bodyPr wrap="square" lIns="0" tIns="0" rIns="0" bIns="0" rtlCol="0"/>
            <a:lstStyle/>
            <a:p>
              <a:endParaRPr dirty="0"/>
            </a:p>
          </p:txBody>
        </p:sp>
        <p:pic>
          <p:nvPicPr>
            <p:cNvPr id="176" name="object 28">
              <a:extLst>
                <a:ext uri="{FF2B5EF4-FFF2-40B4-BE49-F238E27FC236}">
                  <a16:creationId xmlns:a16="http://schemas.microsoft.com/office/drawing/2014/main" id="{33957DDE-0D37-D033-AB42-578147BDF205}"/>
                </a:ext>
              </a:extLst>
            </p:cNvPr>
            <p:cNvPicPr/>
            <p:nvPr/>
          </p:nvPicPr>
          <p:blipFill>
            <a:blip r:embed="rId14" cstate="print"/>
            <a:stretch>
              <a:fillRect/>
            </a:stretch>
          </p:blipFill>
          <p:spPr>
            <a:xfrm>
              <a:off x="11177526" y="6281064"/>
              <a:ext cx="106445" cy="107156"/>
            </a:xfrm>
            <a:prstGeom prst="rect">
              <a:avLst/>
            </a:prstGeom>
          </p:spPr>
        </p:pic>
        <p:sp>
          <p:nvSpPr>
            <p:cNvPr id="177" name="object 35">
              <a:extLst>
                <a:ext uri="{FF2B5EF4-FFF2-40B4-BE49-F238E27FC236}">
                  <a16:creationId xmlns:a16="http://schemas.microsoft.com/office/drawing/2014/main" id="{E3B339E7-8406-D8FB-7D8A-7181C21BCC73}"/>
                </a:ext>
              </a:extLst>
            </p:cNvPr>
            <p:cNvSpPr/>
            <p:nvPr/>
          </p:nvSpPr>
          <p:spPr>
            <a:xfrm>
              <a:off x="11834385" y="6479532"/>
              <a:ext cx="332700" cy="316141"/>
            </a:xfrm>
            <a:custGeom>
              <a:avLst/>
              <a:gdLst/>
              <a:ahLst/>
              <a:cxnLst/>
              <a:rect l="l" t="t" r="r" b="b"/>
              <a:pathLst>
                <a:path w="548640" h="521334">
                  <a:moveTo>
                    <a:pt x="548081" y="520852"/>
                  </a:moveTo>
                  <a:lnTo>
                    <a:pt x="542632" y="472694"/>
                  </a:lnTo>
                  <a:lnTo>
                    <a:pt x="529234" y="427431"/>
                  </a:lnTo>
                  <a:lnTo>
                    <a:pt x="508622" y="385800"/>
                  </a:lnTo>
                  <a:lnTo>
                    <a:pt x="481533" y="348551"/>
                  </a:lnTo>
                  <a:lnTo>
                    <a:pt x="448691" y="316395"/>
                  </a:lnTo>
                  <a:lnTo>
                    <a:pt x="410832" y="290093"/>
                  </a:lnTo>
                  <a:lnTo>
                    <a:pt x="368706" y="270357"/>
                  </a:lnTo>
                  <a:lnTo>
                    <a:pt x="323037" y="257924"/>
                  </a:lnTo>
                  <a:lnTo>
                    <a:pt x="274561" y="253555"/>
                  </a:lnTo>
                  <a:lnTo>
                    <a:pt x="273342" y="253555"/>
                  </a:lnTo>
                  <a:lnTo>
                    <a:pt x="224993" y="257911"/>
                  </a:lnTo>
                  <a:lnTo>
                    <a:pt x="179438" y="270281"/>
                  </a:lnTo>
                  <a:lnTo>
                    <a:pt x="137401" y="289915"/>
                  </a:lnTo>
                  <a:lnTo>
                    <a:pt x="99618" y="316115"/>
                  </a:lnTo>
                  <a:lnTo>
                    <a:pt x="66814" y="348132"/>
                  </a:lnTo>
                  <a:lnTo>
                    <a:pt x="39725" y="385229"/>
                  </a:lnTo>
                  <a:lnTo>
                    <a:pt x="19088" y="426694"/>
                  </a:lnTo>
                  <a:lnTo>
                    <a:pt x="5613" y="471792"/>
                  </a:lnTo>
                  <a:lnTo>
                    <a:pt x="50" y="519772"/>
                  </a:lnTo>
                  <a:lnTo>
                    <a:pt x="47713" y="515747"/>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27"/>
                  </a:lnTo>
                  <a:lnTo>
                    <a:pt x="295732" y="355498"/>
                  </a:lnTo>
                  <a:lnTo>
                    <a:pt x="316992" y="395300"/>
                  </a:lnTo>
                  <a:lnTo>
                    <a:pt x="344284" y="430834"/>
                  </a:lnTo>
                  <a:lnTo>
                    <a:pt x="376936" y="461429"/>
                  </a:lnTo>
                  <a:lnTo>
                    <a:pt x="414248" y="486410"/>
                  </a:lnTo>
                  <a:lnTo>
                    <a:pt x="455549" y="505091"/>
                  </a:lnTo>
                  <a:lnTo>
                    <a:pt x="500164" y="516801"/>
                  </a:lnTo>
                  <a:lnTo>
                    <a:pt x="548081" y="520852"/>
                  </a:lnTo>
                  <a:close/>
                </a:path>
                <a:path w="548640" h="521334">
                  <a:moveTo>
                    <a:pt x="548093" y="267322"/>
                  </a:moveTo>
                  <a:lnTo>
                    <a:pt x="542645" y="219138"/>
                  </a:lnTo>
                  <a:lnTo>
                    <a:pt x="529247" y="173875"/>
                  </a:lnTo>
                  <a:lnTo>
                    <a:pt x="508635" y="132245"/>
                  </a:lnTo>
                  <a:lnTo>
                    <a:pt x="481533" y="94996"/>
                  </a:lnTo>
                  <a:lnTo>
                    <a:pt x="448691" y="62839"/>
                  </a:lnTo>
                  <a:lnTo>
                    <a:pt x="410845" y="36537"/>
                  </a:lnTo>
                  <a:lnTo>
                    <a:pt x="368719" y="16814"/>
                  </a:lnTo>
                  <a:lnTo>
                    <a:pt x="323037" y="4368"/>
                  </a:lnTo>
                  <a:lnTo>
                    <a:pt x="274574" y="12"/>
                  </a:lnTo>
                  <a:lnTo>
                    <a:pt x="273342" y="0"/>
                  </a:lnTo>
                  <a:lnTo>
                    <a:pt x="224993" y="4356"/>
                  </a:lnTo>
                  <a:lnTo>
                    <a:pt x="179438" y="16713"/>
                  </a:lnTo>
                  <a:lnTo>
                    <a:pt x="137401" y="36360"/>
                  </a:lnTo>
                  <a:lnTo>
                    <a:pt x="99618" y="62560"/>
                  </a:lnTo>
                  <a:lnTo>
                    <a:pt x="66814" y="94576"/>
                  </a:lnTo>
                  <a:lnTo>
                    <a:pt x="39700" y="131686"/>
                  </a:lnTo>
                  <a:lnTo>
                    <a:pt x="19050" y="173139"/>
                  </a:lnTo>
                  <a:lnTo>
                    <a:pt x="5575" y="218211"/>
                  </a:lnTo>
                  <a:lnTo>
                    <a:pt x="0" y="266192"/>
                  </a:lnTo>
                  <a:lnTo>
                    <a:pt x="47713" y="262178"/>
                  </a:lnTo>
                  <a:lnTo>
                    <a:pt x="92240" y="250520"/>
                  </a:lnTo>
                  <a:lnTo>
                    <a:pt x="133477" y="231914"/>
                  </a:lnTo>
                  <a:lnTo>
                    <a:pt x="170738" y="207048"/>
                  </a:lnTo>
                  <a:lnTo>
                    <a:pt x="203365" y="176593"/>
                  </a:lnTo>
                  <a:lnTo>
                    <a:pt x="230682" y="141211"/>
                  </a:lnTo>
                  <a:lnTo>
                    <a:pt x="252006" y="101600"/>
                  </a:lnTo>
                  <a:lnTo>
                    <a:pt x="266674" y="58407"/>
                  </a:lnTo>
                  <a:lnTo>
                    <a:pt x="274002" y="12319"/>
                  </a:lnTo>
                  <a:lnTo>
                    <a:pt x="274955" y="18529"/>
                  </a:lnTo>
                  <a:lnTo>
                    <a:pt x="281165" y="58572"/>
                  </a:lnTo>
                  <a:lnTo>
                    <a:pt x="295732" y="101942"/>
                  </a:lnTo>
                  <a:lnTo>
                    <a:pt x="316992" y="141744"/>
                  </a:lnTo>
                  <a:lnTo>
                    <a:pt x="344284" y="177279"/>
                  </a:lnTo>
                  <a:lnTo>
                    <a:pt x="376936" y="207873"/>
                  </a:lnTo>
                  <a:lnTo>
                    <a:pt x="414248" y="232854"/>
                  </a:lnTo>
                  <a:lnTo>
                    <a:pt x="455561"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178" name="object 36">
              <a:extLst>
                <a:ext uri="{FF2B5EF4-FFF2-40B4-BE49-F238E27FC236}">
                  <a16:creationId xmlns:a16="http://schemas.microsoft.com/office/drawing/2014/main" id="{246C5C5C-7441-3BC9-4417-1D25E607E042}"/>
                </a:ext>
              </a:extLst>
            </p:cNvPr>
            <p:cNvPicPr/>
            <p:nvPr/>
          </p:nvPicPr>
          <p:blipFill>
            <a:blip r:embed="rId15" cstate="print"/>
            <a:stretch>
              <a:fillRect/>
            </a:stretch>
          </p:blipFill>
          <p:spPr>
            <a:xfrm>
              <a:off x="11870481" y="6794307"/>
              <a:ext cx="260137" cy="63416"/>
            </a:xfrm>
            <a:prstGeom prst="rect">
              <a:avLst/>
            </a:prstGeom>
          </p:spPr>
        </p:pic>
        <p:sp>
          <p:nvSpPr>
            <p:cNvPr id="179" name="object 37">
              <a:extLst>
                <a:ext uri="{FF2B5EF4-FFF2-40B4-BE49-F238E27FC236}">
                  <a16:creationId xmlns:a16="http://schemas.microsoft.com/office/drawing/2014/main" id="{203479E3-FF8B-9849-6D4C-760C591C439D}"/>
                </a:ext>
              </a:extLst>
            </p:cNvPr>
            <p:cNvSpPr/>
            <p:nvPr/>
          </p:nvSpPr>
          <p:spPr>
            <a:xfrm>
              <a:off x="11834385" y="5171198"/>
              <a:ext cx="332700" cy="477101"/>
            </a:xfrm>
            <a:custGeom>
              <a:avLst/>
              <a:gdLst/>
              <a:ahLst/>
              <a:cxnLst/>
              <a:rect l="l" t="t" r="r" b="b"/>
              <a:pathLst>
                <a:path w="548640" h="786765">
                  <a:moveTo>
                    <a:pt x="548081" y="786396"/>
                  </a:moveTo>
                  <a:lnTo>
                    <a:pt x="542632" y="738225"/>
                  </a:lnTo>
                  <a:lnTo>
                    <a:pt x="529234" y="692975"/>
                  </a:lnTo>
                  <a:lnTo>
                    <a:pt x="508622" y="651344"/>
                  </a:lnTo>
                  <a:lnTo>
                    <a:pt x="481533" y="614083"/>
                  </a:lnTo>
                  <a:lnTo>
                    <a:pt x="448691" y="581939"/>
                  </a:lnTo>
                  <a:lnTo>
                    <a:pt x="410832" y="555625"/>
                  </a:lnTo>
                  <a:lnTo>
                    <a:pt x="368706" y="535889"/>
                  </a:lnTo>
                  <a:lnTo>
                    <a:pt x="323037" y="523468"/>
                  </a:lnTo>
                  <a:lnTo>
                    <a:pt x="274561" y="519087"/>
                  </a:lnTo>
                  <a:lnTo>
                    <a:pt x="273342" y="519087"/>
                  </a:lnTo>
                  <a:lnTo>
                    <a:pt x="224993" y="523455"/>
                  </a:lnTo>
                  <a:lnTo>
                    <a:pt x="179438" y="535813"/>
                  </a:lnTo>
                  <a:lnTo>
                    <a:pt x="137401" y="555459"/>
                  </a:lnTo>
                  <a:lnTo>
                    <a:pt x="99618" y="581660"/>
                  </a:lnTo>
                  <a:lnTo>
                    <a:pt x="66814" y="613676"/>
                  </a:lnTo>
                  <a:lnTo>
                    <a:pt x="39725" y="650773"/>
                  </a:lnTo>
                  <a:lnTo>
                    <a:pt x="19088" y="692238"/>
                  </a:lnTo>
                  <a:lnTo>
                    <a:pt x="5613" y="737323"/>
                  </a:lnTo>
                  <a:lnTo>
                    <a:pt x="50" y="785317"/>
                  </a:lnTo>
                  <a:lnTo>
                    <a:pt x="47713" y="781278"/>
                  </a:lnTo>
                  <a:lnTo>
                    <a:pt x="92240" y="769620"/>
                  </a:lnTo>
                  <a:lnTo>
                    <a:pt x="133477" y="751027"/>
                  </a:lnTo>
                  <a:lnTo>
                    <a:pt x="170738" y="726147"/>
                  </a:lnTo>
                  <a:lnTo>
                    <a:pt x="203365" y="695680"/>
                  </a:lnTo>
                  <a:lnTo>
                    <a:pt x="230670" y="660298"/>
                  </a:lnTo>
                  <a:lnTo>
                    <a:pt x="252006" y="620674"/>
                  </a:lnTo>
                  <a:lnTo>
                    <a:pt x="266661" y="577481"/>
                  </a:lnTo>
                  <a:lnTo>
                    <a:pt x="274002" y="531393"/>
                  </a:lnTo>
                  <a:lnTo>
                    <a:pt x="281165" y="577672"/>
                  </a:lnTo>
                  <a:lnTo>
                    <a:pt x="295732" y="621042"/>
                  </a:lnTo>
                  <a:lnTo>
                    <a:pt x="316992" y="660831"/>
                  </a:lnTo>
                  <a:lnTo>
                    <a:pt x="344284" y="696366"/>
                  </a:lnTo>
                  <a:lnTo>
                    <a:pt x="376936" y="726960"/>
                  </a:lnTo>
                  <a:lnTo>
                    <a:pt x="414248" y="751941"/>
                  </a:lnTo>
                  <a:lnTo>
                    <a:pt x="455549" y="770623"/>
                  </a:lnTo>
                  <a:lnTo>
                    <a:pt x="500164" y="782332"/>
                  </a:lnTo>
                  <a:lnTo>
                    <a:pt x="548081" y="786396"/>
                  </a:lnTo>
                  <a:close/>
                </a:path>
                <a:path w="548640" h="786765">
                  <a:moveTo>
                    <a:pt x="548081" y="520865"/>
                  </a:moveTo>
                  <a:lnTo>
                    <a:pt x="542632" y="472706"/>
                  </a:lnTo>
                  <a:lnTo>
                    <a:pt x="529234" y="427443"/>
                  </a:lnTo>
                  <a:lnTo>
                    <a:pt x="508622" y="385813"/>
                  </a:lnTo>
                  <a:lnTo>
                    <a:pt x="481533" y="348551"/>
                  </a:lnTo>
                  <a:lnTo>
                    <a:pt x="448691" y="316407"/>
                  </a:lnTo>
                  <a:lnTo>
                    <a:pt x="410832" y="290093"/>
                  </a:lnTo>
                  <a:lnTo>
                    <a:pt x="368706" y="270357"/>
                  </a:lnTo>
                  <a:lnTo>
                    <a:pt x="323037" y="257937"/>
                  </a:lnTo>
                  <a:lnTo>
                    <a:pt x="274561" y="253568"/>
                  </a:lnTo>
                  <a:lnTo>
                    <a:pt x="273342" y="253568"/>
                  </a:lnTo>
                  <a:lnTo>
                    <a:pt x="224993" y="257924"/>
                  </a:lnTo>
                  <a:lnTo>
                    <a:pt x="179438" y="270281"/>
                  </a:lnTo>
                  <a:lnTo>
                    <a:pt x="137401" y="289928"/>
                  </a:lnTo>
                  <a:lnTo>
                    <a:pt x="99618" y="316128"/>
                  </a:lnTo>
                  <a:lnTo>
                    <a:pt x="66814" y="348132"/>
                  </a:lnTo>
                  <a:lnTo>
                    <a:pt x="39725" y="385241"/>
                  </a:lnTo>
                  <a:lnTo>
                    <a:pt x="19088" y="426694"/>
                  </a:lnTo>
                  <a:lnTo>
                    <a:pt x="5613" y="471792"/>
                  </a:lnTo>
                  <a:lnTo>
                    <a:pt x="50" y="519772"/>
                  </a:lnTo>
                  <a:lnTo>
                    <a:pt x="47713" y="515734"/>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40"/>
                  </a:lnTo>
                  <a:lnTo>
                    <a:pt x="295732" y="355511"/>
                  </a:lnTo>
                  <a:lnTo>
                    <a:pt x="316992" y="395300"/>
                  </a:lnTo>
                  <a:lnTo>
                    <a:pt x="344284" y="430834"/>
                  </a:lnTo>
                  <a:lnTo>
                    <a:pt x="376936" y="461441"/>
                  </a:lnTo>
                  <a:lnTo>
                    <a:pt x="414248" y="486410"/>
                  </a:lnTo>
                  <a:lnTo>
                    <a:pt x="455549" y="505104"/>
                  </a:lnTo>
                  <a:lnTo>
                    <a:pt x="500164" y="516813"/>
                  </a:lnTo>
                  <a:lnTo>
                    <a:pt x="548081" y="520865"/>
                  </a:lnTo>
                  <a:close/>
                </a:path>
                <a:path w="548640" h="786765">
                  <a:moveTo>
                    <a:pt x="548093" y="267322"/>
                  </a:moveTo>
                  <a:lnTo>
                    <a:pt x="542645" y="219151"/>
                  </a:lnTo>
                  <a:lnTo>
                    <a:pt x="529247" y="173875"/>
                  </a:lnTo>
                  <a:lnTo>
                    <a:pt x="508635" y="132245"/>
                  </a:lnTo>
                  <a:lnTo>
                    <a:pt x="481533" y="94996"/>
                  </a:lnTo>
                  <a:lnTo>
                    <a:pt x="448691" y="62852"/>
                  </a:lnTo>
                  <a:lnTo>
                    <a:pt x="426351" y="47332"/>
                  </a:lnTo>
                  <a:lnTo>
                    <a:pt x="410845" y="36537"/>
                  </a:lnTo>
                  <a:lnTo>
                    <a:pt x="391109" y="27305"/>
                  </a:lnTo>
                  <a:lnTo>
                    <a:pt x="368719" y="16814"/>
                  </a:lnTo>
                  <a:lnTo>
                    <a:pt x="323049" y="4394"/>
                  </a:lnTo>
                  <a:lnTo>
                    <a:pt x="274574" y="12"/>
                  </a:lnTo>
                  <a:lnTo>
                    <a:pt x="273342" y="0"/>
                  </a:lnTo>
                  <a:lnTo>
                    <a:pt x="224993" y="4356"/>
                  </a:lnTo>
                  <a:lnTo>
                    <a:pt x="179438" y="16725"/>
                  </a:lnTo>
                  <a:lnTo>
                    <a:pt x="137401" y="36372"/>
                  </a:lnTo>
                  <a:lnTo>
                    <a:pt x="99618" y="62560"/>
                  </a:lnTo>
                  <a:lnTo>
                    <a:pt x="66814" y="94576"/>
                  </a:lnTo>
                  <a:lnTo>
                    <a:pt x="39700" y="131686"/>
                  </a:lnTo>
                  <a:lnTo>
                    <a:pt x="19050" y="173139"/>
                  </a:lnTo>
                  <a:lnTo>
                    <a:pt x="5575" y="218211"/>
                  </a:lnTo>
                  <a:lnTo>
                    <a:pt x="0" y="266192"/>
                  </a:lnTo>
                  <a:lnTo>
                    <a:pt x="47713" y="262178"/>
                  </a:lnTo>
                  <a:lnTo>
                    <a:pt x="92240" y="250520"/>
                  </a:lnTo>
                  <a:lnTo>
                    <a:pt x="133477" y="231927"/>
                  </a:lnTo>
                  <a:lnTo>
                    <a:pt x="170738" y="207048"/>
                  </a:lnTo>
                  <a:lnTo>
                    <a:pt x="203365" y="176593"/>
                  </a:lnTo>
                  <a:lnTo>
                    <a:pt x="230682" y="141211"/>
                  </a:lnTo>
                  <a:lnTo>
                    <a:pt x="252006" y="101600"/>
                  </a:lnTo>
                  <a:lnTo>
                    <a:pt x="266674" y="58407"/>
                  </a:lnTo>
                  <a:lnTo>
                    <a:pt x="274002" y="12319"/>
                  </a:lnTo>
                  <a:lnTo>
                    <a:pt x="275107" y="19481"/>
                  </a:lnTo>
                  <a:lnTo>
                    <a:pt x="281165" y="58572"/>
                  </a:lnTo>
                  <a:lnTo>
                    <a:pt x="295732" y="101942"/>
                  </a:lnTo>
                  <a:lnTo>
                    <a:pt x="316992" y="141744"/>
                  </a:lnTo>
                  <a:lnTo>
                    <a:pt x="344284" y="177279"/>
                  </a:lnTo>
                  <a:lnTo>
                    <a:pt x="376936" y="207873"/>
                  </a:lnTo>
                  <a:lnTo>
                    <a:pt x="414248" y="232867"/>
                  </a:lnTo>
                  <a:lnTo>
                    <a:pt x="455561"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180" name="object 38">
              <a:extLst>
                <a:ext uri="{FF2B5EF4-FFF2-40B4-BE49-F238E27FC236}">
                  <a16:creationId xmlns:a16="http://schemas.microsoft.com/office/drawing/2014/main" id="{0687655B-8263-3DF4-114B-AC5BEA02F864}"/>
                </a:ext>
              </a:extLst>
            </p:cNvPr>
            <p:cNvPicPr/>
            <p:nvPr/>
          </p:nvPicPr>
          <p:blipFill>
            <a:blip r:embed="rId16" cstate="print"/>
            <a:stretch>
              <a:fillRect/>
            </a:stretch>
          </p:blipFill>
          <p:spPr>
            <a:xfrm>
              <a:off x="11947657" y="5626898"/>
              <a:ext cx="106445" cy="107156"/>
            </a:xfrm>
            <a:prstGeom prst="rect">
              <a:avLst/>
            </a:prstGeom>
          </p:spPr>
        </p:pic>
        <p:sp>
          <p:nvSpPr>
            <p:cNvPr id="181" name="object 39">
              <a:extLst>
                <a:ext uri="{FF2B5EF4-FFF2-40B4-BE49-F238E27FC236}">
                  <a16:creationId xmlns:a16="http://schemas.microsoft.com/office/drawing/2014/main" id="{A780A2C7-7AB3-5455-E9A8-324FB23E6C0F}"/>
                </a:ext>
              </a:extLst>
            </p:cNvPr>
            <p:cNvSpPr/>
            <p:nvPr/>
          </p:nvSpPr>
          <p:spPr>
            <a:xfrm>
              <a:off x="11834385" y="5825360"/>
              <a:ext cx="332700" cy="477101"/>
            </a:xfrm>
            <a:custGeom>
              <a:avLst/>
              <a:gdLst/>
              <a:ahLst/>
              <a:cxnLst/>
              <a:rect l="l" t="t" r="r" b="b"/>
              <a:pathLst>
                <a:path w="548640" h="786765">
                  <a:moveTo>
                    <a:pt x="548081" y="786396"/>
                  </a:moveTo>
                  <a:lnTo>
                    <a:pt x="542632" y="738238"/>
                  </a:lnTo>
                  <a:lnTo>
                    <a:pt x="529234" y="692975"/>
                  </a:lnTo>
                  <a:lnTo>
                    <a:pt x="508622" y="651344"/>
                  </a:lnTo>
                  <a:lnTo>
                    <a:pt x="481533" y="614095"/>
                  </a:lnTo>
                  <a:lnTo>
                    <a:pt x="448691" y="581939"/>
                  </a:lnTo>
                  <a:lnTo>
                    <a:pt x="410832" y="555637"/>
                  </a:lnTo>
                  <a:lnTo>
                    <a:pt x="368706" y="535901"/>
                  </a:lnTo>
                  <a:lnTo>
                    <a:pt x="323037" y="523481"/>
                  </a:lnTo>
                  <a:lnTo>
                    <a:pt x="274561" y="519099"/>
                  </a:lnTo>
                  <a:lnTo>
                    <a:pt x="273342" y="519099"/>
                  </a:lnTo>
                  <a:lnTo>
                    <a:pt x="224993" y="523455"/>
                  </a:lnTo>
                  <a:lnTo>
                    <a:pt x="179438" y="535825"/>
                  </a:lnTo>
                  <a:lnTo>
                    <a:pt x="137401" y="555472"/>
                  </a:lnTo>
                  <a:lnTo>
                    <a:pt x="99618" y="581660"/>
                  </a:lnTo>
                  <a:lnTo>
                    <a:pt x="66814" y="613676"/>
                  </a:lnTo>
                  <a:lnTo>
                    <a:pt x="39725" y="650773"/>
                  </a:lnTo>
                  <a:lnTo>
                    <a:pt x="19088" y="692238"/>
                  </a:lnTo>
                  <a:lnTo>
                    <a:pt x="5613" y="737323"/>
                  </a:lnTo>
                  <a:lnTo>
                    <a:pt x="50" y="785304"/>
                  </a:lnTo>
                  <a:lnTo>
                    <a:pt x="47713" y="781278"/>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72"/>
                  </a:lnTo>
                  <a:lnTo>
                    <a:pt x="295732" y="621042"/>
                  </a:lnTo>
                  <a:lnTo>
                    <a:pt x="316992" y="660831"/>
                  </a:lnTo>
                  <a:lnTo>
                    <a:pt x="344284" y="696366"/>
                  </a:lnTo>
                  <a:lnTo>
                    <a:pt x="376936" y="726973"/>
                  </a:lnTo>
                  <a:lnTo>
                    <a:pt x="414248"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33" y="348564"/>
                  </a:lnTo>
                  <a:lnTo>
                    <a:pt x="448691" y="316407"/>
                  </a:lnTo>
                  <a:lnTo>
                    <a:pt x="410832" y="290093"/>
                  </a:lnTo>
                  <a:lnTo>
                    <a:pt x="368706" y="270370"/>
                  </a:lnTo>
                  <a:lnTo>
                    <a:pt x="323037" y="257937"/>
                  </a:lnTo>
                  <a:lnTo>
                    <a:pt x="274561" y="253555"/>
                  </a:lnTo>
                  <a:lnTo>
                    <a:pt x="273342" y="253555"/>
                  </a:lnTo>
                  <a:lnTo>
                    <a:pt x="224993" y="257924"/>
                  </a:lnTo>
                  <a:lnTo>
                    <a:pt x="179438" y="270294"/>
                  </a:lnTo>
                  <a:lnTo>
                    <a:pt x="137401" y="289928"/>
                  </a:lnTo>
                  <a:lnTo>
                    <a:pt x="99618" y="316128"/>
                  </a:lnTo>
                  <a:lnTo>
                    <a:pt x="66814" y="348145"/>
                  </a:lnTo>
                  <a:lnTo>
                    <a:pt x="39725" y="385241"/>
                  </a:lnTo>
                  <a:lnTo>
                    <a:pt x="19088" y="426694"/>
                  </a:lnTo>
                  <a:lnTo>
                    <a:pt x="5613" y="471792"/>
                  </a:lnTo>
                  <a:lnTo>
                    <a:pt x="50" y="519772"/>
                  </a:lnTo>
                  <a:lnTo>
                    <a:pt x="47713" y="515734"/>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40"/>
                  </a:lnTo>
                  <a:lnTo>
                    <a:pt x="295732" y="355511"/>
                  </a:lnTo>
                  <a:lnTo>
                    <a:pt x="316992" y="395300"/>
                  </a:lnTo>
                  <a:lnTo>
                    <a:pt x="344284" y="430834"/>
                  </a:lnTo>
                  <a:lnTo>
                    <a:pt x="376936" y="461441"/>
                  </a:lnTo>
                  <a:lnTo>
                    <a:pt x="414248" y="486410"/>
                  </a:lnTo>
                  <a:lnTo>
                    <a:pt x="455549" y="505104"/>
                  </a:lnTo>
                  <a:lnTo>
                    <a:pt x="500164" y="516813"/>
                  </a:lnTo>
                  <a:lnTo>
                    <a:pt x="548081" y="520865"/>
                  </a:lnTo>
                  <a:close/>
                </a:path>
                <a:path w="548640" h="786765">
                  <a:moveTo>
                    <a:pt x="548093" y="267322"/>
                  </a:moveTo>
                  <a:lnTo>
                    <a:pt x="542645" y="219151"/>
                  </a:lnTo>
                  <a:lnTo>
                    <a:pt x="529247" y="173888"/>
                  </a:lnTo>
                  <a:lnTo>
                    <a:pt x="508635" y="132257"/>
                  </a:lnTo>
                  <a:lnTo>
                    <a:pt x="481533" y="94996"/>
                  </a:lnTo>
                  <a:lnTo>
                    <a:pt x="448691" y="62852"/>
                  </a:lnTo>
                  <a:lnTo>
                    <a:pt x="410845" y="36550"/>
                  </a:lnTo>
                  <a:lnTo>
                    <a:pt x="368719" y="16814"/>
                  </a:lnTo>
                  <a:lnTo>
                    <a:pt x="323049" y="4394"/>
                  </a:lnTo>
                  <a:lnTo>
                    <a:pt x="274561" y="0"/>
                  </a:lnTo>
                  <a:lnTo>
                    <a:pt x="273342" y="0"/>
                  </a:lnTo>
                  <a:lnTo>
                    <a:pt x="224993" y="4356"/>
                  </a:lnTo>
                  <a:lnTo>
                    <a:pt x="179438" y="16725"/>
                  </a:lnTo>
                  <a:lnTo>
                    <a:pt x="137401" y="36372"/>
                  </a:lnTo>
                  <a:lnTo>
                    <a:pt x="99618" y="62572"/>
                  </a:lnTo>
                  <a:lnTo>
                    <a:pt x="66814" y="94576"/>
                  </a:lnTo>
                  <a:lnTo>
                    <a:pt x="39700" y="131686"/>
                  </a:lnTo>
                  <a:lnTo>
                    <a:pt x="19050" y="173139"/>
                  </a:lnTo>
                  <a:lnTo>
                    <a:pt x="5575" y="218224"/>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4002" y="12331"/>
                  </a:lnTo>
                  <a:lnTo>
                    <a:pt x="275691" y="23266"/>
                  </a:lnTo>
                  <a:lnTo>
                    <a:pt x="281165" y="58585"/>
                  </a:lnTo>
                  <a:lnTo>
                    <a:pt x="295732" y="101955"/>
                  </a:lnTo>
                  <a:lnTo>
                    <a:pt x="316992" y="141744"/>
                  </a:lnTo>
                  <a:lnTo>
                    <a:pt x="344284" y="177279"/>
                  </a:lnTo>
                  <a:lnTo>
                    <a:pt x="376936" y="207886"/>
                  </a:lnTo>
                  <a:lnTo>
                    <a:pt x="414248" y="232867"/>
                  </a:lnTo>
                  <a:lnTo>
                    <a:pt x="455561"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182" name="object 40">
              <a:extLst>
                <a:ext uri="{FF2B5EF4-FFF2-40B4-BE49-F238E27FC236}">
                  <a16:creationId xmlns:a16="http://schemas.microsoft.com/office/drawing/2014/main" id="{D34A54DB-E92A-7E9D-5374-16E3C7581950}"/>
                </a:ext>
              </a:extLst>
            </p:cNvPr>
            <p:cNvPicPr/>
            <p:nvPr/>
          </p:nvPicPr>
          <p:blipFill>
            <a:blip r:embed="rId17" cstate="print"/>
            <a:stretch>
              <a:fillRect/>
            </a:stretch>
          </p:blipFill>
          <p:spPr>
            <a:xfrm>
              <a:off x="11947657" y="6281064"/>
              <a:ext cx="106445" cy="107156"/>
            </a:xfrm>
            <a:prstGeom prst="rect">
              <a:avLst/>
            </a:prstGeom>
          </p:spPr>
        </p:pic>
        <p:sp>
          <p:nvSpPr>
            <p:cNvPr id="183" name="object 53">
              <a:extLst>
                <a:ext uri="{FF2B5EF4-FFF2-40B4-BE49-F238E27FC236}">
                  <a16:creationId xmlns:a16="http://schemas.microsoft.com/office/drawing/2014/main" id="{00C9166D-A69C-02E6-820C-E1C4BBC25D56}"/>
                </a:ext>
              </a:extLst>
            </p:cNvPr>
            <p:cNvSpPr/>
            <p:nvPr/>
          </p:nvSpPr>
          <p:spPr>
            <a:xfrm>
              <a:off x="7598678" y="6037749"/>
              <a:ext cx="332700" cy="477101"/>
            </a:xfrm>
            <a:custGeom>
              <a:avLst/>
              <a:gdLst/>
              <a:ahLst/>
              <a:cxnLst/>
              <a:rect l="l" t="t" r="r" b="b"/>
              <a:pathLst>
                <a:path w="548640" h="786765">
                  <a:moveTo>
                    <a:pt x="548043" y="266611"/>
                  </a:moveTo>
                  <a:lnTo>
                    <a:pt x="500367" y="270649"/>
                  </a:lnTo>
                  <a:lnTo>
                    <a:pt x="455841" y="282308"/>
                  </a:lnTo>
                  <a:lnTo>
                    <a:pt x="414616" y="300901"/>
                  </a:lnTo>
                  <a:lnTo>
                    <a:pt x="377342" y="325780"/>
                  </a:lnTo>
                  <a:lnTo>
                    <a:pt x="344728" y="356235"/>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86"/>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26"/>
                  </a:lnTo>
                  <a:lnTo>
                    <a:pt x="225044" y="528459"/>
                  </a:lnTo>
                  <a:lnTo>
                    <a:pt x="273519" y="532841"/>
                  </a:lnTo>
                  <a:lnTo>
                    <a:pt x="274751" y="532841"/>
                  </a:lnTo>
                  <a:lnTo>
                    <a:pt x="323088" y="528472"/>
                  </a:lnTo>
                  <a:lnTo>
                    <a:pt x="368642" y="516102"/>
                  </a:lnTo>
                  <a:lnTo>
                    <a:pt x="410679" y="496468"/>
                  </a:lnTo>
                  <a:lnTo>
                    <a:pt x="448462" y="470268"/>
                  </a:lnTo>
                  <a:lnTo>
                    <a:pt x="481266" y="438251"/>
                  </a:lnTo>
                  <a:lnTo>
                    <a:pt x="508355" y="401154"/>
                  </a:lnTo>
                  <a:lnTo>
                    <a:pt x="529005" y="359689"/>
                  </a:lnTo>
                  <a:lnTo>
                    <a:pt x="542480" y="314604"/>
                  </a:lnTo>
                  <a:lnTo>
                    <a:pt x="548043" y="266611"/>
                  </a:lnTo>
                  <a:close/>
                </a:path>
                <a:path w="548640" h="786765">
                  <a:moveTo>
                    <a:pt x="548043" y="1092"/>
                  </a:moveTo>
                  <a:lnTo>
                    <a:pt x="500367" y="5130"/>
                  </a:lnTo>
                  <a:lnTo>
                    <a:pt x="455841" y="16789"/>
                  </a:lnTo>
                  <a:lnTo>
                    <a:pt x="414616" y="35382"/>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49"/>
                  </a:lnTo>
                  <a:lnTo>
                    <a:pt x="481266" y="172732"/>
                  </a:lnTo>
                  <a:lnTo>
                    <a:pt x="508355" y="135623"/>
                  </a:lnTo>
                  <a:lnTo>
                    <a:pt x="529005" y="94170"/>
                  </a:lnTo>
                  <a:lnTo>
                    <a:pt x="542480" y="49085"/>
                  </a:lnTo>
                  <a:lnTo>
                    <a:pt x="548043" y="1092"/>
                  </a:lnTo>
                  <a:close/>
                </a:path>
                <a:path w="548640" h="786765">
                  <a:moveTo>
                    <a:pt x="548081" y="520204"/>
                  </a:moveTo>
                  <a:lnTo>
                    <a:pt x="500367" y="524217"/>
                  </a:lnTo>
                  <a:lnTo>
                    <a:pt x="455841" y="535876"/>
                  </a:lnTo>
                  <a:lnTo>
                    <a:pt x="414616" y="554469"/>
                  </a:lnTo>
                  <a:lnTo>
                    <a:pt x="377342" y="579348"/>
                  </a:lnTo>
                  <a:lnTo>
                    <a:pt x="344728" y="609803"/>
                  </a:lnTo>
                  <a:lnTo>
                    <a:pt x="317398" y="645172"/>
                  </a:lnTo>
                  <a:lnTo>
                    <a:pt x="296075" y="684796"/>
                  </a:lnTo>
                  <a:lnTo>
                    <a:pt x="281419" y="727989"/>
                  </a:lnTo>
                  <a:lnTo>
                    <a:pt x="274078" y="774039"/>
                  </a:lnTo>
                  <a:lnTo>
                    <a:pt x="268224" y="736307"/>
                  </a:lnTo>
                  <a:lnTo>
                    <a:pt x="266915" y="727824"/>
                  </a:lnTo>
                  <a:lnTo>
                    <a:pt x="252361" y="684453"/>
                  </a:lnTo>
                  <a:lnTo>
                    <a:pt x="231089" y="644652"/>
                  </a:lnTo>
                  <a:lnTo>
                    <a:pt x="203796" y="609117"/>
                  </a:lnTo>
                  <a:lnTo>
                    <a:pt x="171157" y="578523"/>
                  </a:lnTo>
                  <a:lnTo>
                    <a:pt x="133845" y="553542"/>
                  </a:lnTo>
                  <a:lnTo>
                    <a:pt x="92532" y="534835"/>
                  </a:lnTo>
                  <a:lnTo>
                    <a:pt x="47904" y="523125"/>
                  </a:lnTo>
                  <a:lnTo>
                    <a:pt x="0" y="519074"/>
                  </a:lnTo>
                  <a:lnTo>
                    <a:pt x="5448" y="567258"/>
                  </a:lnTo>
                  <a:lnTo>
                    <a:pt x="9410" y="580644"/>
                  </a:lnTo>
                  <a:lnTo>
                    <a:pt x="18834" y="612508"/>
                  </a:lnTo>
                  <a:lnTo>
                    <a:pt x="39458" y="654138"/>
                  </a:lnTo>
                  <a:lnTo>
                    <a:pt x="66548" y="691400"/>
                  </a:lnTo>
                  <a:lnTo>
                    <a:pt x="99390" y="72354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2DB7EA"/>
            </a:solidFill>
          </p:spPr>
          <p:txBody>
            <a:bodyPr wrap="square" lIns="0" tIns="0" rIns="0" bIns="0" rtlCol="0"/>
            <a:lstStyle/>
            <a:p>
              <a:endParaRPr dirty="0"/>
            </a:p>
          </p:txBody>
        </p:sp>
        <p:pic>
          <p:nvPicPr>
            <p:cNvPr id="184" name="object 54">
              <a:extLst>
                <a:ext uri="{FF2B5EF4-FFF2-40B4-BE49-F238E27FC236}">
                  <a16:creationId xmlns:a16="http://schemas.microsoft.com/office/drawing/2014/main" id="{55612C8E-B41B-53DA-6A26-298FCDD4CE97}"/>
                </a:ext>
              </a:extLst>
            </p:cNvPr>
            <p:cNvPicPr/>
            <p:nvPr/>
          </p:nvPicPr>
          <p:blipFill>
            <a:blip r:embed="rId5" cstate="print"/>
            <a:stretch>
              <a:fillRect/>
            </a:stretch>
          </p:blipFill>
          <p:spPr>
            <a:xfrm>
              <a:off x="7711331" y="5951762"/>
              <a:ext cx="106445" cy="107156"/>
            </a:xfrm>
            <a:prstGeom prst="rect">
              <a:avLst/>
            </a:prstGeom>
          </p:spPr>
        </p:pic>
        <p:sp>
          <p:nvSpPr>
            <p:cNvPr id="185" name="object 55">
              <a:extLst>
                <a:ext uri="{FF2B5EF4-FFF2-40B4-BE49-F238E27FC236}">
                  <a16:creationId xmlns:a16="http://schemas.microsoft.com/office/drawing/2014/main" id="{D35B128B-8FEC-4870-4632-C5E5F023B7D6}"/>
                </a:ext>
              </a:extLst>
            </p:cNvPr>
            <p:cNvSpPr/>
            <p:nvPr/>
          </p:nvSpPr>
          <p:spPr>
            <a:xfrm>
              <a:off x="7598678" y="5383587"/>
              <a:ext cx="332700" cy="477101"/>
            </a:xfrm>
            <a:custGeom>
              <a:avLst/>
              <a:gdLst/>
              <a:ahLst/>
              <a:cxnLst/>
              <a:rect l="l" t="t" r="r" b="b"/>
              <a:pathLst>
                <a:path w="548640" h="786765">
                  <a:moveTo>
                    <a:pt x="548043" y="266623"/>
                  </a:moveTo>
                  <a:lnTo>
                    <a:pt x="500367" y="270649"/>
                  </a:lnTo>
                  <a:lnTo>
                    <a:pt x="455841" y="282308"/>
                  </a:lnTo>
                  <a:lnTo>
                    <a:pt x="414616" y="300913"/>
                  </a:lnTo>
                  <a:lnTo>
                    <a:pt x="377342" y="325780"/>
                  </a:lnTo>
                  <a:lnTo>
                    <a:pt x="344728" y="356235"/>
                  </a:lnTo>
                  <a:lnTo>
                    <a:pt x="317411" y="391617"/>
                  </a:lnTo>
                  <a:lnTo>
                    <a:pt x="296087" y="431241"/>
                  </a:lnTo>
                  <a:lnTo>
                    <a:pt x="281419" y="474446"/>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54"/>
                  </a:lnTo>
                  <a:lnTo>
                    <a:pt x="529005" y="359689"/>
                  </a:lnTo>
                  <a:lnTo>
                    <a:pt x="542480" y="314604"/>
                  </a:lnTo>
                  <a:lnTo>
                    <a:pt x="548043" y="266623"/>
                  </a:lnTo>
                  <a:close/>
                </a:path>
                <a:path w="548640" h="786765">
                  <a:moveTo>
                    <a:pt x="548043" y="1079"/>
                  </a:moveTo>
                  <a:lnTo>
                    <a:pt x="500367" y="5118"/>
                  </a:lnTo>
                  <a:lnTo>
                    <a:pt x="455841" y="16764"/>
                  </a:lnTo>
                  <a:lnTo>
                    <a:pt x="414616" y="35369"/>
                  </a:lnTo>
                  <a:lnTo>
                    <a:pt x="377342" y="60236"/>
                  </a:lnTo>
                  <a:lnTo>
                    <a:pt x="344728" y="90703"/>
                  </a:lnTo>
                  <a:lnTo>
                    <a:pt x="317411" y="126085"/>
                  </a:lnTo>
                  <a:lnTo>
                    <a:pt x="296087" y="165722"/>
                  </a:lnTo>
                  <a:lnTo>
                    <a:pt x="281419" y="208915"/>
                  </a:lnTo>
                  <a:lnTo>
                    <a:pt x="274091" y="255003"/>
                  </a:lnTo>
                  <a:lnTo>
                    <a:pt x="266915" y="208724"/>
                  </a:lnTo>
                  <a:lnTo>
                    <a:pt x="252361" y="165354"/>
                  </a:lnTo>
                  <a:lnTo>
                    <a:pt x="231089"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80" y="49072"/>
                  </a:lnTo>
                  <a:lnTo>
                    <a:pt x="548043" y="1079"/>
                  </a:lnTo>
                  <a:close/>
                </a:path>
                <a:path w="548640" h="786765">
                  <a:moveTo>
                    <a:pt x="548081" y="520192"/>
                  </a:moveTo>
                  <a:lnTo>
                    <a:pt x="500367" y="524217"/>
                  </a:lnTo>
                  <a:lnTo>
                    <a:pt x="455841" y="535876"/>
                  </a:lnTo>
                  <a:lnTo>
                    <a:pt x="414616" y="554469"/>
                  </a:lnTo>
                  <a:lnTo>
                    <a:pt x="377342" y="579335"/>
                  </a:lnTo>
                  <a:lnTo>
                    <a:pt x="344716" y="609790"/>
                  </a:lnTo>
                  <a:lnTo>
                    <a:pt x="317398" y="645172"/>
                  </a:lnTo>
                  <a:lnTo>
                    <a:pt x="296075" y="684796"/>
                  </a:lnTo>
                  <a:lnTo>
                    <a:pt x="281419" y="727976"/>
                  </a:lnTo>
                  <a:lnTo>
                    <a:pt x="274078" y="774039"/>
                  </a:lnTo>
                  <a:lnTo>
                    <a:pt x="266915" y="727811"/>
                  </a:lnTo>
                  <a:lnTo>
                    <a:pt x="252361" y="684441"/>
                  </a:lnTo>
                  <a:lnTo>
                    <a:pt x="231089" y="644652"/>
                  </a:lnTo>
                  <a:lnTo>
                    <a:pt x="203796" y="609117"/>
                  </a:lnTo>
                  <a:lnTo>
                    <a:pt x="171157" y="578523"/>
                  </a:lnTo>
                  <a:lnTo>
                    <a:pt x="133845" y="553542"/>
                  </a:lnTo>
                  <a:lnTo>
                    <a:pt x="92532" y="534847"/>
                  </a:lnTo>
                  <a:lnTo>
                    <a:pt x="47904" y="523125"/>
                  </a:lnTo>
                  <a:lnTo>
                    <a:pt x="0" y="519061"/>
                  </a:lnTo>
                  <a:lnTo>
                    <a:pt x="5448" y="567258"/>
                  </a:lnTo>
                  <a:lnTo>
                    <a:pt x="18834" y="612508"/>
                  </a:lnTo>
                  <a:lnTo>
                    <a:pt x="39458" y="654138"/>
                  </a:lnTo>
                  <a:lnTo>
                    <a:pt x="66548" y="691388"/>
                  </a:lnTo>
                  <a:lnTo>
                    <a:pt x="67246" y="692073"/>
                  </a:lnTo>
                  <a:lnTo>
                    <a:pt x="99390" y="723544"/>
                  </a:lnTo>
                  <a:lnTo>
                    <a:pt x="137248" y="749858"/>
                  </a:lnTo>
                  <a:lnTo>
                    <a:pt x="179374" y="769594"/>
                  </a:lnTo>
                  <a:lnTo>
                    <a:pt x="225044" y="782015"/>
                  </a:lnTo>
                  <a:lnTo>
                    <a:pt x="273519" y="786396"/>
                  </a:lnTo>
                  <a:lnTo>
                    <a:pt x="274751" y="786396"/>
                  </a:lnTo>
                  <a:lnTo>
                    <a:pt x="323088" y="782027"/>
                  </a:lnTo>
                  <a:lnTo>
                    <a:pt x="368642" y="769670"/>
                  </a:lnTo>
                  <a:lnTo>
                    <a:pt x="410679" y="750023"/>
                  </a:lnTo>
                  <a:lnTo>
                    <a:pt x="448462" y="723823"/>
                  </a:lnTo>
                  <a:lnTo>
                    <a:pt x="481266" y="691819"/>
                  </a:lnTo>
                  <a:lnTo>
                    <a:pt x="508393" y="654697"/>
                  </a:lnTo>
                  <a:lnTo>
                    <a:pt x="529043" y="613244"/>
                  </a:lnTo>
                  <a:lnTo>
                    <a:pt x="542518" y="568172"/>
                  </a:lnTo>
                  <a:lnTo>
                    <a:pt x="548081" y="520192"/>
                  </a:lnTo>
                  <a:close/>
                </a:path>
              </a:pathLst>
            </a:custGeom>
            <a:solidFill>
              <a:srgbClr val="7ED3F1"/>
            </a:solidFill>
          </p:spPr>
          <p:txBody>
            <a:bodyPr wrap="square" lIns="0" tIns="0" rIns="0" bIns="0" rtlCol="0"/>
            <a:lstStyle/>
            <a:p>
              <a:endParaRPr dirty="0"/>
            </a:p>
          </p:txBody>
        </p:sp>
        <p:pic>
          <p:nvPicPr>
            <p:cNvPr id="186" name="object 56">
              <a:extLst>
                <a:ext uri="{FF2B5EF4-FFF2-40B4-BE49-F238E27FC236}">
                  <a16:creationId xmlns:a16="http://schemas.microsoft.com/office/drawing/2014/main" id="{D3B3D85B-80A8-123D-844D-8BF925BE44C6}"/>
                </a:ext>
              </a:extLst>
            </p:cNvPr>
            <p:cNvPicPr/>
            <p:nvPr/>
          </p:nvPicPr>
          <p:blipFill>
            <a:blip r:embed="rId6" cstate="print"/>
            <a:stretch>
              <a:fillRect/>
            </a:stretch>
          </p:blipFill>
          <p:spPr>
            <a:xfrm>
              <a:off x="7711331" y="5297596"/>
              <a:ext cx="106445" cy="107156"/>
            </a:xfrm>
            <a:prstGeom prst="rect">
              <a:avLst/>
            </a:prstGeom>
          </p:spPr>
        </p:pic>
        <p:sp>
          <p:nvSpPr>
            <p:cNvPr id="187" name="object 57">
              <a:extLst>
                <a:ext uri="{FF2B5EF4-FFF2-40B4-BE49-F238E27FC236}">
                  <a16:creationId xmlns:a16="http://schemas.microsoft.com/office/drawing/2014/main" id="{E561F993-A3F5-E0E4-437F-1094F4D8A732}"/>
                </a:ext>
              </a:extLst>
            </p:cNvPr>
            <p:cNvSpPr/>
            <p:nvPr/>
          </p:nvSpPr>
          <p:spPr>
            <a:xfrm>
              <a:off x="7598678" y="6691912"/>
              <a:ext cx="332700" cy="165965"/>
            </a:xfrm>
            <a:custGeom>
              <a:avLst/>
              <a:gdLst/>
              <a:ahLst/>
              <a:cxnLst/>
              <a:rect l="l" t="t" r="r" b="b"/>
              <a:pathLst>
                <a:path w="548640" h="273684">
                  <a:moveTo>
                    <a:pt x="62560" y="273431"/>
                  </a:moveTo>
                  <a:lnTo>
                    <a:pt x="47917" y="269595"/>
                  </a:lnTo>
                  <a:lnTo>
                    <a:pt x="0" y="265544"/>
                  </a:lnTo>
                  <a:lnTo>
                    <a:pt x="901" y="273431"/>
                  </a:lnTo>
                  <a:lnTo>
                    <a:pt x="62560" y="273431"/>
                  </a:lnTo>
                  <a:close/>
                </a:path>
                <a:path w="548640" h="273684">
                  <a:moveTo>
                    <a:pt x="548043" y="266623"/>
                  </a:moveTo>
                  <a:lnTo>
                    <a:pt x="500367" y="270649"/>
                  </a:lnTo>
                  <a:lnTo>
                    <a:pt x="489737" y="273431"/>
                  </a:lnTo>
                  <a:lnTo>
                    <a:pt x="547243" y="273431"/>
                  </a:lnTo>
                  <a:lnTo>
                    <a:pt x="548043" y="266623"/>
                  </a:lnTo>
                  <a:close/>
                </a:path>
                <a:path w="548640" h="273684">
                  <a:moveTo>
                    <a:pt x="548043" y="1079"/>
                  </a:moveTo>
                  <a:lnTo>
                    <a:pt x="500367" y="5118"/>
                  </a:lnTo>
                  <a:lnTo>
                    <a:pt x="455841" y="16776"/>
                  </a:lnTo>
                  <a:lnTo>
                    <a:pt x="414616" y="35382"/>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21"/>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57"/>
                  </a:lnTo>
                  <a:lnTo>
                    <a:pt x="542480" y="49072"/>
                  </a:lnTo>
                  <a:lnTo>
                    <a:pt x="548043" y="1079"/>
                  </a:lnTo>
                  <a:close/>
                </a:path>
              </a:pathLst>
            </a:custGeom>
            <a:solidFill>
              <a:srgbClr val="7ED3F1"/>
            </a:solidFill>
          </p:spPr>
          <p:txBody>
            <a:bodyPr wrap="square" lIns="0" tIns="0" rIns="0" bIns="0" rtlCol="0"/>
            <a:lstStyle/>
            <a:p>
              <a:endParaRPr dirty="0"/>
            </a:p>
          </p:txBody>
        </p:sp>
        <p:pic>
          <p:nvPicPr>
            <p:cNvPr id="188" name="object 58">
              <a:extLst>
                <a:ext uri="{FF2B5EF4-FFF2-40B4-BE49-F238E27FC236}">
                  <a16:creationId xmlns:a16="http://schemas.microsoft.com/office/drawing/2014/main" id="{DD1B5512-19CB-8197-10A4-E14F6972151B}"/>
                </a:ext>
              </a:extLst>
            </p:cNvPr>
            <p:cNvPicPr/>
            <p:nvPr/>
          </p:nvPicPr>
          <p:blipFill>
            <a:blip r:embed="rId6" cstate="print"/>
            <a:stretch>
              <a:fillRect/>
            </a:stretch>
          </p:blipFill>
          <p:spPr>
            <a:xfrm>
              <a:off x="7711331" y="6605926"/>
              <a:ext cx="106445" cy="107156"/>
            </a:xfrm>
            <a:prstGeom prst="rect">
              <a:avLst/>
            </a:prstGeom>
          </p:spPr>
        </p:pic>
        <p:sp>
          <p:nvSpPr>
            <p:cNvPr id="208" name="object 59">
              <a:extLst>
                <a:ext uri="{FF2B5EF4-FFF2-40B4-BE49-F238E27FC236}">
                  <a16:creationId xmlns:a16="http://schemas.microsoft.com/office/drawing/2014/main" id="{9AFAA8EF-51FE-C015-1A95-613B87BC1E7C}"/>
                </a:ext>
              </a:extLst>
            </p:cNvPr>
            <p:cNvSpPr/>
            <p:nvPr/>
          </p:nvSpPr>
          <p:spPr>
            <a:xfrm>
              <a:off x="7226300" y="6479532"/>
              <a:ext cx="319992" cy="316141"/>
            </a:xfrm>
            <a:custGeom>
              <a:avLst/>
              <a:gdLst/>
              <a:ahLst/>
              <a:cxnLst/>
              <a:rect l="l" t="t" r="r" b="b"/>
              <a:pathLst>
                <a:path w="527684" h="521334">
                  <a:moveTo>
                    <a:pt x="527126" y="520852"/>
                  </a:moveTo>
                  <a:lnTo>
                    <a:pt x="521677" y="472694"/>
                  </a:lnTo>
                  <a:lnTo>
                    <a:pt x="508279" y="427431"/>
                  </a:lnTo>
                  <a:lnTo>
                    <a:pt x="487667" y="385800"/>
                  </a:lnTo>
                  <a:lnTo>
                    <a:pt x="460578" y="348551"/>
                  </a:lnTo>
                  <a:lnTo>
                    <a:pt x="427736" y="316395"/>
                  </a:lnTo>
                  <a:lnTo>
                    <a:pt x="389877" y="290093"/>
                  </a:lnTo>
                  <a:lnTo>
                    <a:pt x="347751" y="270357"/>
                  </a:lnTo>
                  <a:lnTo>
                    <a:pt x="302082" y="257924"/>
                  </a:lnTo>
                  <a:lnTo>
                    <a:pt x="253606" y="253555"/>
                  </a:lnTo>
                  <a:lnTo>
                    <a:pt x="252387" y="253555"/>
                  </a:lnTo>
                  <a:lnTo>
                    <a:pt x="204038" y="257911"/>
                  </a:lnTo>
                  <a:lnTo>
                    <a:pt x="158483" y="270281"/>
                  </a:lnTo>
                  <a:lnTo>
                    <a:pt x="116446" y="289915"/>
                  </a:lnTo>
                  <a:lnTo>
                    <a:pt x="78663" y="316115"/>
                  </a:lnTo>
                  <a:lnTo>
                    <a:pt x="45859" y="348132"/>
                  </a:lnTo>
                  <a:lnTo>
                    <a:pt x="18770" y="385229"/>
                  </a:lnTo>
                  <a:lnTo>
                    <a:pt x="0" y="422922"/>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27"/>
                  </a:lnTo>
                  <a:lnTo>
                    <a:pt x="274777" y="355498"/>
                  </a:lnTo>
                  <a:lnTo>
                    <a:pt x="296037" y="395300"/>
                  </a:lnTo>
                  <a:lnTo>
                    <a:pt x="323329" y="430834"/>
                  </a:lnTo>
                  <a:lnTo>
                    <a:pt x="355968" y="461429"/>
                  </a:lnTo>
                  <a:lnTo>
                    <a:pt x="393293" y="486410"/>
                  </a:lnTo>
                  <a:lnTo>
                    <a:pt x="434594" y="505091"/>
                  </a:lnTo>
                  <a:lnTo>
                    <a:pt x="479209" y="516801"/>
                  </a:lnTo>
                  <a:lnTo>
                    <a:pt x="527126" y="520852"/>
                  </a:lnTo>
                  <a:close/>
                </a:path>
                <a:path w="527684" h="521334">
                  <a:moveTo>
                    <a:pt x="527138" y="267322"/>
                  </a:moveTo>
                  <a:lnTo>
                    <a:pt x="521690" y="219138"/>
                  </a:lnTo>
                  <a:lnTo>
                    <a:pt x="508292" y="173875"/>
                  </a:lnTo>
                  <a:lnTo>
                    <a:pt x="487680" y="132245"/>
                  </a:lnTo>
                  <a:lnTo>
                    <a:pt x="460578" y="94996"/>
                  </a:lnTo>
                  <a:lnTo>
                    <a:pt x="427736" y="62839"/>
                  </a:lnTo>
                  <a:lnTo>
                    <a:pt x="389890" y="36537"/>
                  </a:lnTo>
                  <a:lnTo>
                    <a:pt x="347764" y="16814"/>
                  </a:lnTo>
                  <a:lnTo>
                    <a:pt x="302082" y="4368"/>
                  </a:lnTo>
                  <a:lnTo>
                    <a:pt x="253619" y="12"/>
                  </a:lnTo>
                  <a:lnTo>
                    <a:pt x="252387" y="0"/>
                  </a:lnTo>
                  <a:lnTo>
                    <a:pt x="204038" y="4356"/>
                  </a:lnTo>
                  <a:lnTo>
                    <a:pt x="158483" y="16713"/>
                  </a:lnTo>
                  <a:lnTo>
                    <a:pt x="116446" y="36360"/>
                  </a:lnTo>
                  <a:lnTo>
                    <a:pt x="78663" y="62560"/>
                  </a:lnTo>
                  <a:lnTo>
                    <a:pt x="45859" y="94576"/>
                  </a:lnTo>
                  <a:lnTo>
                    <a:pt x="18745" y="131686"/>
                  </a:lnTo>
                  <a:lnTo>
                    <a:pt x="0" y="169291"/>
                  </a:lnTo>
                  <a:lnTo>
                    <a:pt x="0" y="264439"/>
                  </a:lnTo>
                  <a:lnTo>
                    <a:pt x="26758" y="262178"/>
                  </a:lnTo>
                  <a:lnTo>
                    <a:pt x="71285" y="250520"/>
                  </a:lnTo>
                  <a:lnTo>
                    <a:pt x="112522" y="231914"/>
                  </a:lnTo>
                  <a:lnTo>
                    <a:pt x="149783" y="207048"/>
                  </a:lnTo>
                  <a:lnTo>
                    <a:pt x="182410" y="176593"/>
                  </a:lnTo>
                  <a:lnTo>
                    <a:pt x="209727" y="141211"/>
                  </a:lnTo>
                  <a:lnTo>
                    <a:pt x="231051" y="101600"/>
                  </a:lnTo>
                  <a:lnTo>
                    <a:pt x="245719" y="58407"/>
                  </a:lnTo>
                  <a:lnTo>
                    <a:pt x="253034" y="12357"/>
                  </a:lnTo>
                  <a:lnTo>
                    <a:pt x="260210" y="58572"/>
                  </a:lnTo>
                  <a:lnTo>
                    <a:pt x="274777" y="101942"/>
                  </a:lnTo>
                  <a:lnTo>
                    <a:pt x="296037" y="141744"/>
                  </a:lnTo>
                  <a:lnTo>
                    <a:pt x="323329" y="177279"/>
                  </a:lnTo>
                  <a:lnTo>
                    <a:pt x="355968" y="207873"/>
                  </a:lnTo>
                  <a:lnTo>
                    <a:pt x="393293" y="232854"/>
                  </a:lnTo>
                  <a:lnTo>
                    <a:pt x="434606" y="251548"/>
                  </a:lnTo>
                  <a:lnTo>
                    <a:pt x="479221" y="263258"/>
                  </a:lnTo>
                  <a:lnTo>
                    <a:pt x="527138" y="267322"/>
                  </a:lnTo>
                  <a:close/>
                </a:path>
              </a:pathLst>
            </a:custGeom>
            <a:solidFill>
              <a:srgbClr val="2DB7EA"/>
            </a:solidFill>
          </p:spPr>
          <p:txBody>
            <a:bodyPr wrap="square" lIns="0" tIns="0" rIns="0" bIns="0" rtlCol="0"/>
            <a:lstStyle/>
            <a:p>
              <a:endParaRPr dirty="0"/>
            </a:p>
          </p:txBody>
        </p:sp>
        <p:pic>
          <p:nvPicPr>
            <p:cNvPr id="209" name="object 60">
              <a:extLst>
                <a:ext uri="{FF2B5EF4-FFF2-40B4-BE49-F238E27FC236}">
                  <a16:creationId xmlns:a16="http://schemas.microsoft.com/office/drawing/2014/main" id="{CCE2B985-779F-F36E-8257-A93D142A1258}"/>
                </a:ext>
              </a:extLst>
            </p:cNvPr>
            <p:cNvPicPr/>
            <p:nvPr/>
          </p:nvPicPr>
          <p:blipFill>
            <a:blip r:embed="rId18" cstate="print"/>
            <a:stretch>
              <a:fillRect/>
            </a:stretch>
          </p:blipFill>
          <p:spPr>
            <a:xfrm>
              <a:off x="7249688" y="6794307"/>
              <a:ext cx="260137" cy="63416"/>
            </a:xfrm>
            <a:prstGeom prst="rect">
              <a:avLst/>
            </a:prstGeom>
          </p:spPr>
        </p:pic>
        <p:sp>
          <p:nvSpPr>
            <p:cNvPr id="210" name="object 61">
              <a:extLst>
                <a:ext uri="{FF2B5EF4-FFF2-40B4-BE49-F238E27FC236}">
                  <a16:creationId xmlns:a16="http://schemas.microsoft.com/office/drawing/2014/main" id="{FB405E77-C5E6-4105-229B-55866B4C43CF}"/>
                </a:ext>
              </a:extLst>
            </p:cNvPr>
            <p:cNvSpPr/>
            <p:nvPr/>
          </p:nvSpPr>
          <p:spPr>
            <a:xfrm>
              <a:off x="7226300" y="5171198"/>
              <a:ext cx="319992" cy="477101"/>
            </a:xfrm>
            <a:custGeom>
              <a:avLst/>
              <a:gdLst/>
              <a:ahLst/>
              <a:cxnLst/>
              <a:rect l="l" t="t" r="r" b="b"/>
              <a:pathLst>
                <a:path w="527684" h="786765">
                  <a:moveTo>
                    <a:pt x="527126" y="786396"/>
                  </a:moveTo>
                  <a:lnTo>
                    <a:pt x="521677" y="738225"/>
                  </a:lnTo>
                  <a:lnTo>
                    <a:pt x="508279" y="692975"/>
                  </a:lnTo>
                  <a:lnTo>
                    <a:pt x="487667" y="651344"/>
                  </a:lnTo>
                  <a:lnTo>
                    <a:pt x="460578" y="614083"/>
                  </a:lnTo>
                  <a:lnTo>
                    <a:pt x="427736" y="581939"/>
                  </a:lnTo>
                  <a:lnTo>
                    <a:pt x="389877" y="555625"/>
                  </a:lnTo>
                  <a:lnTo>
                    <a:pt x="347751" y="535889"/>
                  </a:lnTo>
                  <a:lnTo>
                    <a:pt x="302082" y="523468"/>
                  </a:lnTo>
                  <a:lnTo>
                    <a:pt x="253606" y="519087"/>
                  </a:lnTo>
                  <a:lnTo>
                    <a:pt x="252387" y="519087"/>
                  </a:lnTo>
                  <a:lnTo>
                    <a:pt x="204038" y="523455"/>
                  </a:lnTo>
                  <a:lnTo>
                    <a:pt x="158483" y="535813"/>
                  </a:lnTo>
                  <a:lnTo>
                    <a:pt x="116446" y="555459"/>
                  </a:lnTo>
                  <a:lnTo>
                    <a:pt x="78663" y="581660"/>
                  </a:lnTo>
                  <a:lnTo>
                    <a:pt x="45859" y="613676"/>
                  </a:lnTo>
                  <a:lnTo>
                    <a:pt x="18770" y="650773"/>
                  </a:lnTo>
                  <a:lnTo>
                    <a:pt x="0" y="688467"/>
                  </a:lnTo>
                  <a:lnTo>
                    <a:pt x="0" y="783564"/>
                  </a:lnTo>
                  <a:lnTo>
                    <a:pt x="71285" y="769620"/>
                  </a:lnTo>
                  <a:lnTo>
                    <a:pt x="112522" y="751027"/>
                  </a:lnTo>
                  <a:lnTo>
                    <a:pt x="149783" y="726147"/>
                  </a:lnTo>
                  <a:lnTo>
                    <a:pt x="182410" y="695680"/>
                  </a:lnTo>
                  <a:lnTo>
                    <a:pt x="209715" y="660298"/>
                  </a:lnTo>
                  <a:lnTo>
                    <a:pt x="231038" y="620674"/>
                  </a:lnTo>
                  <a:lnTo>
                    <a:pt x="245706" y="577481"/>
                  </a:lnTo>
                  <a:lnTo>
                    <a:pt x="253034" y="531393"/>
                  </a:lnTo>
                  <a:lnTo>
                    <a:pt x="260210" y="577672"/>
                  </a:lnTo>
                  <a:lnTo>
                    <a:pt x="274777" y="621042"/>
                  </a:lnTo>
                  <a:lnTo>
                    <a:pt x="296037" y="660831"/>
                  </a:lnTo>
                  <a:lnTo>
                    <a:pt x="323329" y="696366"/>
                  </a:lnTo>
                  <a:lnTo>
                    <a:pt x="355968" y="726960"/>
                  </a:lnTo>
                  <a:lnTo>
                    <a:pt x="393293" y="751941"/>
                  </a:lnTo>
                  <a:lnTo>
                    <a:pt x="434594" y="770623"/>
                  </a:lnTo>
                  <a:lnTo>
                    <a:pt x="479209" y="782332"/>
                  </a:lnTo>
                  <a:lnTo>
                    <a:pt x="527126" y="786396"/>
                  </a:lnTo>
                  <a:close/>
                </a:path>
                <a:path w="527684" h="786765">
                  <a:moveTo>
                    <a:pt x="527126" y="520865"/>
                  </a:moveTo>
                  <a:lnTo>
                    <a:pt x="521677" y="472706"/>
                  </a:lnTo>
                  <a:lnTo>
                    <a:pt x="508279" y="427443"/>
                  </a:lnTo>
                  <a:lnTo>
                    <a:pt x="487667" y="385813"/>
                  </a:lnTo>
                  <a:lnTo>
                    <a:pt x="460578" y="348551"/>
                  </a:lnTo>
                  <a:lnTo>
                    <a:pt x="427736" y="316407"/>
                  </a:lnTo>
                  <a:lnTo>
                    <a:pt x="389877" y="290093"/>
                  </a:lnTo>
                  <a:lnTo>
                    <a:pt x="347751" y="270357"/>
                  </a:lnTo>
                  <a:lnTo>
                    <a:pt x="302082" y="257937"/>
                  </a:lnTo>
                  <a:lnTo>
                    <a:pt x="253606" y="253568"/>
                  </a:lnTo>
                  <a:lnTo>
                    <a:pt x="252387" y="253568"/>
                  </a:lnTo>
                  <a:lnTo>
                    <a:pt x="204038" y="257924"/>
                  </a:lnTo>
                  <a:lnTo>
                    <a:pt x="158483" y="270281"/>
                  </a:lnTo>
                  <a:lnTo>
                    <a:pt x="116446" y="289928"/>
                  </a:lnTo>
                  <a:lnTo>
                    <a:pt x="78663" y="316128"/>
                  </a:lnTo>
                  <a:lnTo>
                    <a:pt x="45859" y="348132"/>
                  </a:lnTo>
                  <a:lnTo>
                    <a:pt x="18770" y="385241"/>
                  </a:lnTo>
                  <a:lnTo>
                    <a:pt x="0" y="422922"/>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40"/>
                  </a:lnTo>
                  <a:lnTo>
                    <a:pt x="274777" y="355511"/>
                  </a:lnTo>
                  <a:lnTo>
                    <a:pt x="296037" y="395300"/>
                  </a:lnTo>
                  <a:lnTo>
                    <a:pt x="323329" y="430834"/>
                  </a:lnTo>
                  <a:lnTo>
                    <a:pt x="355968" y="461441"/>
                  </a:lnTo>
                  <a:lnTo>
                    <a:pt x="393293" y="486410"/>
                  </a:lnTo>
                  <a:lnTo>
                    <a:pt x="434594" y="505104"/>
                  </a:lnTo>
                  <a:lnTo>
                    <a:pt x="479209" y="516813"/>
                  </a:lnTo>
                  <a:lnTo>
                    <a:pt x="527126" y="520865"/>
                  </a:lnTo>
                  <a:close/>
                </a:path>
                <a:path w="527684" h="786765">
                  <a:moveTo>
                    <a:pt x="527138" y="267322"/>
                  </a:moveTo>
                  <a:lnTo>
                    <a:pt x="521690" y="219151"/>
                  </a:lnTo>
                  <a:lnTo>
                    <a:pt x="508292" y="173875"/>
                  </a:lnTo>
                  <a:lnTo>
                    <a:pt x="487680" y="132245"/>
                  </a:lnTo>
                  <a:lnTo>
                    <a:pt x="460578" y="94996"/>
                  </a:lnTo>
                  <a:lnTo>
                    <a:pt x="427736" y="62852"/>
                  </a:lnTo>
                  <a:lnTo>
                    <a:pt x="405396" y="47332"/>
                  </a:lnTo>
                  <a:lnTo>
                    <a:pt x="389890" y="36537"/>
                  </a:lnTo>
                  <a:lnTo>
                    <a:pt x="370154" y="27305"/>
                  </a:lnTo>
                  <a:lnTo>
                    <a:pt x="347764" y="16814"/>
                  </a:lnTo>
                  <a:lnTo>
                    <a:pt x="302094" y="4394"/>
                  </a:lnTo>
                  <a:lnTo>
                    <a:pt x="253619" y="12"/>
                  </a:lnTo>
                  <a:lnTo>
                    <a:pt x="252387" y="0"/>
                  </a:lnTo>
                  <a:lnTo>
                    <a:pt x="204038" y="4356"/>
                  </a:lnTo>
                  <a:lnTo>
                    <a:pt x="158483" y="16725"/>
                  </a:lnTo>
                  <a:lnTo>
                    <a:pt x="116446" y="36372"/>
                  </a:lnTo>
                  <a:lnTo>
                    <a:pt x="78663" y="62560"/>
                  </a:lnTo>
                  <a:lnTo>
                    <a:pt x="45859" y="94576"/>
                  </a:lnTo>
                  <a:lnTo>
                    <a:pt x="18745" y="131686"/>
                  </a:lnTo>
                  <a:lnTo>
                    <a:pt x="0" y="169291"/>
                  </a:lnTo>
                  <a:lnTo>
                    <a:pt x="0" y="264439"/>
                  </a:lnTo>
                  <a:lnTo>
                    <a:pt x="26758" y="262178"/>
                  </a:lnTo>
                  <a:lnTo>
                    <a:pt x="71285" y="250520"/>
                  </a:lnTo>
                  <a:lnTo>
                    <a:pt x="112522" y="231927"/>
                  </a:lnTo>
                  <a:lnTo>
                    <a:pt x="149783" y="207048"/>
                  </a:lnTo>
                  <a:lnTo>
                    <a:pt x="182410" y="176593"/>
                  </a:lnTo>
                  <a:lnTo>
                    <a:pt x="209727" y="141211"/>
                  </a:lnTo>
                  <a:lnTo>
                    <a:pt x="231051" y="101600"/>
                  </a:lnTo>
                  <a:lnTo>
                    <a:pt x="245719" y="58407"/>
                  </a:lnTo>
                  <a:lnTo>
                    <a:pt x="253034" y="12357"/>
                  </a:lnTo>
                  <a:lnTo>
                    <a:pt x="260210" y="58572"/>
                  </a:lnTo>
                  <a:lnTo>
                    <a:pt x="274777" y="101942"/>
                  </a:lnTo>
                  <a:lnTo>
                    <a:pt x="296037" y="141744"/>
                  </a:lnTo>
                  <a:lnTo>
                    <a:pt x="323329" y="177279"/>
                  </a:lnTo>
                  <a:lnTo>
                    <a:pt x="355968" y="207873"/>
                  </a:lnTo>
                  <a:lnTo>
                    <a:pt x="393293" y="232867"/>
                  </a:lnTo>
                  <a:lnTo>
                    <a:pt x="434606" y="251548"/>
                  </a:lnTo>
                  <a:lnTo>
                    <a:pt x="479221" y="263258"/>
                  </a:lnTo>
                  <a:lnTo>
                    <a:pt x="527138" y="267322"/>
                  </a:lnTo>
                  <a:close/>
                </a:path>
              </a:pathLst>
            </a:custGeom>
            <a:solidFill>
              <a:srgbClr val="2DB7EA"/>
            </a:solidFill>
          </p:spPr>
          <p:txBody>
            <a:bodyPr wrap="square" lIns="0" tIns="0" rIns="0" bIns="0" rtlCol="0"/>
            <a:lstStyle/>
            <a:p>
              <a:endParaRPr dirty="0"/>
            </a:p>
          </p:txBody>
        </p:sp>
        <p:pic>
          <p:nvPicPr>
            <p:cNvPr id="211" name="object 62">
              <a:extLst>
                <a:ext uri="{FF2B5EF4-FFF2-40B4-BE49-F238E27FC236}">
                  <a16:creationId xmlns:a16="http://schemas.microsoft.com/office/drawing/2014/main" id="{17A1BB00-7536-93B1-24F1-459EB1DD78E9}"/>
                </a:ext>
              </a:extLst>
            </p:cNvPr>
            <p:cNvPicPr/>
            <p:nvPr/>
          </p:nvPicPr>
          <p:blipFill>
            <a:blip r:embed="rId16" cstate="print"/>
            <a:stretch>
              <a:fillRect/>
            </a:stretch>
          </p:blipFill>
          <p:spPr>
            <a:xfrm>
              <a:off x="7326865" y="5626898"/>
              <a:ext cx="106445" cy="107156"/>
            </a:xfrm>
            <a:prstGeom prst="rect">
              <a:avLst/>
            </a:prstGeom>
          </p:spPr>
        </p:pic>
        <p:sp>
          <p:nvSpPr>
            <p:cNvPr id="212" name="object 63">
              <a:extLst>
                <a:ext uri="{FF2B5EF4-FFF2-40B4-BE49-F238E27FC236}">
                  <a16:creationId xmlns:a16="http://schemas.microsoft.com/office/drawing/2014/main" id="{D0B1CC57-EB71-8E75-EDB1-D8CE25954B4E}"/>
                </a:ext>
              </a:extLst>
            </p:cNvPr>
            <p:cNvSpPr/>
            <p:nvPr/>
          </p:nvSpPr>
          <p:spPr>
            <a:xfrm>
              <a:off x="7226300" y="5825360"/>
              <a:ext cx="319992" cy="477101"/>
            </a:xfrm>
            <a:custGeom>
              <a:avLst/>
              <a:gdLst/>
              <a:ahLst/>
              <a:cxnLst/>
              <a:rect l="l" t="t" r="r" b="b"/>
              <a:pathLst>
                <a:path w="527684" h="786765">
                  <a:moveTo>
                    <a:pt x="527126" y="786396"/>
                  </a:moveTo>
                  <a:lnTo>
                    <a:pt x="521677" y="738238"/>
                  </a:lnTo>
                  <a:lnTo>
                    <a:pt x="508279" y="692975"/>
                  </a:lnTo>
                  <a:lnTo>
                    <a:pt x="487667" y="651344"/>
                  </a:lnTo>
                  <a:lnTo>
                    <a:pt x="460578" y="614095"/>
                  </a:lnTo>
                  <a:lnTo>
                    <a:pt x="427736" y="581939"/>
                  </a:lnTo>
                  <a:lnTo>
                    <a:pt x="389877" y="555637"/>
                  </a:lnTo>
                  <a:lnTo>
                    <a:pt x="347751" y="535901"/>
                  </a:lnTo>
                  <a:lnTo>
                    <a:pt x="302082" y="523481"/>
                  </a:lnTo>
                  <a:lnTo>
                    <a:pt x="253606" y="519099"/>
                  </a:lnTo>
                  <a:lnTo>
                    <a:pt x="252387" y="519099"/>
                  </a:lnTo>
                  <a:lnTo>
                    <a:pt x="204038" y="523455"/>
                  </a:lnTo>
                  <a:lnTo>
                    <a:pt x="158483" y="535825"/>
                  </a:lnTo>
                  <a:lnTo>
                    <a:pt x="116446" y="555472"/>
                  </a:lnTo>
                  <a:lnTo>
                    <a:pt x="78663" y="581660"/>
                  </a:lnTo>
                  <a:lnTo>
                    <a:pt x="45859" y="613676"/>
                  </a:lnTo>
                  <a:lnTo>
                    <a:pt x="18770" y="650773"/>
                  </a:lnTo>
                  <a:lnTo>
                    <a:pt x="0" y="688467"/>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72"/>
                  </a:lnTo>
                  <a:lnTo>
                    <a:pt x="274777" y="621042"/>
                  </a:lnTo>
                  <a:lnTo>
                    <a:pt x="296037" y="660831"/>
                  </a:lnTo>
                  <a:lnTo>
                    <a:pt x="323329" y="696366"/>
                  </a:lnTo>
                  <a:lnTo>
                    <a:pt x="355968" y="726973"/>
                  </a:lnTo>
                  <a:lnTo>
                    <a:pt x="393293" y="751954"/>
                  </a:lnTo>
                  <a:lnTo>
                    <a:pt x="434594" y="770636"/>
                  </a:lnTo>
                  <a:lnTo>
                    <a:pt x="479209" y="782345"/>
                  </a:lnTo>
                  <a:lnTo>
                    <a:pt x="527126" y="786396"/>
                  </a:lnTo>
                  <a:close/>
                </a:path>
                <a:path w="527684" h="786765">
                  <a:moveTo>
                    <a:pt x="527126" y="520865"/>
                  </a:moveTo>
                  <a:lnTo>
                    <a:pt x="521677" y="472706"/>
                  </a:lnTo>
                  <a:lnTo>
                    <a:pt x="508279" y="427443"/>
                  </a:lnTo>
                  <a:lnTo>
                    <a:pt x="487667" y="385813"/>
                  </a:lnTo>
                  <a:lnTo>
                    <a:pt x="460578" y="348564"/>
                  </a:lnTo>
                  <a:lnTo>
                    <a:pt x="427736" y="316407"/>
                  </a:lnTo>
                  <a:lnTo>
                    <a:pt x="389877" y="290093"/>
                  </a:lnTo>
                  <a:lnTo>
                    <a:pt x="347751" y="270370"/>
                  </a:lnTo>
                  <a:lnTo>
                    <a:pt x="302082" y="257937"/>
                  </a:lnTo>
                  <a:lnTo>
                    <a:pt x="253606" y="253555"/>
                  </a:lnTo>
                  <a:lnTo>
                    <a:pt x="252387" y="253555"/>
                  </a:lnTo>
                  <a:lnTo>
                    <a:pt x="204038" y="257924"/>
                  </a:lnTo>
                  <a:lnTo>
                    <a:pt x="158483" y="270294"/>
                  </a:lnTo>
                  <a:lnTo>
                    <a:pt x="116446" y="289928"/>
                  </a:lnTo>
                  <a:lnTo>
                    <a:pt x="78663" y="316128"/>
                  </a:lnTo>
                  <a:lnTo>
                    <a:pt x="45859" y="348145"/>
                  </a:lnTo>
                  <a:lnTo>
                    <a:pt x="18770" y="385241"/>
                  </a:lnTo>
                  <a:lnTo>
                    <a:pt x="0" y="422935"/>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40"/>
                  </a:lnTo>
                  <a:lnTo>
                    <a:pt x="274777" y="355511"/>
                  </a:lnTo>
                  <a:lnTo>
                    <a:pt x="296037" y="395300"/>
                  </a:lnTo>
                  <a:lnTo>
                    <a:pt x="323329" y="430834"/>
                  </a:lnTo>
                  <a:lnTo>
                    <a:pt x="355968" y="461441"/>
                  </a:lnTo>
                  <a:lnTo>
                    <a:pt x="393293" y="486410"/>
                  </a:lnTo>
                  <a:lnTo>
                    <a:pt x="434594" y="505104"/>
                  </a:lnTo>
                  <a:lnTo>
                    <a:pt x="479209" y="516813"/>
                  </a:lnTo>
                  <a:lnTo>
                    <a:pt x="527126" y="520865"/>
                  </a:lnTo>
                  <a:close/>
                </a:path>
                <a:path w="527684" h="786765">
                  <a:moveTo>
                    <a:pt x="527138" y="267322"/>
                  </a:moveTo>
                  <a:lnTo>
                    <a:pt x="521690" y="219151"/>
                  </a:lnTo>
                  <a:lnTo>
                    <a:pt x="508292" y="173888"/>
                  </a:lnTo>
                  <a:lnTo>
                    <a:pt x="487680" y="132257"/>
                  </a:lnTo>
                  <a:lnTo>
                    <a:pt x="460578" y="94996"/>
                  </a:lnTo>
                  <a:lnTo>
                    <a:pt x="427736" y="62852"/>
                  </a:lnTo>
                  <a:lnTo>
                    <a:pt x="389890" y="36550"/>
                  </a:lnTo>
                  <a:lnTo>
                    <a:pt x="347764" y="16814"/>
                  </a:lnTo>
                  <a:lnTo>
                    <a:pt x="302094" y="4394"/>
                  </a:lnTo>
                  <a:lnTo>
                    <a:pt x="253606" y="0"/>
                  </a:lnTo>
                  <a:lnTo>
                    <a:pt x="252387" y="0"/>
                  </a:lnTo>
                  <a:lnTo>
                    <a:pt x="204038" y="4356"/>
                  </a:lnTo>
                  <a:lnTo>
                    <a:pt x="158483" y="16725"/>
                  </a:lnTo>
                  <a:lnTo>
                    <a:pt x="116446" y="36372"/>
                  </a:lnTo>
                  <a:lnTo>
                    <a:pt x="78663" y="62572"/>
                  </a:lnTo>
                  <a:lnTo>
                    <a:pt x="45859" y="94576"/>
                  </a:lnTo>
                  <a:lnTo>
                    <a:pt x="18745" y="131686"/>
                  </a:lnTo>
                  <a:lnTo>
                    <a:pt x="0" y="169303"/>
                  </a:lnTo>
                  <a:lnTo>
                    <a:pt x="0" y="264452"/>
                  </a:lnTo>
                  <a:lnTo>
                    <a:pt x="26758" y="262178"/>
                  </a:lnTo>
                  <a:lnTo>
                    <a:pt x="71285" y="250532"/>
                  </a:lnTo>
                  <a:lnTo>
                    <a:pt x="112522" y="231927"/>
                  </a:lnTo>
                  <a:lnTo>
                    <a:pt x="149783" y="207060"/>
                  </a:lnTo>
                  <a:lnTo>
                    <a:pt x="182410" y="176593"/>
                  </a:lnTo>
                  <a:lnTo>
                    <a:pt x="209727" y="141224"/>
                  </a:lnTo>
                  <a:lnTo>
                    <a:pt x="231051" y="101600"/>
                  </a:lnTo>
                  <a:lnTo>
                    <a:pt x="245719" y="58407"/>
                  </a:lnTo>
                  <a:lnTo>
                    <a:pt x="253034" y="12369"/>
                  </a:lnTo>
                  <a:lnTo>
                    <a:pt x="260210" y="58585"/>
                  </a:lnTo>
                  <a:lnTo>
                    <a:pt x="274777" y="101955"/>
                  </a:lnTo>
                  <a:lnTo>
                    <a:pt x="296037" y="141744"/>
                  </a:lnTo>
                  <a:lnTo>
                    <a:pt x="323329" y="177279"/>
                  </a:lnTo>
                  <a:lnTo>
                    <a:pt x="355981" y="207886"/>
                  </a:lnTo>
                  <a:lnTo>
                    <a:pt x="393293" y="232867"/>
                  </a:lnTo>
                  <a:lnTo>
                    <a:pt x="434606" y="251561"/>
                  </a:lnTo>
                  <a:lnTo>
                    <a:pt x="479221" y="263271"/>
                  </a:lnTo>
                  <a:lnTo>
                    <a:pt x="527138" y="267322"/>
                  </a:lnTo>
                  <a:close/>
                </a:path>
              </a:pathLst>
            </a:custGeom>
            <a:solidFill>
              <a:srgbClr val="7ED3F1"/>
            </a:solidFill>
          </p:spPr>
          <p:txBody>
            <a:bodyPr wrap="square" lIns="0" tIns="0" rIns="0" bIns="0" rtlCol="0"/>
            <a:lstStyle/>
            <a:p>
              <a:endParaRPr dirty="0"/>
            </a:p>
          </p:txBody>
        </p:sp>
        <p:pic>
          <p:nvPicPr>
            <p:cNvPr id="213" name="object 64">
              <a:extLst>
                <a:ext uri="{FF2B5EF4-FFF2-40B4-BE49-F238E27FC236}">
                  <a16:creationId xmlns:a16="http://schemas.microsoft.com/office/drawing/2014/main" id="{32FB6EB0-09E0-D5D3-FC37-8F0FA85AAB09}"/>
                </a:ext>
              </a:extLst>
            </p:cNvPr>
            <p:cNvPicPr/>
            <p:nvPr/>
          </p:nvPicPr>
          <p:blipFill>
            <a:blip r:embed="rId17" cstate="print"/>
            <a:stretch>
              <a:fillRect/>
            </a:stretch>
          </p:blipFill>
          <p:spPr>
            <a:xfrm>
              <a:off x="7326865" y="6281064"/>
              <a:ext cx="106445" cy="107156"/>
            </a:xfrm>
            <a:prstGeom prst="rect">
              <a:avLst/>
            </a:prstGeom>
          </p:spPr>
        </p:pic>
        <p:sp>
          <p:nvSpPr>
            <p:cNvPr id="214" name="object 65">
              <a:extLst>
                <a:ext uri="{FF2B5EF4-FFF2-40B4-BE49-F238E27FC236}">
                  <a16:creationId xmlns:a16="http://schemas.microsoft.com/office/drawing/2014/main" id="{CE13D988-FA9B-0E3D-049A-A70EC0F013A6}"/>
                </a:ext>
              </a:extLst>
            </p:cNvPr>
            <p:cNvSpPr/>
            <p:nvPr/>
          </p:nvSpPr>
          <p:spPr>
            <a:xfrm>
              <a:off x="8368808" y="6037749"/>
              <a:ext cx="332700" cy="477101"/>
            </a:xfrm>
            <a:custGeom>
              <a:avLst/>
              <a:gdLst/>
              <a:ahLst/>
              <a:cxnLst/>
              <a:rect l="l" t="t" r="r" b="b"/>
              <a:pathLst>
                <a:path w="548640" h="786765">
                  <a:moveTo>
                    <a:pt x="548043" y="266611"/>
                  </a:moveTo>
                  <a:lnTo>
                    <a:pt x="500367" y="270649"/>
                  </a:lnTo>
                  <a:lnTo>
                    <a:pt x="455841" y="282308"/>
                  </a:lnTo>
                  <a:lnTo>
                    <a:pt x="414616" y="300901"/>
                  </a:lnTo>
                  <a:lnTo>
                    <a:pt x="377342" y="325780"/>
                  </a:lnTo>
                  <a:lnTo>
                    <a:pt x="344716" y="356235"/>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86"/>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26"/>
                  </a:lnTo>
                  <a:lnTo>
                    <a:pt x="225044" y="528459"/>
                  </a:lnTo>
                  <a:lnTo>
                    <a:pt x="273519" y="532841"/>
                  </a:lnTo>
                  <a:lnTo>
                    <a:pt x="274751" y="532841"/>
                  </a:lnTo>
                  <a:lnTo>
                    <a:pt x="323088" y="528472"/>
                  </a:lnTo>
                  <a:lnTo>
                    <a:pt x="368642" y="516102"/>
                  </a:lnTo>
                  <a:lnTo>
                    <a:pt x="410679" y="496468"/>
                  </a:lnTo>
                  <a:lnTo>
                    <a:pt x="448462" y="470268"/>
                  </a:lnTo>
                  <a:lnTo>
                    <a:pt x="481266" y="438251"/>
                  </a:lnTo>
                  <a:lnTo>
                    <a:pt x="508355" y="401154"/>
                  </a:lnTo>
                  <a:lnTo>
                    <a:pt x="529005" y="359689"/>
                  </a:lnTo>
                  <a:lnTo>
                    <a:pt x="542467" y="314604"/>
                  </a:lnTo>
                  <a:lnTo>
                    <a:pt x="548043" y="266611"/>
                  </a:lnTo>
                  <a:close/>
                </a:path>
                <a:path w="548640" h="786765">
                  <a:moveTo>
                    <a:pt x="548043" y="1092"/>
                  </a:moveTo>
                  <a:lnTo>
                    <a:pt x="500367" y="5130"/>
                  </a:lnTo>
                  <a:lnTo>
                    <a:pt x="455841" y="16789"/>
                  </a:lnTo>
                  <a:lnTo>
                    <a:pt x="414616" y="35382"/>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49"/>
                  </a:lnTo>
                  <a:lnTo>
                    <a:pt x="481266" y="172732"/>
                  </a:lnTo>
                  <a:lnTo>
                    <a:pt x="508355" y="135623"/>
                  </a:lnTo>
                  <a:lnTo>
                    <a:pt x="529005" y="94170"/>
                  </a:lnTo>
                  <a:lnTo>
                    <a:pt x="542467" y="49085"/>
                  </a:lnTo>
                  <a:lnTo>
                    <a:pt x="548043" y="1092"/>
                  </a:lnTo>
                  <a:close/>
                </a:path>
                <a:path w="548640" h="786765">
                  <a:moveTo>
                    <a:pt x="548093" y="520204"/>
                  </a:moveTo>
                  <a:lnTo>
                    <a:pt x="500367" y="524217"/>
                  </a:lnTo>
                  <a:lnTo>
                    <a:pt x="455841" y="535876"/>
                  </a:lnTo>
                  <a:lnTo>
                    <a:pt x="414616" y="554469"/>
                  </a:lnTo>
                  <a:lnTo>
                    <a:pt x="377342" y="579348"/>
                  </a:lnTo>
                  <a:lnTo>
                    <a:pt x="344716" y="609803"/>
                  </a:lnTo>
                  <a:lnTo>
                    <a:pt x="317411" y="645172"/>
                  </a:lnTo>
                  <a:lnTo>
                    <a:pt x="296087" y="684796"/>
                  </a:lnTo>
                  <a:lnTo>
                    <a:pt x="281419" y="727989"/>
                  </a:lnTo>
                  <a:lnTo>
                    <a:pt x="274091" y="774065"/>
                  </a:lnTo>
                  <a:lnTo>
                    <a:pt x="266915" y="727824"/>
                  </a:lnTo>
                  <a:lnTo>
                    <a:pt x="252361" y="684453"/>
                  </a:lnTo>
                  <a:lnTo>
                    <a:pt x="231089"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38"/>
                  </a:lnTo>
                  <a:lnTo>
                    <a:pt x="66548" y="691400"/>
                  </a:lnTo>
                  <a:lnTo>
                    <a:pt x="99390" y="72354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2DB7EA"/>
            </a:solidFill>
          </p:spPr>
          <p:txBody>
            <a:bodyPr wrap="square" lIns="0" tIns="0" rIns="0" bIns="0" rtlCol="0"/>
            <a:lstStyle/>
            <a:p>
              <a:endParaRPr dirty="0"/>
            </a:p>
          </p:txBody>
        </p:sp>
        <p:pic>
          <p:nvPicPr>
            <p:cNvPr id="215" name="object 66">
              <a:extLst>
                <a:ext uri="{FF2B5EF4-FFF2-40B4-BE49-F238E27FC236}">
                  <a16:creationId xmlns:a16="http://schemas.microsoft.com/office/drawing/2014/main" id="{AA3E16E2-E90D-140E-A808-C2AEE8A6493C}"/>
                </a:ext>
              </a:extLst>
            </p:cNvPr>
            <p:cNvPicPr/>
            <p:nvPr/>
          </p:nvPicPr>
          <p:blipFill>
            <a:blip r:embed="rId5" cstate="print"/>
            <a:stretch>
              <a:fillRect/>
            </a:stretch>
          </p:blipFill>
          <p:spPr>
            <a:xfrm>
              <a:off x="8481461" y="5951762"/>
              <a:ext cx="106445" cy="107156"/>
            </a:xfrm>
            <a:prstGeom prst="rect">
              <a:avLst/>
            </a:prstGeom>
          </p:spPr>
        </p:pic>
        <p:sp>
          <p:nvSpPr>
            <p:cNvPr id="216" name="object 67">
              <a:extLst>
                <a:ext uri="{FF2B5EF4-FFF2-40B4-BE49-F238E27FC236}">
                  <a16:creationId xmlns:a16="http://schemas.microsoft.com/office/drawing/2014/main" id="{D60A480B-A994-E468-BDAA-54824B54458A}"/>
                </a:ext>
              </a:extLst>
            </p:cNvPr>
            <p:cNvSpPr/>
            <p:nvPr/>
          </p:nvSpPr>
          <p:spPr>
            <a:xfrm>
              <a:off x="8368808" y="5383587"/>
              <a:ext cx="332700" cy="477101"/>
            </a:xfrm>
            <a:custGeom>
              <a:avLst/>
              <a:gdLst/>
              <a:ahLst/>
              <a:cxnLst/>
              <a:rect l="l" t="t" r="r" b="b"/>
              <a:pathLst>
                <a:path w="548640" h="786765">
                  <a:moveTo>
                    <a:pt x="548043" y="266623"/>
                  </a:moveTo>
                  <a:lnTo>
                    <a:pt x="500367" y="270649"/>
                  </a:lnTo>
                  <a:lnTo>
                    <a:pt x="455841" y="282308"/>
                  </a:lnTo>
                  <a:lnTo>
                    <a:pt x="414616" y="300913"/>
                  </a:lnTo>
                  <a:lnTo>
                    <a:pt x="377342" y="325780"/>
                  </a:lnTo>
                  <a:lnTo>
                    <a:pt x="344716" y="356235"/>
                  </a:lnTo>
                  <a:lnTo>
                    <a:pt x="317411" y="391617"/>
                  </a:lnTo>
                  <a:lnTo>
                    <a:pt x="296087" y="431241"/>
                  </a:lnTo>
                  <a:lnTo>
                    <a:pt x="281419" y="474446"/>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54"/>
                  </a:lnTo>
                  <a:lnTo>
                    <a:pt x="529005" y="359689"/>
                  </a:lnTo>
                  <a:lnTo>
                    <a:pt x="542467" y="314604"/>
                  </a:lnTo>
                  <a:lnTo>
                    <a:pt x="548043" y="266623"/>
                  </a:lnTo>
                  <a:close/>
                </a:path>
                <a:path w="548640" h="786765">
                  <a:moveTo>
                    <a:pt x="548043" y="1079"/>
                  </a:moveTo>
                  <a:lnTo>
                    <a:pt x="500367" y="5118"/>
                  </a:lnTo>
                  <a:lnTo>
                    <a:pt x="455841" y="16764"/>
                  </a:lnTo>
                  <a:lnTo>
                    <a:pt x="414616" y="35369"/>
                  </a:lnTo>
                  <a:lnTo>
                    <a:pt x="377342" y="60236"/>
                  </a:lnTo>
                  <a:lnTo>
                    <a:pt x="344716" y="90703"/>
                  </a:lnTo>
                  <a:lnTo>
                    <a:pt x="317411" y="126085"/>
                  </a:lnTo>
                  <a:lnTo>
                    <a:pt x="296087" y="165722"/>
                  </a:lnTo>
                  <a:lnTo>
                    <a:pt x="281419" y="208915"/>
                  </a:lnTo>
                  <a:lnTo>
                    <a:pt x="274091" y="255003"/>
                  </a:lnTo>
                  <a:lnTo>
                    <a:pt x="266915" y="208724"/>
                  </a:lnTo>
                  <a:lnTo>
                    <a:pt x="252361" y="165354"/>
                  </a:lnTo>
                  <a:lnTo>
                    <a:pt x="231089"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67" y="49072"/>
                  </a:lnTo>
                  <a:lnTo>
                    <a:pt x="548043" y="1079"/>
                  </a:lnTo>
                  <a:close/>
                </a:path>
                <a:path w="548640" h="786765">
                  <a:moveTo>
                    <a:pt x="548093" y="520192"/>
                  </a:moveTo>
                  <a:lnTo>
                    <a:pt x="500367" y="524217"/>
                  </a:lnTo>
                  <a:lnTo>
                    <a:pt x="455841" y="535876"/>
                  </a:lnTo>
                  <a:lnTo>
                    <a:pt x="414616" y="554469"/>
                  </a:lnTo>
                  <a:lnTo>
                    <a:pt x="377342" y="579335"/>
                  </a:lnTo>
                  <a:lnTo>
                    <a:pt x="344716" y="609790"/>
                  </a:lnTo>
                  <a:lnTo>
                    <a:pt x="317411" y="645172"/>
                  </a:lnTo>
                  <a:lnTo>
                    <a:pt x="296087" y="684796"/>
                  </a:lnTo>
                  <a:lnTo>
                    <a:pt x="281419" y="727976"/>
                  </a:lnTo>
                  <a:lnTo>
                    <a:pt x="274091" y="774065"/>
                  </a:lnTo>
                  <a:lnTo>
                    <a:pt x="266915" y="727811"/>
                  </a:lnTo>
                  <a:lnTo>
                    <a:pt x="252361" y="684441"/>
                  </a:lnTo>
                  <a:lnTo>
                    <a:pt x="231089" y="644652"/>
                  </a:lnTo>
                  <a:lnTo>
                    <a:pt x="203796" y="609117"/>
                  </a:lnTo>
                  <a:lnTo>
                    <a:pt x="171157" y="578523"/>
                  </a:lnTo>
                  <a:lnTo>
                    <a:pt x="133845" y="553542"/>
                  </a:lnTo>
                  <a:lnTo>
                    <a:pt x="92532" y="534847"/>
                  </a:lnTo>
                  <a:lnTo>
                    <a:pt x="47917" y="523125"/>
                  </a:lnTo>
                  <a:lnTo>
                    <a:pt x="0" y="519061"/>
                  </a:lnTo>
                  <a:lnTo>
                    <a:pt x="5448" y="567258"/>
                  </a:lnTo>
                  <a:lnTo>
                    <a:pt x="18846" y="612508"/>
                  </a:lnTo>
                  <a:lnTo>
                    <a:pt x="39458" y="654138"/>
                  </a:lnTo>
                  <a:lnTo>
                    <a:pt x="66548" y="691388"/>
                  </a:lnTo>
                  <a:lnTo>
                    <a:pt x="67246" y="692073"/>
                  </a:lnTo>
                  <a:lnTo>
                    <a:pt x="99390" y="723544"/>
                  </a:lnTo>
                  <a:lnTo>
                    <a:pt x="137248" y="749858"/>
                  </a:lnTo>
                  <a:lnTo>
                    <a:pt x="179374" y="769594"/>
                  </a:lnTo>
                  <a:lnTo>
                    <a:pt x="225044" y="782015"/>
                  </a:lnTo>
                  <a:lnTo>
                    <a:pt x="273519" y="786396"/>
                  </a:lnTo>
                  <a:lnTo>
                    <a:pt x="274751" y="786396"/>
                  </a:lnTo>
                  <a:lnTo>
                    <a:pt x="323088" y="782027"/>
                  </a:lnTo>
                  <a:lnTo>
                    <a:pt x="368642" y="769670"/>
                  </a:lnTo>
                  <a:lnTo>
                    <a:pt x="410679" y="750023"/>
                  </a:lnTo>
                  <a:lnTo>
                    <a:pt x="448462" y="723823"/>
                  </a:lnTo>
                  <a:lnTo>
                    <a:pt x="479691" y="693356"/>
                  </a:lnTo>
                  <a:lnTo>
                    <a:pt x="481266" y="691819"/>
                  </a:lnTo>
                  <a:lnTo>
                    <a:pt x="508393" y="654697"/>
                  </a:lnTo>
                  <a:lnTo>
                    <a:pt x="529043" y="613244"/>
                  </a:lnTo>
                  <a:lnTo>
                    <a:pt x="542518" y="568172"/>
                  </a:lnTo>
                  <a:lnTo>
                    <a:pt x="548093" y="520192"/>
                  </a:lnTo>
                  <a:close/>
                </a:path>
              </a:pathLst>
            </a:custGeom>
            <a:solidFill>
              <a:srgbClr val="7ED3F1"/>
            </a:solidFill>
          </p:spPr>
          <p:txBody>
            <a:bodyPr wrap="square" lIns="0" tIns="0" rIns="0" bIns="0" rtlCol="0"/>
            <a:lstStyle/>
            <a:p>
              <a:endParaRPr dirty="0"/>
            </a:p>
          </p:txBody>
        </p:sp>
        <p:pic>
          <p:nvPicPr>
            <p:cNvPr id="217" name="object 68">
              <a:extLst>
                <a:ext uri="{FF2B5EF4-FFF2-40B4-BE49-F238E27FC236}">
                  <a16:creationId xmlns:a16="http://schemas.microsoft.com/office/drawing/2014/main" id="{C1A15B6B-3350-F564-3184-E50801D7745E}"/>
                </a:ext>
              </a:extLst>
            </p:cNvPr>
            <p:cNvPicPr/>
            <p:nvPr/>
          </p:nvPicPr>
          <p:blipFill>
            <a:blip r:embed="rId6" cstate="print"/>
            <a:stretch>
              <a:fillRect/>
            </a:stretch>
          </p:blipFill>
          <p:spPr>
            <a:xfrm>
              <a:off x="8481461" y="5297596"/>
              <a:ext cx="106445" cy="107156"/>
            </a:xfrm>
            <a:prstGeom prst="rect">
              <a:avLst/>
            </a:prstGeom>
          </p:spPr>
        </p:pic>
        <p:sp>
          <p:nvSpPr>
            <p:cNvPr id="218" name="object 69">
              <a:extLst>
                <a:ext uri="{FF2B5EF4-FFF2-40B4-BE49-F238E27FC236}">
                  <a16:creationId xmlns:a16="http://schemas.microsoft.com/office/drawing/2014/main" id="{5297D045-0329-8CF3-DD34-24033C25B202}"/>
                </a:ext>
              </a:extLst>
            </p:cNvPr>
            <p:cNvSpPr/>
            <p:nvPr/>
          </p:nvSpPr>
          <p:spPr>
            <a:xfrm>
              <a:off x="8368808" y="6691912"/>
              <a:ext cx="332700" cy="165965"/>
            </a:xfrm>
            <a:custGeom>
              <a:avLst/>
              <a:gdLst/>
              <a:ahLst/>
              <a:cxnLst/>
              <a:rect l="l" t="t" r="r" b="b"/>
              <a:pathLst>
                <a:path w="548640" h="273684">
                  <a:moveTo>
                    <a:pt x="62560" y="273431"/>
                  </a:moveTo>
                  <a:lnTo>
                    <a:pt x="47917" y="269595"/>
                  </a:lnTo>
                  <a:lnTo>
                    <a:pt x="0" y="265544"/>
                  </a:lnTo>
                  <a:lnTo>
                    <a:pt x="889" y="273431"/>
                  </a:lnTo>
                  <a:lnTo>
                    <a:pt x="62560" y="273431"/>
                  </a:lnTo>
                  <a:close/>
                </a:path>
                <a:path w="548640" h="273684">
                  <a:moveTo>
                    <a:pt x="548043" y="266623"/>
                  </a:moveTo>
                  <a:lnTo>
                    <a:pt x="500367" y="270649"/>
                  </a:lnTo>
                  <a:lnTo>
                    <a:pt x="489737" y="273431"/>
                  </a:lnTo>
                  <a:lnTo>
                    <a:pt x="547243" y="273431"/>
                  </a:lnTo>
                  <a:lnTo>
                    <a:pt x="548043" y="266623"/>
                  </a:lnTo>
                  <a:close/>
                </a:path>
                <a:path w="548640" h="273684">
                  <a:moveTo>
                    <a:pt x="548043" y="1079"/>
                  </a:moveTo>
                  <a:lnTo>
                    <a:pt x="500367" y="5118"/>
                  </a:lnTo>
                  <a:lnTo>
                    <a:pt x="455841" y="16776"/>
                  </a:lnTo>
                  <a:lnTo>
                    <a:pt x="414616" y="35382"/>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21"/>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57"/>
                  </a:lnTo>
                  <a:lnTo>
                    <a:pt x="542467" y="49072"/>
                  </a:lnTo>
                  <a:lnTo>
                    <a:pt x="548043" y="1079"/>
                  </a:lnTo>
                  <a:close/>
                </a:path>
              </a:pathLst>
            </a:custGeom>
            <a:solidFill>
              <a:srgbClr val="7ED3F1"/>
            </a:solidFill>
          </p:spPr>
          <p:txBody>
            <a:bodyPr wrap="square" lIns="0" tIns="0" rIns="0" bIns="0" rtlCol="0"/>
            <a:lstStyle/>
            <a:p>
              <a:endParaRPr dirty="0"/>
            </a:p>
          </p:txBody>
        </p:sp>
        <p:pic>
          <p:nvPicPr>
            <p:cNvPr id="219" name="object 70">
              <a:extLst>
                <a:ext uri="{FF2B5EF4-FFF2-40B4-BE49-F238E27FC236}">
                  <a16:creationId xmlns:a16="http://schemas.microsoft.com/office/drawing/2014/main" id="{36BDF278-EDAC-F271-7BCB-F4FBE0DE0B3D}"/>
                </a:ext>
              </a:extLst>
            </p:cNvPr>
            <p:cNvPicPr/>
            <p:nvPr/>
          </p:nvPicPr>
          <p:blipFill>
            <a:blip r:embed="rId6" cstate="print"/>
            <a:stretch>
              <a:fillRect/>
            </a:stretch>
          </p:blipFill>
          <p:spPr>
            <a:xfrm>
              <a:off x="8481461" y="6605926"/>
              <a:ext cx="106445" cy="107156"/>
            </a:xfrm>
            <a:prstGeom prst="rect">
              <a:avLst/>
            </a:prstGeom>
          </p:spPr>
        </p:pic>
        <p:sp>
          <p:nvSpPr>
            <p:cNvPr id="220" name="object 71">
              <a:extLst>
                <a:ext uri="{FF2B5EF4-FFF2-40B4-BE49-F238E27FC236}">
                  <a16:creationId xmlns:a16="http://schemas.microsoft.com/office/drawing/2014/main" id="{07A9785A-077D-013A-6B60-6383553DA92D}"/>
                </a:ext>
              </a:extLst>
            </p:cNvPr>
            <p:cNvSpPr/>
            <p:nvPr/>
          </p:nvSpPr>
          <p:spPr>
            <a:xfrm>
              <a:off x="7983731" y="6479532"/>
              <a:ext cx="332700" cy="316141"/>
            </a:xfrm>
            <a:custGeom>
              <a:avLst/>
              <a:gdLst/>
              <a:ahLst/>
              <a:cxnLst/>
              <a:rect l="l" t="t" r="r" b="b"/>
              <a:pathLst>
                <a:path w="548640" h="521334">
                  <a:moveTo>
                    <a:pt x="548068" y="520852"/>
                  </a:moveTo>
                  <a:lnTo>
                    <a:pt x="542632" y="472694"/>
                  </a:lnTo>
                  <a:lnTo>
                    <a:pt x="529234" y="427431"/>
                  </a:lnTo>
                  <a:lnTo>
                    <a:pt x="508609" y="385800"/>
                  </a:lnTo>
                  <a:lnTo>
                    <a:pt x="481520" y="348551"/>
                  </a:lnTo>
                  <a:lnTo>
                    <a:pt x="448678" y="316395"/>
                  </a:lnTo>
                  <a:lnTo>
                    <a:pt x="410819" y="290093"/>
                  </a:lnTo>
                  <a:lnTo>
                    <a:pt x="368693" y="270357"/>
                  </a:lnTo>
                  <a:lnTo>
                    <a:pt x="323024" y="257924"/>
                  </a:lnTo>
                  <a:lnTo>
                    <a:pt x="274548" y="253555"/>
                  </a:lnTo>
                  <a:lnTo>
                    <a:pt x="273329" y="253555"/>
                  </a:lnTo>
                  <a:lnTo>
                    <a:pt x="224980" y="257911"/>
                  </a:lnTo>
                  <a:lnTo>
                    <a:pt x="179438" y="270281"/>
                  </a:lnTo>
                  <a:lnTo>
                    <a:pt x="137401" y="289915"/>
                  </a:lnTo>
                  <a:lnTo>
                    <a:pt x="99618" y="316115"/>
                  </a:lnTo>
                  <a:lnTo>
                    <a:pt x="66814" y="348132"/>
                  </a:lnTo>
                  <a:lnTo>
                    <a:pt x="39725" y="385229"/>
                  </a:lnTo>
                  <a:lnTo>
                    <a:pt x="19075" y="426694"/>
                  </a:lnTo>
                  <a:lnTo>
                    <a:pt x="5600" y="471792"/>
                  </a:lnTo>
                  <a:lnTo>
                    <a:pt x="38" y="519772"/>
                  </a:lnTo>
                  <a:lnTo>
                    <a:pt x="47713" y="515747"/>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27"/>
                  </a:lnTo>
                  <a:lnTo>
                    <a:pt x="295719" y="355498"/>
                  </a:lnTo>
                  <a:lnTo>
                    <a:pt x="316979" y="395300"/>
                  </a:lnTo>
                  <a:lnTo>
                    <a:pt x="344271" y="430834"/>
                  </a:lnTo>
                  <a:lnTo>
                    <a:pt x="376923" y="461429"/>
                  </a:lnTo>
                  <a:lnTo>
                    <a:pt x="414235" y="486410"/>
                  </a:lnTo>
                  <a:lnTo>
                    <a:pt x="455536" y="505091"/>
                  </a:lnTo>
                  <a:lnTo>
                    <a:pt x="500164" y="516801"/>
                  </a:lnTo>
                  <a:lnTo>
                    <a:pt x="548068" y="520852"/>
                  </a:lnTo>
                  <a:close/>
                </a:path>
                <a:path w="548640" h="521334">
                  <a:moveTo>
                    <a:pt x="548081" y="267322"/>
                  </a:moveTo>
                  <a:lnTo>
                    <a:pt x="542632" y="219138"/>
                  </a:lnTo>
                  <a:lnTo>
                    <a:pt x="529234" y="173875"/>
                  </a:lnTo>
                  <a:lnTo>
                    <a:pt x="508622" y="132245"/>
                  </a:lnTo>
                  <a:lnTo>
                    <a:pt x="481533" y="94996"/>
                  </a:lnTo>
                  <a:lnTo>
                    <a:pt x="448691" y="62839"/>
                  </a:lnTo>
                  <a:lnTo>
                    <a:pt x="422376" y="44564"/>
                  </a:lnTo>
                  <a:lnTo>
                    <a:pt x="410832" y="36537"/>
                  </a:lnTo>
                  <a:lnTo>
                    <a:pt x="368706" y="16814"/>
                  </a:lnTo>
                  <a:lnTo>
                    <a:pt x="323024" y="4368"/>
                  </a:lnTo>
                  <a:lnTo>
                    <a:pt x="274561" y="12"/>
                  </a:lnTo>
                  <a:lnTo>
                    <a:pt x="273329" y="0"/>
                  </a:lnTo>
                  <a:lnTo>
                    <a:pt x="224980" y="4356"/>
                  </a:lnTo>
                  <a:lnTo>
                    <a:pt x="179438" y="16713"/>
                  </a:lnTo>
                  <a:lnTo>
                    <a:pt x="137401" y="36360"/>
                  </a:lnTo>
                  <a:lnTo>
                    <a:pt x="108216" y="56591"/>
                  </a:lnTo>
                  <a:lnTo>
                    <a:pt x="99618" y="62560"/>
                  </a:lnTo>
                  <a:lnTo>
                    <a:pt x="66814" y="94576"/>
                  </a:lnTo>
                  <a:lnTo>
                    <a:pt x="39687" y="131686"/>
                  </a:lnTo>
                  <a:lnTo>
                    <a:pt x="19037" y="173139"/>
                  </a:lnTo>
                  <a:lnTo>
                    <a:pt x="5562" y="218211"/>
                  </a:lnTo>
                  <a:lnTo>
                    <a:pt x="0" y="266192"/>
                  </a:lnTo>
                  <a:lnTo>
                    <a:pt x="47713" y="262178"/>
                  </a:lnTo>
                  <a:lnTo>
                    <a:pt x="92227" y="250520"/>
                  </a:lnTo>
                  <a:lnTo>
                    <a:pt x="133464" y="231914"/>
                  </a:lnTo>
                  <a:lnTo>
                    <a:pt x="170738" y="207048"/>
                  </a:lnTo>
                  <a:lnTo>
                    <a:pt x="203365" y="176593"/>
                  </a:lnTo>
                  <a:lnTo>
                    <a:pt x="230670" y="141211"/>
                  </a:lnTo>
                  <a:lnTo>
                    <a:pt x="251993" y="101600"/>
                  </a:lnTo>
                  <a:lnTo>
                    <a:pt x="266661" y="58407"/>
                  </a:lnTo>
                  <a:lnTo>
                    <a:pt x="273989" y="12319"/>
                  </a:lnTo>
                  <a:lnTo>
                    <a:pt x="281165" y="58572"/>
                  </a:lnTo>
                  <a:lnTo>
                    <a:pt x="295719" y="101942"/>
                  </a:lnTo>
                  <a:lnTo>
                    <a:pt x="316979" y="141744"/>
                  </a:lnTo>
                  <a:lnTo>
                    <a:pt x="344271" y="177279"/>
                  </a:lnTo>
                  <a:lnTo>
                    <a:pt x="376923" y="207873"/>
                  </a:lnTo>
                  <a:lnTo>
                    <a:pt x="414235" y="232854"/>
                  </a:lnTo>
                  <a:lnTo>
                    <a:pt x="455549" y="251548"/>
                  </a:lnTo>
                  <a:lnTo>
                    <a:pt x="500164" y="263258"/>
                  </a:lnTo>
                  <a:lnTo>
                    <a:pt x="548081" y="267322"/>
                  </a:lnTo>
                  <a:close/>
                </a:path>
              </a:pathLst>
            </a:custGeom>
            <a:solidFill>
              <a:srgbClr val="2DB7EA"/>
            </a:solidFill>
          </p:spPr>
          <p:txBody>
            <a:bodyPr wrap="square" lIns="0" tIns="0" rIns="0" bIns="0" rtlCol="0"/>
            <a:lstStyle/>
            <a:p>
              <a:endParaRPr dirty="0"/>
            </a:p>
          </p:txBody>
        </p:sp>
        <p:pic>
          <p:nvPicPr>
            <p:cNvPr id="221" name="object 72">
              <a:extLst>
                <a:ext uri="{FF2B5EF4-FFF2-40B4-BE49-F238E27FC236}">
                  <a16:creationId xmlns:a16="http://schemas.microsoft.com/office/drawing/2014/main" id="{003CC818-1645-4C90-91BB-22123C33CAAE}"/>
                </a:ext>
              </a:extLst>
            </p:cNvPr>
            <p:cNvPicPr/>
            <p:nvPr/>
          </p:nvPicPr>
          <p:blipFill>
            <a:blip r:embed="rId7" cstate="print"/>
            <a:stretch>
              <a:fillRect/>
            </a:stretch>
          </p:blipFill>
          <p:spPr>
            <a:xfrm>
              <a:off x="8019821" y="6794307"/>
              <a:ext cx="260137" cy="63416"/>
            </a:xfrm>
            <a:prstGeom prst="rect">
              <a:avLst/>
            </a:prstGeom>
          </p:spPr>
        </p:pic>
        <p:sp>
          <p:nvSpPr>
            <p:cNvPr id="222" name="object 73">
              <a:extLst>
                <a:ext uri="{FF2B5EF4-FFF2-40B4-BE49-F238E27FC236}">
                  <a16:creationId xmlns:a16="http://schemas.microsoft.com/office/drawing/2014/main" id="{45E15B54-FB9C-340E-1E7E-E523B3F84A97}"/>
                </a:ext>
              </a:extLst>
            </p:cNvPr>
            <p:cNvSpPr/>
            <p:nvPr/>
          </p:nvSpPr>
          <p:spPr>
            <a:xfrm>
              <a:off x="7983731" y="5171198"/>
              <a:ext cx="332700" cy="477101"/>
            </a:xfrm>
            <a:custGeom>
              <a:avLst/>
              <a:gdLst/>
              <a:ahLst/>
              <a:cxnLst/>
              <a:rect l="l" t="t" r="r" b="b"/>
              <a:pathLst>
                <a:path w="548640" h="786765">
                  <a:moveTo>
                    <a:pt x="548068" y="786396"/>
                  </a:moveTo>
                  <a:lnTo>
                    <a:pt x="542632" y="738225"/>
                  </a:lnTo>
                  <a:lnTo>
                    <a:pt x="529234" y="692975"/>
                  </a:lnTo>
                  <a:lnTo>
                    <a:pt x="508609" y="651344"/>
                  </a:lnTo>
                  <a:lnTo>
                    <a:pt x="481520" y="614083"/>
                  </a:lnTo>
                  <a:lnTo>
                    <a:pt x="448678" y="581939"/>
                  </a:lnTo>
                  <a:lnTo>
                    <a:pt x="410819" y="555625"/>
                  </a:lnTo>
                  <a:lnTo>
                    <a:pt x="368693" y="535889"/>
                  </a:lnTo>
                  <a:lnTo>
                    <a:pt x="323024" y="523468"/>
                  </a:lnTo>
                  <a:lnTo>
                    <a:pt x="274548" y="519087"/>
                  </a:lnTo>
                  <a:lnTo>
                    <a:pt x="273329" y="519087"/>
                  </a:lnTo>
                  <a:lnTo>
                    <a:pt x="224980" y="523455"/>
                  </a:lnTo>
                  <a:lnTo>
                    <a:pt x="179438" y="535813"/>
                  </a:lnTo>
                  <a:lnTo>
                    <a:pt x="137401" y="555459"/>
                  </a:lnTo>
                  <a:lnTo>
                    <a:pt x="99618" y="581660"/>
                  </a:lnTo>
                  <a:lnTo>
                    <a:pt x="66814" y="613676"/>
                  </a:lnTo>
                  <a:lnTo>
                    <a:pt x="39725" y="650773"/>
                  </a:lnTo>
                  <a:lnTo>
                    <a:pt x="19075" y="692238"/>
                  </a:lnTo>
                  <a:lnTo>
                    <a:pt x="5600" y="737323"/>
                  </a:lnTo>
                  <a:lnTo>
                    <a:pt x="38" y="785317"/>
                  </a:lnTo>
                  <a:lnTo>
                    <a:pt x="47713" y="781278"/>
                  </a:lnTo>
                  <a:lnTo>
                    <a:pt x="92227" y="769620"/>
                  </a:lnTo>
                  <a:lnTo>
                    <a:pt x="133464" y="751027"/>
                  </a:lnTo>
                  <a:lnTo>
                    <a:pt x="170726" y="726147"/>
                  </a:lnTo>
                  <a:lnTo>
                    <a:pt x="203352" y="695680"/>
                  </a:lnTo>
                  <a:lnTo>
                    <a:pt x="230670" y="660298"/>
                  </a:lnTo>
                  <a:lnTo>
                    <a:pt x="251993" y="620674"/>
                  </a:lnTo>
                  <a:lnTo>
                    <a:pt x="266649" y="577481"/>
                  </a:lnTo>
                  <a:lnTo>
                    <a:pt x="273989" y="531393"/>
                  </a:lnTo>
                  <a:lnTo>
                    <a:pt x="281165" y="577672"/>
                  </a:lnTo>
                  <a:lnTo>
                    <a:pt x="295719" y="621042"/>
                  </a:lnTo>
                  <a:lnTo>
                    <a:pt x="316979" y="660831"/>
                  </a:lnTo>
                  <a:lnTo>
                    <a:pt x="344271" y="696366"/>
                  </a:lnTo>
                  <a:lnTo>
                    <a:pt x="376923" y="726960"/>
                  </a:lnTo>
                  <a:lnTo>
                    <a:pt x="414235" y="751941"/>
                  </a:lnTo>
                  <a:lnTo>
                    <a:pt x="455536" y="770623"/>
                  </a:lnTo>
                  <a:lnTo>
                    <a:pt x="500164" y="782332"/>
                  </a:lnTo>
                  <a:lnTo>
                    <a:pt x="548068" y="786396"/>
                  </a:lnTo>
                  <a:close/>
                </a:path>
                <a:path w="548640" h="786765">
                  <a:moveTo>
                    <a:pt x="548068" y="520865"/>
                  </a:moveTo>
                  <a:lnTo>
                    <a:pt x="542632" y="472706"/>
                  </a:lnTo>
                  <a:lnTo>
                    <a:pt x="529234" y="427443"/>
                  </a:lnTo>
                  <a:lnTo>
                    <a:pt x="508609" y="385813"/>
                  </a:lnTo>
                  <a:lnTo>
                    <a:pt x="481520" y="348551"/>
                  </a:lnTo>
                  <a:lnTo>
                    <a:pt x="448678" y="316407"/>
                  </a:lnTo>
                  <a:lnTo>
                    <a:pt x="410819" y="290093"/>
                  </a:lnTo>
                  <a:lnTo>
                    <a:pt x="368693" y="270357"/>
                  </a:lnTo>
                  <a:lnTo>
                    <a:pt x="323024" y="257937"/>
                  </a:lnTo>
                  <a:lnTo>
                    <a:pt x="274548" y="253568"/>
                  </a:lnTo>
                  <a:lnTo>
                    <a:pt x="273329" y="253568"/>
                  </a:lnTo>
                  <a:lnTo>
                    <a:pt x="224980" y="257924"/>
                  </a:lnTo>
                  <a:lnTo>
                    <a:pt x="179438" y="270281"/>
                  </a:lnTo>
                  <a:lnTo>
                    <a:pt x="137401" y="289928"/>
                  </a:lnTo>
                  <a:lnTo>
                    <a:pt x="99618" y="316128"/>
                  </a:lnTo>
                  <a:lnTo>
                    <a:pt x="66814" y="348132"/>
                  </a:lnTo>
                  <a:lnTo>
                    <a:pt x="39725" y="385241"/>
                  </a:lnTo>
                  <a:lnTo>
                    <a:pt x="19075" y="426694"/>
                  </a:lnTo>
                  <a:lnTo>
                    <a:pt x="5600" y="471792"/>
                  </a:lnTo>
                  <a:lnTo>
                    <a:pt x="38" y="519772"/>
                  </a:lnTo>
                  <a:lnTo>
                    <a:pt x="47713" y="515734"/>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40"/>
                  </a:lnTo>
                  <a:lnTo>
                    <a:pt x="295719" y="355511"/>
                  </a:lnTo>
                  <a:lnTo>
                    <a:pt x="316979" y="395300"/>
                  </a:lnTo>
                  <a:lnTo>
                    <a:pt x="344271" y="430834"/>
                  </a:lnTo>
                  <a:lnTo>
                    <a:pt x="376923" y="461441"/>
                  </a:lnTo>
                  <a:lnTo>
                    <a:pt x="414235" y="486410"/>
                  </a:lnTo>
                  <a:lnTo>
                    <a:pt x="455536" y="505104"/>
                  </a:lnTo>
                  <a:lnTo>
                    <a:pt x="500164" y="516813"/>
                  </a:lnTo>
                  <a:lnTo>
                    <a:pt x="548068" y="520865"/>
                  </a:lnTo>
                  <a:close/>
                </a:path>
                <a:path w="548640" h="786765">
                  <a:moveTo>
                    <a:pt x="548081" y="267322"/>
                  </a:moveTo>
                  <a:lnTo>
                    <a:pt x="543318" y="225285"/>
                  </a:lnTo>
                  <a:lnTo>
                    <a:pt x="542632" y="219151"/>
                  </a:lnTo>
                  <a:lnTo>
                    <a:pt x="529234" y="173875"/>
                  </a:lnTo>
                  <a:lnTo>
                    <a:pt x="508622" y="132245"/>
                  </a:lnTo>
                  <a:lnTo>
                    <a:pt x="481533" y="94996"/>
                  </a:lnTo>
                  <a:lnTo>
                    <a:pt x="449376" y="63525"/>
                  </a:lnTo>
                  <a:lnTo>
                    <a:pt x="448691" y="62852"/>
                  </a:lnTo>
                  <a:lnTo>
                    <a:pt x="437134" y="54825"/>
                  </a:lnTo>
                  <a:lnTo>
                    <a:pt x="410832" y="36537"/>
                  </a:lnTo>
                  <a:lnTo>
                    <a:pt x="391096" y="27305"/>
                  </a:lnTo>
                  <a:lnTo>
                    <a:pt x="368706" y="16814"/>
                  </a:lnTo>
                  <a:lnTo>
                    <a:pt x="323037" y="4394"/>
                  </a:lnTo>
                  <a:lnTo>
                    <a:pt x="274561" y="12"/>
                  </a:lnTo>
                  <a:lnTo>
                    <a:pt x="273329" y="0"/>
                  </a:lnTo>
                  <a:lnTo>
                    <a:pt x="224980" y="4356"/>
                  </a:lnTo>
                  <a:lnTo>
                    <a:pt x="179438" y="16725"/>
                  </a:lnTo>
                  <a:lnTo>
                    <a:pt x="137401" y="36372"/>
                  </a:lnTo>
                  <a:lnTo>
                    <a:pt x="120650" y="47980"/>
                  </a:lnTo>
                  <a:lnTo>
                    <a:pt x="99618" y="62560"/>
                  </a:lnTo>
                  <a:lnTo>
                    <a:pt x="66814" y="94576"/>
                  </a:lnTo>
                  <a:lnTo>
                    <a:pt x="39687" y="131686"/>
                  </a:lnTo>
                  <a:lnTo>
                    <a:pt x="19037" y="173139"/>
                  </a:lnTo>
                  <a:lnTo>
                    <a:pt x="5562" y="218211"/>
                  </a:lnTo>
                  <a:lnTo>
                    <a:pt x="0" y="266192"/>
                  </a:lnTo>
                  <a:lnTo>
                    <a:pt x="47713" y="262178"/>
                  </a:lnTo>
                  <a:lnTo>
                    <a:pt x="92227" y="250520"/>
                  </a:lnTo>
                  <a:lnTo>
                    <a:pt x="133464" y="231927"/>
                  </a:lnTo>
                  <a:lnTo>
                    <a:pt x="155803" y="217004"/>
                  </a:lnTo>
                  <a:lnTo>
                    <a:pt x="170738" y="207048"/>
                  </a:lnTo>
                  <a:lnTo>
                    <a:pt x="203365" y="176593"/>
                  </a:lnTo>
                  <a:lnTo>
                    <a:pt x="230670" y="141211"/>
                  </a:lnTo>
                  <a:lnTo>
                    <a:pt x="251993" y="101600"/>
                  </a:lnTo>
                  <a:lnTo>
                    <a:pt x="266661" y="58407"/>
                  </a:lnTo>
                  <a:lnTo>
                    <a:pt x="273989" y="12319"/>
                  </a:lnTo>
                  <a:lnTo>
                    <a:pt x="281165" y="58585"/>
                  </a:lnTo>
                  <a:lnTo>
                    <a:pt x="295719" y="101942"/>
                  </a:lnTo>
                  <a:lnTo>
                    <a:pt x="316979" y="141744"/>
                  </a:lnTo>
                  <a:lnTo>
                    <a:pt x="344271" y="177279"/>
                  </a:lnTo>
                  <a:lnTo>
                    <a:pt x="376923" y="207873"/>
                  </a:lnTo>
                  <a:lnTo>
                    <a:pt x="414235" y="232867"/>
                  </a:lnTo>
                  <a:lnTo>
                    <a:pt x="455549" y="251548"/>
                  </a:lnTo>
                  <a:lnTo>
                    <a:pt x="500164" y="263258"/>
                  </a:lnTo>
                  <a:lnTo>
                    <a:pt x="548081" y="267322"/>
                  </a:lnTo>
                  <a:close/>
                </a:path>
              </a:pathLst>
            </a:custGeom>
            <a:solidFill>
              <a:srgbClr val="2DB7EA"/>
            </a:solidFill>
          </p:spPr>
          <p:txBody>
            <a:bodyPr wrap="square" lIns="0" tIns="0" rIns="0" bIns="0" rtlCol="0"/>
            <a:lstStyle/>
            <a:p>
              <a:endParaRPr dirty="0"/>
            </a:p>
          </p:txBody>
        </p:sp>
        <p:pic>
          <p:nvPicPr>
            <p:cNvPr id="223" name="object 74">
              <a:extLst>
                <a:ext uri="{FF2B5EF4-FFF2-40B4-BE49-F238E27FC236}">
                  <a16:creationId xmlns:a16="http://schemas.microsoft.com/office/drawing/2014/main" id="{EEB81C7D-BC6F-F52E-B7C5-1F8C8E3084E0}"/>
                </a:ext>
              </a:extLst>
            </p:cNvPr>
            <p:cNvPicPr/>
            <p:nvPr/>
          </p:nvPicPr>
          <p:blipFill>
            <a:blip r:embed="rId16" cstate="print"/>
            <a:stretch>
              <a:fillRect/>
            </a:stretch>
          </p:blipFill>
          <p:spPr>
            <a:xfrm>
              <a:off x="8096998" y="5626898"/>
              <a:ext cx="106445" cy="107156"/>
            </a:xfrm>
            <a:prstGeom prst="rect">
              <a:avLst/>
            </a:prstGeom>
          </p:spPr>
        </p:pic>
        <p:sp>
          <p:nvSpPr>
            <p:cNvPr id="224" name="object 75">
              <a:extLst>
                <a:ext uri="{FF2B5EF4-FFF2-40B4-BE49-F238E27FC236}">
                  <a16:creationId xmlns:a16="http://schemas.microsoft.com/office/drawing/2014/main" id="{B8077437-EB63-3902-D9E7-10828C8D04D1}"/>
                </a:ext>
              </a:extLst>
            </p:cNvPr>
            <p:cNvSpPr/>
            <p:nvPr/>
          </p:nvSpPr>
          <p:spPr>
            <a:xfrm>
              <a:off x="7983731" y="5825360"/>
              <a:ext cx="332700" cy="477101"/>
            </a:xfrm>
            <a:custGeom>
              <a:avLst/>
              <a:gdLst/>
              <a:ahLst/>
              <a:cxnLst/>
              <a:rect l="l" t="t" r="r" b="b"/>
              <a:pathLst>
                <a:path w="548640" h="786765">
                  <a:moveTo>
                    <a:pt x="548068" y="786396"/>
                  </a:moveTo>
                  <a:lnTo>
                    <a:pt x="542632" y="738238"/>
                  </a:lnTo>
                  <a:lnTo>
                    <a:pt x="529234" y="692975"/>
                  </a:lnTo>
                  <a:lnTo>
                    <a:pt x="508609" y="651344"/>
                  </a:lnTo>
                  <a:lnTo>
                    <a:pt x="481520" y="614095"/>
                  </a:lnTo>
                  <a:lnTo>
                    <a:pt x="448678" y="581939"/>
                  </a:lnTo>
                  <a:lnTo>
                    <a:pt x="410819" y="555637"/>
                  </a:lnTo>
                  <a:lnTo>
                    <a:pt x="368693" y="535901"/>
                  </a:lnTo>
                  <a:lnTo>
                    <a:pt x="323024" y="523481"/>
                  </a:lnTo>
                  <a:lnTo>
                    <a:pt x="274548" y="519099"/>
                  </a:lnTo>
                  <a:lnTo>
                    <a:pt x="273329" y="519099"/>
                  </a:lnTo>
                  <a:lnTo>
                    <a:pt x="224980" y="523455"/>
                  </a:lnTo>
                  <a:lnTo>
                    <a:pt x="179438" y="535825"/>
                  </a:lnTo>
                  <a:lnTo>
                    <a:pt x="137401" y="555472"/>
                  </a:lnTo>
                  <a:lnTo>
                    <a:pt x="99618" y="581660"/>
                  </a:lnTo>
                  <a:lnTo>
                    <a:pt x="66814" y="613676"/>
                  </a:lnTo>
                  <a:lnTo>
                    <a:pt x="39725" y="650773"/>
                  </a:lnTo>
                  <a:lnTo>
                    <a:pt x="19075" y="692238"/>
                  </a:lnTo>
                  <a:lnTo>
                    <a:pt x="5600" y="737323"/>
                  </a:lnTo>
                  <a:lnTo>
                    <a:pt x="38" y="785304"/>
                  </a:lnTo>
                  <a:lnTo>
                    <a:pt x="47713" y="781278"/>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72"/>
                  </a:lnTo>
                  <a:lnTo>
                    <a:pt x="295719" y="621042"/>
                  </a:lnTo>
                  <a:lnTo>
                    <a:pt x="316979" y="660831"/>
                  </a:lnTo>
                  <a:lnTo>
                    <a:pt x="344271" y="696366"/>
                  </a:lnTo>
                  <a:lnTo>
                    <a:pt x="376923" y="726973"/>
                  </a:lnTo>
                  <a:lnTo>
                    <a:pt x="414235" y="751954"/>
                  </a:lnTo>
                  <a:lnTo>
                    <a:pt x="455536" y="770636"/>
                  </a:lnTo>
                  <a:lnTo>
                    <a:pt x="500164" y="782345"/>
                  </a:lnTo>
                  <a:lnTo>
                    <a:pt x="548068" y="786396"/>
                  </a:lnTo>
                  <a:close/>
                </a:path>
                <a:path w="548640" h="786765">
                  <a:moveTo>
                    <a:pt x="548068" y="520865"/>
                  </a:moveTo>
                  <a:lnTo>
                    <a:pt x="542632" y="472706"/>
                  </a:lnTo>
                  <a:lnTo>
                    <a:pt x="529234" y="427443"/>
                  </a:lnTo>
                  <a:lnTo>
                    <a:pt x="508609" y="385813"/>
                  </a:lnTo>
                  <a:lnTo>
                    <a:pt x="481520" y="348564"/>
                  </a:lnTo>
                  <a:lnTo>
                    <a:pt x="448678" y="316407"/>
                  </a:lnTo>
                  <a:lnTo>
                    <a:pt x="410819" y="290093"/>
                  </a:lnTo>
                  <a:lnTo>
                    <a:pt x="368693" y="270370"/>
                  </a:lnTo>
                  <a:lnTo>
                    <a:pt x="323024" y="257937"/>
                  </a:lnTo>
                  <a:lnTo>
                    <a:pt x="274548" y="253555"/>
                  </a:lnTo>
                  <a:lnTo>
                    <a:pt x="273329" y="253555"/>
                  </a:lnTo>
                  <a:lnTo>
                    <a:pt x="224980" y="257924"/>
                  </a:lnTo>
                  <a:lnTo>
                    <a:pt x="179438" y="270294"/>
                  </a:lnTo>
                  <a:lnTo>
                    <a:pt x="137401" y="289928"/>
                  </a:lnTo>
                  <a:lnTo>
                    <a:pt x="99618" y="316128"/>
                  </a:lnTo>
                  <a:lnTo>
                    <a:pt x="66814" y="348145"/>
                  </a:lnTo>
                  <a:lnTo>
                    <a:pt x="39725" y="385241"/>
                  </a:lnTo>
                  <a:lnTo>
                    <a:pt x="19075" y="426694"/>
                  </a:lnTo>
                  <a:lnTo>
                    <a:pt x="5600" y="471792"/>
                  </a:lnTo>
                  <a:lnTo>
                    <a:pt x="38" y="519772"/>
                  </a:lnTo>
                  <a:lnTo>
                    <a:pt x="47713" y="515734"/>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40"/>
                  </a:lnTo>
                  <a:lnTo>
                    <a:pt x="295719" y="355511"/>
                  </a:lnTo>
                  <a:lnTo>
                    <a:pt x="316979" y="395300"/>
                  </a:lnTo>
                  <a:lnTo>
                    <a:pt x="344271" y="430834"/>
                  </a:lnTo>
                  <a:lnTo>
                    <a:pt x="376923" y="461441"/>
                  </a:lnTo>
                  <a:lnTo>
                    <a:pt x="414235" y="486410"/>
                  </a:lnTo>
                  <a:lnTo>
                    <a:pt x="455536" y="505104"/>
                  </a:lnTo>
                  <a:lnTo>
                    <a:pt x="500164" y="516813"/>
                  </a:lnTo>
                  <a:lnTo>
                    <a:pt x="548068" y="520865"/>
                  </a:lnTo>
                  <a:close/>
                </a:path>
                <a:path w="548640" h="786765">
                  <a:moveTo>
                    <a:pt x="548081" y="267322"/>
                  </a:moveTo>
                  <a:lnTo>
                    <a:pt x="543242" y="224586"/>
                  </a:lnTo>
                  <a:lnTo>
                    <a:pt x="542632" y="219151"/>
                  </a:lnTo>
                  <a:lnTo>
                    <a:pt x="529234" y="173888"/>
                  </a:lnTo>
                  <a:lnTo>
                    <a:pt x="508622" y="132257"/>
                  </a:lnTo>
                  <a:lnTo>
                    <a:pt x="481533" y="94996"/>
                  </a:lnTo>
                  <a:lnTo>
                    <a:pt x="448691" y="62852"/>
                  </a:lnTo>
                  <a:lnTo>
                    <a:pt x="422376" y="44577"/>
                  </a:lnTo>
                  <a:lnTo>
                    <a:pt x="410832" y="36550"/>
                  </a:lnTo>
                  <a:lnTo>
                    <a:pt x="368706" y="16814"/>
                  </a:lnTo>
                  <a:lnTo>
                    <a:pt x="323037" y="4394"/>
                  </a:lnTo>
                  <a:lnTo>
                    <a:pt x="274548" y="0"/>
                  </a:lnTo>
                  <a:lnTo>
                    <a:pt x="273329" y="0"/>
                  </a:lnTo>
                  <a:lnTo>
                    <a:pt x="224980" y="4356"/>
                  </a:lnTo>
                  <a:lnTo>
                    <a:pt x="179438" y="16725"/>
                  </a:lnTo>
                  <a:lnTo>
                    <a:pt x="137401" y="36372"/>
                  </a:lnTo>
                  <a:lnTo>
                    <a:pt x="120675" y="47967"/>
                  </a:lnTo>
                  <a:lnTo>
                    <a:pt x="99618" y="62572"/>
                  </a:lnTo>
                  <a:lnTo>
                    <a:pt x="66814" y="94576"/>
                  </a:lnTo>
                  <a:lnTo>
                    <a:pt x="39687" y="131686"/>
                  </a:lnTo>
                  <a:lnTo>
                    <a:pt x="19037" y="173139"/>
                  </a:lnTo>
                  <a:lnTo>
                    <a:pt x="5562" y="218224"/>
                  </a:lnTo>
                  <a:lnTo>
                    <a:pt x="0" y="266192"/>
                  </a:lnTo>
                  <a:lnTo>
                    <a:pt x="47713" y="262178"/>
                  </a:lnTo>
                  <a:lnTo>
                    <a:pt x="92227" y="250532"/>
                  </a:lnTo>
                  <a:lnTo>
                    <a:pt x="133464" y="231927"/>
                  </a:lnTo>
                  <a:lnTo>
                    <a:pt x="170726" y="207060"/>
                  </a:lnTo>
                  <a:lnTo>
                    <a:pt x="172897" y="205041"/>
                  </a:lnTo>
                  <a:lnTo>
                    <a:pt x="203365" y="176593"/>
                  </a:lnTo>
                  <a:lnTo>
                    <a:pt x="230670" y="141224"/>
                  </a:lnTo>
                  <a:lnTo>
                    <a:pt x="251993" y="101600"/>
                  </a:lnTo>
                  <a:lnTo>
                    <a:pt x="266661" y="58407"/>
                  </a:lnTo>
                  <a:lnTo>
                    <a:pt x="273989" y="12331"/>
                  </a:lnTo>
                  <a:lnTo>
                    <a:pt x="281165" y="58585"/>
                  </a:lnTo>
                  <a:lnTo>
                    <a:pt x="295719" y="101955"/>
                  </a:lnTo>
                  <a:lnTo>
                    <a:pt x="316979" y="141744"/>
                  </a:lnTo>
                  <a:lnTo>
                    <a:pt x="344271" y="177279"/>
                  </a:lnTo>
                  <a:lnTo>
                    <a:pt x="360070" y="192087"/>
                  </a:lnTo>
                  <a:lnTo>
                    <a:pt x="376923" y="207886"/>
                  </a:lnTo>
                  <a:lnTo>
                    <a:pt x="414235" y="232867"/>
                  </a:lnTo>
                  <a:lnTo>
                    <a:pt x="455549" y="251561"/>
                  </a:lnTo>
                  <a:lnTo>
                    <a:pt x="500164" y="263271"/>
                  </a:lnTo>
                  <a:lnTo>
                    <a:pt x="548081" y="267322"/>
                  </a:lnTo>
                  <a:close/>
                </a:path>
              </a:pathLst>
            </a:custGeom>
            <a:solidFill>
              <a:srgbClr val="7ED3F1"/>
            </a:solidFill>
          </p:spPr>
          <p:txBody>
            <a:bodyPr wrap="square" lIns="0" tIns="0" rIns="0" bIns="0" rtlCol="0"/>
            <a:lstStyle/>
            <a:p>
              <a:endParaRPr dirty="0"/>
            </a:p>
          </p:txBody>
        </p:sp>
        <p:pic>
          <p:nvPicPr>
            <p:cNvPr id="225" name="object 76">
              <a:extLst>
                <a:ext uri="{FF2B5EF4-FFF2-40B4-BE49-F238E27FC236}">
                  <a16:creationId xmlns:a16="http://schemas.microsoft.com/office/drawing/2014/main" id="{EF08942A-0895-9C1F-1BE4-BB20DE68911F}"/>
                </a:ext>
              </a:extLst>
            </p:cNvPr>
            <p:cNvPicPr/>
            <p:nvPr/>
          </p:nvPicPr>
          <p:blipFill>
            <a:blip r:embed="rId17" cstate="print"/>
            <a:stretch>
              <a:fillRect/>
            </a:stretch>
          </p:blipFill>
          <p:spPr>
            <a:xfrm>
              <a:off x="8096998" y="6281064"/>
              <a:ext cx="106445" cy="107156"/>
            </a:xfrm>
            <a:prstGeom prst="rect">
              <a:avLst/>
            </a:prstGeom>
          </p:spPr>
        </p:pic>
        <p:sp>
          <p:nvSpPr>
            <p:cNvPr id="226" name="object 77">
              <a:extLst>
                <a:ext uri="{FF2B5EF4-FFF2-40B4-BE49-F238E27FC236}">
                  <a16:creationId xmlns:a16="http://schemas.microsoft.com/office/drawing/2014/main" id="{D086BB91-004F-6EF3-F085-48E676884AD7}"/>
                </a:ext>
              </a:extLst>
            </p:cNvPr>
            <p:cNvSpPr/>
            <p:nvPr/>
          </p:nvSpPr>
          <p:spPr>
            <a:xfrm>
              <a:off x="9138939" y="6037749"/>
              <a:ext cx="332700" cy="477101"/>
            </a:xfrm>
            <a:custGeom>
              <a:avLst/>
              <a:gdLst/>
              <a:ahLst/>
              <a:cxnLst/>
              <a:rect l="l" t="t" r="r" b="b"/>
              <a:pathLst>
                <a:path w="548640" h="786765">
                  <a:moveTo>
                    <a:pt x="548081" y="520179"/>
                  </a:moveTo>
                  <a:lnTo>
                    <a:pt x="500367" y="524217"/>
                  </a:lnTo>
                  <a:lnTo>
                    <a:pt x="455841" y="535876"/>
                  </a:lnTo>
                  <a:lnTo>
                    <a:pt x="414616" y="554469"/>
                  </a:lnTo>
                  <a:lnTo>
                    <a:pt x="402221" y="562749"/>
                  </a:lnTo>
                  <a:lnTo>
                    <a:pt x="377355" y="579348"/>
                  </a:lnTo>
                  <a:lnTo>
                    <a:pt x="344728" y="609803"/>
                  </a:lnTo>
                  <a:lnTo>
                    <a:pt x="317411" y="645172"/>
                  </a:lnTo>
                  <a:lnTo>
                    <a:pt x="296087" y="684796"/>
                  </a:lnTo>
                  <a:lnTo>
                    <a:pt x="281419" y="727989"/>
                  </a:lnTo>
                  <a:lnTo>
                    <a:pt x="274078" y="774039"/>
                  </a:lnTo>
                  <a:lnTo>
                    <a:pt x="268224" y="736307"/>
                  </a:lnTo>
                  <a:lnTo>
                    <a:pt x="266915" y="727824"/>
                  </a:lnTo>
                  <a:lnTo>
                    <a:pt x="252361" y="684453"/>
                  </a:lnTo>
                  <a:lnTo>
                    <a:pt x="244944" y="670598"/>
                  </a:lnTo>
                  <a:lnTo>
                    <a:pt x="231101"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38"/>
                  </a:lnTo>
                  <a:lnTo>
                    <a:pt x="66548" y="691400"/>
                  </a:lnTo>
                  <a:lnTo>
                    <a:pt x="99390" y="723544"/>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5">
                  <a:moveTo>
                    <a:pt x="548081" y="266611"/>
                  </a:moveTo>
                  <a:lnTo>
                    <a:pt x="500367" y="270649"/>
                  </a:lnTo>
                  <a:lnTo>
                    <a:pt x="455841" y="282308"/>
                  </a:lnTo>
                  <a:lnTo>
                    <a:pt x="414616" y="300901"/>
                  </a:lnTo>
                  <a:lnTo>
                    <a:pt x="377355" y="325780"/>
                  </a:lnTo>
                  <a:lnTo>
                    <a:pt x="344728" y="356235"/>
                  </a:lnTo>
                  <a:lnTo>
                    <a:pt x="317411" y="391629"/>
                  </a:lnTo>
                  <a:lnTo>
                    <a:pt x="296087" y="431253"/>
                  </a:lnTo>
                  <a:lnTo>
                    <a:pt x="281419" y="474446"/>
                  </a:lnTo>
                  <a:lnTo>
                    <a:pt x="274091" y="520534"/>
                  </a:lnTo>
                  <a:lnTo>
                    <a:pt x="266915" y="474256"/>
                  </a:lnTo>
                  <a:lnTo>
                    <a:pt x="252361" y="430885"/>
                  </a:lnTo>
                  <a:lnTo>
                    <a:pt x="231101" y="391096"/>
                  </a:lnTo>
                  <a:lnTo>
                    <a:pt x="203796" y="355561"/>
                  </a:lnTo>
                  <a:lnTo>
                    <a:pt x="171157" y="324954"/>
                  </a:lnTo>
                  <a:lnTo>
                    <a:pt x="133845" y="299986"/>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87" y="516026"/>
                  </a:lnTo>
                  <a:lnTo>
                    <a:pt x="225056" y="528459"/>
                  </a:lnTo>
                  <a:lnTo>
                    <a:pt x="273532" y="532841"/>
                  </a:lnTo>
                  <a:lnTo>
                    <a:pt x="274751" y="532841"/>
                  </a:lnTo>
                  <a:lnTo>
                    <a:pt x="323088" y="528472"/>
                  </a:lnTo>
                  <a:lnTo>
                    <a:pt x="368642" y="516102"/>
                  </a:lnTo>
                  <a:lnTo>
                    <a:pt x="410679" y="496468"/>
                  </a:lnTo>
                  <a:lnTo>
                    <a:pt x="448475" y="470268"/>
                  </a:lnTo>
                  <a:lnTo>
                    <a:pt x="481279" y="438251"/>
                  </a:lnTo>
                  <a:lnTo>
                    <a:pt x="508368" y="401154"/>
                  </a:lnTo>
                  <a:lnTo>
                    <a:pt x="529031" y="359689"/>
                  </a:lnTo>
                  <a:lnTo>
                    <a:pt x="542505" y="314604"/>
                  </a:lnTo>
                  <a:lnTo>
                    <a:pt x="548081" y="266611"/>
                  </a:lnTo>
                  <a:close/>
                </a:path>
                <a:path w="548640" h="786765">
                  <a:moveTo>
                    <a:pt x="548081" y="1092"/>
                  </a:moveTo>
                  <a:lnTo>
                    <a:pt x="500367" y="5130"/>
                  </a:lnTo>
                  <a:lnTo>
                    <a:pt x="455841" y="16789"/>
                  </a:lnTo>
                  <a:lnTo>
                    <a:pt x="414616" y="35382"/>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87" y="250507"/>
                  </a:lnTo>
                  <a:lnTo>
                    <a:pt x="225056" y="262928"/>
                  </a:lnTo>
                  <a:lnTo>
                    <a:pt x="273532" y="267309"/>
                  </a:lnTo>
                  <a:lnTo>
                    <a:pt x="274751" y="267309"/>
                  </a:lnTo>
                  <a:lnTo>
                    <a:pt x="323088" y="262953"/>
                  </a:lnTo>
                  <a:lnTo>
                    <a:pt x="368642" y="250583"/>
                  </a:lnTo>
                  <a:lnTo>
                    <a:pt x="410679" y="230936"/>
                  </a:lnTo>
                  <a:lnTo>
                    <a:pt x="448475" y="204749"/>
                  </a:lnTo>
                  <a:lnTo>
                    <a:pt x="481279" y="172732"/>
                  </a:lnTo>
                  <a:lnTo>
                    <a:pt x="508368" y="135623"/>
                  </a:lnTo>
                  <a:lnTo>
                    <a:pt x="529031" y="94170"/>
                  </a:lnTo>
                  <a:lnTo>
                    <a:pt x="542505" y="49085"/>
                  </a:lnTo>
                  <a:lnTo>
                    <a:pt x="548081" y="1092"/>
                  </a:lnTo>
                  <a:close/>
                </a:path>
              </a:pathLst>
            </a:custGeom>
            <a:solidFill>
              <a:srgbClr val="2DB7EA"/>
            </a:solidFill>
          </p:spPr>
          <p:txBody>
            <a:bodyPr wrap="square" lIns="0" tIns="0" rIns="0" bIns="0" rtlCol="0"/>
            <a:lstStyle/>
            <a:p>
              <a:endParaRPr dirty="0"/>
            </a:p>
          </p:txBody>
        </p:sp>
        <p:pic>
          <p:nvPicPr>
            <p:cNvPr id="227" name="object 78">
              <a:extLst>
                <a:ext uri="{FF2B5EF4-FFF2-40B4-BE49-F238E27FC236}">
                  <a16:creationId xmlns:a16="http://schemas.microsoft.com/office/drawing/2014/main" id="{AF652349-38FA-4A05-B153-4CCA5C6E1D06}"/>
                </a:ext>
              </a:extLst>
            </p:cNvPr>
            <p:cNvPicPr/>
            <p:nvPr/>
          </p:nvPicPr>
          <p:blipFill>
            <a:blip r:embed="rId10" cstate="print"/>
            <a:stretch>
              <a:fillRect/>
            </a:stretch>
          </p:blipFill>
          <p:spPr>
            <a:xfrm>
              <a:off x="9251594" y="5951762"/>
              <a:ext cx="106445" cy="107156"/>
            </a:xfrm>
            <a:prstGeom prst="rect">
              <a:avLst/>
            </a:prstGeom>
          </p:spPr>
        </p:pic>
        <p:sp>
          <p:nvSpPr>
            <p:cNvPr id="228" name="object 79">
              <a:extLst>
                <a:ext uri="{FF2B5EF4-FFF2-40B4-BE49-F238E27FC236}">
                  <a16:creationId xmlns:a16="http://schemas.microsoft.com/office/drawing/2014/main" id="{45EF1FE0-EA2A-B43D-E9B4-D0491029E4B9}"/>
                </a:ext>
              </a:extLst>
            </p:cNvPr>
            <p:cNvSpPr/>
            <p:nvPr/>
          </p:nvSpPr>
          <p:spPr>
            <a:xfrm>
              <a:off x="9138939" y="5383587"/>
              <a:ext cx="332700" cy="477101"/>
            </a:xfrm>
            <a:custGeom>
              <a:avLst/>
              <a:gdLst/>
              <a:ahLst/>
              <a:cxnLst/>
              <a:rect l="l" t="t" r="r" b="b"/>
              <a:pathLst>
                <a:path w="548640" h="786765">
                  <a:moveTo>
                    <a:pt x="548081" y="520179"/>
                  </a:moveTo>
                  <a:lnTo>
                    <a:pt x="500367" y="524217"/>
                  </a:lnTo>
                  <a:lnTo>
                    <a:pt x="455841" y="535876"/>
                  </a:lnTo>
                  <a:lnTo>
                    <a:pt x="414616" y="554469"/>
                  </a:lnTo>
                  <a:lnTo>
                    <a:pt x="402209" y="562749"/>
                  </a:lnTo>
                  <a:lnTo>
                    <a:pt x="377355" y="579335"/>
                  </a:lnTo>
                  <a:lnTo>
                    <a:pt x="344716" y="609790"/>
                  </a:lnTo>
                  <a:lnTo>
                    <a:pt x="317411" y="645172"/>
                  </a:lnTo>
                  <a:lnTo>
                    <a:pt x="296087" y="684796"/>
                  </a:lnTo>
                  <a:lnTo>
                    <a:pt x="281419" y="727976"/>
                  </a:lnTo>
                  <a:lnTo>
                    <a:pt x="274078" y="774039"/>
                  </a:lnTo>
                  <a:lnTo>
                    <a:pt x="266915" y="727811"/>
                  </a:lnTo>
                  <a:lnTo>
                    <a:pt x="252361" y="684441"/>
                  </a:lnTo>
                  <a:lnTo>
                    <a:pt x="231101" y="644652"/>
                  </a:lnTo>
                  <a:lnTo>
                    <a:pt x="203796" y="609117"/>
                  </a:lnTo>
                  <a:lnTo>
                    <a:pt x="171157" y="578523"/>
                  </a:lnTo>
                  <a:lnTo>
                    <a:pt x="133845" y="553542"/>
                  </a:lnTo>
                  <a:lnTo>
                    <a:pt x="92532" y="534847"/>
                  </a:lnTo>
                  <a:lnTo>
                    <a:pt x="47917" y="523125"/>
                  </a:lnTo>
                  <a:lnTo>
                    <a:pt x="0" y="519061"/>
                  </a:lnTo>
                  <a:lnTo>
                    <a:pt x="5448" y="567258"/>
                  </a:lnTo>
                  <a:lnTo>
                    <a:pt x="18846" y="612508"/>
                  </a:lnTo>
                  <a:lnTo>
                    <a:pt x="39458" y="654138"/>
                  </a:lnTo>
                  <a:lnTo>
                    <a:pt x="66548" y="691388"/>
                  </a:lnTo>
                  <a:lnTo>
                    <a:pt x="67246" y="692073"/>
                  </a:lnTo>
                  <a:lnTo>
                    <a:pt x="99390" y="723544"/>
                  </a:lnTo>
                  <a:lnTo>
                    <a:pt x="137248" y="749858"/>
                  </a:lnTo>
                  <a:lnTo>
                    <a:pt x="179387" y="769594"/>
                  </a:lnTo>
                  <a:lnTo>
                    <a:pt x="225056" y="782015"/>
                  </a:lnTo>
                  <a:lnTo>
                    <a:pt x="273532" y="786396"/>
                  </a:lnTo>
                  <a:lnTo>
                    <a:pt x="274751" y="786396"/>
                  </a:lnTo>
                  <a:lnTo>
                    <a:pt x="323088" y="782027"/>
                  </a:lnTo>
                  <a:lnTo>
                    <a:pt x="368642" y="769670"/>
                  </a:lnTo>
                  <a:lnTo>
                    <a:pt x="410679" y="750023"/>
                  </a:lnTo>
                  <a:lnTo>
                    <a:pt x="448475" y="723823"/>
                  </a:lnTo>
                  <a:lnTo>
                    <a:pt x="481279" y="691819"/>
                  </a:lnTo>
                  <a:lnTo>
                    <a:pt x="488492" y="681939"/>
                  </a:lnTo>
                  <a:lnTo>
                    <a:pt x="508393" y="654697"/>
                  </a:lnTo>
                  <a:lnTo>
                    <a:pt x="529031" y="613257"/>
                  </a:lnTo>
                  <a:lnTo>
                    <a:pt x="542518" y="568172"/>
                  </a:lnTo>
                  <a:lnTo>
                    <a:pt x="548068" y="520204"/>
                  </a:lnTo>
                  <a:close/>
                </a:path>
                <a:path w="548640" h="786765">
                  <a:moveTo>
                    <a:pt x="548081" y="266623"/>
                  </a:moveTo>
                  <a:lnTo>
                    <a:pt x="500367" y="270649"/>
                  </a:lnTo>
                  <a:lnTo>
                    <a:pt x="455841" y="282308"/>
                  </a:lnTo>
                  <a:lnTo>
                    <a:pt x="414616" y="300913"/>
                  </a:lnTo>
                  <a:lnTo>
                    <a:pt x="377355" y="325780"/>
                  </a:lnTo>
                  <a:lnTo>
                    <a:pt x="344728" y="356235"/>
                  </a:lnTo>
                  <a:lnTo>
                    <a:pt x="317411" y="391617"/>
                  </a:lnTo>
                  <a:lnTo>
                    <a:pt x="296087" y="431241"/>
                  </a:lnTo>
                  <a:lnTo>
                    <a:pt x="281419" y="474446"/>
                  </a:lnTo>
                  <a:lnTo>
                    <a:pt x="274091" y="520522"/>
                  </a:lnTo>
                  <a:lnTo>
                    <a:pt x="266915" y="474256"/>
                  </a:lnTo>
                  <a:lnTo>
                    <a:pt x="252361" y="430885"/>
                  </a:lnTo>
                  <a:lnTo>
                    <a:pt x="231101"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76"/>
                  </a:lnTo>
                  <a:lnTo>
                    <a:pt x="137248" y="496290"/>
                  </a:lnTo>
                  <a:lnTo>
                    <a:pt x="179387" y="516026"/>
                  </a:lnTo>
                  <a:lnTo>
                    <a:pt x="225056" y="528447"/>
                  </a:lnTo>
                  <a:lnTo>
                    <a:pt x="273532" y="532828"/>
                  </a:lnTo>
                  <a:lnTo>
                    <a:pt x="274751" y="532828"/>
                  </a:lnTo>
                  <a:lnTo>
                    <a:pt x="323088" y="528472"/>
                  </a:lnTo>
                  <a:lnTo>
                    <a:pt x="368642" y="516102"/>
                  </a:lnTo>
                  <a:lnTo>
                    <a:pt x="410679" y="496455"/>
                  </a:lnTo>
                  <a:lnTo>
                    <a:pt x="448475" y="470268"/>
                  </a:lnTo>
                  <a:lnTo>
                    <a:pt x="481279" y="438251"/>
                  </a:lnTo>
                  <a:lnTo>
                    <a:pt x="508368" y="401154"/>
                  </a:lnTo>
                  <a:lnTo>
                    <a:pt x="529031" y="359689"/>
                  </a:lnTo>
                  <a:lnTo>
                    <a:pt x="542505" y="314604"/>
                  </a:lnTo>
                  <a:lnTo>
                    <a:pt x="548081" y="266623"/>
                  </a:lnTo>
                  <a:close/>
                </a:path>
                <a:path w="548640" h="786765">
                  <a:moveTo>
                    <a:pt x="548081" y="1079"/>
                  </a:moveTo>
                  <a:lnTo>
                    <a:pt x="500367" y="5118"/>
                  </a:lnTo>
                  <a:lnTo>
                    <a:pt x="455841" y="16764"/>
                  </a:lnTo>
                  <a:lnTo>
                    <a:pt x="414616" y="35369"/>
                  </a:lnTo>
                  <a:lnTo>
                    <a:pt x="377355" y="60236"/>
                  </a:lnTo>
                  <a:lnTo>
                    <a:pt x="344728" y="90703"/>
                  </a:lnTo>
                  <a:lnTo>
                    <a:pt x="317411" y="126085"/>
                  </a:lnTo>
                  <a:lnTo>
                    <a:pt x="296087" y="165722"/>
                  </a:lnTo>
                  <a:lnTo>
                    <a:pt x="281419" y="208915"/>
                  </a:lnTo>
                  <a:lnTo>
                    <a:pt x="274091" y="255003"/>
                  </a:lnTo>
                  <a:lnTo>
                    <a:pt x="266915" y="208724"/>
                  </a:lnTo>
                  <a:lnTo>
                    <a:pt x="252361" y="165354"/>
                  </a:lnTo>
                  <a:lnTo>
                    <a:pt x="231101"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36"/>
                  </a:lnTo>
                  <a:lnTo>
                    <a:pt x="481279" y="172720"/>
                  </a:lnTo>
                  <a:lnTo>
                    <a:pt x="508368" y="135623"/>
                  </a:lnTo>
                  <a:lnTo>
                    <a:pt x="529031" y="94157"/>
                  </a:lnTo>
                  <a:lnTo>
                    <a:pt x="542505" y="49072"/>
                  </a:lnTo>
                  <a:lnTo>
                    <a:pt x="548081" y="1079"/>
                  </a:lnTo>
                  <a:close/>
                </a:path>
              </a:pathLst>
            </a:custGeom>
            <a:solidFill>
              <a:srgbClr val="7ED3F1"/>
            </a:solidFill>
          </p:spPr>
          <p:txBody>
            <a:bodyPr wrap="square" lIns="0" tIns="0" rIns="0" bIns="0" rtlCol="0"/>
            <a:lstStyle/>
            <a:p>
              <a:endParaRPr dirty="0"/>
            </a:p>
          </p:txBody>
        </p:sp>
        <p:pic>
          <p:nvPicPr>
            <p:cNvPr id="229" name="object 80">
              <a:extLst>
                <a:ext uri="{FF2B5EF4-FFF2-40B4-BE49-F238E27FC236}">
                  <a16:creationId xmlns:a16="http://schemas.microsoft.com/office/drawing/2014/main" id="{659BCAAF-18D8-BABF-16CA-01F4C3F84388}"/>
                </a:ext>
              </a:extLst>
            </p:cNvPr>
            <p:cNvPicPr/>
            <p:nvPr/>
          </p:nvPicPr>
          <p:blipFill>
            <a:blip r:embed="rId11" cstate="print"/>
            <a:stretch>
              <a:fillRect/>
            </a:stretch>
          </p:blipFill>
          <p:spPr>
            <a:xfrm>
              <a:off x="9251594" y="5297596"/>
              <a:ext cx="106445" cy="107156"/>
            </a:xfrm>
            <a:prstGeom prst="rect">
              <a:avLst/>
            </a:prstGeom>
          </p:spPr>
        </p:pic>
        <p:sp>
          <p:nvSpPr>
            <p:cNvPr id="230" name="object 81">
              <a:extLst>
                <a:ext uri="{FF2B5EF4-FFF2-40B4-BE49-F238E27FC236}">
                  <a16:creationId xmlns:a16="http://schemas.microsoft.com/office/drawing/2014/main" id="{9EBAABCF-6495-7AFB-6F3A-147E1AEE1A8E}"/>
                </a:ext>
              </a:extLst>
            </p:cNvPr>
            <p:cNvSpPr/>
            <p:nvPr/>
          </p:nvSpPr>
          <p:spPr>
            <a:xfrm>
              <a:off x="9138939" y="6691912"/>
              <a:ext cx="332700" cy="165965"/>
            </a:xfrm>
            <a:custGeom>
              <a:avLst/>
              <a:gdLst/>
              <a:ahLst/>
              <a:cxnLst/>
              <a:rect l="l" t="t" r="r" b="b"/>
              <a:pathLst>
                <a:path w="548640" h="273684">
                  <a:moveTo>
                    <a:pt x="62572" y="273431"/>
                  </a:moveTo>
                  <a:lnTo>
                    <a:pt x="47917" y="269595"/>
                  </a:lnTo>
                  <a:lnTo>
                    <a:pt x="0" y="265544"/>
                  </a:lnTo>
                  <a:lnTo>
                    <a:pt x="901" y="273431"/>
                  </a:lnTo>
                  <a:lnTo>
                    <a:pt x="62572" y="273431"/>
                  </a:lnTo>
                  <a:close/>
                </a:path>
                <a:path w="548640" h="273684">
                  <a:moveTo>
                    <a:pt x="548081" y="266623"/>
                  </a:moveTo>
                  <a:lnTo>
                    <a:pt x="500367" y="270649"/>
                  </a:lnTo>
                  <a:lnTo>
                    <a:pt x="489737" y="273431"/>
                  </a:lnTo>
                  <a:lnTo>
                    <a:pt x="547293" y="273431"/>
                  </a:lnTo>
                  <a:lnTo>
                    <a:pt x="548081" y="266623"/>
                  </a:lnTo>
                  <a:close/>
                </a:path>
                <a:path w="548640" h="273684">
                  <a:moveTo>
                    <a:pt x="548081" y="1079"/>
                  </a:moveTo>
                  <a:lnTo>
                    <a:pt x="500367" y="5118"/>
                  </a:lnTo>
                  <a:lnTo>
                    <a:pt x="455841" y="16776"/>
                  </a:lnTo>
                  <a:lnTo>
                    <a:pt x="414616" y="35382"/>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73"/>
                  </a:lnTo>
                  <a:lnTo>
                    <a:pt x="47917" y="4064"/>
                  </a:lnTo>
                  <a:lnTo>
                    <a:pt x="0" y="0"/>
                  </a:lnTo>
                  <a:lnTo>
                    <a:pt x="5448" y="48171"/>
                  </a:lnTo>
                  <a:lnTo>
                    <a:pt x="18846" y="93421"/>
                  </a:lnTo>
                  <a:lnTo>
                    <a:pt x="39458" y="135051"/>
                  </a:lnTo>
                  <a:lnTo>
                    <a:pt x="66560" y="172313"/>
                  </a:lnTo>
                  <a:lnTo>
                    <a:pt x="99402" y="204457"/>
                  </a:lnTo>
                  <a:lnTo>
                    <a:pt x="137248" y="230771"/>
                  </a:lnTo>
                  <a:lnTo>
                    <a:pt x="179387" y="250507"/>
                  </a:lnTo>
                  <a:lnTo>
                    <a:pt x="225056" y="262928"/>
                  </a:lnTo>
                  <a:lnTo>
                    <a:pt x="273532" y="267309"/>
                  </a:lnTo>
                  <a:lnTo>
                    <a:pt x="274751" y="267309"/>
                  </a:lnTo>
                  <a:lnTo>
                    <a:pt x="323088" y="262940"/>
                  </a:lnTo>
                  <a:lnTo>
                    <a:pt x="368642" y="250583"/>
                  </a:lnTo>
                  <a:lnTo>
                    <a:pt x="410679" y="230936"/>
                  </a:lnTo>
                  <a:lnTo>
                    <a:pt x="448475" y="204736"/>
                  </a:lnTo>
                  <a:lnTo>
                    <a:pt x="481279" y="172720"/>
                  </a:lnTo>
                  <a:lnTo>
                    <a:pt x="508368" y="135623"/>
                  </a:lnTo>
                  <a:lnTo>
                    <a:pt x="529031" y="94157"/>
                  </a:lnTo>
                  <a:lnTo>
                    <a:pt x="542505" y="49072"/>
                  </a:lnTo>
                  <a:lnTo>
                    <a:pt x="548081" y="1079"/>
                  </a:lnTo>
                  <a:close/>
                </a:path>
              </a:pathLst>
            </a:custGeom>
            <a:solidFill>
              <a:srgbClr val="7ED3F1"/>
            </a:solidFill>
          </p:spPr>
          <p:txBody>
            <a:bodyPr wrap="square" lIns="0" tIns="0" rIns="0" bIns="0" rtlCol="0"/>
            <a:lstStyle/>
            <a:p>
              <a:endParaRPr dirty="0"/>
            </a:p>
          </p:txBody>
        </p:sp>
        <p:pic>
          <p:nvPicPr>
            <p:cNvPr id="231" name="object 82">
              <a:extLst>
                <a:ext uri="{FF2B5EF4-FFF2-40B4-BE49-F238E27FC236}">
                  <a16:creationId xmlns:a16="http://schemas.microsoft.com/office/drawing/2014/main" id="{B61740D3-7CFB-7B2C-FFFA-46569C8402C0}"/>
                </a:ext>
              </a:extLst>
            </p:cNvPr>
            <p:cNvPicPr/>
            <p:nvPr/>
          </p:nvPicPr>
          <p:blipFill>
            <a:blip r:embed="rId11" cstate="print"/>
            <a:stretch>
              <a:fillRect/>
            </a:stretch>
          </p:blipFill>
          <p:spPr>
            <a:xfrm>
              <a:off x="9251594" y="6605926"/>
              <a:ext cx="106445" cy="107156"/>
            </a:xfrm>
            <a:prstGeom prst="rect">
              <a:avLst/>
            </a:prstGeom>
          </p:spPr>
        </p:pic>
        <p:sp>
          <p:nvSpPr>
            <p:cNvPr id="232" name="object 83">
              <a:extLst>
                <a:ext uri="{FF2B5EF4-FFF2-40B4-BE49-F238E27FC236}">
                  <a16:creationId xmlns:a16="http://schemas.microsoft.com/office/drawing/2014/main" id="{4EBC3772-3F4C-65A3-C6BD-55E0D7D2B0C6}"/>
                </a:ext>
              </a:extLst>
            </p:cNvPr>
            <p:cNvSpPr/>
            <p:nvPr/>
          </p:nvSpPr>
          <p:spPr>
            <a:xfrm>
              <a:off x="8753854" y="6479532"/>
              <a:ext cx="332700" cy="316141"/>
            </a:xfrm>
            <a:custGeom>
              <a:avLst/>
              <a:gdLst/>
              <a:ahLst/>
              <a:cxnLst/>
              <a:rect l="l" t="t" r="r" b="b"/>
              <a:pathLst>
                <a:path w="548640" h="521334">
                  <a:moveTo>
                    <a:pt x="548081" y="520852"/>
                  </a:moveTo>
                  <a:lnTo>
                    <a:pt x="542645" y="472694"/>
                  </a:lnTo>
                  <a:lnTo>
                    <a:pt x="529247" y="427431"/>
                  </a:lnTo>
                  <a:lnTo>
                    <a:pt x="508622" y="385800"/>
                  </a:lnTo>
                  <a:lnTo>
                    <a:pt x="481533" y="348551"/>
                  </a:lnTo>
                  <a:lnTo>
                    <a:pt x="448691" y="316395"/>
                  </a:lnTo>
                  <a:lnTo>
                    <a:pt x="410832" y="290093"/>
                  </a:lnTo>
                  <a:lnTo>
                    <a:pt x="368706" y="270357"/>
                  </a:lnTo>
                  <a:lnTo>
                    <a:pt x="323037" y="257924"/>
                  </a:lnTo>
                  <a:lnTo>
                    <a:pt x="274561" y="253555"/>
                  </a:lnTo>
                  <a:lnTo>
                    <a:pt x="273342" y="253555"/>
                  </a:lnTo>
                  <a:lnTo>
                    <a:pt x="224993" y="257911"/>
                  </a:lnTo>
                  <a:lnTo>
                    <a:pt x="179438" y="270281"/>
                  </a:lnTo>
                  <a:lnTo>
                    <a:pt x="137414" y="289915"/>
                  </a:lnTo>
                  <a:lnTo>
                    <a:pt x="99618" y="316115"/>
                  </a:lnTo>
                  <a:lnTo>
                    <a:pt x="66827" y="348132"/>
                  </a:lnTo>
                  <a:lnTo>
                    <a:pt x="39738" y="385229"/>
                  </a:lnTo>
                  <a:lnTo>
                    <a:pt x="19088" y="426694"/>
                  </a:lnTo>
                  <a:lnTo>
                    <a:pt x="5613" y="471792"/>
                  </a:lnTo>
                  <a:lnTo>
                    <a:pt x="50" y="519772"/>
                  </a:lnTo>
                  <a:lnTo>
                    <a:pt x="47713" y="515747"/>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27"/>
                  </a:lnTo>
                  <a:lnTo>
                    <a:pt x="295732" y="355498"/>
                  </a:lnTo>
                  <a:lnTo>
                    <a:pt x="316992" y="395300"/>
                  </a:lnTo>
                  <a:lnTo>
                    <a:pt x="344284" y="430834"/>
                  </a:lnTo>
                  <a:lnTo>
                    <a:pt x="376936" y="461429"/>
                  </a:lnTo>
                  <a:lnTo>
                    <a:pt x="414248" y="486410"/>
                  </a:lnTo>
                  <a:lnTo>
                    <a:pt x="455549" y="505091"/>
                  </a:lnTo>
                  <a:lnTo>
                    <a:pt x="500176" y="516801"/>
                  </a:lnTo>
                  <a:lnTo>
                    <a:pt x="548081" y="520852"/>
                  </a:lnTo>
                  <a:close/>
                </a:path>
                <a:path w="548640" h="521334">
                  <a:moveTo>
                    <a:pt x="548093" y="267322"/>
                  </a:moveTo>
                  <a:lnTo>
                    <a:pt x="542645" y="219138"/>
                  </a:lnTo>
                  <a:lnTo>
                    <a:pt x="529247" y="173875"/>
                  </a:lnTo>
                  <a:lnTo>
                    <a:pt x="508635" y="132245"/>
                  </a:lnTo>
                  <a:lnTo>
                    <a:pt x="481533" y="94996"/>
                  </a:lnTo>
                  <a:lnTo>
                    <a:pt x="448691" y="62839"/>
                  </a:lnTo>
                  <a:lnTo>
                    <a:pt x="410845" y="36537"/>
                  </a:lnTo>
                  <a:lnTo>
                    <a:pt x="368719" y="16814"/>
                  </a:lnTo>
                  <a:lnTo>
                    <a:pt x="323037" y="4368"/>
                  </a:lnTo>
                  <a:lnTo>
                    <a:pt x="274574" y="12"/>
                  </a:lnTo>
                  <a:lnTo>
                    <a:pt x="273342" y="0"/>
                  </a:lnTo>
                  <a:lnTo>
                    <a:pt x="224993" y="4356"/>
                  </a:lnTo>
                  <a:lnTo>
                    <a:pt x="179438" y="16713"/>
                  </a:lnTo>
                  <a:lnTo>
                    <a:pt x="137414" y="36360"/>
                  </a:lnTo>
                  <a:lnTo>
                    <a:pt x="99618" y="62560"/>
                  </a:lnTo>
                  <a:lnTo>
                    <a:pt x="98806" y="63347"/>
                  </a:lnTo>
                  <a:lnTo>
                    <a:pt x="66827" y="94576"/>
                  </a:lnTo>
                  <a:lnTo>
                    <a:pt x="39700" y="131686"/>
                  </a:lnTo>
                  <a:lnTo>
                    <a:pt x="19050" y="173139"/>
                  </a:lnTo>
                  <a:lnTo>
                    <a:pt x="5575" y="218211"/>
                  </a:lnTo>
                  <a:lnTo>
                    <a:pt x="0" y="266192"/>
                  </a:lnTo>
                  <a:lnTo>
                    <a:pt x="47713" y="262178"/>
                  </a:lnTo>
                  <a:lnTo>
                    <a:pt x="92240" y="250520"/>
                  </a:lnTo>
                  <a:lnTo>
                    <a:pt x="133477" y="231914"/>
                  </a:lnTo>
                  <a:lnTo>
                    <a:pt x="170751" y="207048"/>
                  </a:lnTo>
                  <a:lnTo>
                    <a:pt x="203377" y="176593"/>
                  </a:lnTo>
                  <a:lnTo>
                    <a:pt x="230682" y="141211"/>
                  </a:lnTo>
                  <a:lnTo>
                    <a:pt x="252006" y="101600"/>
                  </a:lnTo>
                  <a:lnTo>
                    <a:pt x="266674" y="58407"/>
                  </a:lnTo>
                  <a:lnTo>
                    <a:pt x="274002" y="12319"/>
                  </a:lnTo>
                  <a:lnTo>
                    <a:pt x="281178" y="58572"/>
                  </a:lnTo>
                  <a:lnTo>
                    <a:pt x="295732" y="101942"/>
                  </a:lnTo>
                  <a:lnTo>
                    <a:pt x="316992" y="141744"/>
                  </a:lnTo>
                  <a:lnTo>
                    <a:pt x="344284" y="177279"/>
                  </a:lnTo>
                  <a:lnTo>
                    <a:pt x="376936" y="207873"/>
                  </a:lnTo>
                  <a:lnTo>
                    <a:pt x="414248" y="232854"/>
                  </a:lnTo>
                  <a:lnTo>
                    <a:pt x="455561"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233" name="object 84">
              <a:extLst>
                <a:ext uri="{FF2B5EF4-FFF2-40B4-BE49-F238E27FC236}">
                  <a16:creationId xmlns:a16="http://schemas.microsoft.com/office/drawing/2014/main" id="{E31A9735-41F8-4F30-E647-D76DAC8663D5}"/>
                </a:ext>
              </a:extLst>
            </p:cNvPr>
            <p:cNvPicPr/>
            <p:nvPr/>
          </p:nvPicPr>
          <p:blipFill>
            <a:blip r:embed="rId7" cstate="print"/>
            <a:stretch>
              <a:fillRect/>
            </a:stretch>
          </p:blipFill>
          <p:spPr>
            <a:xfrm>
              <a:off x="8789951" y="6794307"/>
              <a:ext cx="260137" cy="63416"/>
            </a:xfrm>
            <a:prstGeom prst="rect">
              <a:avLst/>
            </a:prstGeom>
          </p:spPr>
        </p:pic>
        <p:sp>
          <p:nvSpPr>
            <p:cNvPr id="234" name="object 85">
              <a:extLst>
                <a:ext uri="{FF2B5EF4-FFF2-40B4-BE49-F238E27FC236}">
                  <a16:creationId xmlns:a16="http://schemas.microsoft.com/office/drawing/2014/main" id="{EAE85224-CBDE-D426-5F29-8577A3AB8FB1}"/>
                </a:ext>
              </a:extLst>
            </p:cNvPr>
            <p:cNvSpPr/>
            <p:nvPr/>
          </p:nvSpPr>
          <p:spPr>
            <a:xfrm>
              <a:off x="8753854" y="5171198"/>
              <a:ext cx="332700" cy="477101"/>
            </a:xfrm>
            <a:custGeom>
              <a:avLst/>
              <a:gdLst/>
              <a:ahLst/>
              <a:cxnLst/>
              <a:rect l="l" t="t" r="r" b="b"/>
              <a:pathLst>
                <a:path w="548640" h="786765">
                  <a:moveTo>
                    <a:pt x="548081" y="786396"/>
                  </a:moveTo>
                  <a:lnTo>
                    <a:pt x="542645" y="738225"/>
                  </a:lnTo>
                  <a:lnTo>
                    <a:pt x="529247" y="692975"/>
                  </a:lnTo>
                  <a:lnTo>
                    <a:pt x="508622" y="651344"/>
                  </a:lnTo>
                  <a:lnTo>
                    <a:pt x="481533" y="614083"/>
                  </a:lnTo>
                  <a:lnTo>
                    <a:pt x="448691" y="581939"/>
                  </a:lnTo>
                  <a:lnTo>
                    <a:pt x="410832" y="555625"/>
                  </a:lnTo>
                  <a:lnTo>
                    <a:pt x="368706" y="535889"/>
                  </a:lnTo>
                  <a:lnTo>
                    <a:pt x="323037" y="523468"/>
                  </a:lnTo>
                  <a:lnTo>
                    <a:pt x="274561" y="519087"/>
                  </a:lnTo>
                  <a:lnTo>
                    <a:pt x="273342" y="519087"/>
                  </a:lnTo>
                  <a:lnTo>
                    <a:pt x="224993" y="523455"/>
                  </a:lnTo>
                  <a:lnTo>
                    <a:pt x="179438" y="535813"/>
                  </a:lnTo>
                  <a:lnTo>
                    <a:pt x="137414" y="555459"/>
                  </a:lnTo>
                  <a:lnTo>
                    <a:pt x="99618" y="581660"/>
                  </a:lnTo>
                  <a:lnTo>
                    <a:pt x="66827" y="613676"/>
                  </a:lnTo>
                  <a:lnTo>
                    <a:pt x="39738" y="650773"/>
                  </a:lnTo>
                  <a:lnTo>
                    <a:pt x="19088" y="692238"/>
                  </a:lnTo>
                  <a:lnTo>
                    <a:pt x="5613" y="737323"/>
                  </a:lnTo>
                  <a:lnTo>
                    <a:pt x="50" y="785317"/>
                  </a:lnTo>
                  <a:lnTo>
                    <a:pt x="47713" y="781278"/>
                  </a:lnTo>
                  <a:lnTo>
                    <a:pt x="92240" y="769620"/>
                  </a:lnTo>
                  <a:lnTo>
                    <a:pt x="133477" y="751027"/>
                  </a:lnTo>
                  <a:lnTo>
                    <a:pt x="170738" y="726147"/>
                  </a:lnTo>
                  <a:lnTo>
                    <a:pt x="203365" y="695680"/>
                  </a:lnTo>
                  <a:lnTo>
                    <a:pt x="230682" y="660298"/>
                  </a:lnTo>
                  <a:lnTo>
                    <a:pt x="252006" y="620674"/>
                  </a:lnTo>
                  <a:lnTo>
                    <a:pt x="266661" y="577481"/>
                  </a:lnTo>
                  <a:lnTo>
                    <a:pt x="274002" y="531393"/>
                  </a:lnTo>
                  <a:lnTo>
                    <a:pt x="281178" y="577672"/>
                  </a:lnTo>
                  <a:lnTo>
                    <a:pt x="295732" y="621042"/>
                  </a:lnTo>
                  <a:lnTo>
                    <a:pt x="316992" y="660831"/>
                  </a:lnTo>
                  <a:lnTo>
                    <a:pt x="344284" y="696366"/>
                  </a:lnTo>
                  <a:lnTo>
                    <a:pt x="376936" y="726960"/>
                  </a:lnTo>
                  <a:lnTo>
                    <a:pt x="414248" y="751941"/>
                  </a:lnTo>
                  <a:lnTo>
                    <a:pt x="455549" y="770623"/>
                  </a:lnTo>
                  <a:lnTo>
                    <a:pt x="500176" y="782332"/>
                  </a:lnTo>
                  <a:lnTo>
                    <a:pt x="548081" y="786396"/>
                  </a:lnTo>
                  <a:close/>
                </a:path>
                <a:path w="548640" h="786765">
                  <a:moveTo>
                    <a:pt x="548081" y="520865"/>
                  </a:moveTo>
                  <a:lnTo>
                    <a:pt x="542645" y="472706"/>
                  </a:lnTo>
                  <a:lnTo>
                    <a:pt x="529247" y="427443"/>
                  </a:lnTo>
                  <a:lnTo>
                    <a:pt x="508622" y="385813"/>
                  </a:lnTo>
                  <a:lnTo>
                    <a:pt x="481533" y="348551"/>
                  </a:lnTo>
                  <a:lnTo>
                    <a:pt x="448691" y="316407"/>
                  </a:lnTo>
                  <a:lnTo>
                    <a:pt x="410832" y="290093"/>
                  </a:lnTo>
                  <a:lnTo>
                    <a:pt x="368706" y="270357"/>
                  </a:lnTo>
                  <a:lnTo>
                    <a:pt x="323037" y="257937"/>
                  </a:lnTo>
                  <a:lnTo>
                    <a:pt x="274561" y="253568"/>
                  </a:lnTo>
                  <a:lnTo>
                    <a:pt x="273342" y="253568"/>
                  </a:lnTo>
                  <a:lnTo>
                    <a:pt x="224993" y="257924"/>
                  </a:lnTo>
                  <a:lnTo>
                    <a:pt x="179438" y="270281"/>
                  </a:lnTo>
                  <a:lnTo>
                    <a:pt x="137414" y="289928"/>
                  </a:lnTo>
                  <a:lnTo>
                    <a:pt x="99618" y="316128"/>
                  </a:lnTo>
                  <a:lnTo>
                    <a:pt x="66827" y="348132"/>
                  </a:lnTo>
                  <a:lnTo>
                    <a:pt x="39738" y="385241"/>
                  </a:lnTo>
                  <a:lnTo>
                    <a:pt x="19088" y="426694"/>
                  </a:lnTo>
                  <a:lnTo>
                    <a:pt x="5613" y="471792"/>
                  </a:lnTo>
                  <a:lnTo>
                    <a:pt x="50" y="519772"/>
                  </a:lnTo>
                  <a:lnTo>
                    <a:pt x="47713" y="515734"/>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40"/>
                  </a:lnTo>
                  <a:lnTo>
                    <a:pt x="295732" y="355511"/>
                  </a:lnTo>
                  <a:lnTo>
                    <a:pt x="316992" y="395300"/>
                  </a:lnTo>
                  <a:lnTo>
                    <a:pt x="344284" y="430834"/>
                  </a:lnTo>
                  <a:lnTo>
                    <a:pt x="376936" y="461441"/>
                  </a:lnTo>
                  <a:lnTo>
                    <a:pt x="414248" y="486410"/>
                  </a:lnTo>
                  <a:lnTo>
                    <a:pt x="455549" y="505104"/>
                  </a:lnTo>
                  <a:lnTo>
                    <a:pt x="500176" y="516813"/>
                  </a:lnTo>
                  <a:lnTo>
                    <a:pt x="548081" y="520865"/>
                  </a:lnTo>
                  <a:close/>
                </a:path>
                <a:path w="548640" h="786765">
                  <a:moveTo>
                    <a:pt x="548093" y="267322"/>
                  </a:moveTo>
                  <a:lnTo>
                    <a:pt x="543331" y="225285"/>
                  </a:lnTo>
                  <a:lnTo>
                    <a:pt x="542645" y="219151"/>
                  </a:lnTo>
                  <a:lnTo>
                    <a:pt x="529247" y="173875"/>
                  </a:lnTo>
                  <a:lnTo>
                    <a:pt x="508635" y="132245"/>
                  </a:lnTo>
                  <a:lnTo>
                    <a:pt x="481533" y="94996"/>
                  </a:lnTo>
                  <a:lnTo>
                    <a:pt x="448691" y="62852"/>
                  </a:lnTo>
                  <a:lnTo>
                    <a:pt x="426351" y="47332"/>
                  </a:lnTo>
                  <a:lnTo>
                    <a:pt x="410845" y="36537"/>
                  </a:lnTo>
                  <a:lnTo>
                    <a:pt x="391109" y="27305"/>
                  </a:lnTo>
                  <a:lnTo>
                    <a:pt x="368719" y="16814"/>
                  </a:lnTo>
                  <a:lnTo>
                    <a:pt x="323049" y="4394"/>
                  </a:lnTo>
                  <a:lnTo>
                    <a:pt x="274574" y="12"/>
                  </a:lnTo>
                  <a:lnTo>
                    <a:pt x="273342" y="0"/>
                  </a:lnTo>
                  <a:lnTo>
                    <a:pt x="224993" y="4356"/>
                  </a:lnTo>
                  <a:lnTo>
                    <a:pt x="179438" y="16725"/>
                  </a:lnTo>
                  <a:lnTo>
                    <a:pt x="137414" y="36372"/>
                  </a:lnTo>
                  <a:lnTo>
                    <a:pt x="99618" y="62560"/>
                  </a:lnTo>
                  <a:lnTo>
                    <a:pt x="98806" y="63347"/>
                  </a:lnTo>
                  <a:lnTo>
                    <a:pt x="66827" y="94576"/>
                  </a:lnTo>
                  <a:lnTo>
                    <a:pt x="39700" y="131686"/>
                  </a:lnTo>
                  <a:lnTo>
                    <a:pt x="19050" y="173139"/>
                  </a:lnTo>
                  <a:lnTo>
                    <a:pt x="5575" y="218211"/>
                  </a:lnTo>
                  <a:lnTo>
                    <a:pt x="0" y="266192"/>
                  </a:lnTo>
                  <a:lnTo>
                    <a:pt x="47713" y="262178"/>
                  </a:lnTo>
                  <a:lnTo>
                    <a:pt x="92240" y="250520"/>
                  </a:lnTo>
                  <a:lnTo>
                    <a:pt x="133477" y="231927"/>
                  </a:lnTo>
                  <a:lnTo>
                    <a:pt x="155816" y="217004"/>
                  </a:lnTo>
                  <a:lnTo>
                    <a:pt x="170751" y="207048"/>
                  </a:lnTo>
                  <a:lnTo>
                    <a:pt x="203377" y="176593"/>
                  </a:lnTo>
                  <a:lnTo>
                    <a:pt x="230682" y="141211"/>
                  </a:lnTo>
                  <a:lnTo>
                    <a:pt x="252006" y="101600"/>
                  </a:lnTo>
                  <a:lnTo>
                    <a:pt x="266674" y="58407"/>
                  </a:lnTo>
                  <a:lnTo>
                    <a:pt x="274002" y="12319"/>
                  </a:lnTo>
                  <a:lnTo>
                    <a:pt x="281178" y="58585"/>
                  </a:lnTo>
                  <a:lnTo>
                    <a:pt x="295732" y="101942"/>
                  </a:lnTo>
                  <a:lnTo>
                    <a:pt x="316992" y="141744"/>
                  </a:lnTo>
                  <a:lnTo>
                    <a:pt x="344284" y="177279"/>
                  </a:lnTo>
                  <a:lnTo>
                    <a:pt x="376936" y="207873"/>
                  </a:lnTo>
                  <a:lnTo>
                    <a:pt x="414248" y="232867"/>
                  </a:lnTo>
                  <a:lnTo>
                    <a:pt x="455561"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235" name="object 86">
              <a:extLst>
                <a:ext uri="{FF2B5EF4-FFF2-40B4-BE49-F238E27FC236}">
                  <a16:creationId xmlns:a16="http://schemas.microsoft.com/office/drawing/2014/main" id="{C32089F9-CBBE-935A-EB76-0677B935F8D7}"/>
                </a:ext>
              </a:extLst>
            </p:cNvPr>
            <p:cNvPicPr/>
            <p:nvPr/>
          </p:nvPicPr>
          <p:blipFill>
            <a:blip r:embed="rId13" cstate="print"/>
            <a:stretch>
              <a:fillRect/>
            </a:stretch>
          </p:blipFill>
          <p:spPr>
            <a:xfrm>
              <a:off x="8867131" y="5626898"/>
              <a:ext cx="106445" cy="107156"/>
            </a:xfrm>
            <a:prstGeom prst="rect">
              <a:avLst/>
            </a:prstGeom>
          </p:spPr>
        </p:pic>
        <p:sp>
          <p:nvSpPr>
            <p:cNvPr id="236" name="object 87">
              <a:extLst>
                <a:ext uri="{FF2B5EF4-FFF2-40B4-BE49-F238E27FC236}">
                  <a16:creationId xmlns:a16="http://schemas.microsoft.com/office/drawing/2014/main" id="{31A9CA72-6FCB-8CCC-05B8-CA3A14D0BE29}"/>
                </a:ext>
              </a:extLst>
            </p:cNvPr>
            <p:cNvSpPr/>
            <p:nvPr/>
          </p:nvSpPr>
          <p:spPr>
            <a:xfrm>
              <a:off x="8753854" y="5825360"/>
              <a:ext cx="332700" cy="477101"/>
            </a:xfrm>
            <a:custGeom>
              <a:avLst/>
              <a:gdLst/>
              <a:ahLst/>
              <a:cxnLst/>
              <a:rect l="l" t="t" r="r" b="b"/>
              <a:pathLst>
                <a:path w="548640" h="786765">
                  <a:moveTo>
                    <a:pt x="548081" y="786396"/>
                  </a:moveTo>
                  <a:lnTo>
                    <a:pt x="542645" y="738238"/>
                  </a:lnTo>
                  <a:lnTo>
                    <a:pt x="529247" y="692975"/>
                  </a:lnTo>
                  <a:lnTo>
                    <a:pt x="508622" y="651344"/>
                  </a:lnTo>
                  <a:lnTo>
                    <a:pt x="481533" y="614095"/>
                  </a:lnTo>
                  <a:lnTo>
                    <a:pt x="448691" y="581939"/>
                  </a:lnTo>
                  <a:lnTo>
                    <a:pt x="410832" y="555637"/>
                  </a:lnTo>
                  <a:lnTo>
                    <a:pt x="368706" y="535901"/>
                  </a:lnTo>
                  <a:lnTo>
                    <a:pt x="323037" y="523481"/>
                  </a:lnTo>
                  <a:lnTo>
                    <a:pt x="274561" y="519099"/>
                  </a:lnTo>
                  <a:lnTo>
                    <a:pt x="273342" y="519099"/>
                  </a:lnTo>
                  <a:lnTo>
                    <a:pt x="224993" y="523455"/>
                  </a:lnTo>
                  <a:lnTo>
                    <a:pt x="179438" y="535825"/>
                  </a:lnTo>
                  <a:lnTo>
                    <a:pt x="137414" y="555472"/>
                  </a:lnTo>
                  <a:lnTo>
                    <a:pt x="99618" y="581660"/>
                  </a:lnTo>
                  <a:lnTo>
                    <a:pt x="66827" y="613676"/>
                  </a:lnTo>
                  <a:lnTo>
                    <a:pt x="39738" y="650773"/>
                  </a:lnTo>
                  <a:lnTo>
                    <a:pt x="19088" y="692238"/>
                  </a:lnTo>
                  <a:lnTo>
                    <a:pt x="5613" y="737323"/>
                  </a:lnTo>
                  <a:lnTo>
                    <a:pt x="50" y="785304"/>
                  </a:lnTo>
                  <a:lnTo>
                    <a:pt x="47713" y="781278"/>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72"/>
                  </a:lnTo>
                  <a:lnTo>
                    <a:pt x="295732" y="621042"/>
                  </a:lnTo>
                  <a:lnTo>
                    <a:pt x="316992" y="660831"/>
                  </a:lnTo>
                  <a:lnTo>
                    <a:pt x="344284" y="696366"/>
                  </a:lnTo>
                  <a:lnTo>
                    <a:pt x="376936" y="726973"/>
                  </a:lnTo>
                  <a:lnTo>
                    <a:pt x="414248" y="751954"/>
                  </a:lnTo>
                  <a:lnTo>
                    <a:pt x="455549" y="770636"/>
                  </a:lnTo>
                  <a:lnTo>
                    <a:pt x="500176" y="782345"/>
                  </a:lnTo>
                  <a:lnTo>
                    <a:pt x="548081" y="786396"/>
                  </a:lnTo>
                  <a:close/>
                </a:path>
                <a:path w="548640" h="786765">
                  <a:moveTo>
                    <a:pt x="548081" y="520865"/>
                  </a:moveTo>
                  <a:lnTo>
                    <a:pt x="542645" y="472706"/>
                  </a:lnTo>
                  <a:lnTo>
                    <a:pt x="529247" y="427443"/>
                  </a:lnTo>
                  <a:lnTo>
                    <a:pt x="508622" y="385813"/>
                  </a:lnTo>
                  <a:lnTo>
                    <a:pt x="481533" y="348564"/>
                  </a:lnTo>
                  <a:lnTo>
                    <a:pt x="448691" y="316407"/>
                  </a:lnTo>
                  <a:lnTo>
                    <a:pt x="410832" y="290093"/>
                  </a:lnTo>
                  <a:lnTo>
                    <a:pt x="368706" y="270370"/>
                  </a:lnTo>
                  <a:lnTo>
                    <a:pt x="323037" y="257937"/>
                  </a:lnTo>
                  <a:lnTo>
                    <a:pt x="274561" y="253555"/>
                  </a:lnTo>
                  <a:lnTo>
                    <a:pt x="273342" y="253555"/>
                  </a:lnTo>
                  <a:lnTo>
                    <a:pt x="224993" y="257924"/>
                  </a:lnTo>
                  <a:lnTo>
                    <a:pt x="179438" y="270294"/>
                  </a:lnTo>
                  <a:lnTo>
                    <a:pt x="137414" y="289928"/>
                  </a:lnTo>
                  <a:lnTo>
                    <a:pt x="99618" y="316128"/>
                  </a:lnTo>
                  <a:lnTo>
                    <a:pt x="66827" y="348145"/>
                  </a:lnTo>
                  <a:lnTo>
                    <a:pt x="39738" y="385241"/>
                  </a:lnTo>
                  <a:lnTo>
                    <a:pt x="19088" y="426694"/>
                  </a:lnTo>
                  <a:lnTo>
                    <a:pt x="5613" y="471792"/>
                  </a:lnTo>
                  <a:lnTo>
                    <a:pt x="50" y="519772"/>
                  </a:lnTo>
                  <a:lnTo>
                    <a:pt x="47713" y="515734"/>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40"/>
                  </a:lnTo>
                  <a:lnTo>
                    <a:pt x="295732" y="355511"/>
                  </a:lnTo>
                  <a:lnTo>
                    <a:pt x="316992" y="395300"/>
                  </a:lnTo>
                  <a:lnTo>
                    <a:pt x="344284" y="430834"/>
                  </a:lnTo>
                  <a:lnTo>
                    <a:pt x="376936" y="461441"/>
                  </a:lnTo>
                  <a:lnTo>
                    <a:pt x="414248" y="486410"/>
                  </a:lnTo>
                  <a:lnTo>
                    <a:pt x="455549" y="505104"/>
                  </a:lnTo>
                  <a:lnTo>
                    <a:pt x="500176" y="516813"/>
                  </a:lnTo>
                  <a:lnTo>
                    <a:pt x="548081" y="520865"/>
                  </a:lnTo>
                  <a:close/>
                </a:path>
                <a:path w="548640" h="786765">
                  <a:moveTo>
                    <a:pt x="548093" y="267322"/>
                  </a:moveTo>
                  <a:lnTo>
                    <a:pt x="543255" y="224586"/>
                  </a:lnTo>
                  <a:lnTo>
                    <a:pt x="542645" y="219151"/>
                  </a:lnTo>
                  <a:lnTo>
                    <a:pt x="529247" y="173888"/>
                  </a:lnTo>
                  <a:lnTo>
                    <a:pt x="508635" y="132257"/>
                  </a:lnTo>
                  <a:lnTo>
                    <a:pt x="481533" y="94996"/>
                  </a:lnTo>
                  <a:lnTo>
                    <a:pt x="448691" y="62852"/>
                  </a:lnTo>
                  <a:lnTo>
                    <a:pt x="410845" y="36550"/>
                  </a:lnTo>
                  <a:lnTo>
                    <a:pt x="368719" y="16814"/>
                  </a:lnTo>
                  <a:lnTo>
                    <a:pt x="323049" y="4394"/>
                  </a:lnTo>
                  <a:lnTo>
                    <a:pt x="274561" y="0"/>
                  </a:lnTo>
                  <a:lnTo>
                    <a:pt x="273342" y="0"/>
                  </a:lnTo>
                  <a:lnTo>
                    <a:pt x="224993" y="4356"/>
                  </a:lnTo>
                  <a:lnTo>
                    <a:pt x="179438" y="16725"/>
                  </a:lnTo>
                  <a:lnTo>
                    <a:pt x="137414" y="36372"/>
                  </a:lnTo>
                  <a:lnTo>
                    <a:pt x="99618" y="62572"/>
                  </a:lnTo>
                  <a:lnTo>
                    <a:pt x="98793" y="63373"/>
                  </a:lnTo>
                  <a:lnTo>
                    <a:pt x="66827" y="94576"/>
                  </a:lnTo>
                  <a:lnTo>
                    <a:pt x="39700" y="131686"/>
                  </a:lnTo>
                  <a:lnTo>
                    <a:pt x="19050" y="173139"/>
                  </a:lnTo>
                  <a:lnTo>
                    <a:pt x="5575" y="218224"/>
                  </a:lnTo>
                  <a:lnTo>
                    <a:pt x="0" y="266192"/>
                  </a:lnTo>
                  <a:lnTo>
                    <a:pt x="47713" y="262178"/>
                  </a:lnTo>
                  <a:lnTo>
                    <a:pt x="92240" y="250532"/>
                  </a:lnTo>
                  <a:lnTo>
                    <a:pt x="133477" y="231927"/>
                  </a:lnTo>
                  <a:lnTo>
                    <a:pt x="170738" y="207060"/>
                  </a:lnTo>
                  <a:lnTo>
                    <a:pt x="172910" y="205041"/>
                  </a:lnTo>
                  <a:lnTo>
                    <a:pt x="203377" y="176593"/>
                  </a:lnTo>
                  <a:lnTo>
                    <a:pt x="230682" y="141224"/>
                  </a:lnTo>
                  <a:lnTo>
                    <a:pt x="252006" y="101600"/>
                  </a:lnTo>
                  <a:lnTo>
                    <a:pt x="266674" y="58407"/>
                  </a:lnTo>
                  <a:lnTo>
                    <a:pt x="274002" y="12331"/>
                  </a:lnTo>
                  <a:lnTo>
                    <a:pt x="281178" y="58585"/>
                  </a:lnTo>
                  <a:lnTo>
                    <a:pt x="295732" y="101955"/>
                  </a:lnTo>
                  <a:lnTo>
                    <a:pt x="316992" y="141744"/>
                  </a:lnTo>
                  <a:lnTo>
                    <a:pt x="344284" y="177279"/>
                  </a:lnTo>
                  <a:lnTo>
                    <a:pt x="360083" y="192087"/>
                  </a:lnTo>
                  <a:lnTo>
                    <a:pt x="376936" y="207886"/>
                  </a:lnTo>
                  <a:lnTo>
                    <a:pt x="414248" y="232867"/>
                  </a:lnTo>
                  <a:lnTo>
                    <a:pt x="455561"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237" name="object 88">
              <a:extLst>
                <a:ext uri="{FF2B5EF4-FFF2-40B4-BE49-F238E27FC236}">
                  <a16:creationId xmlns:a16="http://schemas.microsoft.com/office/drawing/2014/main" id="{F02D2547-1224-4349-4660-33D8C960E42A}"/>
                </a:ext>
              </a:extLst>
            </p:cNvPr>
            <p:cNvPicPr/>
            <p:nvPr/>
          </p:nvPicPr>
          <p:blipFill>
            <a:blip r:embed="rId14" cstate="print"/>
            <a:stretch>
              <a:fillRect/>
            </a:stretch>
          </p:blipFill>
          <p:spPr>
            <a:xfrm>
              <a:off x="8867131" y="6281064"/>
              <a:ext cx="106445" cy="107156"/>
            </a:xfrm>
            <a:prstGeom prst="rect">
              <a:avLst/>
            </a:prstGeom>
          </p:spPr>
        </p:pic>
        <p:sp>
          <p:nvSpPr>
            <p:cNvPr id="238" name="object 89">
              <a:extLst>
                <a:ext uri="{FF2B5EF4-FFF2-40B4-BE49-F238E27FC236}">
                  <a16:creationId xmlns:a16="http://schemas.microsoft.com/office/drawing/2014/main" id="{98065C6B-4309-A6F6-E1C3-E448863DF407}"/>
                </a:ext>
              </a:extLst>
            </p:cNvPr>
            <p:cNvSpPr/>
            <p:nvPr/>
          </p:nvSpPr>
          <p:spPr>
            <a:xfrm>
              <a:off x="9909070" y="6037749"/>
              <a:ext cx="332700" cy="477101"/>
            </a:xfrm>
            <a:custGeom>
              <a:avLst/>
              <a:gdLst/>
              <a:ahLst/>
              <a:cxnLst/>
              <a:rect l="l" t="t" r="r" b="b"/>
              <a:pathLst>
                <a:path w="548640" h="786765">
                  <a:moveTo>
                    <a:pt x="548093" y="520179"/>
                  </a:moveTo>
                  <a:lnTo>
                    <a:pt x="500380" y="524217"/>
                  </a:lnTo>
                  <a:lnTo>
                    <a:pt x="455853" y="535876"/>
                  </a:lnTo>
                  <a:lnTo>
                    <a:pt x="414616" y="554469"/>
                  </a:lnTo>
                  <a:lnTo>
                    <a:pt x="392264" y="569404"/>
                  </a:lnTo>
                  <a:lnTo>
                    <a:pt x="377355" y="579348"/>
                  </a:lnTo>
                  <a:lnTo>
                    <a:pt x="344728" y="609803"/>
                  </a:lnTo>
                  <a:lnTo>
                    <a:pt x="317411" y="645172"/>
                  </a:lnTo>
                  <a:lnTo>
                    <a:pt x="296087" y="684796"/>
                  </a:lnTo>
                  <a:lnTo>
                    <a:pt x="281419" y="727989"/>
                  </a:lnTo>
                  <a:lnTo>
                    <a:pt x="274091" y="774065"/>
                  </a:lnTo>
                  <a:lnTo>
                    <a:pt x="272161" y="761669"/>
                  </a:lnTo>
                  <a:lnTo>
                    <a:pt x="266928" y="727824"/>
                  </a:lnTo>
                  <a:lnTo>
                    <a:pt x="257238" y="699008"/>
                  </a:lnTo>
                  <a:lnTo>
                    <a:pt x="252361" y="684453"/>
                  </a:lnTo>
                  <a:lnTo>
                    <a:pt x="231101" y="644652"/>
                  </a:lnTo>
                  <a:lnTo>
                    <a:pt x="203809" y="609117"/>
                  </a:lnTo>
                  <a:lnTo>
                    <a:pt x="187998" y="594321"/>
                  </a:lnTo>
                  <a:lnTo>
                    <a:pt x="171157" y="578523"/>
                  </a:lnTo>
                  <a:lnTo>
                    <a:pt x="133845" y="553542"/>
                  </a:lnTo>
                  <a:lnTo>
                    <a:pt x="92532" y="534835"/>
                  </a:lnTo>
                  <a:lnTo>
                    <a:pt x="47917" y="523125"/>
                  </a:lnTo>
                  <a:lnTo>
                    <a:pt x="0" y="519074"/>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81" y="654723"/>
                  </a:lnTo>
                  <a:lnTo>
                    <a:pt x="529043" y="613257"/>
                  </a:lnTo>
                  <a:lnTo>
                    <a:pt x="542518" y="568172"/>
                  </a:lnTo>
                  <a:lnTo>
                    <a:pt x="548081" y="520217"/>
                  </a:lnTo>
                  <a:close/>
                </a:path>
                <a:path w="548640" h="786765">
                  <a:moveTo>
                    <a:pt x="548093" y="266611"/>
                  </a:moveTo>
                  <a:lnTo>
                    <a:pt x="500380" y="270649"/>
                  </a:lnTo>
                  <a:lnTo>
                    <a:pt x="455853" y="282308"/>
                  </a:lnTo>
                  <a:lnTo>
                    <a:pt x="414616" y="300901"/>
                  </a:lnTo>
                  <a:lnTo>
                    <a:pt x="377355" y="325780"/>
                  </a:lnTo>
                  <a:lnTo>
                    <a:pt x="344728" y="356235"/>
                  </a:lnTo>
                  <a:lnTo>
                    <a:pt x="317423" y="391629"/>
                  </a:lnTo>
                  <a:lnTo>
                    <a:pt x="296087" y="431253"/>
                  </a:lnTo>
                  <a:lnTo>
                    <a:pt x="281432" y="474446"/>
                  </a:lnTo>
                  <a:lnTo>
                    <a:pt x="274091" y="520534"/>
                  </a:lnTo>
                  <a:lnTo>
                    <a:pt x="266928" y="474256"/>
                  </a:lnTo>
                  <a:lnTo>
                    <a:pt x="252361" y="430885"/>
                  </a:lnTo>
                  <a:lnTo>
                    <a:pt x="231101" y="391096"/>
                  </a:lnTo>
                  <a:lnTo>
                    <a:pt x="203809" y="355561"/>
                  </a:lnTo>
                  <a:lnTo>
                    <a:pt x="171157" y="324954"/>
                  </a:lnTo>
                  <a:lnTo>
                    <a:pt x="133845" y="299986"/>
                  </a:lnTo>
                  <a:lnTo>
                    <a:pt x="92544" y="281292"/>
                  </a:lnTo>
                  <a:lnTo>
                    <a:pt x="47917" y="269582"/>
                  </a:lnTo>
                  <a:lnTo>
                    <a:pt x="12" y="265531"/>
                  </a:lnTo>
                  <a:lnTo>
                    <a:pt x="5461" y="313690"/>
                  </a:lnTo>
                  <a:lnTo>
                    <a:pt x="18859" y="358952"/>
                  </a:lnTo>
                  <a:lnTo>
                    <a:pt x="39471" y="400583"/>
                  </a:lnTo>
                  <a:lnTo>
                    <a:pt x="66560" y="437832"/>
                  </a:lnTo>
                  <a:lnTo>
                    <a:pt x="99402" y="469988"/>
                  </a:lnTo>
                  <a:lnTo>
                    <a:pt x="137261" y="496303"/>
                  </a:lnTo>
                  <a:lnTo>
                    <a:pt x="179387" y="516026"/>
                  </a:lnTo>
                  <a:lnTo>
                    <a:pt x="225056" y="528459"/>
                  </a:lnTo>
                  <a:lnTo>
                    <a:pt x="273532" y="532841"/>
                  </a:lnTo>
                  <a:lnTo>
                    <a:pt x="274751" y="532841"/>
                  </a:lnTo>
                  <a:lnTo>
                    <a:pt x="323100" y="528472"/>
                  </a:lnTo>
                  <a:lnTo>
                    <a:pt x="368655" y="516102"/>
                  </a:lnTo>
                  <a:lnTo>
                    <a:pt x="410692" y="496468"/>
                  </a:lnTo>
                  <a:lnTo>
                    <a:pt x="448475" y="470268"/>
                  </a:lnTo>
                  <a:lnTo>
                    <a:pt x="481279" y="438251"/>
                  </a:lnTo>
                  <a:lnTo>
                    <a:pt x="508381" y="401154"/>
                  </a:lnTo>
                  <a:lnTo>
                    <a:pt x="529031" y="359689"/>
                  </a:lnTo>
                  <a:lnTo>
                    <a:pt x="542505" y="314604"/>
                  </a:lnTo>
                  <a:lnTo>
                    <a:pt x="548093" y="266611"/>
                  </a:lnTo>
                  <a:close/>
                </a:path>
                <a:path w="548640" h="786765">
                  <a:moveTo>
                    <a:pt x="548093" y="1092"/>
                  </a:moveTo>
                  <a:lnTo>
                    <a:pt x="500380" y="5130"/>
                  </a:lnTo>
                  <a:lnTo>
                    <a:pt x="455853" y="16789"/>
                  </a:lnTo>
                  <a:lnTo>
                    <a:pt x="414616" y="35382"/>
                  </a:lnTo>
                  <a:lnTo>
                    <a:pt x="377355" y="60248"/>
                  </a:lnTo>
                  <a:lnTo>
                    <a:pt x="344728" y="90716"/>
                  </a:lnTo>
                  <a:lnTo>
                    <a:pt x="317423" y="126098"/>
                  </a:lnTo>
                  <a:lnTo>
                    <a:pt x="296087" y="165722"/>
                  </a:lnTo>
                  <a:lnTo>
                    <a:pt x="281432" y="208915"/>
                  </a:lnTo>
                  <a:lnTo>
                    <a:pt x="274091" y="255003"/>
                  </a:lnTo>
                  <a:lnTo>
                    <a:pt x="266928" y="208724"/>
                  </a:lnTo>
                  <a:lnTo>
                    <a:pt x="252361" y="165354"/>
                  </a:lnTo>
                  <a:lnTo>
                    <a:pt x="231101" y="125564"/>
                  </a:lnTo>
                  <a:lnTo>
                    <a:pt x="203809" y="90030"/>
                  </a:lnTo>
                  <a:lnTo>
                    <a:pt x="171157" y="59436"/>
                  </a:lnTo>
                  <a:lnTo>
                    <a:pt x="133845" y="34455"/>
                  </a:lnTo>
                  <a:lnTo>
                    <a:pt x="92544" y="15773"/>
                  </a:lnTo>
                  <a:lnTo>
                    <a:pt x="47917" y="4064"/>
                  </a:lnTo>
                  <a:lnTo>
                    <a:pt x="12" y="0"/>
                  </a:lnTo>
                  <a:lnTo>
                    <a:pt x="5461" y="48171"/>
                  </a:lnTo>
                  <a:lnTo>
                    <a:pt x="18859"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92" y="230936"/>
                  </a:lnTo>
                  <a:lnTo>
                    <a:pt x="448475" y="204749"/>
                  </a:lnTo>
                  <a:lnTo>
                    <a:pt x="481279" y="172732"/>
                  </a:lnTo>
                  <a:lnTo>
                    <a:pt x="508381" y="135623"/>
                  </a:lnTo>
                  <a:lnTo>
                    <a:pt x="529031" y="94170"/>
                  </a:lnTo>
                  <a:lnTo>
                    <a:pt x="542505" y="49085"/>
                  </a:lnTo>
                  <a:lnTo>
                    <a:pt x="548093" y="1092"/>
                  </a:lnTo>
                  <a:close/>
                </a:path>
              </a:pathLst>
            </a:custGeom>
            <a:solidFill>
              <a:srgbClr val="2DB7EA"/>
            </a:solidFill>
          </p:spPr>
          <p:txBody>
            <a:bodyPr wrap="square" lIns="0" tIns="0" rIns="0" bIns="0" rtlCol="0"/>
            <a:lstStyle/>
            <a:p>
              <a:endParaRPr dirty="0"/>
            </a:p>
          </p:txBody>
        </p:sp>
        <p:pic>
          <p:nvPicPr>
            <p:cNvPr id="239" name="object 90">
              <a:extLst>
                <a:ext uri="{FF2B5EF4-FFF2-40B4-BE49-F238E27FC236}">
                  <a16:creationId xmlns:a16="http://schemas.microsoft.com/office/drawing/2014/main" id="{45CD36ED-99C2-BC8F-C281-9D124EC6E702}"/>
                </a:ext>
              </a:extLst>
            </p:cNvPr>
            <p:cNvPicPr/>
            <p:nvPr/>
          </p:nvPicPr>
          <p:blipFill>
            <a:blip r:embed="rId5" cstate="print"/>
            <a:stretch>
              <a:fillRect/>
            </a:stretch>
          </p:blipFill>
          <p:spPr>
            <a:xfrm>
              <a:off x="10021726" y="5951762"/>
              <a:ext cx="106445" cy="107156"/>
            </a:xfrm>
            <a:prstGeom prst="rect">
              <a:avLst/>
            </a:prstGeom>
          </p:spPr>
        </p:pic>
        <p:sp>
          <p:nvSpPr>
            <p:cNvPr id="240" name="object 91">
              <a:extLst>
                <a:ext uri="{FF2B5EF4-FFF2-40B4-BE49-F238E27FC236}">
                  <a16:creationId xmlns:a16="http://schemas.microsoft.com/office/drawing/2014/main" id="{73F1D1E9-D179-D211-BD49-D1B78E024324}"/>
                </a:ext>
              </a:extLst>
            </p:cNvPr>
            <p:cNvSpPr/>
            <p:nvPr/>
          </p:nvSpPr>
          <p:spPr>
            <a:xfrm>
              <a:off x="9909070" y="5383587"/>
              <a:ext cx="332700" cy="477101"/>
            </a:xfrm>
            <a:custGeom>
              <a:avLst/>
              <a:gdLst/>
              <a:ahLst/>
              <a:cxnLst/>
              <a:rect l="l" t="t" r="r" b="b"/>
              <a:pathLst>
                <a:path w="548640" h="786765">
                  <a:moveTo>
                    <a:pt x="548093" y="520179"/>
                  </a:moveTo>
                  <a:lnTo>
                    <a:pt x="500380" y="524217"/>
                  </a:lnTo>
                  <a:lnTo>
                    <a:pt x="465074" y="533463"/>
                  </a:lnTo>
                  <a:lnTo>
                    <a:pt x="455853" y="535876"/>
                  </a:lnTo>
                  <a:lnTo>
                    <a:pt x="443026" y="541667"/>
                  </a:lnTo>
                  <a:lnTo>
                    <a:pt x="414616" y="554469"/>
                  </a:lnTo>
                  <a:lnTo>
                    <a:pt x="392252" y="569391"/>
                  </a:lnTo>
                  <a:lnTo>
                    <a:pt x="377355" y="579335"/>
                  </a:lnTo>
                  <a:lnTo>
                    <a:pt x="344716" y="609790"/>
                  </a:lnTo>
                  <a:lnTo>
                    <a:pt x="317411" y="645172"/>
                  </a:lnTo>
                  <a:lnTo>
                    <a:pt x="296087" y="684796"/>
                  </a:lnTo>
                  <a:lnTo>
                    <a:pt x="281419" y="727976"/>
                  </a:lnTo>
                  <a:lnTo>
                    <a:pt x="274091" y="774065"/>
                  </a:lnTo>
                  <a:lnTo>
                    <a:pt x="272389" y="763143"/>
                  </a:lnTo>
                  <a:lnTo>
                    <a:pt x="266928" y="727811"/>
                  </a:lnTo>
                  <a:lnTo>
                    <a:pt x="252361" y="684441"/>
                  </a:lnTo>
                  <a:lnTo>
                    <a:pt x="231101" y="644652"/>
                  </a:lnTo>
                  <a:lnTo>
                    <a:pt x="203809" y="609117"/>
                  </a:lnTo>
                  <a:lnTo>
                    <a:pt x="187998" y="594321"/>
                  </a:lnTo>
                  <a:lnTo>
                    <a:pt x="171157" y="578523"/>
                  </a:lnTo>
                  <a:lnTo>
                    <a:pt x="133845" y="553542"/>
                  </a:lnTo>
                  <a:lnTo>
                    <a:pt x="92544" y="534847"/>
                  </a:lnTo>
                  <a:lnTo>
                    <a:pt x="47917" y="523125"/>
                  </a:lnTo>
                  <a:lnTo>
                    <a:pt x="0" y="519061"/>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27"/>
                  </a:lnTo>
                  <a:lnTo>
                    <a:pt x="368655" y="769670"/>
                  </a:lnTo>
                  <a:lnTo>
                    <a:pt x="410692" y="750023"/>
                  </a:lnTo>
                  <a:lnTo>
                    <a:pt x="448475" y="723823"/>
                  </a:lnTo>
                  <a:lnTo>
                    <a:pt x="481279" y="691819"/>
                  </a:lnTo>
                  <a:lnTo>
                    <a:pt x="498386" y="668401"/>
                  </a:lnTo>
                  <a:lnTo>
                    <a:pt x="508381" y="654710"/>
                  </a:lnTo>
                  <a:lnTo>
                    <a:pt x="529031" y="613257"/>
                  </a:lnTo>
                  <a:lnTo>
                    <a:pt x="542518" y="568172"/>
                  </a:lnTo>
                  <a:lnTo>
                    <a:pt x="548081" y="520204"/>
                  </a:lnTo>
                  <a:close/>
                </a:path>
                <a:path w="548640" h="786765">
                  <a:moveTo>
                    <a:pt x="548093" y="266623"/>
                  </a:moveTo>
                  <a:lnTo>
                    <a:pt x="500380" y="270649"/>
                  </a:lnTo>
                  <a:lnTo>
                    <a:pt x="455853" y="282308"/>
                  </a:lnTo>
                  <a:lnTo>
                    <a:pt x="414616" y="300913"/>
                  </a:lnTo>
                  <a:lnTo>
                    <a:pt x="377355" y="325780"/>
                  </a:lnTo>
                  <a:lnTo>
                    <a:pt x="344728" y="356235"/>
                  </a:lnTo>
                  <a:lnTo>
                    <a:pt x="317423" y="391617"/>
                  </a:lnTo>
                  <a:lnTo>
                    <a:pt x="296087" y="431241"/>
                  </a:lnTo>
                  <a:lnTo>
                    <a:pt x="281432" y="474446"/>
                  </a:lnTo>
                  <a:lnTo>
                    <a:pt x="274091" y="520522"/>
                  </a:lnTo>
                  <a:lnTo>
                    <a:pt x="266928"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59" y="358952"/>
                  </a:lnTo>
                  <a:lnTo>
                    <a:pt x="39471" y="400583"/>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92" y="496455"/>
                  </a:lnTo>
                  <a:lnTo>
                    <a:pt x="448475" y="470268"/>
                  </a:lnTo>
                  <a:lnTo>
                    <a:pt x="481279" y="438251"/>
                  </a:lnTo>
                  <a:lnTo>
                    <a:pt x="508381" y="401154"/>
                  </a:lnTo>
                  <a:lnTo>
                    <a:pt x="529031" y="359689"/>
                  </a:lnTo>
                  <a:lnTo>
                    <a:pt x="542505" y="314604"/>
                  </a:lnTo>
                  <a:lnTo>
                    <a:pt x="548093" y="266623"/>
                  </a:lnTo>
                  <a:close/>
                </a:path>
                <a:path w="548640" h="786765">
                  <a:moveTo>
                    <a:pt x="548093" y="1079"/>
                  </a:moveTo>
                  <a:lnTo>
                    <a:pt x="500380" y="5118"/>
                  </a:lnTo>
                  <a:lnTo>
                    <a:pt x="455853" y="16764"/>
                  </a:lnTo>
                  <a:lnTo>
                    <a:pt x="414616" y="35369"/>
                  </a:lnTo>
                  <a:lnTo>
                    <a:pt x="377355" y="60236"/>
                  </a:lnTo>
                  <a:lnTo>
                    <a:pt x="344728" y="90703"/>
                  </a:lnTo>
                  <a:lnTo>
                    <a:pt x="317423" y="126085"/>
                  </a:lnTo>
                  <a:lnTo>
                    <a:pt x="296087" y="165722"/>
                  </a:lnTo>
                  <a:lnTo>
                    <a:pt x="281432" y="208915"/>
                  </a:lnTo>
                  <a:lnTo>
                    <a:pt x="274091" y="255003"/>
                  </a:lnTo>
                  <a:lnTo>
                    <a:pt x="266928" y="208724"/>
                  </a:lnTo>
                  <a:lnTo>
                    <a:pt x="252361" y="165354"/>
                  </a:lnTo>
                  <a:lnTo>
                    <a:pt x="231101" y="125564"/>
                  </a:lnTo>
                  <a:lnTo>
                    <a:pt x="203809" y="90030"/>
                  </a:lnTo>
                  <a:lnTo>
                    <a:pt x="171157" y="59423"/>
                  </a:lnTo>
                  <a:lnTo>
                    <a:pt x="133845" y="34442"/>
                  </a:lnTo>
                  <a:lnTo>
                    <a:pt x="92544" y="15760"/>
                  </a:lnTo>
                  <a:lnTo>
                    <a:pt x="47917" y="4051"/>
                  </a:lnTo>
                  <a:lnTo>
                    <a:pt x="12" y="0"/>
                  </a:lnTo>
                  <a:lnTo>
                    <a:pt x="5461" y="48158"/>
                  </a:lnTo>
                  <a:lnTo>
                    <a:pt x="18859"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36"/>
                  </a:lnTo>
                  <a:lnTo>
                    <a:pt x="481279" y="172720"/>
                  </a:lnTo>
                  <a:lnTo>
                    <a:pt x="508381" y="135623"/>
                  </a:lnTo>
                  <a:lnTo>
                    <a:pt x="529031" y="94157"/>
                  </a:lnTo>
                  <a:lnTo>
                    <a:pt x="542505" y="49072"/>
                  </a:lnTo>
                  <a:lnTo>
                    <a:pt x="548093" y="1079"/>
                  </a:lnTo>
                  <a:close/>
                </a:path>
              </a:pathLst>
            </a:custGeom>
            <a:solidFill>
              <a:srgbClr val="7ED3F1"/>
            </a:solidFill>
          </p:spPr>
          <p:txBody>
            <a:bodyPr wrap="square" lIns="0" tIns="0" rIns="0" bIns="0" rtlCol="0"/>
            <a:lstStyle/>
            <a:p>
              <a:endParaRPr dirty="0"/>
            </a:p>
          </p:txBody>
        </p:sp>
        <p:pic>
          <p:nvPicPr>
            <p:cNvPr id="241" name="object 92">
              <a:extLst>
                <a:ext uri="{FF2B5EF4-FFF2-40B4-BE49-F238E27FC236}">
                  <a16:creationId xmlns:a16="http://schemas.microsoft.com/office/drawing/2014/main" id="{352D0A50-D960-00E7-EECA-E48FA429C83C}"/>
                </a:ext>
              </a:extLst>
            </p:cNvPr>
            <p:cNvPicPr/>
            <p:nvPr/>
          </p:nvPicPr>
          <p:blipFill>
            <a:blip r:embed="rId6" cstate="print"/>
            <a:stretch>
              <a:fillRect/>
            </a:stretch>
          </p:blipFill>
          <p:spPr>
            <a:xfrm>
              <a:off x="10021726" y="5297596"/>
              <a:ext cx="106445" cy="107156"/>
            </a:xfrm>
            <a:prstGeom prst="rect">
              <a:avLst/>
            </a:prstGeom>
          </p:spPr>
        </p:pic>
        <p:sp>
          <p:nvSpPr>
            <p:cNvPr id="242" name="object 93">
              <a:extLst>
                <a:ext uri="{FF2B5EF4-FFF2-40B4-BE49-F238E27FC236}">
                  <a16:creationId xmlns:a16="http://schemas.microsoft.com/office/drawing/2014/main" id="{301D0BE5-9A8E-AA18-32A2-DBC105BE469D}"/>
                </a:ext>
              </a:extLst>
            </p:cNvPr>
            <p:cNvSpPr/>
            <p:nvPr/>
          </p:nvSpPr>
          <p:spPr>
            <a:xfrm>
              <a:off x="9909078" y="6691912"/>
              <a:ext cx="332700" cy="165965"/>
            </a:xfrm>
            <a:custGeom>
              <a:avLst/>
              <a:gdLst/>
              <a:ahLst/>
              <a:cxnLst/>
              <a:rect l="l" t="t" r="r" b="b"/>
              <a:pathLst>
                <a:path w="548640" h="273684">
                  <a:moveTo>
                    <a:pt x="62560" y="273431"/>
                  </a:moveTo>
                  <a:lnTo>
                    <a:pt x="47904" y="269595"/>
                  </a:lnTo>
                  <a:lnTo>
                    <a:pt x="0" y="265544"/>
                  </a:lnTo>
                  <a:lnTo>
                    <a:pt x="889" y="273431"/>
                  </a:lnTo>
                  <a:lnTo>
                    <a:pt x="62560" y="273431"/>
                  </a:lnTo>
                  <a:close/>
                </a:path>
                <a:path w="548640" h="273684">
                  <a:moveTo>
                    <a:pt x="548081" y="266623"/>
                  </a:moveTo>
                  <a:lnTo>
                    <a:pt x="500367" y="270649"/>
                  </a:lnTo>
                  <a:lnTo>
                    <a:pt x="489724" y="273431"/>
                  </a:lnTo>
                  <a:lnTo>
                    <a:pt x="547281" y="273431"/>
                  </a:lnTo>
                  <a:lnTo>
                    <a:pt x="548081" y="266623"/>
                  </a:lnTo>
                  <a:close/>
                </a:path>
                <a:path w="548640" h="273684">
                  <a:moveTo>
                    <a:pt x="548081" y="1079"/>
                  </a:moveTo>
                  <a:lnTo>
                    <a:pt x="500367" y="5118"/>
                  </a:lnTo>
                  <a:lnTo>
                    <a:pt x="455841" y="16776"/>
                  </a:lnTo>
                  <a:lnTo>
                    <a:pt x="414604" y="35382"/>
                  </a:lnTo>
                  <a:lnTo>
                    <a:pt x="377342" y="60248"/>
                  </a:lnTo>
                  <a:lnTo>
                    <a:pt x="344716" y="90716"/>
                  </a:lnTo>
                  <a:lnTo>
                    <a:pt x="317411" y="126098"/>
                  </a:lnTo>
                  <a:lnTo>
                    <a:pt x="296075" y="165722"/>
                  </a:lnTo>
                  <a:lnTo>
                    <a:pt x="281419" y="208915"/>
                  </a:lnTo>
                  <a:lnTo>
                    <a:pt x="274078" y="255003"/>
                  </a:lnTo>
                  <a:lnTo>
                    <a:pt x="266915" y="208724"/>
                  </a:lnTo>
                  <a:lnTo>
                    <a:pt x="252349" y="165354"/>
                  </a:lnTo>
                  <a:lnTo>
                    <a:pt x="231089" y="125564"/>
                  </a:lnTo>
                  <a:lnTo>
                    <a:pt x="203796" y="90030"/>
                  </a:lnTo>
                  <a:lnTo>
                    <a:pt x="171145" y="59436"/>
                  </a:lnTo>
                  <a:lnTo>
                    <a:pt x="133832" y="34455"/>
                  </a:lnTo>
                  <a:lnTo>
                    <a:pt x="92532" y="15773"/>
                  </a:lnTo>
                  <a:lnTo>
                    <a:pt x="47904" y="4064"/>
                  </a:lnTo>
                  <a:lnTo>
                    <a:pt x="0" y="0"/>
                  </a:lnTo>
                  <a:lnTo>
                    <a:pt x="5448" y="48171"/>
                  </a:lnTo>
                  <a:lnTo>
                    <a:pt x="18846" y="93421"/>
                  </a:lnTo>
                  <a:lnTo>
                    <a:pt x="39458" y="135051"/>
                  </a:lnTo>
                  <a:lnTo>
                    <a:pt x="66548" y="172313"/>
                  </a:lnTo>
                  <a:lnTo>
                    <a:pt x="99390" y="204457"/>
                  </a:lnTo>
                  <a:lnTo>
                    <a:pt x="137248" y="230771"/>
                  </a:lnTo>
                  <a:lnTo>
                    <a:pt x="179374" y="250507"/>
                  </a:lnTo>
                  <a:lnTo>
                    <a:pt x="225044" y="262928"/>
                  </a:lnTo>
                  <a:lnTo>
                    <a:pt x="273519" y="267309"/>
                  </a:lnTo>
                  <a:lnTo>
                    <a:pt x="274739" y="267309"/>
                  </a:lnTo>
                  <a:lnTo>
                    <a:pt x="323088" y="262940"/>
                  </a:lnTo>
                  <a:lnTo>
                    <a:pt x="368642" y="250583"/>
                  </a:lnTo>
                  <a:lnTo>
                    <a:pt x="410679" y="230936"/>
                  </a:lnTo>
                  <a:lnTo>
                    <a:pt x="448462" y="204736"/>
                  </a:lnTo>
                  <a:lnTo>
                    <a:pt x="481266" y="172720"/>
                  </a:lnTo>
                  <a:lnTo>
                    <a:pt x="508368" y="135623"/>
                  </a:lnTo>
                  <a:lnTo>
                    <a:pt x="529018" y="94157"/>
                  </a:lnTo>
                  <a:lnTo>
                    <a:pt x="542493" y="49072"/>
                  </a:lnTo>
                  <a:lnTo>
                    <a:pt x="548081" y="1079"/>
                  </a:lnTo>
                  <a:close/>
                </a:path>
              </a:pathLst>
            </a:custGeom>
            <a:solidFill>
              <a:srgbClr val="7ED3F1"/>
            </a:solidFill>
          </p:spPr>
          <p:txBody>
            <a:bodyPr wrap="square" lIns="0" tIns="0" rIns="0" bIns="0" rtlCol="0"/>
            <a:lstStyle/>
            <a:p>
              <a:endParaRPr dirty="0"/>
            </a:p>
          </p:txBody>
        </p:sp>
        <p:pic>
          <p:nvPicPr>
            <p:cNvPr id="383" name="object 94">
              <a:extLst>
                <a:ext uri="{FF2B5EF4-FFF2-40B4-BE49-F238E27FC236}">
                  <a16:creationId xmlns:a16="http://schemas.microsoft.com/office/drawing/2014/main" id="{FACC3936-EEE4-52EF-A3F9-6427CB350C65}"/>
                </a:ext>
              </a:extLst>
            </p:cNvPr>
            <p:cNvPicPr/>
            <p:nvPr/>
          </p:nvPicPr>
          <p:blipFill>
            <a:blip r:embed="rId6" cstate="print"/>
            <a:stretch>
              <a:fillRect/>
            </a:stretch>
          </p:blipFill>
          <p:spPr>
            <a:xfrm>
              <a:off x="10021726" y="6605926"/>
              <a:ext cx="106445" cy="107156"/>
            </a:xfrm>
            <a:prstGeom prst="rect">
              <a:avLst/>
            </a:prstGeom>
          </p:spPr>
        </p:pic>
        <p:sp>
          <p:nvSpPr>
            <p:cNvPr id="384" name="object 95">
              <a:extLst>
                <a:ext uri="{FF2B5EF4-FFF2-40B4-BE49-F238E27FC236}">
                  <a16:creationId xmlns:a16="http://schemas.microsoft.com/office/drawing/2014/main" id="{1F234912-3105-060E-9A86-1B0384CA67B6}"/>
                </a:ext>
              </a:extLst>
            </p:cNvPr>
            <p:cNvSpPr/>
            <p:nvPr/>
          </p:nvSpPr>
          <p:spPr>
            <a:xfrm>
              <a:off x="9523993" y="6479532"/>
              <a:ext cx="332700" cy="316141"/>
            </a:xfrm>
            <a:custGeom>
              <a:avLst/>
              <a:gdLst/>
              <a:ahLst/>
              <a:cxnLst/>
              <a:rect l="l" t="t" r="r" b="b"/>
              <a:pathLst>
                <a:path w="548640" h="521334">
                  <a:moveTo>
                    <a:pt x="548081" y="520852"/>
                  </a:moveTo>
                  <a:lnTo>
                    <a:pt x="542632" y="472694"/>
                  </a:lnTo>
                  <a:lnTo>
                    <a:pt x="529234" y="427431"/>
                  </a:lnTo>
                  <a:lnTo>
                    <a:pt x="508622" y="385800"/>
                  </a:lnTo>
                  <a:lnTo>
                    <a:pt x="481520" y="348551"/>
                  </a:lnTo>
                  <a:lnTo>
                    <a:pt x="448678" y="316395"/>
                  </a:lnTo>
                  <a:lnTo>
                    <a:pt x="410832" y="290093"/>
                  </a:lnTo>
                  <a:lnTo>
                    <a:pt x="368693" y="270357"/>
                  </a:lnTo>
                  <a:lnTo>
                    <a:pt x="323024" y="257924"/>
                  </a:lnTo>
                  <a:lnTo>
                    <a:pt x="274561" y="253555"/>
                  </a:lnTo>
                  <a:lnTo>
                    <a:pt x="273329" y="253555"/>
                  </a:lnTo>
                  <a:lnTo>
                    <a:pt x="224993" y="257911"/>
                  </a:lnTo>
                  <a:lnTo>
                    <a:pt x="179438" y="270281"/>
                  </a:lnTo>
                  <a:lnTo>
                    <a:pt x="137401" y="289915"/>
                  </a:lnTo>
                  <a:lnTo>
                    <a:pt x="99606" y="316115"/>
                  </a:lnTo>
                  <a:lnTo>
                    <a:pt x="66802" y="348132"/>
                  </a:lnTo>
                  <a:lnTo>
                    <a:pt x="39712" y="385229"/>
                  </a:lnTo>
                  <a:lnTo>
                    <a:pt x="19062" y="426694"/>
                  </a:lnTo>
                  <a:lnTo>
                    <a:pt x="5575" y="471792"/>
                  </a:lnTo>
                  <a:lnTo>
                    <a:pt x="0" y="519772"/>
                  </a:lnTo>
                  <a:lnTo>
                    <a:pt x="47713" y="515747"/>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27"/>
                  </a:lnTo>
                  <a:lnTo>
                    <a:pt x="295719" y="355498"/>
                  </a:lnTo>
                  <a:lnTo>
                    <a:pt x="316992" y="395300"/>
                  </a:lnTo>
                  <a:lnTo>
                    <a:pt x="344284" y="430834"/>
                  </a:lnTo>
                  <a:lnTo>
                    <a:pt x="376923" y="461429"/>
                  </a:lnTo>
                  <a:lnTo>
                    <a:pt x="414235" y="486410"/>
                  </a:lnTo>
                  <a:lnTo>
                    <a:pt x="455549" y="505091"/>
                  </a:lnTo>
                  <a:lnTo>
                    <a:pt x="500164" y="516801"/>
                  </a:lnTo>
                  <a:lnTo>
                    <a:pt x="548081" y="520852"/>
                  </a:lnTo>
                  <a:close/>
                </a:path>
                <a:path w="548640" h="521334">
                  <a:moveTo>
                    <a:pt x="548081" y="267322"/>
                  </a:moveTo>
                  <a:lnTo>
                    <a:pt x="542632" y="219138"/>
                  </a:lnTo>
                  <a:lnTo>
                    <a:pt x="529234" y="173875"/>
                  </a:lnTo>
                  <a:lnTo>
                    <a:pt x="508622" y="132245"/>
                  </a:lnTo>
                  <a:lnTo>
                    <a:pt x="481533" y="94996"/>
                  </a:lnTo>
                  <a:lnTo>
                    <a:pt x="448691" y="62839"/>
                  </a:lnTo>
                  <a:lnTo>
                    <a:pt x="433158" y="52057"/>
                  </a:lnTo>
                  <a:lnTo>
                    <a:pt x="410832" y="36537"/>
                  </a:lnTo>
                  <a:lnTo>
                    <a:pt x="368706" y="16814"/>
                  </a:lnTo>
                  <a:lnTo>
                    <a:pt x="323024" y="4368"/>
                  </a:lnTo>
                  <a:lnTo>
                    <a:pt x="274561" y="12"/>
                  </a:lnTo>
                  <a:lnTo>
                    <a:pt x="273329" y="0"/>
                  </a:lnTo>
                  <a:lnTo>
                    <a:pt x="224993" y="4356"/>
                  </a:lnTo>
                  <a:lnTo>
                    <a:pt x="179438" y="16713"/>
                  </a:lnTo>
                  <a:lnTo>
                    <a:pt x="137401" y="36360"/>
                  </a:lnTo>
                  <a:lnTo>
                    <a:pt x="99606" y="62560"/>
                  </a:lnTo>
                  <a:lnTo>
                    <a:pt x="66802" y="94576"/>
                  </a:lnTo>
                  <a:lnTo>
                    <a:pt x="39687" y="131686"/>
                  </a:lnTo>
                  <a:lnTo>
                    <a:pt x="19037" y="173139"/>
                  </a:lnTo>
                  <a:lnTo>
                    <a:pt x="5562" y="218211"/>
                  </a:lnTo>
                  <a:lnTo>
                    <a:pt x="0" y="266192"/>
                  </a:lnTo>
                  <a:lnTo>
                    <a:pt x="47713" y="262178"/>
                  </a:lnTo>
                  <a:lnTo>
                    <a:pt x="92240" y="250520"/>
                  </a:lnTo>
                  <a:lnTo>
                    <a:pt x="133464" y="231914"/>
                  </a:lnTo>
                  <a:lnTo>
                    <a:pt x="170738" y="207048"/>
                  </a:lnTo>
                  <a:lnTo>
                    <a:pt x="203365" y="176593"/>
                  </a:lnTo>
                  <a:lnTo>
                    <a:pt x="230670" y="141211"/>
                  </a:lnTo>
                  <a:lnTo>
                    <a:pt x="252006" y="101600"/>
                  </a:lnTo>
                  <a:lnTo>
                    <a:pt x="266661" y="58407"/>
                  </a:lnTo>
                  <a:lnTo>
                    <a:pt x="273989" y="12357"/>
                  </a:lnTo>
                  <a:lnTo>
                    <a:pt x="281165" y="58572"/>
                  </a:lnTo>
                  <a:lnTo>
                    <a:pt x="295719" y="101942"/>
                  </a:lnTo>
                  <a:lnTo>
                    <a:pt x="316992" y="141744"/>
                  </a:lnTo>
                  <a:lnTo>
                    <a:pt x="344284" y="177279"/>
                  </a:lnTo>
                  <a:lnTo>
                    <a:pt x="376923" y="207873"/>
                  </a:lnTo>
                  <a:lnTo>
                    <a:pt x="414235" y="232854"/>
                  </a:lnTo>
                  <a:lnTo>
                    <a:pt x="455549" y="251548"/>
                  </a:lnTo>
                  <a:lnTo>
                    <a:pt x="500176" y="263258"/>
                  </a:lnTo>
                  <a:lnTo>
                    <a:pt x="548081" y="267322"/>
                  </a:lnTo>
                  <a:close/>
                </a:path>
              </a:pathLst>
            </a:custGeom>
            <a:solidFill>
              <a:srgbClr val="2DB7EA"/>
            </a:solidFill>
          </p:spPr>
          <p:txBody>
            <a:bodyPr wrap="square" lIns="0" tIns="0" rIns="0" bIns="0" rtlCol="0"/>
            <a:lstStyle/>
            <a:p>
              <a:endParaRPr dirty="0"/>
            </a:p>
          </p:txBody>
        </p:sp>
        <p:pic>
          <p:nvPicPr>
            <p:cNvPr id="385" name="object 96">
              <a:extLst>
                <a:ext uri="{FF2B5EF4-FFF2-40B4-BE49-F238E27FC236}">
                  <a16:creationId xmlns:a16="http://schemas.microsoft.com/office/drawing/2014/main" id="{FB191C3E-9D36-3762-588D-713E487ABB8D}"/>
                </a:ext>
              </a:extLst>
            </p:cNvPr>
            <p:cNvPicPr/>
            <p:nvPr/>
          </p:nvPicPr>
          <p:blipFill>
            <a:blip r:embed="rId19" cstate="print"/>
            <a:stretch>
              <a:fillRect/>
            </a:stretch>
          </p:blipFill>
          <p:spPr>
            <a:xfrm>
              <a:off x="9560079" y="6794307"/>
              <a:ext cx="260142" cy="63416"/>
            </a:xfrm>
            <a:prstGeom prst="rect">
              <a:avLst/>
            </a:prstGeom>
          </p:spPr>
        </p:pic>
        <p:sp>
          <p:nvSpPr>
            <p:cNvPr id="386" name="object 97">
              <a:extLst>
                <a:ext uri="{FF2B5EF4-FFF2-40B4-BE49-F238E27FC236}">
                  <a16:creationId xmlns:a16="http://schemas.microsoft.com/office/drawing/2014/main" id="{A06DA323-5BDA-940A-98D8-91157A814D0B}"/>
                </a:ext>
              </a:extLst>
            </p:cNvPr>
            <p:cNvSpPr/>
            <p:nvPr/>
          </p:nvSpPr>
          <p:spPr>
            <a:xfrm>
              <a:off x="9523993" y="5171198"/>
              <a:ext cx="332700" cy="477101"/>
            </a:xfrm>
            <a:custGeom>
              <a:avLst/>
              <a:gdLst/>
              <a:ahLst/>
              <a:cxnLst/>
              <a:rect l="l" t="t" r="r" b="b"/>
              <a:pathLst>
                <a:path w="548640" h="786765">
                  <a:moveTo>
                    <a:pt x="548081" y="786396"/>
                  </a:moveTo>
                  <a:lnTo>
                    <a:pt x="542632" y="738225"/>
                  </a:lnTo>
                  <a:lnTo>
                    <a:pt x="529234" y="692975"/>
                  </a:lnTo>
                  <a:lnTo>
                    <a:pt x="508622" y="651344"/>
                  </a:lnTo>
                  <a:lnTo>
                    <a:pt x="481520" y="614083"/>
                  </a:lnTo>
                  <a:lnTo>
                    <a:pt x="448678" y="581939"/>
                  </a:lnTo>
                  <a:lnTo>
                    <a:pt x="410832" y="555625"/>
                  </a:lnTo>
                  <a:lnTo>
                    <a:pt x="368693" y="535889"/>
                  </a:lnTo>
                  <a:lnTo>
                    <a:pt x="323024" y="523468"/>
                  </a:lnTo>
                  <a:lnTo>
                    <a:pt x="274561" y="519087"/>
                  </a:lnTo>
                  <a:lnTo>
                    <a:pt x="273329" y="519087"/>
                  </a:lnTo>
                  <a:lnTo>
                    <a:pt x="224993" y="523455"/>
                  </a:lnTo>
                  <a:lnTo>
                    <a:pt x="179438" y="535813"/>
                  </a:lnTo>
                  <a:lnTo>
                    <a:pt x="137401" y="555459"/>
                  </a:lnTo>
                  <a:lnTo>
                    <a:pt x="99606" y="581660"/>
                  </a:lnTo>
                  <a:lnTo>
                    <a:pt x="66802" y="613676"/>
                  </a:lnTo>
                  <a:lnTo>
                    <a:pt x="39712" y="650773"/>
                  </a:lnTo>
                  <a:lnTo>
                    <a:pt x="19062" y="692238"/>
                  </a:lnTo>
                  <a:lnTo>
                    <a:pt x="5575" y="737323"/>
                  </a:lnTo>
                  <a:lnTo>
                    <a:pt x="0" y="785317"/>
                  </a:lnTo>
                  <a:lnTo>
                    <a:pt x="47713" y="781278"/>
                  </a:lnTo>
                  <a:lnTo>
                    <a:pt x="92240" y="769620"/>
                  </a:lnTo>
                  <a:lnTo>
                    <a:pt x="133464" y="751027"/>
                  </a:lnTo>
                  <a:lnTo>
                    <a:pt x="170738" y="726147"/>
                  </a:lnTo>
                  <a:lnTo>
                    <a:pt x="203352"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35" y="751941"/>
                  </a:lnTo>
                  <a:lnTo>
                    <a:pt x="455549" y="770623"/>
                  </a:lnTo>
                  <a:lnTo>
                    <a:pt x="500164" y="782332"/>
                  </a:lnTo>
                  <a:lnTo>
                    <a:pt x="548081" y="786396"/>
                  </a:lnTo>
                  <a:close/>
                </a:path>
                <a:path w="548640" h="786765">
                  <a:moveTo>
                    <a:pt x="548081" y="520865"/>
                  </a:moveTo>
                  <a:lnTo>
                    <a:pt x="542632" y="472706"/>
                  </a:lnTo>
                  <a:lnTo>
                    <a:pt x="529234" y="427443"/>
                  </a:lnTo>
                  <a:lnTo>
                    <a:pt x="508622" y="385813"/>
                  </a:lnTo>
                  <a:lnTo>
                    <a:pt x="481520" y="348551"/>
                  </a:lnTo>
                  <a:lnTo>
                    <a:pt x="448678" y="316407"/>
                  </a:lnTo>
                  <a:lnTo>
                    <a:pt x="410832" y="290093"/>
                  </a:lnTo>
                  <a:lnTo>
                    <a:pt x="368693" y="270357"/>
                  </a:lnTo>
                  <a:lnTo>
                    <a:pt x="323024" y="257937"/>
                  </a:lnTo>
                  <a:lnTo>
                    <a:pt x="274561" y="253568"/>
                  </a:lnTo>
                  <a:lnTo>
                    <a:pt x="273329" y="253568"/>
                  </a:lnTo>
                  <a:lnTo>
                    <a:pt x="224993" y="257924"/>
                  </a:lnTo>
                  <a:lnTo>
                    <a:pt x="179438" y="270281"/>
                  </a:lnTo>
                  <a:lnTo>
                    <a:pt x="137401" y="289928"/>
                  </a:lnTo>
                  <a:lnTo>
                    <a:pt x="99606" y="316128"/>
                  </a:lnTo>
                  <a:lnTo>
                    <a:pt x="66802" y="348132"/>
                  </a:lnTo>
                  <a:lnTo>
                    <a:pt x="39712" y="385241"/>
                  </a:lnTo>
                  <a:lnTo>
                    <a:pt x="19062" y="426694"/>
                  </a:lnTo>
                  <a:lnTo>
                    <a:pt x="5575" y="471792"/>
                  </a:lnTo>
                  <a:lnTo>
                    <a:pt x="0" y="519772"/>
                  </a:lnTo>
                  <a:lnTo>
                    <a:pt x="47713" y="515734"/>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5">
                  <a:moveTo>
                    <a:pt x="548081" y="267322"/>
                  </a:moveTo>
                  <a:lnTo>
                    <a:pt x="542632" y="219151"/>
                  </a:lnTo>
                  <a:lnTo>
                    <a:pt x="529234" y="173875"/>
                  </a:lnTo>
                  <a:lnTo>
                    <a:pt x="508622" y="132245"/>
                  </a:lnTo>
                  <a:lnTo>
                    <a:pt x="481533" y="94996"/>
                  </a:lnTo>
                  <a:lnTo>
                    <a:pt x="449376" y="63525"/>
                  </a:lnTo>
                  <a:lnTo>
                    <a:pt x="448691" y="62852"/>
                  </a:lnTo>
                  <a:lnTo>
                    <a:pt x="410832" y="36537"/>
                  </a:lnTo>
                  <a:lnTo>
                    <a:pt x="368706" y="16814"/>
                  </a:lnTo>
                  <a:lnTo>
                    <a:pt x="323037" y="4394"/>
                  </a:lnTo>
                  <a:lnTo>
                    <a:pt x="274561" y="12"/>
                  </a:lnTo>
                  <a:lnTo>
                    <a:pt x="273329" y="0"/>
                  </a:lnTo>
                  <a:lnTo>
                    <a:pt x="224993" y="4356"/>
                  </a:lnTo>
                  <a:lnTo>
                    <a:pt x="179438" y="16725"/>
                  </a:lnTo>
                  <a:lnTo>
                    <a:pt x="137401" y="36372"/>
                  </a:lnTo>
                  <a:lnTo>
                    <a:pt x="99606" y="62560"/>
                  </a:lnTo>
                  <a:lnTo>
                    <a:pt x="66802" y="94576"/>
                  </a:lnTo>
                  <a:lnTo>
                    <a:pt x="39687" y="131686"/>
                  </a:lnTo>
                  <a:lnTo>
                    <a:pt x="19037" y="173139"/>
                  </a:lnTo>
                  <a:lnTo>
                    <a:pt x="5562" y="218211"/>
                  </a:lnTo>
                  <a:lnTo>
                    <a:pt x="0" y="266192"/>
                  </a:lnTo>
                  <a:lnTo>
                    <a:pt x="47713" y="262178"/>
                  </a:lnTo>
                  <a:lnTo>
                    <a:pt x="92240" y="250520"/>
                  </a:lnTo>
                  <a:lnTo>
                    <a:pt x="133464" y="231927"/>
                  </a:lnTo>
                  <a:lnTo>
                    <a:pt x="170738" y="207048"/>
                  </a:lnTo>
                  <a:lnTo>
                    <a:pt x="203365" y="176593"/>
                  </a:lnTo>
                  <a:lnTo>
                    <a:pt x="230670" y="141211"/>
                  </a:lnTo>
                  <a:lnTo>
                    <a:pt x="252006" y="101600"/>
                  </a:lnTo>
                  <a:lnTo>
                    <a:pt x="266661" y="58407"/>
                  </a:lnTo>
                  <a:lnTo>
                    <a:pt x="273989" y="12357"/>
                  </a:lnTo>
                  <a:lnTo>
                    <a:pt x="280047" y="51409"/>
                  </a:lnTo>
                  <a:lnTo>
                    <a:pt x="295719" y="101942"/>
                  </a:lnTo>
                  <a:lnTo>
                    <a:pt x="316992" y="141744"/>
                  </a:lnTo>
                  <a:lnTo>
                    <a:pt x="344284" y="177279"/>
                  </a:lnTo>
                  <a:lnTo>
                    <a:pt x="376923" y="207873"/>
                  </a:lnTo>
                  <a:lnTo>
                    <a:pt x="414248" y="232867"/>
                  </a:lnTo>
                  <a:lnTo>
                    <a:pt x="455549" y="251548"/>
                  </a:lnTo>
                  <a:lnTo>
                    <a:pt x="500176" y="263258"/>
                  </a:lnTo>
                  <a:lnTo>
                    <a:pt x="548081" y="267322"/>
                  </a:lnTo>
                  <a:close/>
                </a:path>
              </a:pathLst>
            </a:custGeom>
            <a:solidFill>
              <a:srgbClr val="2DB7EA"/>
            </a:solidFill>
          </p:spPr>
          <p:txBody>
            <a:bodyPr wrap="square" lIns="0" tIns="0" rIns="0" bIns="0" rtlCol="0"/>
            <a:lstStyle/>
            <a:p>
              <a:endParaRPr dirty="0"/>
            </a:p>
          </p:txBody>
        </p:sp>
        <p:pic>
          <p:nvPicPr>
            <p:cNvPr id="387" name="object 98">
              <a:extLst>
                <a:ext uri="{FF2B5EF4-FFF2-40B4-BE49-F238E27FC236}">
                  <a16:creationId xmlns:a16="http://schemas.microsoft.com/office/drawing/2014/main" id="{800F5177-538C-05F6-B438-B8E44654B7B6}"/>
                </a:ext>
              </a:extLst>
            </p:cNvPr>
            <p:cNvPicPr/>
            <p:nvPr/>
          </p:nvPicPr>
          <p:blipFill>
            <a:blip r:embed="rId8" cstate="print"/>
            <a:stretch>
              <a:fillRect/>
            </a:stretch>
          </p:blipFill>
          <p:spPr>
            <a:xfrm>
              <a:off x="9637261" y="5626898"/>
              <a:ext cx="106445" cy="107156"/>
            </a:xfrm>
            <a:prstGeom prst="rect">
              <a:avLst/>
            </a:prstGeom>
          </p:spPr>
        </p:pic>
        <p:sp>
          <p:nvSpPr>
            <p:cNvPr id="388" name="object 99">
              <a:extLst>
                <a:ext uri="{FF2B5EF4-FFF2-40B4-BE49-F238E27FC236}">
                  <a16:creationId xmlns:a16="http://schemas.microsoft.com/office/drawing/2014/main" id="{F87D6D64-B8AD-D727-95AB-0156F8E8F41C}"/>
                </a:ext>
              </a:extLst>
            </p:cNvPr>
            <p:cNvSpPr/>
            <p:nvPr/>
          </p:nvSpPr>
          <p:spPr>
            <a:xfrm>
              <a:off x="9523993" y="5825360"/>
              <a:ext cx="332700" cy="477101"/>
            </a:xfrm>
            <a:custGeom>
              <a:avLst/>
              <a:gdLst/>
              <a:ahLst/>
              <a:cxnLst/>
              <a:rect l="l" t="t" r="r" b="b"/>
              <a:pathLst>
                <a:path w="548640" h="786765">
                  <a:moveTo>
                    <a:pt x="548081" y="786396"/>
                  </a:moveTo>
                  <a:lnTo>
                    <a:pt x="542632" y="738238"/>
                  </a:lnTo>
                  <a:lnTo>
                    <a:pt x="529234" y="692975"/>
                  </a:lnTo>
                  <a:lnTo>
                    <a:pt x="508622" y="651344"/>
                  </a:lnTo>
                  <a:lnTo>
                    <a:pt x="481520" y="614095"/>
                  </a:lnTo>
                  <a:lnTo>
                    <a:pt x="448678" y="581939"/>
                  </a:lnTo>
                  <a:lnTo>
                    <a:pt x="410832" y="555637"/>
                  </a:lnTo>
                  <a:lnTo>
                    <a:pt x="368693" y="535901"/>
                  </a:lnTo>
                  <a:lnTo>
                    <a:pt x="323024" y="523481"/>
                  </a:lnTo>
                  <a:lnTo>
                    <a:pt x="274561" y="519099"/>
                  </a:lnTo>
                  <a:lnTo>
                    <a:pt x="273329" y="519099"/>
                  </a:lnTo>
                  <a:lnTo>
                    <a:pt x="224993" y="523455"/>
                  </a:lnTo>
                  <a:lnTo>
                    <a:pt x="179438" y="535825"/>
                  </a:lnTo>
                  <a:lnTo>
                    <a:pt x="137401" y="555472"/>
                  </a:lnTo>
                  <a:lnTo>
                    <a:pt x="99606" y="581660"/>
                  </a:lnTo>
                  <a:lnTo>
                    <a:pt x="66802" y="613676"/>
                  </a:lnTo>
                  <a:lnTo>
                    <a:pt x="39712" y="650773"/>
                  </a:lnTo>
                  <a:lnTo>
                    <a:pt x="19062" y="692238"/>
                  </a:lnTo>
                  <a:lnTo>
                    <a:pt x="5575" y="737323"/>
                  </a:lnTo>
                  <a:lnTo>
                    <a:pt x="0" y="785304"/>
                  </a:lnTo>
                  <a:lnTo>
                    <a:pt x="47713" y="781278"/>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35"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78" y="316407"/>
                  </a:lnTo>
                  <a:lnTo>
                    <a:pt x="410832" y="290093"/>
                  </a:lnTo>
                  <a:lnTo>
                    <a:pt x="368693" y="270370"/>
                  </a:lnTo>
                  <a:lnTo>
                    <a:pt x="323024" y="257937"/>
                  </a:lnTo>
                  <a:lnTo>
                    <a:pt x="274561" y="253555"/>
                  </a:lnTo>
                  <a:lnTo>
                    <a:pt x="273329" y="253555"/>
                  </a:lnTo>
                  <a:lnTo>
                    <a:pt x="224993" y="257924"/>
                  </a:lnTo>
                  <a:lnTo>
                    <a:pt x="179438" y="270294"/>
                  </a:lnTo>
                  <a:lnTo>
                    <a:pt x="137401" y="289928"/>
                  </a:lnTo>
                  <a:lnTo>
                    <a:pt x="99606" y="316128"/>
                  </a:lnTo>
                  <a:lnTo>
                    <a:pt x="66802" y="348145"/>
                  </a:lnTo>
                  <a:lnTo>
                    <a:pt x="39712" y="385241"/>
                  </a:lnTo>
                  <a:lnTo>
                    <a:pt x="19062" y="426694"/>
                  </a:lnTo>
                  <a:lnTo>
                    <a:pt x="5575" y="471792"/>
                  </a:lnTo>
                  <a:lnTo>
                    <a:pt x="0" y="519772"/>
                  </a:lnTo>
                  <a:lnTo>
                    <a:pt x="47713" y="515734"/>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5">
                  <a:moveTo>
                    <a:pt x="548081" y="267322"/>
                  </a:moveTo>
                  <a:lnTo>
                    <a:pt x="542632" y="219151"/>
                  </a:lnTo>
                  <a:lnTo>
                    <a:pt x="529234" y="173888"/>
                  </a:lnTo>
                  <a:lnTo>
                    <a:pt x="508622" y="132257"/>
                  </a:lnTo>
                  <a:lnTo>
                    <a:pt x="481533" y="94996"/>
                  </a:lnTo>
                  <a:lnTo>
                    <a:pt x="448691" y="62852"/>
                  </a:lnTo>
                  <a:lnTo>
                    <a:pt x="433158" y="52070"/>
                  </a:lnTo>
                  <a:lnTo>
                    <a:pt x="410832" y="36550"/>
                  </a:lnTo>
                  <a:lnTo>
                    <a:pt x="368706" y="16814"/>
                  </a:lnTo>
                  <a:lnTo>
                    <a:pt x="323037" y="4394"/>
                  </a:lnTo>
                  <a:lnTo>
                    <a:pt x="274561" y="0"/>
                  </a:lnTo>
                  <a:lnTo>
                    <a:pt x="273329" y="0"/>
                  </a:lnTo>
                  <a:lnTo>
                    <a:pt x="224993" y="4356"/>
                  </a:lnTo>
                  <a:lnTo>
                    <a:pt x="179438" y="16725"/>
                  </a:lnTo>
                  <a:lnTo>
                    <a:pt x="137401" y="36372"/>
                  </a:lnTo>
                  <a:lnTo>
                    <a:pt x="99606" y="62572"/>
                  </a:lnTo>
                  <a:lnTo>
                    <a:pt x="66802" y="94576"/>
                  </a:lnTo>
                  <a:lnTo>
                    <a:pt x="39687" y="131686"/>
                  </a:lnTo>
                  <a:lnTo>
                    <a:pt x="19037" y="173139"/>
                  </a:lnTo>
                  <a:lnTo>
                    <a:pt x="5562" y="218224"/>
                  </a:lnTo>
                  <a:lnTo>
                    <a:pt x="0" y="266192"/>
                  </a:lnTo>
                  <a:lnTo>
                    <a:pt x="47713" y="262178"/>
                  </a:lnTo>
                  <a:lnTo>
                    <a:pt x="92240" y="250532"/>
                  </a:lnTo>
                  <a:lnTo>
                    <a:pt x="133464" y="231927"/>
                  </a:lnTo>
                  <a:lnTo>
                    <a:pt x="170738" y="207060"/>
                  </a:lnTo>
                  <a:lnTo>
                    <a:pt x="187604" y="191312"/>
                  </a:lnTo>
                  <a:lnTo>
                    <a:pt x="203365" y="176593"/>
                  </a:lnTo>
                  <a:lnTo>
                    <a:pt x="230670" y="141224"/>
                  </a:lnTo>
                  <a:lnTo>
                    <a:pt x="252006" y="101600"/>
                  </a:lnTo>
                  <a:lnTo>
                    <a:pt x="266661" y="58407"/>
                  </a:lnTo>
                  <a:lnTo>
                    <a:pt x="273989" y="12369"/>
                  </a:lnTo>
                  <a:lnTo>
                    <a:pt x="281165" y="58585"/>
                  </a:lnTo>
                  <a:lnTo>
                    <a:pt x="295719" y="101955"/>
                  </a:lnTo>
                  <a:lnTo>
                    <a:pt x="316992" y="141744"/>
                  </a:lnTo>
                  <a:lnTo>
                    <a:pt x="344284" y="177279"/>
                  </a:lnTo>
                  <a:lnTo>
                    <a:pt x="376923" y="207886"/>
                  </a:lnTo>
                  <a:lnTo>
                    <a:pt x="414248" y="232867"/>
                  </a:lnTo>
                  <a:lnTo>
                    <a:pt x="455549" y="251561"/>
                  </a:lnTo>
                  <a:lnTo>
                    <a:pt x="500176" y="263271"/>
                  </a:lnTo>
                  <a:lnTo>
                    <a:pt x="548081" y="267322"/>
                  </a:lnTo>
                  <a:close/>
                </a:path>
              </a:pathLst>
            </a:custGeom>
            <a:solidFill>
              <a:srgbClr val="7ED3F1"/>
            </a:solidFill>
          </p:spPr>
          <p:txBody>
            <a:bodyPr wrap="square" lIns="0" tIns="0" rIns="0" bIns="0" rtlCol="0"/>
            <a:lstStyle/>
            <a:p>
              <a:endParaRPr dirty="0"/>
            </a:p>
          </p:txBody>
        </p:sp>
        <p:pic>
          <p:nvPicPr>
            <p:cNvPr id="389" name="object 100">
              <a:extLst>
                <a:ext uri="{FF2B5EF4-FFF2-40B4-BE49-F238E27FC236}">
                  <a16:creationId xmlns:a16="http://schemas.microsoft.com/office/drawing/2014/main" id="{F031F881-9109-420B-8478-4D26A4B32A75}"/>
                </a:ext>
              </a:extLst>
            </p:cNvPr>
            <p:cNvPicPr/>
            <p:nvPr/>
          </p:nvPicPr>
          <p:blipFill>
            <a:blip r:embed="rId9" cstate="print"/>
            <a:stretch>
              <a:fillRect/>
            </a:stretch>
          </p:blipFill>
          <p:spPr>
            <a:xfrm>
              <a:off x="9637261" y="6281064"/>
              <a:ext cx="106445" cy="107156"/>
            </a:xfrm>
            <a:prstGeom prst="rect">
              <a:avLst/>
            </a:prstGeom>
          </p:spPr>
        </p:pic>
        <p:sp>
          <p:nvSpPr>
            <p:cNvPr id="390" name="object 101">
              <a:extLst>
                <a:ext uri="{FF2B5EF4-FFF2-40B4-BE49-F238E27FC236}">
                  <a16:creationId xmlns:a16="http://schemas.microsoft.com/office/drawing/2014/main" id="{473C5EE8-D242-3354-9739-BA725E9EB0C2}"/>
                </a:ext>
              </a:extLst>
            </p:cNvPr>
            <p:cNvSpPr/>
            <p:nvPr/>
          </p:nvSpPr>
          <p:spPr>
            <a:xfrm>
              <a:off x="10679200" y="804428"/>
              <a:ext cx="332700" cy="477101"/>
            </a:xfrm>
            <a:custGeom>
              <a:avLst/>
              <a:gdLst/>
              <a:ahLst/>
              <a:cxnLst/>
              <a:rect l="l" t="t" r="r" b="b"/>
              <a:pathLst>
                <a:path w="548640" h="786764">
                  <a:moveTo>
                    <a:pt x="548043" y="266598"/>
                  </a:moveTo>
                  <a:lnTo>
                    <a:pt x="500380" y="270637"/>
                  </a:lnTo>
                  <a:lnTo>
                    <a:pt x="455853" y="282295"/>
                  </a:lnTo>
                  <a:lnTo>
                    <a:pt x="414616" y="300901"/>
                  </a:lnTo>
                  <a:lnTo>
                    <a:pt x="377355" y="325767"/>
                  </a:lnTo>
                  <a:lnTo>
                    <a:pt x="344728" y="356235"/>
                  </a:lnTo>
                  <a:lnTo>
                    <a:pt x="317411" y="391617"/>
                  </a:lnTo>
                  <a:lnTo>
                    <a:pt x="296087" y="431241"/>
                  </a:lnTo>
                  <a:lnTo>
                    <a:pt x="281432" y="474433"/>
                  </a:lnTo>
                  <a:lnTo>
                    <a:pt x="274091" y="520522"/>
                  </a:lnTo>
                  <a:lnTo>
                    <a:pt x="266915" y="474256"/>
                  </a:lnTo>
                  <a:lnTo>
                    <a:pt x="252361" y="430872"/>
                  </a:lnTo>
                  <a:lnTo>
                    <a:pt x="231101" y="391083"/>
                  </a:lnTo>
                  <a:lnTo>
                    <a:pt x="203809" y="355549"/>
                  </a:lnTo>
                  <a:lnTo>
                    <a:pt x="171157" y="324954"/>
                  </a:lnTo>
                  <a:lnTo>
                    <a:pt x="133845" y="299974"/>
                  </a:lnTo>
                  <a:lnTo>
                    <a:pt x="92544" y="281292"/>
                  </a:lnTo>
                  <a:lnTo>
                    <a:pt x="47917" y="269582"/>
                  </a:lnTo>
                  <a:lnTo>
                    <a:pt x="12" y="265531"/>
                  </a:lnTo>
                  <a:lnTo>
                    <a:pt x="5461" y="313690"/>
                  </a:lnTo>
                  <a:lnTo>
                    <a:pt x="18846" y="358952"/>
                  </a:lnTo>
                  <a:lnTo>
                    <a:pt x="39471" y="400570"/>
                  </a:lnTo>
                  <a:lnTo>
                    <a:pt x="66560" y="437832"/>
                  </a:lnTo>
                  <a:lnTo>
                    <a:pt x="99402" y="469988"/>
                  </a:lnTo>
                  <a:lnTo>
                    <a:pt x="137261" y="496290"/>
                  </a:lnTo>
                  <a:lnTo>
                    <a:pt x="179387" y="516026"/>
                  </a:lnTo>
                  <a:lnTo>
                    <a:pt x="225056" y="528447"/>
                  </a:lnTo>
                  <a:lnTo>
                    <a:pt x="273532" y="532828"/>
                  </a:lnTo>
                  <a:lnTo>
                    <a:pt x="274751" y="532828"/>
                  </a:lnTo>
                  <a:lnTo>
                    <a:pt x="323100" y="528472"/>
                  </a:lnTo>
                  <a:lnTo>
                    <a:pt x="368655" y="516102"/>
                  </a:lnTo>
                  <a:lnTo>
                    <a:pt x="410679" y="496455"/>
                  </a:lnTo>
                  <a:lnTo>
                    <a:pt x="448475" y="470268"/>
                  </a:lnTo>
                  <a:lnTo>
                    <a:pt x="481266" y="438251"/>
                  </a:lnTo>
                  <a:lnTo>
                    <a:pt x="508368" y="401142"/>
                  </a:lnTo>
                  <a:lnTo>
                    <a:pt x="529005" y="359689"/>
                  </a:lnTo>
                  <a:lnTo>
                    <a:pt x="542480" y="314591"/>
                  </a:lnTo>
                  <a:lnTo>
                    <a:pt x="548043" y="266598"/>
                  </a:lnTo>
                  <a:close/>
                </a:path>
                <a:path w="548640" h="786764">
                  <a:moveTo>
                    <a:pt x="548043" y="1079"/>
                  </a:moveTo>
                  <a:lnTo>
                    <a:pt x="500380" y="5105"/>
                  </a:lnTo>
                  <a:lnTo>
                    <a:pt x="455853" y="16764"/>
                  </a:lnTo>
                  <a:lnTo>
                    <a:pt x="414616" y="35369"/>
                  </a:lnTo>
                  <a:lnTo>
                    <a:pt x="377355" y="60236"/>
                  </a:lnTo>
                  <a:lnTo>
                    <a:pt x="344728" y="90703"/>
                  </a:lnTo>
                  <a:lnTo>
                    <a:pt x="317411" y="126085"/>
                  </a:lnTo>
                  <a:lnTo>
                    <a:pt x="296087" y="165709"/>
                  </a:lnTo>
                  <a:lnTo>
                    <a:pt x="281432" y="208902"/>
                  </a:lnTo>
                  <a:lnTo>
                    <a:pt x="274091" y="254990"/>
                  </a:lnTo>
                  <a:lnTo>
                    <a:pt x="266915"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46"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36"/>
                  </a:lnTo>
                  <a:lnTo>
                    <a:pt x="481266" y="172720"/>
                  </a:lnTo>
                  <a:lnTo>
                    <a:pt x="508368" y="135623"/>
                  </a:lnTo>
                  <a:lnTo>
                    <a:pt x="529005" y="94157"/>
                  </a:lnTo>
                  <a:lnTo>
                    <a:pt x="542480" y="49060"/>
                  </a:lnTo>
                  <a:lnTo>
                    <a:pt x="548043" y="1079"/>
                  </a:lnTo>
                  <a:close/>
                </a:path>
                <a:path w="548640" h="786764">
                  <a:moveTo>
                    <a:pt x="548093" y="520192"/>
                  </a:moveTo>
                  <a:lnTo>
                    <a:pt x="500380" y="524205"/>
                  </a:lnTo>
                  <a:lnTo>
                    <a:pt x="455853" y="535851"/>
                  </a:lnTo>
                  <a:lnTo>
                    <a:pt x="414616" y="554456"/>
                  </a:lnTo>
                  <a:lnTo>
                    <a:pt x="377355" y="579323"/>
                  </a:lnTo>
                  <a:lnTo>
                    <a:pt x="344728" y="609790"/>
                  </a:lnTo>
                  <a:lnTo>
                    <a:pt x="317411" y="645160"/>
                  </a:lnTo>
                  <a:lnTo>
                    <a:pt x="296087" y="684784"/>
                  </a:lnTo>
                  <a:lnTo>
                    <a:pt x="281419" y="727976"/>
                  </a:lnTo>
                  <a:lnTo>
                    <a:pt x="274091" y="774065"/>
                  </a:lnTo>
                  <a:lnTo>
                    <a:pt x="266915" y="727811"/>
                  </a:lnTo>
                  <a:lnTo>
                    <a:pt x="252361" y="684441"/>
                  </a:lnTo>
                  <a:lnTo>
                    <a:pt x="231101" y="644652"/>
                  </a:lnTo>
                  <a:lnTo>
                    <a:pt x="203809" y="609117"/>
                  </a:lnTo>
                  <a:lnTo>
                    <a:pt x="171157" y="578510"/>
                  </a:lnTo>
                  <a:lnTo>
                    <a:pt x="133845" y="553529"/>
                  </a:lnTo>
                  <a:lnTo>
                    <a:pt x="92544" y="534847"/>
                  </a:lnTo>
                  <a:lnTo>
                    <a:pt x="47917" y="523113"/>
                  </a:lnTo>
                  <a:lnTo>
                    <a:pt x="0" y="519061"/>
                  </a:lnTo>
                  <a:lnTo>
                    <a:pt x="5448" y="567232"/>
                  </a:lnTo>
                  <a:lnTo>
                    <a:pt x="18846" y="612508"/>
                  </a:lnTo>
                  <a:lnTo>
                    <a:pt x="39458" y="654126"/>
                  </a:lnTo>
                  <a:lnTo>
                    <a:pt x="66560" y="691388"/>
                  </a:lnTo>
                  <a:lnTo>
                    <a:pt x="99402" y="723544"/>
                  </a:lnTo>
                  <a:lnTo>
                    <a:pt x="137261" y="749858"/>
                  </a:lnTo>
                  <a:lnTo>
                    <a:pt x="179387" y="769594"/>
                  </a:lnTo>
                  <a:lnTo>
                    <a:pt x="225056" y="782015"/>
                  </a:lnTo>
                  <a:lnTo>
                    <a:pt x="273532" y="786384"/>
                  </a:lnTo>
                  <a:lnTo>
                    <a:pt x="274751" y="786384"/>
                  </a:lnTo>
                  <a:lnTo>
                    <a:pt x="323100" y="782027"/>
                  </a:lnTo>
                  <a:lnTo>
                    <a:pt x="368655" y="769670"/>
                  </a:lnTo>
                  <a:lnTo>
                    <a:pt x="410679" y="750023"/>
                  </a:lnTo>
                  <a:lnTo>
                    <a:pt x="448475" y="723823"/>
                  </a:lnTo>
                  <a:lnTo>
                    <a:pt x="448881" y="723430"/>
                  </a:lnTo>
                  <a:lnTo>
                    <a:pt x="481304" y="691794"/>
                  </a:lnTo>
                  <a:lnTo>
                    <a:pt x="508393" y="654697"/>
                  </a:lnTo>
                  <a:lnTo>
                    <a:pt x="529056"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391" name="object 102">
              <a:extLst>
                <a:ext uri="{FF2B5EF4-FFF2-40B4-BE49-F238E27FC236}">
                  <a16:creationId xmlns:a16="http://schemas.microsoft.com/office/drawing/2014/main" id="{7151EB7E-1139-3A9B-50D9-B78AA4B82737}"/>
                </a:ext>
              </a:extLst>
            </p:cNvPr>
            <p:cNvPicPr/>
            <p:nvPr/>
          </p:nvPicPr>
          <p:blipFill>
            <a:blip r:embed="rId5" cstate="print"/>
            <a:stretch>
              <a:fillRect/>
            </a:stretch>
          </p:blipFill>
          <p:spPr>
            <a:xfrm>
              <a:off x="10791857" y="718433"/>
              <a:ext cx="106445" cy="107156"/>
            </a:xfrm>
            <a:prstGeom prst="rect">
              <a:avLst/>
            </a:prstGeom>
          </p:spPr>
        </p:pic>
        <p:sp>
          <p:nvSpPr>
            <p:cNvPr id="392" name="object 103">
              <a:extLst>
                <a:ext uri="{FF2B5EF4-FFF2-40B4-BE49-F238E27FC236}">
                  <a16:creationId xmlns:a16="http://schemas.microsoft.com/office/drawing/2014/main" id="{3311A04B-FFF4-BB1E-9E85-59C37BA63C3A}"/>
                </a:ext>
              </a:extLst>
            </p:cNvPr>
            <p:cNvSpPr/>
            <p:nvPr/>
          </p:nvSpPr>
          <p:spPr>
            <a:xfrm>
              <a:off x="10679200" y="150257"/>
              <a:ext cx="332700" cy="477101"/>
            </a:xfrm>
            <a:custGeom>
              <a:avLst/>
              <a:gdLst/>
              <a:ahLst/>
              <a:cxnLst/>
              <a:rect l="l" t="t" r="r" b="b"/>
              <a:pathLst>
                <a:path w="548640" h="786765">
                  <a:moveTo>
                    <a:pt x="548043" y="266611"/>
                  </a:moveTo>
                  <a:lnTo>
                    <a:pt x="500380" y="270649"/>
                  </a:lnTo>
                  <a:lnTo>
                    <a:pt x="455853" y="282308"/>
                  </a:lnTo>
                  <a:lnTo>
                    <a:pt x="414616" y="300901"/>
                  </a:lnTo>
                  <a:lnTo>
                    <a:pt x="377355" y="325767"/>
                  </a:lnTo>
                  <a:lnTo>
                    <a:pt x="344728" y="356235"/>
                  </a:lnTo>
                  <a:lnTo>
                    <a:pt x="317411" y="391617"/>
                  </a:lnTo>
                  <a:lnTo>
                    <a:pt x="296087" y="431253"/>
                  </a:lnTo>
                  <a:lnTo>
                    <a:pt x="281432" y="474446"/>
                  </a:lnTo>
                  <a:lnTo>
                    <a:pt x="274091" y="520534"/>
                  </a:lnTo>
                  <a:lnTo>
                    <a:pt x="266915" y="474256"/>
                  </a:lnTo>
                  <a:lnTo>
                    <a:pt x="252361" y="430885"/>
                  </a:lnTo>
                  <a:lnTo>
                    <a:pt x="231101" y="391096"/>
                  </a:lnTo>
                  <a:lnTo>
                    <a:pt x="203809" y="355561"/>
                  </a:lnTo>
                  <a:lnTo>
                    <a:pt x="171157" y="324954"/>
                  </a:lnTo>
                  <a:lnTo>
                    <a:pt x="133845" y="299974"/>
                  </a:lnTo>
                  <a:lnTo>
                    <a:pt x="92544" y="281292"/>
                  </a:lnTo>
                  <a:lnTo>
                    <a:pt x="47917" y="269582"/>
                  </a:lnTo>
                  <a:lnTo>
                    <a:pt x="12" y="265531"/>
                  </a:lnTo>
                  <a:lnTo>
                    <a:pt x="5461" y="313690"/>
                  </a:lnTo>
                  <a:lnTo>
                    <a:pt x="18846" y="358952"/>
                  </a:lnTo>
                  <a:lnTo>
                    <a:pt x="39471" y="400583"/>
                  </a:lnTo>
                  <a:lnTo>
                    <a:pt x="66560" y="437832"/>
                  </a:lnTo>
                  <a:lnTo>
                    <a:pt x="99402" y="469988"/>
                  </a:lnTo>
                  <a:lnTo>
                    <a:pt x="137261" y="496303"/>
                  </a:lnTo>
                  <a:lnTo>
                    <a:pt x="179387" y="516039"/>
                  </a:lnTo>
                  <a:lnTo>
                    <a:pt x="225056" y="528459"/>
                  </a:lnTo>
                  <a:lnTo>
                    <a:pt x="273532" y="532828"/>
                  </a:lnTo>
                  <a:lnTo>
                    <a:pt x="274751" y="532828"/>
                  </a:lnTo>
                  <a:lnTo>
                    <a:pt x="323100" y="528472"/>
                  </a:lnTo>
                  <a:lnTo>
                    <a:pt x="368655" y="516115"/>
                  </a:lnTo>
                  <a:lnTo>
                    <a:pt x="410679" y="496468"/>
                  </a:lnTo>
                  <a:lnTo>
                    <a:pt x="448475" y="470268"/>
                  </a:lnTo>
                  <a:lnTo>
                    <a:pt x="481266" y="438251"/>
                  </a:lnTo>
                  <a:lnTo>
                    <a:pt x="508368" y="401154"/>
                  </a:lnTo>
                  <a:lnTo>
                    <a:pt x="529005" y="359689"/>
                  </a:lnTo>
                  <a:lnTo>
                    <a:pt x="542480" y="314604"/>
                  </a:lnTo>
                  <a:lnTo>
                    <a:pt x="548043" y="266611"/>
                  </a:lnTo>
                  <a:close/>
                </a:path>
                <a:path w="548640" h="786765">
                  <a:moveTo>
                    <a:pt x="548043" y="1079"/>
                  </a:moveTo>
                  <a:lnTo>
                    <a:pt x="500380" y="5118"/>
                  </a:lnTo>
                  <a:lnTo>
                    <a:pt x="455853" y="16776"/>
                  </a:lnTo>
                  <a:lnTo>
                    <a:pt x="414616" y="35369"/>
                  </a:lnTo>
                  <a:lnTo>
                    <a:pt x="377355" y="60248"/>
                  </a:lnTo>
                  <a:lnTo>
                    <a:pt x="344728" y="90716"/>
                  </a:lnTo>
                  <a:lnTo>
                    <a:pt x="317411" y="126098"/>
                  </a:lnTo>
                  <a:lnTo>
                    <a:pt x="296087" y="165722"/>
                  </a:lnTo>
                  <a:lnTo>
                    <a:pt x="281432" y="208915"/>
                  </a:lnTo>
                  <a:lnTo>
                    <a:pt x="274091" y="255003"/>
                  </a:lnTo>
                  <a:lnTo>
                    <a:pt x="266915" y="208724"/>
                  </a:lnTo>
                  <a:lnTo>
                    <a:pt x="252361" y="165354"/>
                  </a:lnTo>
                  <a:lnTo>
                    <a:pt x="231101" y="125564"/>
                  </a:lnTo>
                  <a:lnTo>
                    <a:pt x="203809" y="90030"/>
                  </a:lnTo>
                  <a:lnTo>
                    <a:pt x="171157" y="59436"/>
                  </a:lnTo>
                  <a:lnTo>
                    <a:pt x="133845" y="34455"/>
                  </a:lnTo>
                  <a:lnTo>
                    <a:pt x="92544" y="15760"/>
                  </a:lnTo>
                  <a:lnTo>
                    <a:pt x="47917" y="4064"/>
                  </a:lnTo>
                  <a:lnTo>
                    <a:pt x="12" y="0"/>
                  </a:lnTo>
                  <a:lnTo>
                    <a:pt x="5461" y="48171"/>
                  </a:lnTo>
                  <a:lnTo>
                    <a:pt x="18846"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79" y="230936"/>
                  </a:lnTo>
                  <a:lnTo>
                    <a:pt x="448475" y="204736"/>
                  </a:lnTo>
                  <a:lnTo>
                    <a:pt x="481266" y="172732"/>
                  </a:lnTo>
                  <a:lnTo>
                    <a:pt x="508368" y="135623"/>
                  </a:lnTo>
                  <a:lnTo>
                    <a:pt x="529005" y="94157"/>
                  </a:lnTo>
                  <a:lnTo>
                    <a:pt x="542480" y="49072"/>
                  </a:lnTo>
                  <a:lnTo>
                    <a:pt x="548043" y="1079"/>
                  </a:lnTo>
                  <a:close/>
                </a:path>
                <a:path w="548640" h="786765">
                  <a:moveTo>
                    <a:pt x="548093" y="520204"/>
                  </a:moveTo>
                  <a:lnTo>
                    <a:pt x="500380" y="524205"/>
                  </a:lnTo>
                  <a:lnTo>
                    <a:pt x="455853" y="535863"/>
                  </a:lnTo>
                  <a:lnTo>
                    <a:pt x="414616" y="554469"/>
                  </a:lnTo>
                  <a:lnTo>
                    <a:pt x="377355" y="579335"/>
                  </a:lnTo>
                  <a:lnTo>
                    <a:pt x="344728" y="609803"/>
                  </a:lnTo>
                  <a:lnTo>
                    <a:pt x="317411" y="645172"/>
                  </a:lnTo>
                  <a:lnTo>
                    <a:pt x="296087" y="684796"/>
                  </a:lnTo>
                  <a:lnTo>
                    <a:pt x="281419" y="727976"/>
                  </a:lnTo>
                  <a:lnTo>
                    <a:pt x="274091" y="774065"/>
                  </a:lnTo>
                  <a:lnTo>
                    <a:pt x="266915" y="727824"/>
                  </a:lnTo>
                  <a:lnTo>
                    <a:pt x="252361" y="684453"/>
                  </a:lnTo>
                  <a:lnTo>
                    <a:pt x="231101" y="644652"/>
                  </a:lnTo>
                  <a:lnTo>
                    <a:pt x="203809" y="609117"/>
                  </a:lnTo>
                  <a:lnTo>
                    <a:pt x="171157" y="578523"/>
                  </a:lnTo>
                  <a:lnTo>
                    <a:pt x="133845" y="553542"/>
                  </a:lnTo>
                  <a:lnTo>
                    <a:pt x="92544" y="534835"/>
                  </a:lnTo>
                  <a:lnTo>
                    <a:pt x="47917" y="523125"/>
                  </a:lnTo>
                  <a:lnTo>
                    <a:pt x="0" y="519074"/>
                  </a:lnTo>
                  <a:lnTo>
                    <a:pt x="5448" y="567245"/>
                  </a:lnTo>
                  <a:lnTo>
                    <a:pt x="14871" y="599122"/>
                  </a:lnTo>
                  <a:lnTo>
                    <a:pt x="18846" y="612521"/>
                  </a:lnTo>
                  <a:lnTo>
                    <a:pt x="29057" y="633133"/>
                  </a:lnTo>
                  <a:lnTo>
                    <a:pt x="39458" y="654138"/>
                  </a:lnTo>
                  <a:lnTo>
                    <a:pt x="46850" y="66429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393" name="object 104">
              <a:extLst>
                <a:ext uri="{FF2B5EF4-FFF2-40B4-BE49-F238E27FC236}">
                  <a16:creationId xmlns:a16="http://schemas.microsoft.com/office/drawing/2014/main" id="{D6C97AE0-FDC4-657F-81C5-D5B1F01CA567}"/>
                </a:ext>
              </a:extLst>
            </p:cNvPr>
            <p:cNvPicPr/>
            <p:nvPr/>
          </p:nvPicPr>
          <p:blipFill>
            <a:blip r:embed="rId6" cstate="print"/>
            <a:stretch>
              <a:fillRect/>
            </a:stretch>
          </p:blipFill>
          <p:spPr>
            <a:xfrm>
              <a:off x="10791857" y="64269"/>
              <a:ext cx="106445" cy="107156"/>
            </a:xfrm>
            <a:prstGeom prst="rect">
              <a:avLst/>
            </a:prstGeom>
          </p:spPr>
        </p:pic>
        <p:sp>
          <p:nvSpPr>
            <p:cNvPr id="394" name="object 105">
              <a:extLst>
                <a:ext uri="{FF2B5EF4-FFF2-40B4-BE49-F238E27FC236}">
                  <a16:creationId xmlns:a16="http://schemas.microsoft.com/office/drawing/2014/main" id="{147AF820-5292-5669-D959-E65B8F7131A7}"/>
                </a:ext>
              </a:extLst>
            </p:cNvPr>
            <p:cNvSpPr/>
            <p:nvPr/>
          </p:nvSpPr>
          <p:spPr>
            <a:xfrm>
              <a:off x="10679200" y="2112754"/>
              <a:ext cx="332700" cy="477101"/>
            </a:xfrm>
            <a:custGeom>
              <a:avLst/>
              <a:gdLst/>
              <a:ahLst/>
              <a:cxnLst/>
              <a:rect l="l" t="t" r="r" b="b"/>
              <a:pathLst>
                <a:path w="548640" h="786764">
                  <a:moveTo>
                    <a:pt x="548043" y="266611"/>
                  </a:moveTo>
                  <a:lnTo>
                    <a:pt x="500380" y="270649"/>
                  </a:lnTo>
                  <a:lnTo>
                    <a:pt x="455853" y="282308"/>
                  </a:lnTo>
                  <a:lnTo>
                    <a:pt x="414616" y="300901"/>
                  </a:lnTo>
                  <a:lnTo>
                    <a:pt x="377355" y="325780"/>
                  </a:lnTo>
                  <a:lnTo>
                    <a:pt x="344728" y="356247"/>
                  </a:lnTo>
                  <a:lnTo>
                    <a:pt x="317411" y="391629"/>
                  </a:lnTo>
                  <a:lnTo>
                    <a:pt x="296087" y="431253"/>
                  </a:lnTo>
                  <a:lnTo>
                    <a:pt x="281432" y="474446"/>
                  </a:lnTo>
                  <a:lnTo>
                    <a:pt x="274091" y="520534"/>
                  </a:lnTo>
                  <a:lnTo>
                    <a:pt x="266915" y="474256"/>
                  </a:lnTo>
                  <a:lnTo>
                    <a:pt x="252361" y="430885"/>
                  </a:lnTo>
                  <a:lnTo>
                    <a:pt x="231101" y="391096"/>
                  </a:lnTo>
                  <a:lnTo>
                    <a:pt x="203809" y="355561"/>
                  </a:lnTo>
                  <a:lnTo>
                    <a:pt x="171157" y="324967"/>
                  </a:lnTo>
                  <a:lnTo>
                    <a:pt x="133845" y="299986"/>
                  </a:lnTo>
                  <a:lnTo>
                    <a:pt x="92544" y="281292"/>
                  </a:lnTo>
                  <a:lnTo>
                    <a:pt x="47917" y="269582"/>
                  </a:lnTo>
                  <a:lnTo>
                    <a:pt x="12" y="265531"/>
                  </a:lnTo>
                  <a:lnTo>
                    <a:pt x="5461" y="313702"/>
                  </a:lnTo>
                  <a:lnTo>
                    <a:pt x="18846" y="358952"/>
                  </a:lnTo>
                  <a:lnTo>
                    <a:pt x="39471" y="400583"/>
                  </a:lnTo>
                  <a:lnTo>
                    <a:pt x="66560" y="437845"/>
                  </a:lnTo>
                  <a:lnTo>
                    <a:pt x="99402" y="469988"/>
                  </a:lnTo>
                  <a:lnTo>
                    <a:pt x="137261" y="496303"/>
                  </a:lnTo>
                  <a:lnTo>
                    <a:pt x="179387" y="516039"/>
                  </a:lnTo>
                  <a:lnTo>
                    <a:pt x="225056" y="528459"/>
                  </a:lnTo>
                  <a:lnTo>
                    <a:pt x="273532" y="532841"/>
                  </a:lnTo>
                  <a:lnTo>
                    <a:pt x="274751" y="532841"/>
                  </a:lnTo>
                  <a:lnTo>
                    <a:pt x="323100" y="528485"/>
                  </a:lnTo>
                  <a:lnTo>
                    <a:pt x="368655" y="516115"/>
                  </a:lnTo>
                  <a:lnTo>
                    <a:pt x="410679" y="496468"/>
                  </a:lnTo>
                  <a:lnTo>
                    <a:pt x="448475" y="470268"/>
                  </a:lnTo>
                  <a:lnTo>
                    <a:pt x="481266" y="438264"/>
                  </a:lnTo>
                  <a:lnTo>
                    <a:pt x="508368" y="401154"/>
                  </a:lnTo>
                  <a:lnTo>
                    <a:pt x="529005" y="359689"/>
                  </a:lnTo>
                  <a:lnTo>
                    <a:pt x="542480" y="314604"/>
                  </a:lnTo>
                  <a:lnTo>
                    <a:pt x="548043" y="266611"/>
                  </a:lnTo>
                  <a:close/>
                </a:path>
                <a:path w="548640" h="786764">
                  <a:moveTo>
                    <a:pt x="548043" y="1079"/>
                  </a:moveTo>
                  <a:lnTo>
                    <a:pt x="500380" y="5118"/>
                  </a:lnTo>
                  <a:lnTo>
                    <a:pt x="455853" y="16776"/>
                  </a:lnTo>
                  <a:lnTo>
                    <a:pt x="414616" y="35369"/>
                  </a:lnTo>
                  <a:lnTo>
                    <a:pt x="377355" y="60248"/>
                  </a:lnTo>
                  <a:lnTo>
                    <a:pt x="344728" y="90703"/>
                  </a:lnTo>
                  <a:lnTo>
                    <a:pt x="317411" y="126085"/>
                  </a:lnTo>
                  <a:lnTo>
                    <a:pt x="296087" y="165722"/>
                  </a:lnTo>
                  <a:lnTo>
                    <a:pt x="281432" y="208915"/>
                  </a:lnTo>
                  <a:lnTo>
                    <a:pt x="274091" y="255003"/>
                  </a:lnTo>
                  <a:lnTo>
                    <a:pt x="266915" y="208724"/>
                  </a:lnTo>
                  <a:lnTo>
                    <a:pt x="252361" y="165354"/>
                  </a:lnTo>
                  <a:lnTo>
                    <a:pt x="231101" y="125564"/>
                  </a:lnTo>
                  <a:lnTo>
                    <a:pt x="203809" y="90030"/>
                  </a:lnTo>
                  <a:lnTo>
                    <a:pt x="171157" y="59423"/>
                  </a:lnTo>
                  <a:lnTo>
                    <a:pt x="133845" y="34442"/>
                  </a:lnTo>
                  <a:lnTo>
                    <a:pt x="92544" y="15760"/>
                  </a:lnTo>
                  <a:lnTo>
                    <a:pt x="47917" y="4051"/>
                  </a:lnTo>
                  <a:lnTo>
                    <a:pt x="12" y="0"/>
                  </a:lnTo>
                  <a:lnTo>
                    <a:pt x="5461" y="48158"/>
                  </a:lnTo>
                  <a:lnTo>
                    <a:pt x="18846" y="93421"/>
                  </a:lnTo>
                  <a:lnTo>
                    <a:pt x="39471" y="135051"/>
                  </a:lnTo>
                  <a:lnTo>
                    <a:pt x="66560" y="172313"/>
                  </a:lnTo>
                  <a:lnTo>
                    <a:pt x="99402" y="204457"/>
                  </a:lnTo>
                  <a:lnTo>
                    <a:pt x="137261" y="230771"/>
                  </a:lnTo>
                  <a:lnTo>
                    <a:pt x="179387" y="250507"/>
                  </a:lnTo>
                  <a:lnTo>
                    <a:pt x="225056" y="262928"/>
                  </a:lnTo>
                  <a:lnTo>
                    <a:pt x="273532" y="267296"/>
                  </a:lnTo>
                  <a:lnTo>
                    <a:pt x="274751" y="267296"/>
                  </a:lnTo>
                  <a:lnTo>
                    <a:pt x="323100" y="262940"/>
                  </a:lnTo>
                  <a:lnTo>
                    <a:pt x="368655" y="250583"/>
                  </a:lnTo>
                  <a:lnTo>
                    <a:pt x="410679" y="230936"/>
                  </a:lnTo>
                  <a:lnTo>
                    <a:pt x="448475" y="204736"/>
                  </a:lnTo>
                  <a:lnTo>
                    <a:pt x="481266" y="172720"/>
                  </a:lnTo>
                  <a:lnTo>
                    <a:pt x="508368" y="135623"/>
                  </a:lnTo>
                  <a:lnTo>
                    <a:pt x="529005" y="94157"/>
                  </a:lnTo>
                  <a:lnTo>
                    <a:pt x="542480" y="49072"/>
                  </a:lnTo>
                  <a:lnTo>
                    <a:pt x="548043" y="1079"/>
                  </a:lnTo>
                  <a:close/>
                </a:path>
                <a:path w="548640" h="786764">
                  <a:moveTo>
                    <a:pt x="548093" y="520204"/>
                  </a:moveTo>
                  <a:lnTo>
                    <a:pt x="500380" y="524205"/>
                  </a:lnTo>
                  <a:lnTo>
                    <a:pt x="455853" y="535863"/>
                  </a:lnTo>
                  <a:lnTo>
                    <a:pt x="414616" y="554456"/>
                  </a:lnTo>
                  <a:lnTo>
                    <a:pt x="377355" y="579335"/>
                  </a:lnTo>
                  <a:lnTo>
                    <a:pt x="344728" y="609803"/>
                  </a:lnTo>
                  <a:lnTo>
                    <a:pt x="317411" y="645172"/>
                  </a:lnTo>
                  <a:lnTo>
                    <a:pt x="296087" y="684796"/>
                  </a:lnTo>
                  <a:lnTo>
                    <a:pt x="281419" y="727989"/>
                  </a:lnTo>
                  <a:lnTo>
                    <a:pt x="274091" y="774065"/>
                  </a:lnTo>
                  <a:lnTo>
                    <a:pt x="266915" y="727811"/>
                  </a:lnTo>
                  <a:lnTo>
                    <a:pt x="252361" y="684441"/>
                  </a:lnTo>
                  <a:lnTo>
                    <a:pt x="231101" y="644652"/>
                  </a:lnTo>
                  <a:lnTo>
                    <a:pt x="203809" y="609117"/>
                  </a:lnTo>
                  <a:lnTo>
                    <a:pt x="171157" y="578523"/>
                  </a:lnTo>
                  <a:lnTo>
                    <a:pt x="133845" y="553542"/>
                  </a:lnTo>
                  <a:lnTo>
                    <a:pt x="92544" y="534860"/>
                  </a:lnTo>
                  <a:lnTo>
                    <a:pt x="47917" y="523125"/>
                  </a:lnTo>
                  <a:lnTo>
                    <a:pt x="12" y="519087"/>
                  </a:lnTo>
                  <a:lnTo>
                    <a:pt x="5448" y="567245"/>
                  </a:lnTo>
                  <a:lnTo>
                    <a:pt x="18846" y="612521"/>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2DB7EA"/>
            </a:solidFill>
          </p:spPr>
          <p:txBody>
            <a:bodyPr wrap="square" lIns="0" tIns="0" rIns="0" bIns="0" rtlCol="0"/>
            <a:lstStyle/>
            <a:p>
              <a:endParaRPr dirty="0"/>
            </a:p>
          </p:txBody>
        </p:sp>
        <p:pic>
          <p:nvPicPr>
            <p:cNvPr id="395" name="object 106">
              <a:extLst>
                <a:ext uri="{FF2B5EF4-FFF2-40B4-BE49-F238E27FC236}">
                  <a16:creationId xmlns:a16="http://schemas.microsoft.com/office/drawing/2014/main" id="{15C96C86-FDE6-78F4-1C71-8EA2C9450C86}"/>
                </a:ext>
              </a:extLst>
            </p:cNvPr>
            <p:cNvPicPr/>
            <p:nvPr/>
          </p:nvPicPr>
          <p:blipFill>
            <a:blip r:embed="rId5" cstate="print"/>
            <a:stretch>
              <a:fillRect/>
            </a:stretch>
          </p:blipFill>
          <p:spPr>
            <a:xfrm>
              <a:off x="10791857" y="2026765"/>
              <a:ext cx="106445" cy="107156"/>
            </a:xfrm>
            <a:prstGeom prst="rect">
              <a:avLst/>
            </a:prstGeom>
          </p:spPr>
        </p:pic>
        <p:sp>
          <p:nvSpPr>
            <p:cNvPr id="396" name="object 107">
              <a:extLst>
                <a:ext uri="{FF2B5EF4-FFF2-40B4-BE49-F238E27FC236}">
                  <a16:creationId xmlns:a16="http://schemas.microsoft.com/office/drawing/2014/main" id="{3CAFD291-5BA7-1E90-25ED-ED6DDD9B30DE}"/>
                </a:ext>
              </a:extLst>
            </p:cNvPr>
            <p:cNvSpPr/>
            <p:nvPr/>
          </p:nvSpPr>
          <p:spPr>
            <a:xfrm>
              <a:off x="10679200" y="1458591"/>
              <a:ext cx="332700" cy="477101"/>
            </a:xfrm>
            <a:custGeom>
              <a:avLst/>
              <a:gdLst/>
              <a:ahLst/>
              <a:cxnLst/>
              <a:rect l="l" t="t" r="r" b="b"/>
              <a:pathLst>
                <a:path w="548640" h="786764">
                  <a:moveTo>
                    <a:pt x="548043" y="266611"/>
                  </a:moveTo>
                  <a:lnTo>
                    <a:pt x="500380" y="270649"/>
                  </a:lnTo>
                  <a:lnTo>
                    <a:pt x="455853" y="282295"/>
                  </a:lnTo>
                  <a:lnTo>
                    <a:pt x="414616" y="300901"/>
                  </a:lnTo>
                  <a:lnTo>
                    <a:pt x="377355" y="325767"/>
                  </a:lnTo>
                  <a:lnTo>
                    <a:pt x="344728" y="356235"/>
                  </a:lnTo>
                  <a:lnTo>
                    <a:pt x="317411" y="391617"/>
                  </a:lnTo>
                  <a:lnTo>
                    <a:pt x="296087" y="431241"/>
                  </a:lnTo>
                  <a:lnTo>
                    <a:pt x="281432" y="474446"/>
                  </a:lnTo>
                  <a:lnTo>
                    <a:pt x="274091" y="520522"/>
                  </a:lnTo>
                  <a:lnTo>
                    <a:pt x="266915"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46" y="358952"/>
                  </a:lnTo>
                  <a:lnTo>
                    <a:pt x="39471" y="400583"/>
                  </a:lnTo>
                  <a:lnTo>
                    <a:pt x="66560" y="437832"/>
                  </a:lnTo>
                  <a:lnTo>
                    <a:pt x="99402" y="469988"/>
                  </a:lnTo>
                  <a:lnTo>
                    <a:pt x="137261" y="496303"/>
                  </a:lnTo>
                  <a:lnTo>
                    <a:pt x="179387" y="516026"/>
                  </a:lnTo>
                  <a:lnTo>
                    <a:pt x="225056" y="528459"/>
                  </a:lnTo>
                  <a:lnTo>
                    <a:pt x="273532" y="532828"/>
                  </a:lnTo>
                  <a:lnTo>
                    <a:pt x="274751" y="532828"/>
                  </a:lnTo>
                  <a:lnTo>
                    <a:pt x="323100" y="528472"/>
                  </a:lnTo>
                  <a:lnTo>
                    <a:pt x="368655" y="516102"/>
                  </a:lnTo>
                  <a:lnTo>
                    <a:pt x="410679" y="496468"/>
                  </a:lnTo>
                  <a:lnTo>
                    <a:pt x="448475" y="470268"/>
                  </a:lnTo>
                  <a:lnTo>
                    <a:pt x="481266" y="438251"/>
                  </a:lnTo>
                  <a:lnTo>
                    <a:pt x="508368" y="401154"/>
                  </a:lnTo>
                  <a:lnTo>
                    <a:pt x="529005" y="359689"/>
                  </a:lnTo>
                  <a:lnTo>
                    <a:pt x="542480" y="314604"/>
                  </a:lnTo>
                  <a:lnTo>
                    <a:pt x="548043" y="266611"/>
                  </a:lnTo>
                  <a:close/>
                </a:path>
                <a:path w="548640" h="786764">
                  <a:moveTo>
                    <a:pt x="548043" y="1079"/>
                  </a:moveTo>
                  <a:lnTo>
                    <a:pt x="500380" y="5105"/>
                  </a:lnTo>
                  <a:lnTo>
                    <a:pt x="455853" y="16764"/>
                  </a:lnTo>
                  <a:lnTo>
                    <a:pt x="414616" y="35369"/>
                  </a:lnTo>
                  <a:lnTo>
                    <a:pt x="377355" y="60236"/>
                  </a:lnTo>
                  <a:lnTo>
                    <a:pt x="344728" y="90703"/>
                  </a:lnTo>
                  <a:lnTo>
                    <a:pt x="317411" y="126085"/>
                  </a:lnTo>
                  <a:lnTo>
                    <a:pt x="296087" y="165709"/>
                  </a:lnTo>
                  <a:lnTo>
                    <a:pt x="281432" y="208902"/>
                  </a:lnTo>
                  <a:lnTo>
                    <a:pt x="274091" y="254990"/>
                  </a:lnTo>
                  <a:lnTo>
                    <a:pt x="266915"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46"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36"/>
                  </a:lnTo>
                  <a:lnTo>
                    <a:pt x="481266" y="172720"/>
                  </a:lnTo>
                  <a:lnTo>
                    <a:pt x="508368" y="135623"/>
                  </a:lnTo>
                  <a:lnTo>
                    <a:pt x="529005" y="94157"/>
                  </a:lnTo>
                  <a:lnTo>
                    <a:pt x="542480" y="49060"/>
                  </a:lnTo>
                  <a:lnTo>
                    <a:pt x="548043" y="1079"/>
                  </a:lnTo>
                  <a:close/>
                </a:path>
                <a:path w="548640" h="786764">
                  <a:moveTo>
                    <a:pt x="548093" y="520192"/>
                  </a:moveTo>
                  <a:lnTo>
                    <a:pt x="500380" y="524205"/>
                  </a:lnTo>
                  <a:lnTo>
                    <a:pt x="455853" y="535863"/>
                  </a:lnTo>
                  <a:lnTo>
                    <a:pt x="414616" y="554456"/>
                  </a:lnTo>
                  <a:lnTo>
                    <a:pt x="377355" y="579335"/>
                  </a:lnTo>
                  <a:lnTo>
                    <a:pt x="344728" y="609790"/>
                  </a:lnTo>
                  <a:lnTo>
                    <a:pt x="317411" y="645172"/>
                  </a:lnTo>
                  <a:lnTo>
                    <a:pt x="296087" y="684784"/>
                  </a:lnTo>
                  <a:lnTo>
                    <a:pt x="281419" y="727976"/>
                  </a:lnTo>
                  <a:lnTo>
                    <a:pt x="274091" y="774065"/>
                  </a:lnTo>
                  <a:lnTo>
                    <a:pt x="266915" y="727811"/>
                  </a:lnTo>
                  <a:lnTo>
                    <a:pt x="252361" y="684441"/>
                  </a:lnTo>
                  <a:lnTo>
                    <a:pt x="231101" y="644652"/>
                  </a:lnTo>
                  <a:lnTo>
                    <a:pt x="203809" y="609117"/>
                  </a:lnTo>
                  <a:lnTo>
                    <a:pt x="171157" y="578510"/>
                  </a:lnTo>
                  <a:lnTo>
                    <a:pt x="133845" y="553529"/>
                  </a:lnTo>
                  <a:lnTo>
                    <a:pt x="92544" y="534847"/>
                  </a:lnTo>
                  <a:lnTo>
                    <a:pt x="47917" y="523138"/>
                  </a:lnTo>
                  <a:lnTo>
                    <a:pt x="0" y="519061"/>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84"/>
                  </a:lnTo>
                  <a:lnTo>
                    <a:pt x="274751" y="786384"/>
                  </a:lnTo>
                  <a:lnTo>
                    <a:pt x="323100" y="782027"/>
                  </a:lnTo>
                  <a:lnTo>
                    <a:pt x="368655" y="769670"/>
                  </a:lnTo>
                  <a:lnTo>
                    <a:pt x="410679" y="750023"/>
                  </a:lnTo>
                  <a:lnTo>
                    <a:pt x="448475" y="723823"/>
                  </a:lnTo>
                  <a:lnTo>
                    <a:pt x="448881" y="723430"/>
                  </a:lnTo>
                  <a:lnTo>
                    <a:pt x="481304" y="691794"/>
                  </a:lnTo>
                  <a:lnTo>
                    <a:pt x="508393" y="654697"/>
                  </a:lnTo>
                  <a:lnTo>
                    <a:pt x="529056" y="613244"/>
                  </a:lnTo>
                  <a:lnTo>
                    <a:pt x="542531" y="568172"/>
                  </a:lnTo>
                  <a:lnTo>
                    <a:pt x="548093" y="520192"/>
                  </a:lnTo>
                  <a:close/>
                </a:path>
              </a:pathLst>
            </a:custGeom>
            <a:solidFill>
              <a:srgbClr val="7ED3F1"/>
            </a:solidFill>
          </p:spPr>
          <p:txBody>
            <a:bodyPr wrap="square" lIns="0" tIns="0" rIns="0" bIns="0" rtlCol="0"/>
            <a:lstStyle/>
            <a:p>
              <a:endParaRPr dirty="0"/>
            </a:p>
          </p:txBody>
        </p:sp>
        <p:pic>
          <p:nvPicPr>
            <p:cNvPr id="397" name="object 108">
              <a:extLst>
                <a:ext uri="{FF2B5EF4-FFF2-40B4-BE49-F238E27FC236}">
                  <a16:creationId xmlns:a16="http://schemas.microsoft.com/office/drawing/2014/main" id="{BD07E167-931A-292D-DB2B-49A2101ED658}"/>
                </a:ext>
              </a:extLst>
            </p:cNvPr>
            <p:cNvPicPr/>
            <p:nvPr/>
          </p:nvPicPr>
          <p:blipFill>
            <a:blip r:embed="rId6" cstate="print"/>
            <a:stretch>
              <a:fillRect/>
            </a:stretch>
          </p:blipFill>
          <p:spPr>
            <a:xfrm>
              <a:off x="10791857" y="1372599"/>
              <a:ext cx="106445" cy="107156"/>
            </a:xfrm>
            <a:prstGeom prst="rect">
              <a:avLst/>
            </a:prstGeom>
          </p:spPr>
        </p:pic>
        <p:sp>
          <p:nvSpPr>
            <p:cNvPr id="398" name="object 109">
              <a:extLst>
                <a:ext uri="{FF2B5EF4-FFF2-40B4-BE49-F238E27FC236}">
                  <a16:creationId xmlns:a16="http://schemas.microsoft.com/office/drawing/2014/main" id="{8991FF15-634B-F6EF-0226-E1D1E6F03490}"/>
                </a:ext>
              </a:extLst>
            </p:cNvPr>
            <p:cNvSpPr/>
            <p:nvPr/>
          </p:nvSpPr>
          <p:spPr>
            <a:xfrm>
              <a:off x="10679200" y="3421088"/>
              <a:ext cx="332700" cy="477101"/>
            </a:xfrm>
            <a:custGeom>
              <a:avLst/>
              <a:gdLst/>
              <a:ahLst/>
              <a:cxnLst/>
              <a:rect l="l" t="t" r="r" b="b"/>
              <a:pathLst>
                <a:path w="548640" h="786764">
                  <a:moveTo>
                    <a:pt x="548043" y="266611"/>
                  </a:moveTo>
                  <a:lnTo>
                    <a:pt x="500380" y="270637"/>
                  </a:lnTo>
                  <a:lnTo>
                    <a:pt x="455853" y="282295"/>
                  </a:lnTo>
                  <a:lnTo>
                    <a:pt x="414616" y="300901"/>
                  </a:lnTo>
                  <a:lnTo>
                    <a:pt x="377355" y="325767"/>
                  </a:lnTo>
                  <a:lnTo>
                    <a:pt x="344728" y="356235"/>
                  </a:lnTo>
                  <a:lnTo>
                    <a:pt x="317411" y="391617"/>
                  </a:lnTo>
                  <a:lnTo>
                    <a:pt x="296087" y="431241"/>
                  </a:lnTo>
                  <a:lnTo>
                    <a:pt x="281432" y="474433"/>
                  </a:lnTo>
                  <a:lnTo>
                    <a:pt x="274091" y="520522"/>
                  </a:lnTo>
                  <a:lnTo>
                    <a:pt x="266915"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46" y="358952"/>
                  </a:lnTo>
                  <a:lnTo>
                    <a:pt x="39471" y="400570"/>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79" y="496455"/>
                  </a:lnTo>
                  <a:lnTo>
                    <a:pt x="448475" y="470255"/>
                  </a:lnTo>
                  <a:lnTo>
                    <a:pt x="481266" y="438251"/>
                  </a:lnTo>
                  <a:lnTo>
                    <a:pt x="508368" y="401142"/>
                  </a:lnTo>
                  <a:lnTo>
                    <a:pt x="529005" y="359689"/>
                  </a:lnTo>
                  <a:lnTo>
                    <a:pt x="542480" y="314591"/>
                  </a:lnTo>
                  <a:lnTo>
                    <a:pt x="548043" y="266611"/>
                  </a:lnTo>
                  <a:close/>
                </a:path>
                <a:path w="548640" h="786764">
                  <a:moveTo>
                    <a:pt x="548043" y="1079"/>
                  </a:moveTo>
                  <a:lnTo>
                    <a:pt x="500380" y="5118"/>
                  </a:lnTo>
                  <a:lnTo>
                    <a:pt x="455853" y="16764"/>
                  </a:lnTo>
                  <a:lnTo>
                    <a:pt x="414616" y="35369"/>
                  </a:lnTo>
                  <a:lnTo>
                    <a:pt x="377355" y="60236"/>
                  </a:lnTo>
                  <a:lnTo>
                    <a:pt x="344728" y="90703"/>
                  </a:lnTo>
                  <a:lnTo>
                    <a:pt x="317411" y="126085"/>
                  </a:lnTo>
                  <a:lnTo>
                    <a:pt x="296087" y="165709"/>
                  </a:lnTo>
                  <a:lnTo>
                    <a:pt x="281432" y="208915"/>
                  </a:lnTo>
                  <a:lnTo>
                    <a:pt x="274091" y="254990"/>
                  </a:lnTo>
                  <a:lnTo>
                    <a:pt x="266915"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46"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36"/>
                  </a:lnTo>
                  <a:lnTo>
                    <a:pt x="481266" y="172720"/>
                  </a:lnTo>
                  <a:lnTo>
                    <a:pt x="508368" y="135623"/>
                  </a:lnTo>
                  <a:lnTo>
                    <a:pt x="529005" y="94157"/>
                  </a:lnTo>
                  <a:lnTo>
                    <a:pt x="542480" y="49072"/>
                  </a:lnTo>
                  <a:lnTo>
                    <a:pt x="548043" y="1079"/>
                  </a:lnTo>
                  <a:close/>
                </a:path>
                <a:path w="548640" h="786764">
                  <a:moveTo>
                    <a:pt x="548093" y="520192"/>
                  </a:moveTo>
                  <a:lnTo>
                    <a:pt x="500380" y="524217"/>
                  </a:lnTo>
                  <a:lnTo>
                    <a:pt x="455853" y="535863"/>
                  </a:lnTo>
                  <a:lnTo>
                    <a:pt x="414616" y="554469"/>
                  </a:lnTo>
                  <a:lnTo>
                    <a:pt x="377355" y="579335"/>
                  </a:lnTo>
                  <a:lnTo>
                    <a:pt x="344728" y="609790"/>
                  </a:lnTo>
                  <a:lnTo>
                    <a:pt x="317411" y="645172"/>
                  </a:lnTo>
                  <a:lnTo>
                    <a:pt x="296087" y="684784"/>
                  </a:lnTo>
                  <a:lnTo>
                    <a:pt x="281419" y="727976"/>
                  </a:lnTo>
                  <a:lnTo>
                    <a:pt x="274091" y="774065"/>
                  </a:lnTo>
                  <a:lnTo>
                    <a:pt x="266915" y="727811"/>
                  </a:lnTo>
                  <a:lnTo>
                    <a:pt x="252361" y="684441"/>
                  </a:lnTo>
                  <a:lnTo>
                    <a:pt x="231101" y="644652"/>
                  </a:lnTo>
                  <a:lnTo>
                    <a:pt x="203809" y="609117"/>
                  </a:lnTo>
                  <a:lnTo>
                    <a:pt x="171157" y="578510"/>
                  </a:lnTo>
                  <a:lnTo>
                    <a:pt x="133845" y="553529"/>
                  </a:lnTo>
                  <a:lnTo>
                    <a:pt x="92544" y="534847"/>
                  </a:lnTo>
                  <a:lnTo>
                    <a:pt x="47917" y="523138"/>
                  </a:lnTo>
                  <a:lnTo>
                    <a:pt x="0" y="519061"/>
                  </a:lnTo>
                  <a:lnTo>
                    <a:pt x="5448" y="567232"/>
                  </a:lnTo>
                  <a:lnTo>
                    <a:pt x="18846" y="612508"/>
                  </a:lnTo>
                  <a:lnTo>
                    <a:pt x="39458" y="654138"/>
                  </a:lnTo>
                  <a:lnTo>
                    <a:pt x="66560" y="691400"/>
                  </a:lnTo>
                  <a:lnTo>
                    <a:pt x="99402" y="723544"/>
                  </a:lnTo>
                  <a:lnTo>
                    <a:pt x="137261" y="749858"/>
                  </a:lnTo>
                  <a:lnTo>
                    <a:pt x="179387" y="769594"/>
                  </a:lnTo>
                  <a:lnTo>
                    <a:pt x="225056" y="782015"/>
                  </a:lnTo>
                  <a:lnTo>
                    <a:pt x="273532" y="786384"/>
                  </a:lnTo>
                  <a:lnTo>
                    <a:pt x="274751" y="786384"/>
                  </a:lnTo>
                  <a:lnTo>
                    <a:pt x="323100" y="782027"/>
                  </a:lnTo>
                  <a:lnTo>
                    <a:pt x="368655" y="769670"/>
                  </a:lnTo>
                  <a:lnTo>
                    <a:pt x="410679" y="750023"/>
                  </a:lnTo>
                  <a:lnTo>
                    <a:pt x="448475" y="723823"/>
                  </a:lnTo>
                  <a:lnTo>
                    <a:pt x="449313" y="723011"/>
                  </a:lnTo>
                  <a:lnTo>
                    <a:pt x="481266" y="691819"/>
                  </a:lnTo>
                  <a:lnTo>
                    <a:pt x="508393" y="654697"/>
                  </a:lnTo>
                  <a:lnTo>
                    <a:pt x="529056"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399" name="object 110">
              <a:extLst>
                <a:ext uri="{FF2B5EF4-FFF2-40B4-BE49-F238E27FC236}">
                  <a16:creationId xmlns:a16="http://schemas.microsoft.com/office/drawing/2014/main" id="{62583807-2EBB-B94C-1C3B-37A9F2C69228}"/>
                </a:ext>
              </a:extLst>
            </p:cNvPr>
            <p:cNvPicPr/>
            <p:nvPr/>
          </p:nvPicPr>
          <p:blipFill>
            <a:blip r:embed="rId5" cstate="print"/>
            <a:stretch>
              <a:fillRect/>
            </a:stretch>
          </p:blipFill>
          <p:spPr>
            <a:xfrm>
              <a:off x="10791857" y="3335097"/>
              <a:ext cx="106445" cy="107156"/>
            </a:xfrm>
            <a:prstGeom prst="rect">
              <a:avLst/>
            </a:prstGeom>
          </p:spPr>
        </p:pic>
        <p:sp>
          <p:nvSpPr>
            <p:cNvPr id="401" name="object 111">
              <a:extLst>
                <a:ext uri="{FF2B5EF4-FFF2-40B4-BE49-F238E27FC236}">
                  <a16:creationId xmlns:a16="http://schemas.microsoft.com/office/drawing/2014/main" id="{3E13FE04-CA80-0AED-38A4-2DE527C5DB8B}"/>
                </a:ext>
              </a:extLst>
            </p:cNvPr>
            <p:cNvSpPr/>
            <p:nvPr/>
          </p:nvSpPr>
          <p:spPr>
            <a:xfrm>
              <a:off x="10679200" y="2766918"/>
              <a:ext cx="332700" cy="477101"/>
            </a:xfrm>
            <a:custGeom>
              <a:avLst/>
              <a:gdLst/>
              <a:ahLst/>
              <a:cxnLst/>
              <a:rect l="l" t="t" r="r" b="b"/>
              <a:pathLst>
                <a:path w="548640" h="786764">
                  <a:moveTo>
                    <a:pt x="548043" y="266611"/>
                  </a:moveTo>
                  <a:lnTo>
                    <a:pt x="500380" y="270649"/>
                  </a:lnTo>
                  <a:lnTo>
                    <a:pt x="455853" y="282308"/>
                  </a:lnTo>
                  <a:lnTo>
                    <a:pt x="414616" y="300901"/>
                  </a:lnTo>
                  <a:lnTo>
                    <a:pt x="377355" y="325780"/>
                  </a:lnTo>
                  <a:lnTo>
                    <a:pt x="344728" y="356247"/>
                  </a:lnTo>
                  <a:lnTo>
                    <a:pt x="317411" y="391629"/>
                  </a:lnTo>
                  <a:lnTo>
                    <a:pt x="296087" y="431253"/>
                  </a:lnTo>
                  <a:lnTo>
                    <a:pt x="281432" y="474446"/>
                  </a:lnTo>
                  <a:lnTo>
                    <a:pt x="274091" y="520534"/>
                  </a:lnTo>
                  <a:lnTo>
                    <a:pt x="266915" y="474256"/>
                  </a:lnTo>
                  <a:lnTo>
                    <a:pt x="252361" y="430885"/>
                  </a:lnTo>
                  <a:lnTo>
                    <a:pt x="231101" y="391096"/>
                  </a:lnTo>
                  <a:lnTo>
                    <a:pt x="203809" y="355561"/>
                  </a:lnTo>
                  <a:lnTo>
                    <a:pt x="171157" y="324967"/>
                  </a:lnTo>
                  <a:lnTo>
                    <a:pt x="133845" y="299986"/>
                  </a:lnTo>
                  <a:lnTo>
                    <a:pt x="92544" y="281292"/>
                  </a:lnTo>
                  <a:lnTo>
                    <a:pt x="47917" y="269582"/>
                  </a:lnTo>
                  <a:lnTo>
                    <a:pt x="12" y="265531"/>
                  </a:lnTo>
                  <a:lnTo>
                    <a:pt x="5461" y="313702"/>
                  </a:lnTo>
                  <a:lnTo>
                    <a:pt x="18846" y="358952"/>
                  </a:lnTo>
                  <a:lnTo>
                    <a:pt x="39471" y="400583"/>
                  </a:lnTo>
                  <a:lnTo>
                    <a:pt x="66560" y="437845"/>
                  </a:lnTo>
                  <a:lnTo>
                    <a:pt x="99402" y="469988"/>
                  </a:lnTo>
                  <a:lnTo>
                    <a:pt x="137261" y="496303"/>
                  </a:lnTo>
                  <a:lnTo>
                    <a:pt x="179387" y="516039"/>
                  </a:lnTo>
                  <a:lnTo>
                    <a:pt x="225056" y="528459"/>
                  </a:lnTo>
                  <a:lnTo>
                    <a:pt x="273532" y="532841"/>
                  </a:lnTo>
                  <a:lnTo>
                    <a:pt x="274751" y="532841"/>
                  </a:lnTo>
                  <a:lnTo>
                    <a:pt x="323100" y="528485"/>
                  </a:lnTo>
                  <a:lnTo>
                    <a:pt x="368655" y="516115"/>
                  </a:lnTo>
                  <a:lnTo>
                    <a:pt x="410679" y="496468"/>
                  </a:lnTo>
                  <a:lnTo>
                    <a:pt x="448475" y="470268"/>
                  </a:lnTo>
                  <a:lnTo>
                    <a:pt x="481266" y="438264"/>
                  </a:lnTo>
                  <a:lnTo>
                    <a:pt x="508368" y="401154"/>
                  </a:lnTo>
                  <a:lnTo>
                    <a:pt x="529005" y="359689"/>
                  </a:lnTo>
                  <a:lnTo>
                    <a:pt x="542480" y="314604"/>
                  </a:lnTo>
                  <a:lnTo>
                    <a:pt x="548043" y="266611"/>
                  </a:lnTo>
                  <a:close/>
                </a:path>
                <a:path w="548640" h="786764">
                  <a:moveTo>
                    <a:pt x="548043" y="1079"/>
                  </a:moveTo>
                  <a:lnTo>
                    <a:pt x="500380" y="5118"/>
                  </a:lnTo>
                  <a:lnTo>
                    <a:pt x="455853" y="16776"/>
                  </a:lnTo>
                  <a:lnTo>
                    <a:pt x="414616" y="35369"/>
                  </a:lnTo>
                  <a:lnTo>
                    <a:pt x="377355" y="60248"/>
                  </a:lnTo>
                  <a:lnTo>
                    <a:pt x="344728" y="90716"/>
                  </a:lnTo>
                  <a:lnTo>
                    <a:pt x="317411" y="126098"/>
                  </a:lnTo>
                  <a:lnTo>
                    <a:pt x="296087" y="165722"/>
                  </a:lnTo>
                  <a:lnTo>
                    <a:pt x="281432" y="208915"/>
                  </a:lnTo>
                  <a:lnTo>
                    <a:pt x="274091" y="255003"/>
                  </a:lnTo>
                  <a:lnTo>
                    <a:pt x="266915" y="208724"/>
                  </a:lnTo>
                  <a:lnTo>
                    <a:pt x="252361" y="165354"/>
                  </a:lnTo>
                  <a:lnTo>
                    <a:pt x="231101" y="125564"/>
                  </a:lnTo>
                  <a:lnTo>
                    <a:pt x="203809" y="90030"/>
                  </a:lnTo>
                  <a:lnTo>
                    <a:pt x="171157" y="59436"/>
                  </a:lnTo>
                  <a:lnTo>
                    <a:pt x="133845" y="34455"/>
                  </a:lnTo>
                  <a:lnTo>
                    <a:pt x="92544" y="15773"/>
                  </a:lnTo>
                  <a:lnTo>
                    <a:pt x="47917" y="4064"/>
                  </a:lnTo>
                  <a:lnTo>
                    <a:pt x="12" y="0"/>
                  </a:lnTo>
                  <a:lnTo>
                    <a:pt x="5461" y="48171"/>
                  </a:lnTo>
                  <a:lnTo>
                    <a:pt x="18846"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79" y="230936"/>
                  </a:lnTo>
                  <a:lnTo>
                    <a:pt x="448475" y="204749"/>
                  </a:lnTo>
                  <a:lnTo>
                    <a:pt x="481266" y="172732"/>
                  </a:lnTo>
                  <a:lnTo>
                    <a:pt x="508368" y="135623"/>
                  </a:lnTo>
                  <a:lnTo>
                    <a:pt x="529005" y="94157"/>
                  </a:lnTo>
                  <a:lnTo>
                    <a:pt x="542480" y="49072"/>
                  </a:lnTo>
                  <a:lnTo>
                    <a:pt x="548043" y="1079"/>
                  </a:lnTo>
                  <a:close/>
                </a:path>
                <a:path w="548640" h="786764">
                  <a:moveTo>
                    <a:pt x="548093" y="520204"/>
                  </a:moveTo>
                  <a:lnTo>
                    <a:pt x="500380" y="524205"/>
                  </a:lnTo>
                  <a:lnTo>
                    <a:pt x="455853" y="535863"/>
                  </a:lnTo>
                  <a:lnTo>
                    <a:pt x="414616" y="554469"/>
                  </a:lnTo>
                  <a:lnTo>
                    <a:pt x="377355" y="579335"/>
                  </a:lnTo>
                  <a:lnTo>
                    <a:pt x="344728" y="609803"/>
                  </a:lnTo>
                  <a:lnTo>
                    <a:pt x="317411" y="645172"/>
                  </a:lnTo>
                  <a:lnTo>
                    <a:pt x="296087" y="684796"/>
                  </a:lnTo>
                  <a:lnTo>
                    <a:pt x="281419" y="727989"/>
                  </a:lnTo>
                  <a:lnTo>
                    <a:pt x="274091" y="774065"/>
                  </a:lnTo>
                  <a:lnTo>
                    <a:pt x="266915" y="727824"/>
                  </a:lnTo>
                  <a:lnTo>
                    <a:pt x="252361" y="684453"/>
                  </a:lnTo>
                  <a:lnTo>
                    <a:pt x="231101" y="644652"/>
                  </a:lnTo>
                  <a:lnTo>
                    <a:pt x="203809" y="609117"/>
                  </a:lnTo>
                  <a:lnTo>
                    <a:pt x="171157" y="578523"/>
                  </a:lnTo>
                  <a:lnTo>
                    <a:pt x="133845" y="553542"/>
                  </a:lnTo>
                  <a:lnTo>
                    <a:pt x="92544" y="534835"/>
                  </a:lnTo>
                  <a:lnTo>
                    <a:pt x="47917" y="523125"/>
                  </a:lnTo>
                  <a:lnTo>
                    <a:pt x="0" y="519074"/>
                  </a:lnTo>
                  <a:lnTo>
                    <a:pt x="5448" y="567245"/>
                  </a:lnTo>
                  <a:lnTo>
                    <a:pt x="14871" y="599122"/>
                  </a:lnTo>
                  <a:lnTo>
                    <a:pt x="18846" y="612521"/>
                  </a:lnTo>
                  <a:lnTo>
                    <a:pt x="29057" y="633133"/>
                  </a:lnTo>
                  <a:lnTo>
                    <a:pt x="39458" y="65413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402" name="object 112">
              <a:extLst>
                <a:ext uri="{FF2B5EF4-FFF2-40B4-BE49-F238E27FC236}">
                  <a16:creationId xmlns:a16="http://schemas.microsoft.com/office/drawing/2014/main" id="{C8A076EE-0DCA-4288-78F2-0DC42CFC8449}"/>
                </a:ext>
              </a:extLst>
            </p:cNvPr>
            <p:cNvPicPr/>
            <p:nvPr/>
          </p:nvPicPr>
          <p:blipFill>
            <a:blip r:embed="rId6" cstate="print"/>
            <a:stretch>
              <a:fillRect/>
            </a:stretch>
          </p:blipFill>
          <p:spPr>
            <a:xfrm>
              <a:off x="10791857" y="2680931"/>
              <a:ext cx="106445" cy="107156"/>
            </a:xfrm>
            <a:prstGeom prst="rect">
              <a:avLst/>
            </a:prstGeom>
          </p:spPr>
        </p:pic>
        <p:sp>
          <p:nvSpPr>
            <p:cNvPr id="403" name="object 113">
              <a:extLst>
                <a:ext uri="{FF2B5EF4-FFF2-40B4-BE49-F238E27FC236}">
                  <a16:creationId xmlns:a16="http://schemas.microsoft.com/office/drawing/2014/main" id="{019C82E9-8421-53D1-10A9-32DC3737DD47}"/>
                </a:ext>
              </a:extLst>
            </p:cNvPr>
            <p:cNvSpPr/>
            <p:nvPr/>
          </p:nvSpPr>
          <p:spPr>
            <a:xfrm>
              <a:off x="10679200" y="4729423"/>
              <a:ext cx="332700" cy="477101"/>
            </a:xfrm>
            <a:custGeom>
              <a:avLst/>
              <a:gdLst/>
              <a:ahLst/>
              <a:cxnLst/>
              <a:rect l="l" t="t" r="r" b="b"/>
              <a:pathLst>
                <a:path w="548640" h="786765">
                  <a:moveTo>
                    <a:pt x="548043" y="266611"/>
                  </a:moveTo>
                  <a:lnTo>
                    <a:pt x="500380" y="270649"/>
                  </a:lnTo>
                  <a:lnTo>
                    <a:pt x="455853" y="282308"/>
                  </a:lnTo>
                  <a:lnTo>
                    <a:pt x="414616" y="300901"/>
                  </a:lnTo>
                  <a:lnTo>
                    <a:pt x="377355" y="325767"/>
                  </a:lnTo>
                  <a:lnTo>
                    <a:pt x="344728" y="356235"/>
                  </a:lnTo>
                  <a:lnTo>
                    <a:pt x="317411" y="391617"/>
                  </a:lnTo>
                  <a:lnTo>
                    <a:pt x="296087" y="431241"/>
                  </a:lnTo>
                  <a:lnTo>
                    <a:pt x="281432" y="474433"/>
                  </a:lnTo>
                  <a:lnTo>
                    <a:pt x="274091" y="520522"/>
                  </a:lnTo>
                  <a:lnTo>
                    <a:pt x="266915" y="474243"/>
                  </a:lnTo>
                  <a:lnTo>
                    <a:pt x="252361" y="430872"/>
                  </a:lnTo>
                  <a:lnTo>
                    <a:pt x="231101" y="391083"/>
                  </a:lnTo>
                  <a:lnTo>
                    <a:pt x="203809" y="355549"/>
                  </a:lnTo>
                  <a:lnTo>
                    <a:pt x="171157" y="324954"/>
                  </a:lnTo>
                  <a:lnTo>
                    <a:pt x="133845" y="299974"/>
                  </a:lnTo>
                  <a:lnTo>
                    <a:pt x="92544" y="281292"/>
                  </a:lnTo>
                  <a:lnTo>
                    <a:pt x="47917" y="269582"/>
                  </a:lnTo>
                  <a:lnTo>
                    <a:pt x="12" y="265518"/>
                  </a:lnTo>
                  <a:lnTo>
                    <a:pt x="5461" y="313690"/>
                  </a:lnTo>
                  <a:lnTo>
                    <a:pt x="18846" y="358952"/>
                  </a:lnTo>
                  <a:lnTo>
                    <a:pt x="39471" y="400570"/>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79" y="496455"/>
                  </a:lnTo>
                  <a:lnTo>
                    <a:pt x="448475" y="470268"/>
                  </a:lnTo>
                  <a:lnTo>
                    <a:pt x="481266" y="438251"/>
                  </a:lnTo>
                  <a:lnTo>
                    <a:pt x="508368" y="401154"/>
                  </a:lnTo>
                  <a:lnTo>
                    <a:pt x="529005" y="359689"/>
                  </a:lnTo>
                  <a:lnTo>
                    <a:pt x="542480" y="314604"/>
                  </a:lnTo>
                  <a:lnTo>
                    <a:pt x="548043" y="266611"/>
                  </a:lnTo>
                  <a:close/>
                </a:path>
                <a:path w="548640" h="786765">
                  <a:moveTo>
                    <a:pt x="548043" y="1079"/>
                  </a:moveTo>
                  <a:lnTo>
                    <a:pt x="500380" y="5105"/>
                  </a:lnTo>
                  <a:lnTo>
                    <a:pt x="455853" y="16764"/>
                  </a:lnTo>
                  <a:lnTo>
                    <a:pt x="414616" y="35369"/>
                  </a:lnTo>
                  <a:lnTo>
                    <a:pt x="377355" y="60236"/>
                  </a:lnTo>
                  <a:lnTo>
                    <a:pt x="344728" y="90703"/>
                  </a:lnTo>
                  <a:lnTo>
                    <a:pt x="317411" y="126085"/>
                  </a:lnTo>
                  <a:lnTo>
                    <a:pt x="296087" y="165709"/>
                  </a:lnTo>
                  <a:lnTo>
                    <a:pt x="281432" y="208902"/>
                  </a:lnTo>
                  <a:lnTo>
                    <a:pt x="274091" y="254990"/>
                  </a:lnTo>
                  <a:lnTo>
                    <a:pt x="266915"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46" y="93421"/>
                  </a:lnTo>
                  <a:lnTo>
                    <a:pt x="39471" y="135039"/>
                  </a:lnTo>
                  <a:lnTo>
                    <a:pt x="66560" y="172300"/>
                  </a:lnTo>
                  <a:lnTo>
                    <a:pt x="99402" y="204444"/>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24"/>
                  </a:lnTo>
                  <a:lnTo>
                    <a:pt x="481266" y="172720"/>
                  </a:lnTo>
                  <a:lnTo>
                    <a:pt x="508368" y="135610"/>
                  </a:lnTo>
                  <a:lnTo>
                    <a:pt x="529005" y="94157"/>
                  </a:lnTo>
                  <a:lnTo>
                    <a:pt x="542480" y="49060"/>
                  </a:lnTo>
                  <a:lnTo>
                    <a:pt x="548043" y="1079"/>
                  </a:lnTo>
                  <a:close/>
                </a:path>
                <a:path w="548640" h="786765">
                  <a:moveTo>
                    <a:pt x="548093" y="520192"/>
                  </a:moveTo>
                  <a:lnTo>
                    <a:pt x="500380" y="524205"/>
                  </a:lnTo>
                  <a:lnTo>
                    <a:pt x="455853" y="535863"/>
                  </a:lnTo>
                  <a:lnTo>
                    <a:pt x="414616" y="554469"/>
                  </a:lnTo>
                  <a:lnTo>
                    <a:pt x="377355" y="579335"/>
                  </a:lnTo>
                  <a:lnTo>
                    <a:pt x="344728" y="609790"/>
                  </a:lnTo>
                  <a:lnTo>
                    <a:pt x="317411" y="645160"/>
                  </a:lnTo>
                  <a:lnTo>
                    <a:pt x="296087" y="684784"/>
                  </a:lnTo>
                  <a:lnTo>
                    <a:pt x="281419" y="727976"/>
                  </a:lnTo>
                  <a:lnTo>
                    <a:pt x="274091" y="774065"/>
                  </a:lnTo>
                  <a:lnTo>
                    <a:pt x="266915" y="727811"/>
                  </a:lnTo>
                  <a:lnTo>
                    <a:pt x="252361" y="684441"/>
                  </a:lnTo>
                  <a:lnTo>
                    <a:pt x="231101" y="644639"/>
                  </a:lnTo>
                  <a:lnTo>
                    <a:pt x="203809" y="609104"/>
                  </a:lnTo>
                  <a:lnTo>
                    <a:pt x="171157" y="578510"/>
                  </a:lnTo>
                  <a:lnTo>
                    <a:pt x="133845" y="553529"/>
                  </a:lnTo>
                  <a:lnTo>
                    <a:pt x="92544" y="534847"/>
                  </a:lnTo>
                  <a:lnTo>
                    <a:pt x="47917" y="523113"/>
                  </a:lnTo>
                  <a:lnTo>
                    <a:pt x="0" y="519061"/>
                  </a:lnTo>
                  <a:lnTo>
                    <a:pt x="5448" y="567232"/>
                  </a:lnTo>
                  <a:lnTo>
                    <a:pt x="18846" y="612508"/>
                  </a:lnTo>
                  <a:lnTo>
                    <a:pt x="39458" y="654126"/>
                  </a:lnTo>
                  <a:lnTo>
                    <a:pt x="66560" y="691388"/>
                  </a:lnTo>
                  <a:lnTo>
                    <a:pt x="99402" y="723544"/>
                  </a:lnTo>
                  <a:lnTo>
                    <a:pt x="137261" y="749858"/>
                  </a:lnTo>
                  <a:lnTo>
                    <a:pt x="179387" y="769581"/>
                  </a:lnTo>
                  <a:lnTo>
                    <a:pt x="225056" y="782015"/>
                  </a:lnTo>
                  <a:lnTo>
                    <a:pt x="273532" y="786384"/>
                  </a:lnTo>
                  <a:lnTo>
                    <a:pt x="274751" y="786384"/>
                  </a:lnTo>
                  <a:lnTo>
                    <a:pt x="323100" y="782027"/>
                  </a:lnTo>
                  <a:lnTo>
                    <a:pt x="368655" y="769670"/>
                  </a:lnTo>
                  <a:lnTo>
                    <a:pt x="410679" y="750023"/>
                  </a:lnTo>
                  <a:lnTo>
                    <a:pt x="448475" y="723823"/>
                  </a:lnTo>
                  <a:lnTo>
                    <a:pt x="448881" y="723430"/>
                  </a:lnTo>
                  <a:lnTo>
                    <a:pt x="481304" y="691794"/>
                  </a:lnTo>
                  <a:lnTo>
                    <a:pt x="508393" y="654697"/>
                  </a:lnTo>
                  <a:lnTo>
                    <a:pt x="529056"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404" name="object 114">
              <a:extLst>
                <a:ext uri="{FF2B5EF4-FFF2-40B4-BE49-F238E27FC236}">
                  <a16:creationId xmlns:a16="http://schemas.microsoft.com/office/drawing/2014/main" id="{8B11D604-24D8-0AD3-23C2-E1769F526D4E}"/>
                </a:ext>
              </a:extLst>
            </p:cNvPr>
            <p:cNvPicPr/>
            <p:nvPr/>
          </p:nvPicPr>
          <p:blipFill>
            <a:blip r:embed="rId5" cstate="print"/>
            <a:stretch>
              <a:fillRect/>
            </a:stretch>
          </p:blipFill>
          <p:spPr>
            <a:xfrm>
              <a:off x="10791857" y="4643430"/>
              <a:ext cx="106445" cy="107156"/>
            </a:xfrm>
            <a:prstGeom prst="rect">
              <a:avLst/>
            </a:prstGeom>
          </p:spPr>
        </p:pic>
        <p:sp>
          <p:nvSpPr>
            <p:cNvPr id="405" name="object 115">
              <a:extLst>
                <a:ext uri="{FF2B5EF4-FFF2-40B4-BE49-F238E27FC236}">
                  <a16:creationId xmlns:a16="http://schemas.microsoft.com/office/drawing/2014/main" id="{A389B4CC-C2D6-8BB6-0D14-8E86C7FF6128}"/>
                </a:ext>
              </a:extLst>
            </p:cNvPr>
            <p:cNvSpPr/>
            <p:nvPr/>
          </p:nvSpPr>
          <p:spPr>
            <a:xfrm>
              <a:off x="10679200" y="4075252"/>
              <a:ext cx="332700" cy="477101"/>
            </a:xfrm>
            <a:custGeom>
              <a:avLst/>
              <a:gdLst/>
              <a:ahLst/>
              <a:cxnLst/>
              <a:rect l="l" t="t" r="r" b="b"/>
              <a:pathLst>
                <a:path w="548640" h="786765">
                  <a:moveTo>
                    <a:pt x="548043" y="266623"/>
                  </a:moveTo>
                  <a:lnTo>
                    <a:pt x="500380" y="270662"/>
                  </a:lnTo>
                  <a:lnTo>
                    <a:pt x="455853" y="282308"/>
                  </a:lnTo>
                  <a:lnTo>
                    <a:pt x="414616" y="300913"/>
                  </a:lnTo>
                  <a:lnTo>
                    <a:pt x="377355" y="325780"/>
                  </a:lnTo>
                  <a:lnTo>
                    <a:pt x="344728" y="356247"/>
                  </a:lnTo>
                  <a:lnTo>
                    <a:pt x="317411" y="391629"/>
                  </a:lnTo>
                  <a:lnTo>
                    <a:pt x="296087" y="431253"/>
                  </a:lnTo>
                  <a:lnTo>
                    <a:pt x="281432" y="474446"/>
                  </a:lnTo>
                  <a:lnTo>
                    <a:pt x="274091" y="520534"/>
                  </a:lnTo>
                  <a:lnTo>
                    <a:pt x="266915" y="474256"/>
                  </a:lnTo>
                  <a:lnTo>
                    <a:pt x="252361" y="430885"/>
                  </a:lnTo>
                  <a:lnTo>
                    <a:pt x="231101" y="391096"/>
                  </a:lnTo>
                  <a:lnTo>
                    <a:pt x="203809" y="355561"/>
                  </a:lnTo>
                  <a:lnTo>
                    <a:pt x="171157" y="324954"/>
                  </a:lnTo>
                  <a:lnTo>
                    <a:pt x="133845" y="299974"/>
                  </a:lnTo>
                  <a:lnTo>
                    <a:pt x="92544" y="281292"/>
                  </a:lnTo>
                  <a:lnTo>
                    <a:pt x="47917" y="269582"/>
                  </a:lnTo>
                  <a:lnTo>
                    <a:pt x="12" y="265531"/>
                  </a:lnTo>
                  <a:lnTo>
                    <a:pt x="5461" y="313690"/>
                  </a:lnTo>
                  <a:lnTo>
                    <a:pt x="18846" y="358952"/>
                  </a:lnTo>
                  <a:lnTo>
                    <a:pt x="39471" y="400583"/>
                  </a:lnTo>
                  <a:lnTo>
                    <a:pt x="66560" y="437832"/>
                  </a:lnTo>
                  <a:lnTo>
                    <a:pt x="99402" y="469988"/>
                  </a:lnTo>
                  <a:lnTo>
                    <a:pt x="137261" y="496303"/>
                  </a:lnTo>
                  <a:lnTo>
                    <a:pt x="179387" y="516039"/>
                  </a:lnTo>
                  <a:lnTo>
                    <a:pt x="225056" y="528459"/>
                  </a:lnTo>
                  <a:lnTo>
                    <a:pt x="273532" y="532828"/>
                  </a:lnTo>
                  <a:lnTo>
                    <a:pt x="274751" y="532828"/>
                  </a:lnTo>
                  <a:lnTo>
                    <a:pt x="323100" y="528472"/>
                  </a:lnTo>
                  <a:lnTo>
                    <a:pt x="368655" y="516115"/>
                  </a:lnTo>
                  <a:lnTo>
                    <a:pt x="410679" y="496468"/>
                  </a:lnTo>
                  <a:lnTo>
                    <a:pt x="448475" y="470268"/>
                  </a:lnTo>
                  <a:lnTo>
                    <a:pt x="481266" y="438264"/>
                  </a:lnTo>
                  <a:lnTo>
                    <a:pt x="508368" y="401154"/>
                  </a:lnTo>
                  <a:lnTo>
                    <a:pt x="529005" y="359702"/>
                  </a:lnTo>
                  <a:lnTo>
                    <a:pt x="542480" y="314604"/>
                  </a:lnTo>
                  <a:lnTo>
                    <a:pt x="548043" y="266623"/>
                  </a:lnTo>
                  <a:close/>
                </a:path>
                <a:path w="548640" h="786765">
                  <a:moveTo>
                    <a:pt x="548043" y="1092"/>
                  </a:moveTo>
                  <a:lnTo>
                    <a:pt x="500380" y="5130"/>
                  </a:lnTo>
                  <a:lnTo>
                    <a:pt x="455853" y="16776"/>
                  </a:lnTo>
                  <a:lnTo>
                    <a:pt x="414616" y="35382"/>
                  </a:lnTo>
                  <a:lnTo>
                    <a:pt x="377355" y="60248"/>
                  </a:lnTo>
                  <a:lnTo>
                    <a:pt x="344728" y="90716"/>
                  </a:lnTo>
                  <a:lnTo>
                    <a:pt x="317411" y="126098"/>
                  </a:lnTo>
                  <a:lnTo>
                    <a:pt x="296087" y="165722"/>
                  </a:lnTo>
                  <a:lnTo>
                    <a:pt x="281432" y="208915"/>
                  </a:lnTo>
                  <a:lnTo>
                    <a:pt x="274091" y="255003"/>
                  </a:lnTo>
                  <a:lnTo>
                    <a:pt x="266915" y="208724"/>
                  </a:lnTo>
                  <a:lnTo>
                    <a:pt x="252361" y="165354"/>
                  </a:lnTo>
                  <a:lnTo>
                    <a:pt x="231101" y="125564"/>
                  </a:lnTo>
                  <a:lnTo>
                    <a:pt x="203809" y="90030"/>
                  </a:lnTo>
                  <a:lnTo>
                    <a:pt x="171157" y="59436"/>
                  </a:lnTo>
                  <a:lnTo>
                    <a:pt x="133845" y="34455"/>
                  </a:lnTo>
                  <a:lnTo>
                    <a:pt x="92544" y="15760"/>
                  </a:lnTo>
                  <a:lnTo>
                    <a:pt x="47917" y="4051"/>
                  </a:lnTo>
                  <a:lnTo>
                    <a:pt x="12" y="0"/>
                  </a:lnTo>
                  <a:lnTo>
                    <a:pt x="5461" y="48158"/>
                  </a:lnTo>
                  <a:lnTo>
                    <a:pt x="18846" y="93421"/>
                  </a:lnTo>
                  <a:lnTo>
                    <a:pt x="39471" y="135051"/>
                  </a:lnTo>
                  <a:lnTo>
                    <a:pt x="66560" y="172300"/>
                  </a:lnTo>
                  <a:lnTo>
                    <a:pt x="99402" y="204457"/>
                  </a:lnTo>
                  <a:lnTo>
                    <a:pt x="137261" y="230771"/>
                  </a:lnTo>
                  <a:lnTo>
                    <a:pt x="179387" y="250494"/>
                  </a:lnTo>
                  <a:lnTo>
                    <a:pt x="225056" y="262928"/>
                  </a:lnTo>
                  <a:lnTo>
                    <a:pt x="273532" y="267309"/>
                  </a:lnTo>
                  <a:lnTo>
                    <a:pt x="274751" y="267309"/>
                  </a:lnTo>
                  <a:lnTo>
                    <a:pt x="323100" y="262940"/>
                  </a:lnTo>
                  <a:lnTo>
                    <a:pt x="368655" y="250583"/>
                  </a:lnTo>
                  <a:lnTo>
                    <a:pt x="410679" y="230936"/>
                  </a:lnTo>
                  <a:lnTo>
                    <a:pt x="448475" y="204736"/>
                  </a:lnTo>
                  <a:lnTo>
                    <a:pt x="481266" y="172720"/>
                  </a:lnTo>
                  <a:lnTo>
                    <a:pt x="508368" y="135623"/>
                  </a:lnTo>
                  <a:lnTo>
                    <a:pt x="529005" y="94170"/>
                  </a:lnTo>
                  <a:lnTo>
                    <a:pt x="542480" y="49072"/>
                  </a:lnTo>
                  <a:lnTo>
                    <a:pt x="548043" y="1092"/>
                  </a:lnTo>
                  <a:close/>
                </a:path>
                <a:path w="548640" h="786765">
                  <a:moveTo>
                    <a:pt x="548093" y="520204"/>
                  </a:moveTo>
                  <a:lnTo>
                    <a:pt x="500380" y="524217"/>
                  </a:lnTo>
                  <a:lnTo>
                    <a:pt x="455853" y="535876"/>
                  </a:lnTo>
                  <a:lnTo>
                    <a:pt x="414616" y="554469"/>
                  </a:lnTo>
                  <a:lnTo>
                    <a:pt x="377355" y="579335"/>
                  </a:lnTo>
                  <a:lnTo>
                    <a:pt x="344728" y="609803"/>
                  </a:lnTo>
                  <a:lnTo>
                    <a:pt x="317411" y="645172"/>
                  </a:lnTo>
                  <a:lnTo>
                    <a:pt x="296087" y="684796"/>
                  </a:lnTo>
                  <a:lnTo>
                    <a:pt x="281419" y="727976"/>
                  </a:lnTo>
                  <a:lnTo>
                    <a:pt x="274091" y="774065"/>
                  </a:lnTo>
                  <a:lnTo>
                    <a:pt x="266915" y="727824"/>
                  </a:lnTo>
                  <a:lnTo>
                    <a:pt x="252361" y="684441"/>
                  </a:lnTo>
                  <a:lnTo>
                    <a:pt x="231101" y="644652"/>
                  </a:lnTo>
                  <a:lnTo>
                    <a:pt x="203809" y="609117"/>
                  </a:lnTo>
                  <a:lnTo>
                    <a:pt x="171157" y="578523"/>
                  </a:lnTo>
                  <a:lnTo>
                    <a:pt x="133845" y="553542"/>
                  </a:lnTo>
                  <a:lnTo>
                    <a:pt x="92544" y="534835"/>
                  </a:lnTo>
                  <a:lnTo>
                    <a:pt x="47917" y="523125"/>
                  </a:lnTo>
                  <a:lnTo>
                    <a:pt x="0" y="519074"/>
                  </a:lnTo>
                  <a:lnTo>
                    <a:pt x="5448" y="567245"/>
                  </a:lnTo>
                  <a:lnTo>
                    <a:pt x="18846" y="612521"/>
                  </a:lnTo>
                  <a:lnTo>
                    <a:pt x="39458" y="65413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406" name="object 116">
              <a:extLst>
                <a:ext uri="{FF2B5EF4-FFF2-40B4-BE49-F238E27FC236}">
                  <a16:creationId xmlns:a16="http://schemas.microsoft.com/office/drawing/2014/main" id="{2818BDDA-ABF4-EDDA-C8D7-A689B4154DCE}"/>
                </a:ext>
              </a:extLst>
            </p:cNvPr>
            <p:cNvPicPr/>
            <p:nvPr/>
          </p:nvPicPr>
          <p:blipFill>
            <a:blip r:embed="rId6" cstate="print"/>
            <a:stretch>
              <a:fillRect/>
            </a:stretch>
          </p:blipFill>
          <p:spPr>
            <a:xfrm>
              <a:off x="10791857" y="3989263"/>
              <a:ext cx="106445" cy="107156"/>
            </a:xfrm>
            <a:prstGeom prst="rect">
              <a:avLst/>
            </a:prstGeom>
          </p:spPr>
        </p:pic>
        <p:sp>
          <p:nvSpPr>
            <p:cNvPr id="407" name="object 117">
              <a:extLst>
                <a:ext uri="{FF2B5EF4-FFF2-40B4-BE49-F238E27FC236}">
                  <a16:creationId xmlns:a16="http://schemas.microsoft.com/office/drawing/2014/main" id="{0AB6CD03-09E1-84BE-BA57-F44E46C32313}"/>
                </a:ext>
              </a:extLst>
            </p:cNvPr>
            <p:cNvSpPr/>
            <p:nvPr/>
          </p:nvSpPr>
          <p:spPr>
            <a:xfrm>
              <a:off x="10294123" y="3862863"/>
              <a:ext cx="332700" cy="477101"/>
            </a:xfrm>
            <a:custGeom>
              <a:avLst/>
              <a:gdLst/>
              <a:ahLst/>
              <a:cxnLst/>
              <a:rect l="l" t="t" r="r" b="b"/>
              <a:pathLst>
                <a:path w="548640" h="786765">
                  <a:moveTo>
                    <a:pt x="548081" y="786396"/>
                  </a:moveTo>
                  <a:lnTo>
                    <a:pt x="542632" y="738238"/>
                  </a:lnTo>
                  <a:lnTo>
                    <a:pt x="529234" y="692975"/>
                  </a:lnTo>
                  <a:lnTo>
                    <a:pt x="508622" y="651344"/>
                  </a:lnTo>
                  <a:lnTo>
                    <a:pt x="481520" y="614083"/>
                  </a:lnTo>
                  <a:lnTo>
                    <a:pt x="448691" y="581939"/>
                  </a:lnTo>
                  <a:lnTo>
                    <a:pt x="410832" y="555625"/>
                  </a:lnTo>
                  <a:lnTo>
                    <a:pt x="368706" y="535889"/>
                  </a:lnTo>
                  <a:lnTo>
                    <a:pt x="323037" y="523468"/>
                  </a:lnTo>
                  <a:lnTo>
                    <a:pt x="274561" y="519099"/>
                  </a:lnTo>
                  <a:lnTo>
                    <a:pt x="273329" y="519099"/>
                  </a:lnTo>
                  <a:lnTo>
                    <a:pt x="224993" y="523455"/>
                  </a:lnTo>
                  <a:lnTo>
                    <a:pt x="179438" y="535813"/>
                  </a:lnTo>
                  <a:lnTo>
                    <a:pt x="137401" y="555459"/>
                  </a:lnTo>
                  <a:lnTo>
                    <a:pt x="99618" y="581660"/>
                  </a:lnTo>
                  <a:lnTo>
                    <a:pt x="66814" y="613664"/>
                  </a:lnTo>
                  <a:lnTo>
                    <a:pt x="39725" y="650773"/>
                  </a:lnTo>
                  <a:lnTo>
                    <a:pt x="19075" y="692226"/>
                  </a:lnTo>
                  <a:lnTo>
                    <a:pt x="5613" y="737323"/>
                  </a:lnTo>
                  <a:lnTo>
                    <a:pt x="50" y="785304"/>
                  </a:lnTo>
                  <a:lnTo>
                    <a:pt x="47713" y="781265"/>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48"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91" y="316407"/>
                  </a:lnTo>
                  <a:lnTo>
                    <a:pt x="410832" y="290106"/>
                  </a:lnTo>
                  <a:lnTo>
                    <a:pt x="368706" y="270370"/>
                  </a:lnTo>
                  <a:lnTo>
                    <a:pt x="323037" y="257949"/>
                  </a:lnTo>
                  <a:lnTo>
                    <a:pt x="274561" y="253568"/>
                  </a:lnTo>
                  <a:lnTo>
                    <a:pt x="273329" y="253568"/>
                  </a:lnTo>
                  <a:lnTo>
                    <a:pt x="224993" y="257924"/>
                  </a:lnTo>
                  <a:lnTo>
                    <a:pt x="179438" y="270294"/>
                  </a:lnTo>
                  <a:lnTo>
                    <a:pt x="137401" y="289941"/>
                  </a:lnTo>
                  <a:lnTo>
                    <a:pt x="99618" y="316128"/>
                  </a:lnTo>
                  <a:lnTo>
                    <a:pt x="66814" y="348145"/>
                  </a:lnTo>
                  <a:lnTo>
                    <a:pt x="39725" y="385241"/>
                  </a:lnTo>
                  <a:lnTo>
                    <a:pt x="19075" y="426707"/>
                  </a:lnTo>
                  <a:lnTo>
                    <a:pt x="5613" y="471792"/>
                  </a:lnTo>
                  <a:lnTo>
                    <a:pt x="50" y="519785"/>
                  </a:lnTo>
                  <a:lnTo>
                    <a:pt x="47713" y="515747"/>
                  </a:lnTo>
                  <a:lnTo>
                    <a:pt x="92240" y="504101"/>
                  </a:lnTo>
                  <a:lnTo>
                    <a:pt x="133477" y="485495"/>
                  </a:lnTo>
                  <a:lnTo>
                    <a:pt x="170738" y="460629"/>
                  </a:lnTo>
                  <a:lnTo>
                    <a:pt x="203365" y="430161"/>
                  </a:lnTo>
                  <a:lnTo>
                    <a:pt x="230670" y="394779"/>
                  </a:lnTo>
                  <a:lnTo>
                    <a:pt x="251993" y="355142"/>
                  </a:lnTo>
                  <a:lnTo>
                    <a:pt x="266661" y="311950"/>
                  </a:lnTo>
                  <a:lnTo>
                    <a:pt x="273989" y="265874"/>
                  </a:lnTo>
                  <a:lnTo>
                    <a:pt x="281165" y="312140"/>
                  </a:lnTo>
                  <a:lnTo>
                    <a:pt x="295719" y="355511"/>
                  </a:lnTo>
                  <a:lnTo>
                    <a:pt x="316992" y="395300"/>
                  </a:lnTo>
                  <a:lnTo>
                    <a:pt x="344284" y="430847"/>
                  </a:lnTo>
                  <a:lnTo>
                    <a:pt x="376923" y="461441"/>
                  </a:lnTo>
                  <a:lnTo>
                    <a:pt x="414248" y="486422"/>
                  </a:lnTo>
                  <a:lnTo>
                    <a:pt x="455549" y="505104"/>
                  </a:lnTo>
                  <a:lnTo>
                    <a:pt x="500164" y="516813"/>
                  </a:lnTo>
                  <a:lnTo>
                    <a:pt x="548081" y="520865"/>
                  </a:lnTo>
                  <a:close/>
                </a:path>
                <a:path w="548640" h="786765">
                  <a:moveTo>
                    <a:pt x="548093" y="267322"/>
                  </a:moveTo>
                  <a:lnTo>
                    <a:pt x="542645" y="219151"/>
                  </a:lnTo>
                  <a:lnTo>
                    <a:pt x="529247" y="173888"/>
                  </a:lnTo>
                  <a:lnTo>
                    <a:pt x="508635" y="132257"/>
                  </a:lnTo>
                  <a:lnTo>
                    <a:pt x="481533" y="95008"/>
                  </a:lnTo>
                  <a:lnTo>
                    <a:pt x="448691" y="62852"/>
                  </a:lnTo>
                  <a:lnTo>
                    <a:pt x="410845" y="36550"/>
                  </a:lnTo>
                  <a:lnTo>
                    <a:pt x="368706" y="16802"/>
                  </a:lnTo>
                  <a:lnTo>
                    <a:pt x="323037" y="4381"/>
                  </a:lnTo>
                  <a:lnTo>
                    <a:pt x="274561" y="0"/>
                  </a:lnTo>
                  <a:lnTo>
                    <a:pt x="273329" y="0"/>
                  </a:lnTo>
                  <a:lnTo>
                    <a:pt x="224993" y="4356"/>
                  </a:lnTo>
                  <a:lnTo>
                    <a:pt x="179438" y="16725"/>
                  </a:lnTo>
                  <a:lnTo>
                    <a:pt x="137401" y="36372"/>
                  </a:lnTo>
                  <a:lnTo>
                    <a:pt x="99618" y="62560"/>
                  </a:lnTo>
                  <a:lnTo>
                    <a:pt x="66814" y="94576"/>
                  </a:lnTo>
                  <a:lnTo>
                    <a:pt x="39700" y="131686"/>
                  </a:lnTo>
                  <a:lnTo>
                    <a:pt x="19037" y="173139"/>
                  </a:lnTo>
                  <a:lnTo>
                    <a:pt x="5562" y="218224"/>
                  </a:lnTo>
                  <a:lnTo>
                    <a:pt x="0" y="266192"/>
                  </a:lnTo>
                  <a:lnTo>
                    <a:pt x="47713" y="262178"/>
                  </a:lnTo>
                  <a:lnTo>
                    <a:pt x="92240" y="250520"/>
                  </a:lnTo>
                  <a:lnTo>
                    <a:pt x="133477" y="231927"/>
                  </a:lnTo>
                  <a:lnTo>
                    <a:pt x="170738" y="207060"/>
                  </a:lnTo>
                  <a:lnTo>
                    <a:pt x="203365" y="176593"/>
                  </a:lnTo>
                  <a:lnTo>
                    <a:pt x="230682" y="141224"/>
                  </a:lnTo>
                  <a:lnTo>
                    <a:pt x="252006" y="101600"/>
                  </a:lnTo>
                  <a:lnTo>
                    <a:pt x="266674" y="58420"/>
                  </a:lnTo>
                  <a:lnTo>
                    <a:pt x="273989" y="12369"/>
                  </a:lnTo>
                  <a:lnTo>
                    <a:pt x="279844" y="50101"/>
                  </a:lnTo>
                  <a:lnTo>
                    <a:pt x="281165" y="58585"/>
                  </a:lnTo>
                  <a:lnTo>
                    <a:pt x="284822" y="69481"/>
                  </a:lnTo>
                  <a:lnTo>
                    <a:pt x="295719" y="101955"/>
                  </a:lnTo>
                  <a:lnTo>
                    <a:pt x="316992" y="141744"/>
                  </a:lnTo>
                  <a:lnTo>
                    <a:pt x="344284" y="177279"/>
                  </a:lnTo>
                  <a:lnTo>
                    <a:pt x="376936" y="207886"/>
                  </a:lnTo>
                  <a:lnTo>
                    <a:pt x="414248" y="232867"/>
                  </a:lnTo>
                  <a:lnTo>
                    <a:pt x="455549" y="251561"/>
                  </a:lnTo>
                  <a:lnTo>
                    <a:pt x="500176" y="263271"/>
                  </a:lnTo>
                  <a:lnTo>
                    <a:pt x="548093" y="267322"/>
                  </a:lnTo>
                  <a:close/>
                </a:path>
              </a:pathLst>
            </a:custGeom>
            <a:solidFill>
              <a:srgbClr val="2DB7EA"/>
            </a:solidFill>
          </p:spPr>
          <p:txBody>
            <a:bodyPr wrap="square" lIns="0" tIns="0" rIns="0" bIns="0" rtlCol="0"/>
            <a:lstStyle/>
            <a:p>
              <a:endParaRPr dirty="0"/>
            </a:p>
          </p:txBody>
        </p:sp>
        <p:pic>
          <p:nvPicPr>
            <p:cNvPr id="408" name="object 118">
              <a:extLst>
                <a:ext uri="{FF2B5EF4-FFF2-40B4-BE49-F238E27FC236}">
                  <a16:creationId xmlns:a16="http://schemas.microsoft.com/office/drawing/2014/main" id="{55A9086C-919B-54FB-C137-FD177627AB97}"/>
                </a:ext>
              </a:extLst>
            </p:cNvPr>
            <p:cNvPicPr/>
            <p:nvPr/>
          </p:nvPicPr>
          <p:blipFill>
            <a:blip r:embed="rId8" cstate="print"/>
            <a:stretch>
              <a:fillRect/>
            </a:stretch>
          </p:blipFill>
          <p:spPr>
            <a:xfrm>
              <a:off x="10407394" y="4318566"/>
              <a:ext cx="106445" cy="107156"/>
            </a:xfrm>
            <a:prstGeom prst="rect">
              <a:avLst/>
            </a:prstGeom>
          </p:spPr>
        </p:pic>
        <p:sp>
          <p:nvSpPr>
            <p:cNvPr id="409" name="object 119">
              <a:extLst>
                <a:ext uri="{FF2B5EF4-FFF2-40B4-BE49-F238E27FC236}">
                  <a16:creationId xmlns:a16="http://schemas.microsoft.com/office/drawing/2014/main" id="{2003D03E-4411-DDF9-5908-D7689551C401}"/>
                </a:ext>
              </a:extLst>
            </p:cNvPr>
            <p:cNvSpPr/>
            <p:nvPr/>
          </p:nvSpPr>
          <p:spPr>
            <a:xfrm>
              <a:off x="10294123" y="4517034"/>
              <a:ext cx="332700" cy="477101"/>
            </a:xfrm>
            <a:custGeom>
              <a:avLst/>
              <a:gdLst/>
              <a:ahLst/>
              <a:cxnLst/>
              <a:rect l="l" t="t" r="r" b="b"/>
              <a:pathLst>
                <a:path w="548640" h="786765">
                  <a:moveTo>
                    <a:pt x="548081" y="786384"/>
                  </a:moveTo>
                  <a:lnTo>
                    <a:pt x="542632" y="738225"/>
                  </a:lnTo>
                  <a:lnTo>
                    <a:pt x="529234" y="692962"/>
                  </a:lnTo>
                  <a:lnTo>
                    <a:pt x="508622" y="651332"/>
                  </a:lnTo>
                  <a:lnTo>
                    <a:pt x="481520" y="614083"/>
                  </a:lnTo>
                  <a:lnTo>
                    <a:pt x="448691"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50" y="785304"/>
                  </a:lnTo>
                  <a:lnTo>
                    <a:pt x="47713" y="781265"/>
                  </a:lnTo>
                  <a:lnTo>
                    <a:pt x="92240" y="769620"/>
                  </a:lnTo>
                  <a:lnTo>
                    <a:pt x="133477" y="751014"/>
                  </a:lnTo>
                  <a:lnTo>
                    <a:pt x="170738" y="726147"/>
                  </a:lnTo>
                  <a:lnTo>
                    <a:pt x="203365" y="695680"/>
                  </a:lnTo>
                  <a:lnTo>
                    <a:pt x="230670" y="660298"/>
                  </a:lnTo>
                  <a:lnTo>
                    <a:pt x="251993" y="620674"/>
                  </a:lnTo>
                  <a:lnTo>
                    <a:pt x="266661" y="577469"/>
                  </a:lnTo>
                  <a:lnTo>
                    <a:pt x="273989" y="531393"/>
                  </a:lnTo>
                  <a:lnTo>
                    <a:pt x="281165" y="577659"/>
                  </a:lnTo>
                  <a:lnTo>
                    <a:pt x="295719" y="621030"/>
                  </a:lnTo>
                  <a:lnTo>
                    <a:pt x="316992" y="660831"/>
                  </a:lnTo>
                  <a:lnTo>
                    <a:pt x="344284" y="696366"/>
                  </a:lnTo>
                  <a:lnTo>
                    <a:pt x="376923" y="726960"/>
                  </a:lnTo>
                  <a:lnTo>
                    <a:pt x="414248" y="751941"/>
                  </a:lnTo>
                  <a:lnTo>
                    <a:pt x="455549" y="770623"/>
                  </a:lnTo>
                  <a:lnTo>
                    <a:pt x="500164" y="782332"/>
                  </a:lnTo>
                  <a:lnTo>
                    <a:pt x="548081" y="786384"/>
                  </a:lnTo>
                  <a:close/>
                </a:path>
                <a:path w="548640" h="786765">
                  <a:moveTo>
                    <a:pt x="548081" y="520852"/>
                  </a:moveTo>
                  <a:lnTo>
                    <a:pt x="542632" y="472694"/>
                  </a:lnTo>
                  <a:lnTo>
                    <a:pt x="529234" y="427431"/>
                  </a:lnTo>
                  <a:lnTo>
                    <a:pt x="508622" y="385813"/>
                  </a:lnTo>
                  <a:lnTo>
                    <a:pt x="481520" y="348551"/>
                  </a:lnTo>
                  <a:lnTo>
                    <a:pt x="448691" y="316407"/>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28"/>
                  </a:lnTo>
                  <a:lnTo>
                    <a:pt x="66814" y="348132"/>
                  </a:lnTo>
                  <a:lnTo>
                    <a:pt x="39725" y="385241"/>
                  </a:lnTo>
                  <a:lnTo>
                    <a:pt x="19075" y="426694"/>
                  </a:lnTo>
                  <a:lnTo>
                    <a:pt x="5613" y="471779"/>
                  </a:lnTo>
                  <a:lnTo>
                    <a:pt x="50" y="519772"/>
                  </a:lnTo>
                  <a:lnTo>
                    <a:pt x="47713" y="515734"/>
                  </a:lnTo>
                  <a:lnTo>
                    <a:pt x="92240" y="504075"/>
                  </a:lnTo>
                  <a:lnTo>
                    <a:pt x="133477" y="485482"/>
                  </a:lnTo>
                  <a:lnTo>
                    <a:pt x="170738" y="460616"/>
                  </a:lnTo>
                  <a:lnTo>
                    <a:pt x="203365"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48" y="486410"/>
                  </a:lnTo>
                  <a:lnTo>
                    <a:pt x="455549" y="505091"/>
                  </a:lnTo>
                  <a:lnTo>
                    <a:pt x="500164" y="516801"/>
                  </a:lnTo>
                  <a:lnTo>
                    <a:pt x="548081" y="520852"/>
                  </a:lnTo>
                  <a:close/>
                </a:path>
                <a:path w="548640" h="786765">
                  <a:moveTo>
                    <a:pt x="548093" y="267322"/>
                  </a:moveTo>
                  <a:lnTo>
                    <a:pt x="542645" y="219151"/>
                  </a:lnTo>
                  <a:lnTo>
                    <a:pt x="529247" y="173875"/>
                  </a:lnTo>
                  <a:lnTo>
                    <a:pt x="508635" y="132245"/>
                  </a:lnTo>
                  <a:lnTo>
                    <a:pt x="481533" y="94996"/>
                  </a:lnTo>
                  <a:lnTo>
                    <a:pt x="465277" y="79095"/>
                  </a:lnTo>
                  <a:lnTo>
                    <a:pt x="448691" y="62852"/>
                  </a:lnTo>
                  <a:lnTo>
                    <a:pt x="426351" y="47332"/>
                  </a:lnTo>
                  <a:lnTo>
                    <a:pt x="410845" y="36537"/>
                  </a:lnTo>
                  <a:lnTo>
                    <a:pt x="397395" y="30251"/>
                  </a:lnTo>
                  <a:lnTo>
                    <a:pt x="368706" y="16814"/>
                  </a:lnTo>
                  <a:lnTo>
                    <a:pt x="323037" y="4368"/>
                  </a:lnTo>
                  <a:lnTo>
                    <a:pt x="274561" y="0"/>
                  </a:lnTo>
                  <a:lnTo>
                    <a:pt x="273329" y="0"/>
                  </a:lnTo>
                  <a:lnTo>
                    <a:pt x="224993" y="4356"/>
                  </a:lnTo>
                  <a:lnTo>
                    <a:pt x="179438" y="16725"/>
                  </a:lnTo>
                  <a:lnTo>
                    <a:pt x="137401" y="36372"/>
                  </a:lnTo>
                  <a:lnTo>
                    <a:pt x="99618" y="62560"/>
                  </a:lnTo>
                  <a:lnTo>
                    <a:pt x="98793" y="63360"/>
                  </a:lnTo>
                  <a:lnTo>
                    <a:pt x="66814" y="94576"/>
                  </a:lnTo>
                  <a:lnTo>
                    <a:pt x="39700" y="131686"/>
                  </a:lnTo>
                  <a:lnTo>
                    <a:pt x="19037" y="173139"/>
                  </a:lnTo>
                  <a:lnTo>
                    <a:pt x="5562" y="218211"/>
                  </a:lnTo>
                  <a:lnTo>
                    <a:pt x="0" y="266192"/>
                  </a:lnTo>
                  <a:lnTo>
                    <a:pt x="47713" y="262166"/>
                  </a:lnTo>
                  <a:lnTo>
                    <a:pt x="92240" y="250520"/>
                  </a:lnTo>
                  <a:lnTo>
                    <a:pt x="133477" y="231914"/>
                  </a:lnTo>
                  <a:lnTo>
                    <a:pt x="170738" y="207048"/>
                  </a:lnTo>
                  <a:lnTo>
                    <a:pt x="203365" y="176593"/>
                  </a:lnTo>
                  <a:lnTo>
                    <a:pt x="230682" y="141211"/>
                  </a:lnTo>
                  <a:lnTo>
                    <a:pt x="252006" y="101600"/>
                  </a:lnTo>
                  <a:lnTo>
                    <a:pt x="266674" y="58407"/>
                  </a:lnTo>
                  <a:lnTo>
                    <a:pt x="273989" y="12357"/>
                  </a:lnTo>
                  <a:lnTo>
                    <a:pt x="279844" y="50101"/>
                  </a:lnTo>
                  <a:lnTo>
                    <a:pt x="295719" y="101942"/>
                  </a:lnTo>
                  <a:lnTo>
                    <a:pt x="316992" y="141732"/>
                  </a:lnTo>
                  <a:lnTo>
                    <a:pt x="344284" y="177279"/>
                  </a:lnTo>
                  <a:lnTo>
                    <a:pt x="376923" y="207873"/>
                  </a:lnTo>
                  <a:lnTo>
                    <a:pt x="414248" y="232867"/>
                  </a:lnTo>
                  <a:lnTo>
                    <a:pt x="455549"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410" name="object 120">
              <a:extLst>
                <a:ext uri="{FF2B5EF4-FFF2-40B4-BE49-F238E27FC236}">
                  <a16:creationId xmlns:a16="http://schemas.microsoft.com/office/drawing/2014/main" id="{24BE3417-37E4-8902-75CB-8F608D4AEF80}"/>
                </a:ext>
              </a:extLst>
            </p:cNvPr>
            <p:cNvPicPr/>
            <p:nvPr/>
          </p:nvPicPr>
          <p:blipFill>
            <a:blip r:embed="rId9" cstate="print"/>
            <a:stretch>
              <a:fillRect/>
            </a:stretch>
          </p:blipFill>
          <p:spPr>
            <a:xfrm>
              <a:off x="10407394" y="4972731"/>
              <a:ext cx="106445" cy="107156"/>
            </a:xfrm>
            <a:prstGeom prst="rect">
              <a:avLst/>
            </a:prstGeom>
          </p:spPr>
        </p:pic>
        <p:sp>
          <p:nvSpPr>
            <p:cNvPr id="411" name="object 121">
              <a:extLst>
                <a:ext uri="{FF2B5EF4-FFF2-40B4-BE49-F238E27FC236}">
                  <a16:creationId xmlns:a16="http://schemas.microsoft.com/office/drawing/2014/main" id="{4601C583-0E30-31C4-737B-6537527449C6}"/>
                </a:ext>
              </a:extLst>
            </p:cNvPr>
            <p:cNvSpPr/>
            <p:nvPr/>
          </p:nvSpPr>
          <p:spPr>
            <a:xfrm>
              <a:off x="10294123" y="2554529"/>
              <a:ext cx="332700" cy="477101"/>
            </a:xfrm>
            <a:custGeom>
              <a:avLst/>
              <a:gdLst/>
              <a:ahLst/>
              <a:cxnLst/>
              <a:rect l="l" t="t" r="r" b="b"/>
              <a:pathLst>
                <a:path w="548640" h="786764">
                  <a:moveTo>
                    <a:pt x="548081" y="786396"/>
                  </a:moveTo>
                  <a:lnTo>
                    <a:pt x="542632" y="738238"/>
                  </a:lnTo>
                  <a:lnTo>
                    <a:pt x="529234" y="692975"/>
                  </a:lnTo>
                  <a:lnTo>
                    <a:pt x="508622" y="651344"/>
                  </a:lnTo>
                  <a:lnTo>
                    <a:pt x="481520" y="614095"/>
                  </a:lnTo>
                  <a:lnTo>
                    <a:pt x="448691" y="581939"/>
                  </a:lnTo>
                  <a:lnTo>
                    <a:pt x="410832" y="555625"/>
                  </a:lnTo>
                  <a:lnTo>
                    <a:pt x="368706" y="535901"/>
                  </a:lnTo>
                  <a:lnTo>
                    <a:pt x="323037" y="523468"/>
                  </a:lnTo>
                  <a:lnTo>
                    <a:pt x="274561" y="519099"/>
                  </a:lnTo>
                  <a:lnTo>
                    <a:pt x="273329" y="519099"/>
                  </a:lnTo>
                  <a:lnTo>
                    <a:pt x="224993" y="523455"/>
                  </a:lnTo>
                  <a:lnTo>
                    <a:pt x="179438" y="535813"/>
                  </a:lnTo>
                  <a:lnTo>
                    <a:pt x="137401" y="555459"/>
                  </a:lnTo>
                  <a:lnTo>
                    <a:pt x="99618" y="581660"/>
                  </a:lnTo>
                  <a:lnTo>
                    <a:pt x="66814" y="613676"/>
                  </a:lnTo>
                  <a:lnTo>
                    <a:pt x="39725" y="650773"/>
                  </a:lnTo>
                  <a:lnTo>
                    <a:pt x="19075" y="692238"/>
                  </a:lnTo>
                  <a:lnTo>
                    <a:pt x="5613" y="737323"/>
                  </a:lnTo>
                  <a:lnTo>
                    <a:pt x="50" y="785317"/>
                  </a:lnTo>
                  <a:lnTo>
                    <a:pt x="47713" y="781278"/>
                  </a:lnTo>
                  <a:lnTo>
                    <a:pt x="92240" y="769632"/>
                  </a:lnTo>
                  <a:lnTo>
                    <a:pt x="133477" y="751027"/>
                  </a:lnTo>
                  <a:lnTo>
                    <a:pt x="170738" y="726160"/>
                  </a:lnTo>
                  <a:lnTo>
                    <a:pt x="203365" y="695693"/>
                  </a:lnTo>
                  <a:lnTo>
                    <a:pt x="230670" y="660311"/>
                  </a:lnTo>
                  <a:lnTo>
                    <a:pt x="251993" y="620687"/>
                  </a:lnTo>
                  <a:lnTo>
                    <a:pt x="266661" y="577481"/>
                  </a:lnTo>
                  <a:lnTo>
                    <a:pt x="273989" y="531406"/>
                  </a:lnTo>
                  <a:lnTo>
                    <a:pt x="281165" y="577672"/>
                  </a:lnTo>
                  <a:lnTo>
                    <a:pt x="295719" y="621042"/>
                  </a:lnTo>
                  <a:lnTo>
                    <a:pt x="316992" y="660844"/>
                  </a:lnTo>
                  <a:lnTo>
                    <a:pt x="344284" y="696379"/>
                  </a:lnTo>
                  <a:lnTo>
                    <a:pt x="376923" y="726973"/>
                  </a:lnTo>
                  <a:lnTo>
                    <a:pt x="414248" y="751954"/>
                  </a:lnTo>
                  <a:lnTo>
                    <a:pt x="455549" y="770636"/>
                  </a:lnTo>
                  <a:lnTo>
                    <a:pt x="500164" y="782345"/>
                  </a:lnTo>
                  <a:lnTo>
                    <a:pt x="548081" y="786396"/>
                  </a:lnTo>
                  <a:close/>
                </a:path>
                <a:path w="548640" h="786764">
                  <a:moveTo>
                    <a:pt x="548081" y="520865"/>
                  </a:moveTo>
                  <a:lnTo>
                    <a:pt x="542632" y="472706"/>
                  </a:lnTo>
                  <a:lnTo>
                    <a:pt x="529234" y="427443"/>
                  </a:lnTo>
                  <a:lnTo>
                    <a:pt x="508622" y="385813"/>
                  </a:lnTo>
                  <a:lnTo>
                    <a:pt x="481520" y="348564"/>
                  </a:lnTo>
                  <a:lnTo>
                    <a:pt x="448691" y="316407"/>
                  </a:lnTo>
                  <a:lnTo>
                    <a:pt x="410832" y="290106"/>
                  </a:lnTo>
                  <a:lnTo>
                    <a:pt x="368706" y="270370"/>
                  </a:lnTo>
                  <a:lnTo>
                    <a:pt x="323037" y="257949"/>
                  </a:lnTo>
                  <a:lnTo>
                    <a:pt x="274561" y="253568"/>
                  </a:lnTo>
                  <a:lnTo>
                    <a:pt x="273329" y="253568"/>
                  </a:lnTo>
                  <a:lnTo>
                    <a:pt x="224993" y="257924"/>
                  </a:lnTo>
                  <a:lnTo>
                    <a:pt x="179438" y="270294"/>
                  </a:lnTo>
                  <a:lnTo>
                    <a:pt x="137401" y="289941"/>
                  </a:lnTo>
                  <a:lnTo>
                    <a:pt x="99618" y="316128"/>
                  </a:lnTo>
                  <a:lnTo>
                    <a:pt x="66814" y="348145"/>
                  </a:lnTo>
                  <a:lnTo>
                    <a:pt x="39725" y="385254"/>
                  </a:lnTo>
                  <a:lnTo>
                    <a:pt x="19075" y="426707"/>
                  </a:lnTo>
                  <a:lnTo>
                    <a:pt x="5613" y="471805"/>
                  </a:lnTo>
                  <a:lnTo>
                    <a:pt x="50" y="519785"/>
                  </a:lnTo>
                  <a:lnTo>
                    <a:pt x="47713" y="515759"/>
                  </a:lnTo>
                  <a:lnTo>
                    <a:pt x="92240" y="504101"/>
                  </a:lnTo>
                  <a:lnTo>
                    <a:pt x="133477" y="485495"/>
                  </a:lnTo>
                  <a:lnTo>
                    <a:pt x="170738" y="460629"/>
                  </a:lnTo>
                  <a:lnTo>
                    <a:pt x="203365" y="430161"/>
                  </a:lnTo>
                  <a:lnTo>
                    <a:pt x="230670" y="394779"/>
                  </a:lnTo>
                  <a:lnTo>
                    <a:pt x="251993" y="355155"/>
                  </a:lnTo>
                  <a:lnTo>
                    <a:pt x="266661" y="311962"/>
                  </a:lnTo>
                  <a:lnTo>
                    <a:pt x="273989" y="265874"/>
                  </a:lnTo>
                  <a:lnTo>
                    <a:pt x="281165" y="312140"/>
                  </a:lnTo>
                  <a:lnTo>
                    <a:pt x="295719" y="355511"/>
                  </a:lnTo>
                  <a:lnTo>
                    <a:pt x="316992" y="395312"/>
                  </a:lnTo>
                  <a:lnTo>
                    <a:pt x="344284" y="430847"/>
                  </a:lnTo>
                  <a:lnTo>
                    <a:pt x="376923" y="461441"/>
                  </a:lnTo>
                  <a:lnTo>
                    <a:pt x="414248" y="486422"/>
                  </a:lnTo>
                  <a:lnTo>
                    <a:pt x="455549" y="505104"/>
                  </a:lnTo>
                  <a:lnTo>
                    <a:pt x="500164" y="516813"/>
                  </a:lnTo>
                  <a:lnTo>
                    <a:pt x="548081" y="520865"/>
                  </a:lnTo>
                  <a:close/>
                </a:path>
                <a:path w="548640" h="786764">
                  <a:moveTo>
                    <a:pt x="548093" y="267335"/>
                  </a:moveTo>
                  <a:lnTo>
                    <a:pt x="542645" y="219163"/>
                  </a:lnTo>
                  <a:lnTo>
                    <a:pt x="529247" y="173888"/>
                  </a:lnTo>
                  <a:lnTo>
                    <a:pt x="508635" y="132257"/>
                  </a:lnTo>
                  <a:lnTo>
                    <a:pt x="481533" y="95008"/>
                  </a:lnTo>
                  <a:lnTo>
                    <a:pt x="448691" y="62865"/>
                  </a:lnTo>
                  <a:lnTo>
                    <a:pt x="410845" y="36563"/>
                  </a:lnTo>
                  <a:lnTo>
                    <a:pt x="368706" y="16802"/>
                  </a:lnTo>
                  <a:lnTo>
                    <a:pt x="323037" y="4381"/>
                  </a:lnTo>
                  <a:lnTo>
                    <a:pt x="274561" y="0"/>
                  </a:lnTo>
                  <a:lnTo>
                    <a:pt x="273329" y="0"/>
                  </a:lnTo>
                  <a:lnTo>
                    <a:pt x="224993" y="4356"/>
                  </a:lnTo>
                  <a:lnTo>
                    <a:pt x="179438" y="16725"/>
                  </a:lnTo>
                  <a:lnTo>
                    <a:pt x="137401" y="36372"/>
                  </a:lnTo>
                  <a:lnTo>
                    <a:pt x="99618" y="62572"/>
                  </a:lnTo>
                  <a:lnTo>
                    <a:pt x="66814" y="94576"/>
                  </a:lnTo>
                  <a:lnTo>
                    <a:pt x="39700" y="131699"/>
                  </a:lnTo>
                  <a:lnTo>
                    <a:pt x="19037" y="173151"/>
                  </a:lnTo>
                  <a:lnTo>
                    <a:pt x="5562" y="218224"/>
                  </a:lnTo>
                  <a:lnTo>
                    <a:pt x="0" y="266204"/>
                  </a:lnTo>
                  <a:lnTo>
                    <a:pt x="47713" y="262191"/>
                  </a:lnTo>
                  <a:lnTo>
                    <a:pt x="92240" y="250532"/>
                  </a:lnTo>
                  <a:lnTo>
                    <a:pt x="133477" y="231940"/>
                  </a:lnTo>
                  <a:lnTo>
                    <a:pt x="170738" y="207060"/>
                  </a:lnTo>
                  <a:lnTo>
                    <a:pt x="203365" y="176606"/>
                  </a:lnTo>
                  <a:lnTo>
                    <a:pt x="230682" y="141224"/>
                  </a:lnTo>
                  <a:lnTo>
                    <a:pt x="252006" y="101612"/>
                  </a:lnTo>
                  <a:lnTo>
                    <a:pt x="266674" y="58420"/>
                  </a:lnTo>
                  <a:lnTo>
                    <a:pt x="273989" y="12369"/>
                  </a:lnTo>
                  <a:lnTo>
                    <a:pt x="279844" y="50114"/>
                  </a:lnTo>
                  <a:lnTo>
                    <a:pt x="295719" y="101955"/>
                  </a:lnTo>
                  <a:lnTo>
                    <a:pt x="316992" y="141744"/>
                  </a:lnTo>
                  <a:lnTo>
                    <a:pt x="344284" y="177279"/>
                  </a:lnTo>
                  <a:lnTo>
                    <a:pt x="376936" y="207886"/>
                  </a:lnTo>
                  <a:lnTo>
                    <a:pt x="414248" y="232867"/>
                  </a:lnTo>
                  <a:lnTo>
                    <a:pt x="455549" y="251561"/>
                  </a:lnTo>
                  <a:lnTo>
                    <a:pt x="500176" y="263271"/>
                  </a:lnTo>
                  <a:lnTo>
                    <a:pt x="548093" y="267335"/>
                  </a:lnTo>
                  <a:close/>
                </a:path>
              </a:pathLst>
            </a:custGeom>
            <a:solidFill>
              <a:srgbClr val="2DB7EA"/>
            </a:solidFill>
          </p:spPr>
          <p:txBody>
            <a:bodyPr wrap="square" lIns="0" tIns="0" rIns="0" bIns="0" rtlCol="0"/>
            <a:lstStyle/>
            <a:p>
              <a:endParaRPr dirty="0"/>
            </a:p>
          </p:txBody>
        </p:sp>
        <p:pic>
          <p:nvPicPr>
            <p:cNvPr id="412" name="object 122">
              <a:extLst>
                <a:ext uri="{FF2B5EF4-FFF2-40B4-BE49-F238E27FC236}">
                  <a16:creationId xmlns:a16="http://schemas.microsoft.com/office/drawing/2014/main" id="{C91B7C2D-D50B-62FB-7A4D-201A22D782B8}"/>
                </a:ext>
              </a:extLst>
            </p:cNvPr>
            <p:cNvPicPr/>
            <p:nvPr/>
          </p:nvPicPr>
          <p:blipFill>
            <a:blip r:embed="rId8" cstate="print"/>
            <a:stretch>
              <a:fillRect/>
            </a:stretch>
          </p:blipFill>
          <p:spPr>
            <a:xfrm>
              <a:off x="10407394" y="3010234"/>
              <a:ext cx="106445" cy="107156"/>
            </a:xfrm>
            <a:prstGeom prst="rect">
              <a:avLst/>
            </a:prstGeom>
          </p:spPr>
        </p:pic>
        <p:sp>
          <p:nvSpPr>
            <p:cNvPr id="413" name="object 123">
              <a:extLst>
                <a:ext uri="{FF2B5EF4-FFF2-40B4-BE49-F238E27FC236}">
                  <a16:creationId xmlns:a16="http://schemas.microsoft.com/office/drawing/2014/main" id="{E872908B-E092-6D54-DF83-4F26122E9E1C}"/>
                </a:ext>
              </a:extLst>
            </p:cNvPr>
            <p:cNvSpPr/>
            <p:nvPr/>
          </p:nvSpPr>
          <p:spPr>
            <a:xfrm>
              <a:off x="10294123" y="3208700"/>
              <a:ext cx="332700" cy="477101"/>
            </a:xfrm>
            <a:custGeom>
              <a:avLst/>
              <a:gdLst/>
              <a:ahLst/>
              <a:cxnLst/>
              <a:rect l="l" t="t" r="r" b="b"/>
              <a:pathLst>
                <a:path w="548640" h="786764">
                  <a:moveTo>
                    <a:pt x="548081" y="786384"/>
                  </a:moveTo>
                  <a:lnTo>
                    <a:pt x="542632" y="738225"/>
                  </a:lnTo>
                  <a:lnTo>
                    <a:pt x="529234" y="692962"/>
                  </a:lnTo>
                  <a:lnTo>
                    <a:pt x="508622" y="651344"/>
                  </a:lnTo>
                  <a:lnTo>
                    <a:pt x="481520" y="614083"/>
                  </a:lnTo>
                  <a:lnTo>
                    <a:pt x="448691"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73"/>
                  </a:lnTo>
                  <a:lnTo>
                    <a:pt x="19075" y="692226"/>
                  </a:lnTo>
                  <a:lnTo>
                    <a:pt x="5613" y="737323"/>
                  </a:lnTo>
                  <a:lnTo>
                    <a:pt x="50" y="785317"/>
                  </a:lnTo>
                  <a:lnTo>
                    <a:pt x="47713" y="781278"/>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59"/>
                  </a:lnTo>
                  <a:lnTo>
                    <a:pt x="295719" y="621042"/>
                  </a:lnTo>
                  <a:lnTo>
                    <a:pt x="316992" y="660831"/>
                  </a:lnTo>
                  <a:lnTo>
                    <a:pt x="344284" y="696366"/>
                  </a:lnTo>
                  <a:lnTo>
                    <a:pt x="376923" y="726960"/>
                  </a:lnTo>
                  <a:lnTo>
                    <a:pt x="414248" y="751941"/>
                  </a:lnTo>
                  <a:lnTo>
                    <a:pt x="455549" y="770623"/>
                  </a:lnTo>
                  <a:lnTo>
                    <a:pt x="500164" y="782332"/>
                  </a:lnTo>
                  <a:lnTo>
                    <a:pt x="548081" y="786384"/>
                  </a:lnTo>
                  <a:close/>
                </a:path>
                <a:path w="548640" h="786764">
                  <a:moveTo>
                    <a:pt x="548081" y="520865"/>
                  </a:moveTo>
                  <a:lnTo>
                    <a:pt x="542632" y="472694"/>
                  </a:lnTo>
                  <a:lnTo>
                    <a:pt x="529234" y="427431"/>
                  </a:lnTo>
                  <a:lnTo>
                    <a:pt x="508622" y="385813"/>
                  </a:lnTo>
                  <a:lnTo>
                    <a:pt x="481520" y="348551"/>
                  </a:lnTo>
                  <a:lnTo>
                    <a:pt x="448691" y="316407"/>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15"/>
                  </a:lnTo>
                  <a:lnTo>
                    <a:pt x="66814" y="348132"/>
                  </a:lnTo>
                  <a:lnTo>
                    <a:pt x="39725" y="385241"/>
                  </a:lnTo>
                  <a:lnTo>
                    <a:pt x="19075" y="426694"/>
                  </a:lnTo>
                  <a:lnTo>
                    <a:pt x="5613" y="471792"/>
                  </a:lnTo>
                  <a:lnTo>
                    <a:pt x="50" y="519785"/>
                  </a:lnTo>
                  <a:lnTo>
                    <a:pt x="47713" y="515747"/>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29"/>
                  </a:lnTo>
                  <a:lnTo>
                    <a:pt x="414248" y="486410"/>
                  </a:lnTo>
                  <a:lnTo>
                    <a:pt x="455549" y="505091"/>
                  </a:lnTo>
                  <a:lnTo>
                    <a:pt x="500164" y="516801"/>
                  </a:lnTo>
                  <a:lnTo>
                    <a:pt x="548081" y="520865"/>
                  </a:lnTo>
                  <a:close/>
                </a:path>
                <a:path w="548640" h="786764">
                  <a:moveTo>
                    <a:pt x="548093" y="267322"/>
                  </a:moveTo>
                  <a:lnTo>
                    <a:pt x="542645" y="219151"/>
                  </a:lnTo>
                  <a:lnTo>
                    <a:pt x="529247" y="173888"/>
                  </a:lnTo>
                  <a:lnTo>
                    <a:pt x="508635" y="132257"/>
                  </a:lnTo>
                  <a:lnTo>
                    <a:pt x="481533" y="94996"/>
                  </a:lnTo>
                  <a:lnTo>
                    <a:pt x="465277" y="79095"/>
                  </a:lnTo>
                  <a:lnTo>
                    <a:pt x="448691" y="62852"/>
                  </a:lnTo>
                  <a:lnTo>
                    <a:pt x="410845" y="36550"/>
                  </a:lnTo>
                  <a:lnTo>
                    <a:pt x="368706" y="16814"/>
                  </a:lnTo>
                  <a:lnTo>
                    <a:pt x="323037" y="4368"/>
                  </a:lnTo>
                  <a:lnTo>
                    <a:pt x="274561" y="0"/>
                  </a:lnTo>
                  <a:lnTo>
                    <a:pt x="273329" y="0"/>
                  </a:lnTo>
                  <a:lnTo>
                    <a:pt x="224993" y="4356"/>
                  </a:lnTo>
                  <a:lnTo>
                    <a:pt x="179438" y="16725"/>
                  </a:lnTo>
                  <a:lnTo>
                    <a:pt x="137401" y="36360"/>
                  </a:lnTo>
                  <a:lnTo>
                    <a:pt x="99618" y="62560"/>
                  </a:lnTo>
                  <a:lnTo>
                    <a:pt x="66814" y="94576"/>
                  </a:lnTo>
                  <a:lnTo>
                    <a:pt x="39700" y="131686"/>
                  </a:lnTo>
                  <a:lnTo>
                    <a:pt x="19037" y="173139"/>
                  </a:lnTo>
                  <a:lnTo>
                    <a:pt x="5562" y="218224"/>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3989" y="12369"/>
                  </a:lnTo>
                  <a:lnTo>
                    <a:pt x="279844" y="50101"/>
                  </a:lnTo>
                  <a:lnTo>
                    <a:pt x="295719" y="101942"/>
                  </a:lnTo>
                  <a:lnTo>
                    <a:pt x="316992" y="141744"/>
                  </a:lnTo>
                  <a:lnTo>
                    <a:pt x="344284" y="177279"/>
                  </a:lnTo>
                  <a:lnTo>
                    <a:pt x="376923" y="207873"/>
                  </a:lnTo>
                  <a:lnTo>
                    <a:pt x="414248" y="232867"/>
                  </a:lnTo>
                  <a:lnTo>
                    <a:pt x="455549" y="251548"/>
                  </a:lnTo>
                  <a:lnTo>
                    <a:pt x="500176" y="263271"/>
                  </a:lnTo>
                  <a:lnTo>
                    <a:pt x="548093" y="267322"/>
                  </a:lnTo>
                  <a:close/>
                </a:path>
              </a:pathLst>
            </a:custGeom>
            <a:solidFill>
              <a:srgbClr val="7ED3F1"/>
            </a:solidFill>
          </p:spPr>
          <p:txBody>
            <a:bodyPr wrap="square" lIns="0" tIns="0" rIns="0" bIns="0" rtlCol="0"/>
            <a:lstStyle/>
            <a:p>
              <a:endParaRPr dirty="0"/>
            </a:p>
          </p:txBody>
        </p:sp>
        <p:pic>
          <p:nvPicPr>
            <p:cNvPr id="414" name="object 124">
              <a:extLst>
                <a:ext uri="{FF2B5EF4-FFF2-40B4-BE49-F238E27FC236}">
                  <a16:creationId xmlns:a16="http://schemas.microsoft.com/office/drawing/2014/main" id="{D13DD198-9607-5551-1D5C-58E77FA577C5}"/>
                </a:ext>
              </a:extLst>
            </p:cNvPr>
            <p:cNvPicPr/>
            <p:nvPr/>
          </p:nvPicPr>
          <p:blipFill>
            <a:blip r:embed="rId9" cstate="print"/>
            <a:stretch>
              <a:fillRect/>
            </a:stretch>
          </p:blipFill>
          <p:spPr>
            <a:xfrm>
              <a:off x="10407394" y="3664400"/>
              <a:ext cx="106445" cy="107156"/>
            </a:xfrm>
            <a:prstGeom prst="rect">
              <a:avLst/>
            </a:prstGeom>
          </p:spPr>
        </p:pic>
        <p:sp>
          <p:nvSpPr>
            <p:cNvPr id="415" name="object 125">
              <a:extLst>
                <a:ext uri="{FF2B5EF4-FFF2-40B4-BE49-F238E27FC236}">
                  <a16:creationId xmlns:a16="http://schemas.microsoft.com/office/drawing/2014/main" id="{383A777A-9070-422F-B916-ED3E8DB64EB5}"/>
                </a:ext>
              </a:extLst>
            </p:cNvPr>
            <p:cNvSpPr/>
            <p:nvPr/>
          </p:nvSpPr>
          <p:spPr>
            <a:xfrm>
              <a:off x="10294123" y="1246203"/>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91"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50" y="785304"/>
                  </a:lnTo>
                  <a:lnTo>
                    <a:pt x="47713" y="781278"/>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48" y="751941"/>
                  </a:lnTo>
                  <a:lnTo>
                    <a:pt x="455549" y="770623"/>
                  </a:lnTo>
                  <a:lnTo>
                    <a:pt x="500164" y="782332"/>
                  </a:lnTo>
                  <a:lnTo>
                    <a:pt x="548081" y="786384"/>
                  </a:lnTo>
                  <a:close/>
                </a:path>
                <a:path w="548640" h="786764">
                  <a:moveTo>
                    <a:pt x="548081" y="520852"/>
                  </a:moveTo>
                  <a:lnTo>
                    <a:pt x="542632" y="472694"/>
                  </a:lnTo>
                  <a:lnTo>
                    <a:pt x="529234" y="427431"/>
                  </a:lnTo>
                  <a:lnTo>
                    <a:pt x="508622" y="385813"/>
                  </a:lnTo>
                  <a:lnTo>
                    <a:pt x="481520" y="348551"/>
                  </a:lnTo>
                  <a:lnTo>
                    <a:pt x="448691" y="316395"/>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15"/>
                  </a:lnTo>
                  <a:lnTo>
                    <a:pt x="66814" y="348132"/>
                  </a:lnTo>
                  <a:lnTo>
                    <a:pt x="39725" y="385241"/>
                  </a:lnTo>
                  <a:lnTo>
                    <a:pt x="19075" y="426694"/>
                  </a:lnTo>
                  <a:lnTo>
                    <a:pt x="5613" y="471792"/>
                  </a:lnTo>
                  <a:lnTo>
                    <a:pt x="50" y="519785"/>
                  </a:lnTo>
                  <a:lnTo>
                    <a:pt x="47713" y="515747"/>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48" y="486410"/>
                  </a:lnTo>
                  <a:lnTo>
                    <a:pt x="455549" y="505091"/>
                  </a:lnTo>
                  <a:lnTo>
                    <a:pt x="500164" y="516801"/>
                  </a:lnTo>
                  <a:lnTo>
                    <a:pt x="548081" y="520852"/>
                  </a:lnTo>
                  <a:close/>
                </a:path>
                <a:path w="548640" h="786764">
                  <a:moveTo>
                    <a:pt x="548093" y="267322"/>
                  </a:moveTo>
                  <a:lnTo>
                    <a:pt x="542645" y="219151"/>
                  </a:lnTo>
                  <a:lnTo>
                    <a:pt x="529247" y="173875"/>
                  </a:lnTo>
                  <a:lnTo>
                    <a:pt x="508635" y="132257"/>
                  </a:lnTo>
                  <a:lnTo>
                    <a:pt x="481533" y="94996"/>
                  </a:lnTo>
                  <a:lnTo>
                    <a:pt x="465277" y="79095"/>
                  </a:lnTo>
                  <a:lnTo>
                    <a:pt x="448691" y="62852"/>
                  </a:lnTo>
                  <a:lnTo>
                    <a:pt x="410845" y="36550"/>
                  </a:lnTo>
                  <a:lnTo>
                    <a:pt x="368706" y="16789"/>
                  </a:lnTo>
                  <a:lnTo>
                    <a:pt x="323037" y="4368"/>
                  </a:lnTo>
                  <a:lnTo>
                    <a:pt x="274561" y="0"/>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3989" y="12357"/>
                  </a:lnTo>
                  <a:lnTo>
                    <a:pt x="279844" y="50101"/>
                  </a:lnTo>
                  <a:lnTo>
                    <a:pt x="295719" y="101942"/>
                  </a:lnTo>
                  <a:lnTo>
                    <a:pt x="316992" y="141744"/>
                  </a:lnTo>
                  <a:lnTo>
                    <a:pt x="344284" y="177279"/>
                  </a:lnTo>
                  <a:lnTo>
                    <a:pt x="376923" y="207873"/>
                  </a:lnTo>
                  <a:lnTo>
                    <a:pt x="414248" y="232867"/>
                  </a:lnTo>
                  <a:lnTo>
                    <a:pt x="455549" y="251548"/>
                  </a:lnTo>
                  <a:lnTo>
                    <a:pt x="500176" y="263271"/>
                  </a:lnTo>
                  <a:lnTo>
                    <a:pt x="548093" y="267322"/>
                  </a:lnTo>
                  <a:close/>
                </a:path>
              </a:pathLst>
            </a:custGeom>
            <a:solidFill>
              <a:srgbClr val="2DB7EA"/>
            </a:solidFill>
          </p:spPr>
          <p:txBody>
            <a:bodyPr wrap="square" lIns="0" tIns="0" rIns="0" bIns="0" rtlCol="0"/>
            <a:lstStyle/>
            <a:p>
              <a:endParaRPr dirty="0"/>
            </a:p>
          </p:txBody>
        </p:sp>
        <p:pic>
          <p:nvPicPr>
            <p:cNvPr id="416" name="object 126">
              <a:extLst>
                <a:ext uri="{FF2B5EF4-FFF2-40B4-BE49-F238E27FC236}">
                  <a16:creationId xmlns:a16="http://schemas.microsoft.com/office/drawing/2014/main" id="{8D139528-263B-3669-EA59-C4685B915923}"/>
                </a:ext>
              </a:extLst>
            </p:cNvPr>
            <p:cNvPicPr/>
            <p:nvPr/>
          </p:nvPicPr>
          <p:blipFill>
            <a:blip r:embed="rId8" cstate="print"/>
            <a:stretch>
              <a:fillRect/>
            </a:stretch>
          </p:blipFill>
          <p:spPr>
            <a:xfrm>
              <a:off x="10407394" y="1701903"/>
              <a:ext cx="106445" cy="107156"/>
            </a:xfrm>
            <a:prstGeom prst="rect">
              <a:avLst/>
            </a:prstGeom>
          </p:spPr>
        </p:pic>
        <p:sp>
          <p:nvSpPr>
            <p:cNvPr id="417" name="object 127">
              <a:extLst>
                <a:ext uri="{FF2B5EF4-FFF2-40B4-BE49-F238E27FC236}">
                  <a16:creationId xmlns:a16="http://schemas.microsoft.com/office/drawing/2014/main" id="{70FF57C4-1975-E99E-41C5-40CC017E64C4}"/>
                </a:ext>
              </a:extLst>
            </p:cNvPr>
            <p:cNvSpPr/>
            <p:nvPr/>
          </p:nvSpPr>
          <p:spPr>
            <a:xfrm>
              <a:off x="10294123" y="1900365"/>
              <a:ext cx="332700" cy="477101"/>
            </a:xfrm>
            <a:custGeom>
              <a:avLst/>
              <a:gdLst/>
              <a:ahLst/>
              <a:cxnLst/>
              <a:rect l="l" t="t" r="r" b="b"/>
              <a:pathLst>
                <a:path w="548640" h="786764">
                  <a:moveTo>
                    <a:pt x="548081" y="786396"/>
                  </a:moveTo>
                  <a:lnTo>
                    <a:pt x="542632" y="738225"/>
                  </a:lnTo>
                  <a:lnTo>
                    <a:pt x="529234" y="692962"/>
                  </a:lnTo>
                  <a:lnTo>
                    <a:pt x="508622" y="651344"/>
                  </a:lnTo>
                  <a:lnTo>
                    <a:pt x="481520" y="614083"/>
                  </a:lnTo>
                  <a:lnTo>
                    <a:pt x="448691" y="581939"/>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60"/>
                  </a:lnTo>
                  <a:lnTo>
                    <a:pt x="66814" y="613664"/>
                  </a:lnTo>
                  <a:lnTo>
                    <a:pt x="39725" y="650773"/>
                  </a:lnTo>
                  <a:lnTo>
                    <a:pt x="19075" y="692238"/>
                  </a:lnTo>
                  <a:lnTo>
                    <a:pt x="5613" y="737323"/>
                  </a:lnTo>
                  <a:lnTo>
                    <a:pt x="50" y="785317"/>
                  </a:lnTo>
                  <a:lnTo>
                    <a:pt x="47713" y="781278"/>
                  </a:lnTo>
                  <a:lnTo>
                    <a:pt x="92240" y="769620"/>
                  </a:lnTo>
                  <a:lnTo>
                    <a:pt x="133477" y="751027"/>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48" y="751941"/>
                  </a:lnTo>
                  <a:lnTo>
                    <a:pt x="455549" y="770636"/>
                  </a:lnTo>
                  <a:lnTo>
                    <a:pt x="500164" y="782332"/>
                  </a:lnTo>
                  <a:lnTo>
                    <a:pt x="548081" y="786396"/>
                  </a:lnTo>
                  <a:close/>
                </a:path>
                <a:path w="548640" h="786764">
                  <a:moveTo>
                    <a:pt x="548081" y="520865"/>
                  </a:moveTo>
                  <a:lnTo>
                    <a:pt x="542632" y="472706"/>
                  </a:lnTo>
                  <a:lnTo>
                    <a:pt x="529234" y="427443"/>
                  </a:lnTo>
                  <a:lnTo>
                    <a:pt x="508622" y="385813"/>
                  </a:lnTo>
                  <a:lnTo>
                    <a:pt x="481520" y="348551"/>
                  </a:lnTo>
                  <a:lnTo>
                    <a:pt x="448691" y="316407"/>
                  </a:lnTo>
                  <a:lnTo>
                    <a:pt x="410832" y="290093"/>
                  </a:lnTo>
                  <a:lnTo>
                    <a:pt x="368706" y="270357"/>
                  </a:lnTo>
                  <a:lnTo>
                    <a:pt x="323037" y="257937"/>
                  </a:lnTo>
                  <a:lnTo>
                    <a:pt x="274561" y="253555"/>
                  </a:lnTo>
                  <a:lnTo>
                    <a:pt x="273329" y="253555"/>
                  </a:lnTo>
                  <a:lnTo>
                    <a:pt x="224993" y="257924"/>
                  </a:lnTo>
                  <a:lnTo>
                    <a:pt x="179438" y="270281"/>
                  </a:lnTo>
                  <a:lnTo>
                    <a:pt x="137401" y="289928"/>
                  </a:lnTo>
                  <a:lnTo>
                    <a:pt x="99618" y="316128"/>
                  </a:lnTo>
                  <a:lnTo>
                    <a:pt x="66814" y="348132"/>
                  </a:lnTo>
                  <a:lnTo>
                    <a:pt x="39725" y="385241"/>
                  </a:lnTo>
                  <a:lnTo>
                    <a:pt x="19075" y="426707"/>
                  </a:lnTo>
                  <a:lnTo>
                    <a:pt x="5613" y="471792"/>
                  </a:lnTo>
                  <a:lnTo>
                    <a:pt x="50" y="519785"/>
                  </a:lnTo>
                  <a:lnTo>
                    <a:pt x="47713" y="515747"/>
                  </a:lnTo>
                  <a:lnTo>
                    <a:pt x="92240" y="504088"/>
                  </a:lnTo>
                  <a:lnTo>
                    <a:pt x="133477" y="485495"/>
                  </a:lnTo>
                  <a:lnTo>
                    <a:pt x="170738" y="460616"/>
                  </a:lnTo>
                  <a:lnTo>
                    <a:pt x="203365" y="430161"/>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48" y="486410"/>
                  </a:lnTo>
                  <a:lnTo>
                    <a:pt x="455549" y="505104"/>
                  </a:lnTo>
                  <a:lnTo>
                    <a:pt x="500164" y="516813"/>
                  </a:lnTo>
                  <a:lnTo>
                    <a:pt x="548081" y="520865"/>
                  </a:lnTo>
                  <a:close/>
                </a:path>
                <a:path w="548640" h="786764">
                  <a:moveTo>
                    <a:pt x="548093" y="267322"/>
                  </a:moveTo>
                  <a:lnTo>
                    <a:pt x="542645" y="219151"/>
                  </a:lnTo>
                  <a:lnTo>
                    <a:pt x="529247" y="173888"/>
                  </a:lnTo>
                  <a:lnTo>
                    <a:pt x="508635" y="132257"/>
                  </a:lnTo>
                  <a:lnTo>
                    <a:pt x="481533" y="95008"/>
                  </a:lnTo>
                  <a:lnTo>
                    <a:pt x="448691" y="62852"/>
                  </a:lnTo>
                  <a:lnTo>
                    <a:pt x="410845" y="36550"/>
                  </a:lnTo>
                  <a:lnTo>
                    <a:pt x="368706" y="16814"/>
                  </a:lnTo>
                  <a:lnTo>
                    <a:pt x="323037" y="4381"/>
                  </a:lnTo>
                  <a:lnTo>
                    <a:pt x="274561" y="0"/>
                  </a:lnTo>
                  <a:lnTo>
                    <a:pt x="273329" y="0"/>
                  </a:lnTo>
                  <a:lnTo>
                    <a:pt x="224993" y="4356"/>
                  </a:lnTo>
                  <a:lnTo>
                    <a:pt x="179438" y="16725"/>
                  </a:lnTo>
                  <a:lnTo>
                    <a:pt x="137401" y="36372"/>
                  </a:lnTo>
                  <a:lnTo>
                    <a:pt x="99618" y="62560"/>
                  </a:lnTo>
                  <a:lnTo>
                    <a:pt x="66814" y="94576"/>
                  </a:lnTo>
                  <a:lnTo>
                    <a:pt x="39700" y="131686"/>
                  </a:lnTo>
                  <a:lnTo>
                    <a:pt x="19037" y="173139"/>
                  </a:lnTo>
                  <a:lnTo>
                    <a:pt x="5562" y="218224"/>
                  </a:lnTo>
                  <a:lnTo>
                    <a:pt x="0" y="266192"/>
                  </a:lnTo>
                  <a:lnTo>
                    <a:pt x="47713" y="262191"/>
                  </a:lnTo>
                  <a:lnTo>
                    <a:pt x="92240" y="250532"/>
                  </a:lnTo>
                  <a:lnTo>
                    <a:pt x="133477" y="231927"/>
                  </a:lnTo>
                  <a:lnTo>
                    <a:pt x="170738" y="207060"/>
                  </a:lnTo>
                  <a:lnTo>
                    <a:pt x="203365" y="176593"/>
                  </a:lnTo>
                  <a:lnTo>
                    <a:pt x="230682" y="141224"/>
                  </a:lnTo>
                  <a:lnTo>
                    <a:pt x="252006" y="101600"/>
                  </a:lnTo>
                  <a:lnTo>
                    <a:pt x="266674" y="58420"/>
                  </a:lnTo>
                  <a:lnTo>
                    <a:pt x="273989" y="12369"/>
                  </a:lnTo>
                  <a:lnTo>
                    <a:pt x="279844" y="50101"/>
                  </a:lnTo>
                  <a:lnTo>
                    <a:pt x="295719" y="101942"/>
                  </a:lnTo>
                  <a:lnTo>
                    <a:pt x="316992" y="141744"/>
                  </a:lnTo>
                  <a:lnTo>
                    <a:pt x="344284" y="177279"/>
                  </a:lnTo>
                  <a:lnTo>
                    <a:pt x="376936" y="207886"/>
                  </a:lnTo>
                  <a:lnTo>
                    <a:pt x="414248" y="232867"/>
                  </a:lnTo>
                  <a:lnTo>
                    <a:pt x="455549"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418" name="object 128">
              <a:extLst>
                <a:ext uri="{FF2B5EF4-FFF2-40B4-BE49-F238E27FC236}">
                  <a16:creationId xmlns:a16="http://schemas.microsoft.com/office/drawing/2014/main" id="{4A4E28D0-A70E-E666-DDAA-12B6ED7C5FD8}"/>
                </a:ext>
              </a:extLst>
            </p:cNvPr>
            <p:cNvPicPr/>
            <p:nvPr/>
          </p:nvPicPr>
          <p:blipFill>
            <a:blip r:embed="rId9" cstate="print"/>
            <a:stretch>
              <a:fillRect/>
            </a:stretch>
          </p:blipFill>
          <p:spPr>
            <a:xfrm>
              <a:off x="10407394" y="2356067"/>
              <a:ext cx="106445" cy="107156"/>
            </a:xfrm>
            <a:prstGeom prst="rect">
              <a:avLst/>
            </a:prstGeom>
          </p:spPr>
        </p:pic>
        <p:sp>
          <p:nvSpPr>
            <p:cNvPr id="419" name="object 129">
              <a:extLst>
                <a:ext uri="{FF2B5EF4-FFF2-40B4-BE49-F238E27FC236}">
                  <a16:creationId xmlns:a16="http://schemas.microsoft.com/office/drawing/2014/main" id="{0CC84443-8C17-4053-C72C-45FD1AB2E1A2}"/>
                </a:ext>
              </a:extLst>
            </p:cNvPr>
            <p:cNvSpPr/>
            <p:nvPr/>
          </p:nvSpPr>
          <p:spPr>
            <a:xfrm>
              <a:off x="10294127"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420" name="object 130">
              <a:extLst>
                <a:ext uri="{FF2B5EF4-FFF2-40B4-BE49-F238E27FC236}">
                  <a16:creationId xmlns:a16="http://schemas.microsoft.com/office/drawing/2014/main" id="{10A2542F-9B2E-9C93-D8AE-2FB605017A71}"/>
                </a:ext>
              </a:extLst>
            </p:cNvPr>
            <p:cNvPicPr/>
            <p:nvPr/>
          </p:nvPicPr>
          <p:blipFill>
            <a:blip r:embed="rId20" cstate="print"/>
            <a:stretch>
              <a:fillRect/>
            </a:stretch>
          </p:blipFill>
          <p:spPr>
            <a:xfrm>
              <a:off x="10294154" y="123"/>
              <a:ext cx="152433" cy="99184"/>
            </a:xfrm>
            <a:prstGeom prst="rect">
              <a:avLst/>
            </a:prstGeom>
          </p:spPr>
        </p:pic>
        <p:pic>
          <p:nvPicPr>
            <p:cNvPr id="421" name="object 131">
              <a:extLst>
                <a:ext uri="{FF2B5EF4-FFF2-40B4-BE49-F238E27FC236}">
                  <a16:creationId xmlns:a16="http://schemas.microsoft.com/office/drawing/2014/main" id="{20C4AAF1-9D0A-E4FD-4D97-3CDB83C3DD84}"/>
                </a:ext>
              </a:extLst>
            </p:cNvPr>
            <p:cNvPicPr/>
            <p:nvPr/>
          </p:nvPicPr>
          <p:blipFill>
            <a:blip r:embed="rId21" cstate="print"/>
            <a:stretch>
              <a:fillRect/>
            </a:stretch>
          </p:blipFill>
          <p:spPr>
            <a:xfrm>
              <a:off x="10473688" y="123"/>
              <a:ext cx="152798" cy="99837"/>
            </a:xfrm>
            <a:prstGeom prst="rect">
              <a:avLst/>
            </a:prstGeom>
          </p:spPr>
        </p:pic>
        <p:sp>
          <p:nvSpPr>
            <p:cNvPr id="422" name="object 132">
              <a:extLst>
                <a:ext uri="{FF2B5EF4-FFF2-40B4-BE49-F238E27FC236}">
                  <a16:creationId xmlns:a16="http://schemas.microsoft.com/office/drawing/2014/main" id="{6853EE99-9278-DB8A-F507-2D37C2D09BC7}"/>
                </a:ext>
              </a:extLst>
            </p:cNvPr>
            <p:cNvSpPr/>
            <p:nvPr/>
          </p:nvSpPr>
          <p:spPr>
            <a:xfrm>
              <a:off x="10294154" y="91626"/>
              <a:ext cx="332700" cy="323458"/>
            </a:xfrm>
            <a:custGeom>
              <a:avLst/>
              <a:gdLst/>
              <a:ahLst/>
              <a:cxnLst/>
              <a:rect l="l" t="t" r="r" b="b"/>
              <a:pathLst>
                <a:path w="548640" h="533400">
                  <a:moveTo>
                    <a:pt x="548030" y="532841"/>
                  </a:moveTo>
                  <a:lnTo>
                    <a:pt x="542582" y="484682"/>
                  </a:lnTo>
                  <a:lnTo>
                    <a:pt x="529183" y="439420"/>
                  </a:lnTo>
                  <a:lnTo>
                    <a:pt x="508571" y="397789"/>
                  </a:lnTo>
                  <a:lnTo>
                    <a:pt x="481469" y="360527"/>
                  </a:lnTo>
                  <a:lnTo>
                    <a:pt x="448640" y="328383"/>
                  </a:lnTo>
                  <a:lnTo>
                    <a:pt x="410781" y="302069"/>
                  </a:lnTo>
                  <a:lnTo>
                    <a:pt x="368655" y="282333"/>
                  </a:lnTo>
                  <a:lnTo>
                    <a:pt x="322986" y="269913"/>
                  </a:lnTo>
                  <a:lnTo>
                    <a:pt x="274510" y="265544"/>
                  </a:lnTo>
                  <a:lnTo>
                    <a:pt x="273278" y="265544"/>
                  </a:lnTo>
                  <a:lnTo>
                    <a:pt x="224942" y="269900"/>
                  </a:lnTo>
                  <a:lnTo>
                    <a:pt x="179387" y="282257"/>
                  </a:lnTo>
                  <a:lnTo>
                    <a:pt x="137350" y="301904"/>
                  </a:lnTo>
                  <a:lnTo>
                    <a:pt x="99568" y="328104"/>
                  </a:lnTo>
                  <a:lnTo>
                    <a:pt x="66763" y="360121"/>
                  </a:lnTo>
                  <a:lnTo>
                    <a:pt x="39674" y="397217"/>
                  </a:lnTo>
                  <a:lnTo>
                    <a:pt x="19024" y="438683"/>
                  </a:lnTo>
                  <a:lnTo>
                    <a:pt x="5562" y="483768"/>
                  </a:lnTo>
                  <a:lnTo>
                    <a:pt x="0" y="531761"/>
                  </a:lnTo>
                  <a:lnTo>
                    <a:pt x="47663" y="527723"/>
                  </a:lnTo>
                  <a:lnTo>
                    <a:pt x="92189" y="516064"/>
                  </a:lnTo>
                  <a:lnTo>
                    <a:pt x="133426" y="497471"/>
                  </a:lnTo>
                  <a:lnTo>
                    <a:pt x="170688" y="472592"/>
                  </a:lnTo>
                  <a:lnTo>
                    <a:pt x="203314" y="442137"/>
                  </a:lnTo>
                  <a:lnTo>
                    <a:pt x="230619" y="406755"/>
                  </a:lnTo>
                  <a:lnTo>
                    <a:pt x="251942" y="367118"/>
                  </a:lnTo>
                  <a:lnTo>
                    <a:pt x="266611" y="323926"/>
                  </a:lnTo>
                  <a:lnTo>
                    <a:pt x="273939" y="277837"/>
                  </a:lnTo>
                  <a:lnTo>
                    <a:pt x="281114" y="324116"/>
                  </a:lnTo>
                  <a:lnTo>
                    <a:pt x="295668" y="367487"/>
                  </a:lnTo>
                  <a:lnTo>
                    <a:pt x="316941" y="407276"/>
                  </a:lnTo>
                  <a:lnTo>
                    <a:pt x="344233" y="442810"/>
                  </a:lnTo>
                  <a:lnTo>
                    <a:pt x="376872" y="473417"/>
                  </a:lnTo>
                  <a:lnTo>
                    <a:pt x="414197" y="498398"/>
                  </a:lnTo>
                  <a:lnTo>
                    <a:pt x="455498" y="517080"/>
                  </a:lnTo>
                  <a:lnTo>
                    <a:pt x="500113" y="528789"/>
                  </a:lnTo>
                  <a:lnTo>
                    <a:pt x="548030" y="532841"/>
                  </a:lnTo>
                  <a:close/>
                </a:path>
                <a:path w="548640" h="533400">
                  <a:moveTo>
                    <a:pt x="548030" y="267309"/>
                  </a:moveTo>
                  <a:lnTo>
                    <a:pt x="542582" y="219138"/>
                  </a:lnTo>
                  <a:lnTo>
                    <a:pt x="529183" y="173888"/>
                  </a:lnTo>
                  <a:lnTo>
                    <a:pt x="508571" y="132257"/>
                  </a:lnTo>
                  <a:lnTo>
                    <a:pt x="481469" y="94996"/>
                  </a:lnTo>
                  <a:lnTo>
                    <a:pt x="448640" y="62852"/>
                  </a:lnTo>
                  <a:lnTo>
                    <a:pt x="410781" y="36537"/>
                  </a:lnTo>
                  <a:lnTo>
                    <a:pt x="368655" y="16802"/>
                  </a:lnTo>
                  <a:lnTo>
                    <a:pt x="322986" y="4381"/>
                  </a:lnTo>
                  <a:lnTo>
                    <a:pt x="274510" y="0"/>
                  </a:lnTo>
                  <a:lnTo>
                    <a:pt x="273278" y="0"/>
                  </a:lnTo>
                  <a:lnTo>
                    <a:pt x="224942" y="4356"/>
                  </a:lnTo>
                  <a:lnTo>
                    <a:pt x="179387" y="16725"/>
                  </a:lnTo>
                  <a:lnTo>
                    <a:pt x="137350" y="36372"/>
                  </a:lnTo>
                  <a:lnTo>
                    <a:pt x="99568" y="62572"/>
                  </a:lnTo>
                  <a:lnTo>
                    <a:pt x="66763" y="94576"/>
                  </a:lnTo>
                  <a:lnTo>
                    <a:pt x="39674" y="131686"/>
                  </a:lnTo>
                  <a:lnTo>
                    <a:pt x="19024" y="173151"/>
                  </a:lnTo>
                  <a:lnTo>
                    <a:pt x="5562" y="218236"/>
                  </a:lnTo>
                  <a:lnTo>
                    <a:pt x="0" y="266230"/>
                  </a:lnTo>
                  <a:lnTo>
                    <a:pt x="47663" y="262191"/>
                  </a:lnTo>
                  <a:lnTo>
                    <a:pt x="92189" y="250532"/>
                  </a:lnTo>
                  <a:lnTo>
                    <a:pt x="133426" y="231940"/>
                  </a:lnTo>
                  <a:lnTo>
                    <a:pt x="170688" y="207060"/>
                  </a:lnTo>
                  <a:lnTo>
                    <a:pt x="203314" y="176593"/>
                  </a:lnTo>
                  <a:lnTo>
                    <a:pt x="230619" y="141211"/>
                  </a:lnTo>
                  <a:lnTo>
                    <a:pt x="251942" y="101587"/>
                  </a:lnTo>
                  <a:lnTo>
                    <a:pt x="266611" y="58394"/>
                  </a:lnTo>
                  <a:lnTo>
                    <a:pt x="273939" y="12306"/>
                  </a:lnTo>
                  <a:lnTo>
                    <a:pt x="281114" y="58585"/>
                  </a:lnTo>
                  <a:lnTo>
                    <a:pt x="295668" y="101955"/>
                  </a:lnTo>
                  <a:lnTo>
                    <a:pt x="316941" y="141744"/>
                  </a:lnTo>
                  <a:lnTo>
                    <a:pt x="344233" y="177279"/>
                  </a:lnTo>
                  <a:lnTo>
                    <a:pt x="376872" y="207873"/>
                  </a:lnTo>
                  <a:lnTo>
                    <a:pt x="414197" y="232854"/>
                  </a:lnTo>
                  <a:lnTo>
                    <a:pt x="455498" y="251548"/>
                  </a:lnTo>
                  <a:lnTo>
                    <a:pt x="500113" y="263258"/>
                  </a:lnTo>
                  <a:lnTo>
                    <a:pt x="548030" y="267309"/>
                  </a:lnTo>
                  <a:close/>
                </a:path>
              </a:pathLst>
            </a:custGeom>
            <a:solidFill>
              <a:srgbClr val="2DB7EA"/>
            </a:solidFill>
          </p:spPr>
          <p:txBody>
            <a:bodyPr wrap="square" lIns="0" tIns="0" rIns="0" bIns="0" rtlCol="0"/>
            <a:lstStyle/>
            <a:p>
              <a:endParaRPr dirty="0"/>
            </a:p>
          </p:txBody>
        </p:sp>
        <p:pic>
          <p:nvPicPr>
            <p:cNvPr id="423" name="object 133">
              <a:extLst>
                <a:ext uri="{FF2B5EF4-FFF2-40B4-BE49-F238E27FC236}">
                  <a16:creationId xmlns:a16="http://schemas.microsoft.com/office/drawing/2014/main" id="{569653BE-F64B-5EB8-1680-19889779900D}"/>
                </a:ext>
              </a:extLst>
            </p:cNvPr>
            <p:cNvPicPr/>
            <p:nvPr/>
          </p:nvPicPr>
          <p:blipFill>
            <a:blip r:embed="rId8" cstate="print"/>
            <a:stretch>
              <a:fillRect/>
            </a:stretch>
          </p:blipFill>
          <p:spPr>
            <a:xfrm>
              <a:off x="10407394" y="393572"/>
              <a:ext cx="106445" cy="107156"/>
            </a:xfrm>
            <a:prstGeom prst="rect">
              <a:avLst/>
            </a:prstGeom>
          </p:spPr>
        </p:pic>
        <p:sp>
          <p:nvSpPr>
            <p:cNvPr id="424" name="object 134">
              <a:extLst>
                <a:ext uri="{FF2B5EF4-FFF2-40B4-BE49-F238E27FC236}">
                  <a16:creationId xmlns:a16="http://schemas.microsoft.com/office/drawing/2014/main" id="{3A1942DC-6EAD-20BD-AF57-4A6BB1A8A470}"/>
                </a:ext>
              </a:extLst>
            </p:cNvPr>
            <p:cNvSpPr/>
            <p:nvPr/>
          </p:nvSpPr>
          <p:spPr>
            <a:xfrm>
              <a:off x="10294123" y="592039"/>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91"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50" y="785304"/>
                  </a:lnTo>
                  <a:lnTo>
                    <a:pt x="47713" y="781278"/>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48" y="751941"/>
                  </a:lnTo>
                  <a:lnTo>
                    <a:pt x="455549" y="770623"/>
                  </a:lnTo>
                  <a:lnTo>
                    <a:pt x="500164" y="782332"/>
                  </a:lnTo>
                  <a:lnTo>
                    <a:pt x="548081" y="786384"/>
                  </a:lnTo>
                  <a:close/>
                </a:path>
                <a:path w="548640" h="786764">
                  <a:moveTo>
                    <a:pt x="548081" y="520852"/>
                  </a:moveTo>
                  <a:lnTo>
                    <a:pt x="542632" y="472694"/>
                  </a:lnTo>
                  <a:lnTo>
                    <a:pt x="529234" y="427431"/>
                  </a:lnTo>
                  <a:lnTo>
                    <a:pt x="508622" y="385800"/>
                  </a:lnTo>
                  <a:lnTo>
                    <a:pt x="481520" y="348551"/>
                  </a:lnTo>
                  <a:lnTo>
                    <a:pt x="448691" y="316395"/>
                  </a:lnTo>
                  <a:lnTo>
                    <a:pt x="410832" y="290080"/>
                  </a:lnTo>
                  <a:lnTo>
                    <a:pt x="368706" y="270357"/>
                  </a:lnTo>
                  <a:lnTo>
                    <a:pt x="323037" y="257924"/>
                  </a:lnTo>
                  <a:lnTo>
                    <a:pt x="274561" y="253555"/>
                  </a:lnTo>
                  <a:lnTo>
                    <a:pt x="273329" y="253555"/>
                  </a:lnTo>
                  <a:lnTo>
                    <a:pt x="224993" y="257911"/>
                  </a:lnTo>
                  <a:lnTo>
                    <a:pt x="179438" y="270281"/>
                  </a:lnTo>
                  <a:lnTo>
                    <a:pt x="137401" y="289915"/>
                  </a:lnTo>
                  <a:lnTo>
                    <a:pt x="99618" y="316115"/>
                  </a:lnTo>
                  <a:lnTo>
                    <a:pt x="66814" y="348132"/>
                  </a:lnTo>
                  <a:lnTo>
                    <a:pt x="39725" y="385229"/>
                  </a:lnTo>
                  <a:lnTo>
                    <a:pt x="19075" y="426694"/>
                  </a:lnTo>
                  <a:lnTo>
                    <a:pt x="5613" y="471779"/>
                  </a:lnTo>
                  <a:lnTo>
                    <a:pt x="50" y="519772"/>
                  </a:lnTo>
                  <a:lnTo>
                    <a:pt x="47713" y="515734"/>
                  </a:lnTo>
                  <a:lnTo>
                    <a:pt x="92240" y="504088"/>
                  </a:lnTo>
                  <a:lnTo>
                    <a:pt x="133477" y="485482"/>
                  </a:lnTo>
                  <a:lnTo>
                    <a:pt x="170738" y="460616"/>
                  </a:lnTo>
                  <a:lnTo>
                    <a:pt x="203365" y="430149"/>
                  </a:lnTo>
                  <a:lnTo>
                    <a:pt x="230670" y="394766"/>
                  </a:lnTo>
                  <a:lnTo>
                    <a:pt x="251993" y="355142"/>
                  </a:lnTo>
                  <a:lnTo>
                    <a:pt x="266661" y="311937"/>
                  </a:lnTo>
                  <a:lnTo>
                    <a:pt x="273989" y="265861"/>
                  </a:lnTo>
                  <a:lnTo>
                    <a:pt x="281165" y="312127"/>
                  </a:lnTo>
                  <a:lnTo>
                    <a:pt x="295719" y="355498"/>
                  </a:lnTo>
                  <a:lnTo>
                    <a:pt x="316992" y="395300"/>
                  </a:lnTo>
                  <a:lnTo>
                    <a:pt x="344284" y="430834"/>
                  </a:lnTo>
                  <a:lnTo>
                    <a:pt x="376923" y="461429"/>
                  </a:lnTo>
                  <a:lnTo>
                    <a:pt x="414248" y="486410"/>
                  </a:lnTo>
                  <a:lnTo>
                    <a:pt x="455549" y="505091"/>
                  </a:lnTo>
                  <a:lnTo>
                    <a:pt x="500164" y="516801"/>
                  </a:lnTo>
                  <a:lnTo>
                    <a:pt x="548081" y="520852"/>
                  </a:lnTo>
                  <a:close/>
                </a:path>
                <a:path w="548640" h="786764">
                  <a:moveTo>
                    <a:pt x="548093" y="267322"/>
                  </a:moveTo>
                  <a:lnTo>
                    <a:pt x="542645" y="219138"/>
                  </a:lnTo>
                  <a:lnTo>
                    <a:pt x="529247" y="173875"/>
                  </a:lnTo>
                  <a:lnTo>
                    <a:pt x="508635" y="132245"/>
                  </a:lnTo>
                  <a:lnTo>
                    <a:pt x="481533" y="94996"/>
                  </a:lnTo>
                  <a:lnTo>
                    <a:pt x="448691" y="62839"/>
                  </a:lnTo>
                  <a:lnTo>
                    <a:pt x="410845" y="36537"/>
                  </a:lnTo>
                  <a:lnTo>
                    <a:pt x="368706" y="16789"/>
                  </a:lnTo>
                  <a:lnTo>
                    <a:pt x="323037" y="4368"/>
                  </a:lnTo>
                  <a:lnTo>
                    <a:pt x="274561" y="12"/>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77" y="231927"/>
                  </a:lnTo>
                  <a:lnTo>
                    <a:pt x="170738" y="207048"/>
                  </a:lnTo>
                  <a:lnTo>
                    <a:pt x="203365" y="176593"/>
                  </a:lnTo>
                  <a:lnTo>
                    <a:pt x="230682" y="141211"/>
                  </a:lnTo>
                  <a:lnTo>
                    <a:pt x="252006" y="101587"/>
                  </a:lnTo>
                  <a:lnTo>
                    <a:pt x="266674" y="58407"/>
                  </a:lnTo>
                  <a:lnTo>
                    <a:pt x="273989" y="12357"/>
                  </a:lnTo>
                  <a:lnTo>
                    <a:pt x="281165" y="58572"/>
                  </a:lnTo>
                  <a:lnTo>
                    <a:pt x="295719" y="101942"/>
                  </a:lnTo>
                  <a:lnTo>
                    <a:pt x="316992" y="141732"/>
                  </a:lnTo>
                  <a:lnTo>
                    <a:pt x="344284" y="177266"/>
                  </a:lnTo>
                  <a:lnTo>
                    <a:pt x="376923" y="207873"/>
                  </a:lnTo>
                  <a:lnTo>
                    <a:pt x="414248" y="232854"/>
                  </a:lnTo>
                  <a:lnTo>
                    <a:pt x="455549"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425" name="object 135">
              <a:extLst>
                <a:ext uri="{FF2B5EF4-FFF2-40B4-BE49-F238E27FC236}">
                  <a16:creationId xmlns:a16="http://schemas.microsoft.com/office/drawing/2014/main" id="{FBC44F36-841F-2308-BE95-03F6059601C9}"/>
                </a:ext>
              </a:extLst>
            </p:cNvPr>
            <p:cNvPicPr/>
            <p:nvPr/>
          </p:nvPicPr>
          <p:blipFill>
            <a:blip r:embed="rId9" cstate="print"/>
            <a:stretch>
              <a:fillRect/>
            </a:stretch>
          </p:blipFill>
          <p:spPr>
            <a:xfrm>
              <a:off x="10407394" y="1047738"/>
              <a:ext cx="106445" cy="107156"/>
            </a:xfrm>
            <a:prstGeom prst="rect">
              <a:avLst/>
            </a:prstGeom>
          </p:spPr>
        </p:pic>
        <p:sp>
          <p:nvSpPr>
            <p:cNvPr id="426" name="object 136">
              <a:extLst>
                <a:ext uri="{FF2B5EF4-FFF2-40B4-BE49-F238E27FC236}">
                  <a16:creationId xmlns:a16="http://schemas.microsoft.com/office/drawing/2014/main" id="{5446F6BF-5A11-1ACD-0A69-A8EC4BEA4FB4}"/>
                </a:ext>
              </a:extLst>
            </p:cNvPr>
            <p:cNvSpPr/>
            <p:nvPr/>
          </p:nvSpPr>
          <p:spPr>
            <a:xfrm>
              <a:off x="11449331" y="804428"/>
              <a:ext cx="332700" cy="477101"/>
            </a:xfrm>
            <a:custGeom>
              <a:avLst/>
              <a:gdLst/>
              <a:ahLst/>
              <a:cxnLst/>
              <a:rect l="l" t="t" r="r" b="b"/>
              <a:pathLst>
                <a:path w="548640" h="786764">
                  <a:moveTo>
                    <a:pt x="548055" y="266598"/>
                  </a:moveTo>
                  <a:lnTo>
                    <a:pt x="500380" y="270637"/>
                  </a:lnTo>
                  <a:lnTo>
                    <a:pt x="455853" y="282295"/>
                  </a:lnTo>
                  <a:lnTo>
                    <a:pt x="414616" y="300901"/>
                  </a:lnTo>
                  <a:lnTo>
                    <a:pt x="377355" y="325767"/>
                  </a:lnTo>
                  <a:lnTo>
                    <a:pt x="344728" y="356235"/>
                  </a:lnTo>
                  <a:lnTo>
                    <a:pt x="317423" y="391617"/>
                  </a:lnTo>
                  <a:lnTo>
                    <a:pt x="296100" y="431241"/>
                  </a:lnTo>
                  <a:lnTo>
                    <a:pt x="281432" y="474433"/>
                  </a:lnTo>
                  <a:lnTo>
                    <a:pt x="274104" y="520522"/>
                  </a:lnTo>
                  <a:lnTo>
                    <a:pt x="266928" y="474256"/>
                  </a:lnTo>
                  <a:lnTo>
                    <a:pt x="252374" y="430872"/>
                  </a:lnTo>
                  <a:lnTo>
                    <a:pt x="231101" y="391083"/>
                  </a:lnTo>
                  <a:lnTo>
                    <a:pt x="203809" y="355549"/>
                  </a:lnTo>
                  <a:lnTo>
                    <a:pt x="171170" y="324954"/>
                  </a:lnTo>
                  <a:lnTo>
                    <a:pt x="133858" y="299974"/>
                  </a:lnTo>
                  <a:lnTo>
                    <a:pt x="92544" y="281292"/>
                  </a:lnTo>
                  <a:lnTo>
                    <a:pt x="47929" y="269582"/>
                  </a:lnTo>
                  <a:lnTo>
                    <a:pt x="12" y="265531"/>
                  </a:lnTo>
                  <a:lnTo>
                    <a:pt x="5461" y="313690"/>
                  </a:lnTo>
                  <a:lnTo>
                    <a:pt x="18859" y="358952"/>
                  </a:lnTo>
                  <a:lnTo>
                    <a:pt x="39471" y="400570"/>
                  </a:lnTo>
                  <a:lnTo>
                    <a:pt x="66573" y="437832"/>
                  </a:lnTo>
                  <a:lnTo>
                    <a:pt x="99415" y="469988"/>
                  </a:lnTo>
                  <a:lnTo>
                    <a:pt x="137261" y="496290"/>
                  </a:lnTo>
                  <a:lnTo>
                    <a:pt x="179387" y="516026"/>
                  </a:lnTo>
                  <a:lnTo>
                    <a:pt x="225056" y="528447"/>
                  </a:lnTo>
                  <a:lnTo>
                    <a:pt x="273532" y="532828"/>
                  </a:lnTo>
                  <a:lnTo>
                    <a:pt x="274764" y="532828"/>
                  </a:lnTo>
                  <a:lnTo>
                    <a:pt x="323100" y="528472"/>
                  </a:lnTo>
                  <a:lnTo>
                    <a:pt x="368655" y="516102"/>
                  </a:lnTo>
                  <a:lnTo>
                    <a:pt x="410692" y="496455"/>
                  </a:lnTo>
                  <a:lnTo>
                    <a:pt x="448475" y="470268"/>
                  </a:lnTo>
                  <a:lnTo>
                    <a:pt x="481279" y="438251"/>
                  </a:lnTo>
                  <a:lnTo>
                    <a:pt x="508368" y="401142"/>
                  </a:lnTo>
                  <a:lnTo>
                    <a:pt x="529018" y="359689"/>
                  </a:lnTo>
                  <a:lnTo>
                    <a:pt x="542480" y="314591"/>
                  </a:lnTo>
                  <a:lnTo>
                    <a:pt x="548055" y="266598"/>
                  </a:lnTo>
                  <a:close/>
                </a:path>
                <a:path w="548640" h="786764">
                  <a:moveTo>
                    <a:pt x="548055" y="1079"/>
                  </a:moveTo>
                  <a:lnTo>
                    <a:pt x="500380" y="5105"/>
                  </a:lnTo>
                  <a:lnTo>
                    <a:pt x="455853" y="16764"/>
                  </a:lnTo>
                  <a:lnTo>
                    <a:pt x="414616" y="35369"/>
                  </a:lnTo>
                  <a:lnTo>
                    <a:pt x="377355" y="60236"/>
                  </a:lnTo>
                  <a:lnTo>
                    <a:pt x="344728" y="90703"/>
                  </a:lnTo>
                  <a:lnTo>
                    <a:pt x="317423" y="126085"/>
                  </a:lnTo>
                  <a:lnTo>
                    <a:pt x="296100" y="165709"/>
                  </a:lnTo>
                  <a:lnTo>
                    <a:pt x="281432" y="208902"/>
                  </a:lnTo>
                  <a:lnTo>
                    <a:pt x="274104" y="254990"/>
                  </a:lnTo>
                  <a:lnTo>
                    <a:pt x="266928" y="208724"/>
                  </a:lnTo>
                  <a:lnTo>
                    <a:pt x="252374" y="165354"/>
                  </a:lnTo>
                  <a:lnTo>
                    <a:pt x="231101" y="125552"/>
                  </a:lnTo>
                  <a:lnTo>
                    <a:pt x="203809" y="90017"/>
                  </a:lnTo>
                  <a:lnTo>
                    <a:pt x="171170" y="59423"/>
                  </a:lnTo>
                  <a:lnTo>
                    <a:pt x="133858" y="34442"/>
                  </a:lnTo>
                  <a:lnTo>
                    <a:pt x="92544" y="15760"/>
                  </a:lnTo>
                  <a:lnTo>
                    <a:pt x="47929" y="4051"/>
                  </a:lnTo>
                  <a:lnTo>
                    <a:pt x="12" y="0"/>
                  </a:lnTo>
                  <a:lnTo>
                    <a:pt x="5461" y="48158"/>
                  </a:lnTo>
                  <a:lnTo>
                    <a:pt x="18859" y="93421"/>
                  </a:lnTo>
                  <a:lnTo>
                    <a:pt x="39471" y="135051"/>
                  </a:lnTo>
                  <a:lnTo>
                    <a:pt x="66573" y="172300"/>
                  </a:lnTo>
                  <a:lnTo>
                    <a:pt x="99415" y="204457"/>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36"/>
                  </a:lnTo>
                  <a:lnTo>
                    <a:pt x="481279" y="172720"/>
                  </a:lnTo>
                  <a:lnTo>
                    <a:pt x="508368" y="135623"/>
                  </a:lnTo>
                  <a:lnTo>
                    <a:pt x="529018" y="94157"/>
                  </a:lnTo>
                  <a:lnTo>
                    <a:pt x="542480" y="49060"/>
                  </a:lnTo>
                  <a:lnTo>
                    <a:pt x="548055" y="1079"/>
                  </a:lnTo>
                  <a:close/>
                </a:path>
                <a:path w="548640" h="786764">
                  <a:moveTo>
                    <a:pt x="548093" y="520192"/>
                  </a:moveTo>
                  <a:lnTo>
                    <a:pt x="500380" y="524205"/>
                  </a:lnTo>
                  <a:lnTo>
                    <a:pt x="455853" y="535851"/>
                  </a:lnTo>
                  <a:lnTo>
                    <a:pt x="414616" y="554456"/>
                  </a:lnTo>
                  <a:lnTo>
                    <a:pt x="377355" y="579323"/>
                  </a:lnTo>
                  <a:lnTo>
                    <a:pt x="344728" y="609790"/>
                  </a:lnTo>
                  <a:lnTo>
                    <a:pt x="317411" y="645160"/>
                  </a:lnTo>
                  <a:lnTo>
                    <a:pt x="296087" y="684784"/>
                  </a:lnTo>
                  <a:lnTo>
                    <a:pt x="281419" y="727976"/>
                  </a:lnTo>
                  <a:lnTo>
                    <a:pt x="274091" y="774039"/>
                  </a:lnTo>
                  <a:lnTo>
                    <a:pt x="266928" y="727811"/>
                  </a:lnTo>
                  <a:lnTo>
                    <a:pt x="252374" y="684441"/>
                  </a:lnTo>
                  <a:lnTo>
                    <a:pt x="238506" y="658507"/>
                  </a:lnTo>
                  <a:lnTo>
                    <a:pt x="231101" y="644652"/>
                  </a:lnTo>
                  <a:lnTo>
                    <a:pt x="203809" y="609117"/>
                  </a:lnTo>
                  <a:lnTo>
                    <a:pt x="186956" y="593318"/>
                  </a:lnTo>
                  <a:lnTo>
                    <a:pt x="171170" y="578510"/>
                  </a:lnTo>
                  <a:lnTo>
                    <a:pt x="146177" y="561784"/>
                  </a:lnTo>
                  <a:lnTo>
                    <a:pt x="133858" y="553529"/>
                  </a:lnTo>
                  <a:lnTo>
                    <a:pt x="92544" y="534847"/>
                  </a:lnTo>
                  <a:lnTo>
                    <a:pt x="47917" y="523113"/>
                  </a:lnTo>
                  <a:lnTo>
                    <a:pt x="0" y="519061"/>
                  </a:lnTo>
                  <a:lnTo>
                    <a:pt x="5448" y="567232"/>
                  </a:lnTo>
                  <a:lnTo>
                    <a:pt x="18846" y="612508"/>
                  </a:lnTo>
                  <a:lnTo>
                    <a:pt x="39458" y="654126"/>
                  </a:lnTo>
                  <a:lnTo>
                    <a:pt x="66560" y="691388"/>
                  </a:lnTo>
                  <a:lnTo>
                    <a:pt x="98717" y="722871"/>
                  </a:lnTo>
                  <a:lnTo>
                    <a:pt x="137261" y="749858"/>
                  </a:lnTo>
                  <a:lnTo>
                    <a:pt x="179387" y="769594"/>
                  </a:lnTo>
                  <a:lnTo>
                    <a:pt x="225056" y="782015"/>
                  </a:lnTo>
                  <a:lnTo>
                    <a:pt x="273532" y="786384"/>
                  </a:lnTo>
                  <a:lnTo>
                    <a:pt x="274764" y="786384"/>
                  </a:lnTo>
                  <a:lnTo>
                    <a:pt x="323100" y="782027"/>
                  </a:lnTo>
                  <a:lnTo>
                    <a:pt x="368655" y="769670"/>
                  </a:lnTo>
                  <a:lnTo>
                    <a:pt x="410692" y="750023"/>
                  </a:lnTo>
                  <a:lnTo>
                    <a:pt x="448475" y="723823"/>
                  </a:lnTo>
                  <a:lnTo>
                    <a:pt x="449287" y="723023"/>
                  </a:lnTo>
                  <a:lnTo>
                    <a:pt x="481279" y="691807"/>
                  </a:lnTo>
                  <a:lnTo>
                    <a:pt x="508393" y="654697"/>
                  </a:lnTo>
                  <a:lnTo>
                    <a:pt x="529043"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427" name="object 137">
              <a:extLst>
                <a:ext uri="{FF2B5EF4-FFF2-40B4-BE49-F238E27FC236}">
                  <a16:creationId xmlns:a16="http://schemas.microsoft.com/office/drawing/2014/main" id="{801C1EBF-B906-32D3-4ED1-D69F9D85BFD7}"/>
                </a:ext>
              </a:extLst>
            </p:cNvPr>
            <p:cNvPicPr/>
            <p:nvPr/>
          </p:nvPicPr>
          <p:blipFill>
            <a:blip r:embed="rId10" cstate="print"/>
            <a:stretch>
              <a:fillRect/>
            </a:stretch>
          </p:blipFill>
          <p:spPr>
            <a:xfrm>
              <a:off x="11561989" y="718433"/>
              <a:ext cx="106445" cy="107156"/>
            </a:xfrm>
            <a:prstGeom prst="rect">
              <a:avLst/>
            </a:prstGeom>
          </p:spPr>
        </p:pic>
        <p:sp>
          <p:nvSpPr>
            <p:cNvPr id="428" name="object 138">
              <a:extLst>
                <a:ext uri="{FF2B5EF4-FFF2-40B4-BE49-F238E27FC236}">
                  <a16:creationId xmlns:a16="http://schemas.microsoft.com/office/drawing/2014/main" id="{FCB65219-C70A-628E-1102-A3CF3D423E97}"/>
                </a:ext>
              </a:extLst>
            </p:cNvPr>
            <p:cNvSpPr/>
            <p:nvPr/>
          </p:nvSpPr>
          <p:spPr>
            <a:xfrm>
              <a:off x="11449331" y="150257"/>
              <a:ext cx="332700" cy="477101"/>
            </a:xfrm>
            <a:custGeom>
              <a:avLst/>
              <a:gdLst/>
              <a:ahLst/>
              <a:cxnLst/>
              <a:rect l="l" t="t" r="r" b="b"/>
              <a:pathLst>
                <a:path w="548640" h="786765">
                  <a:moveTo>
                    <a:pt x="548055" y="266611"/>
                  </a:moveTo>
                  <a:lnTo>
                    <a:pt x="500380" y="270649"/>
                  </a:lnTo>
                  <a:lnTo>
                    <a:pt x="455853" y="282308"/>
                  </a:lnTo>
                  <a:lnTo>
                    <a:pt x="414616" y="300901"/>
                  </a:lnTo>
                  <a:lnTo>
                    <a:pt x="377355" y="325767"/>
                  </a:lnTo>
                  <a:lnTo>
                    <a:pt x="344728" y="356235"/>
                  </a:lnTo>
                  <a:lnTo>
                    <a:pt x="317423" y="391617"/>
                  </a:lnTo>
                  <a:lnTo>
                    <a:pt x="296100" y="431253"/>
                  </a:lnTo>
                  <a:lnTo>
                    <a:pt x="281432" y="474446"/>
                  </a:lnTo>
                  <a:lnTo>
                    <a:pt x="274104" y="520534"/>
                  </a:lnTo>
                  <a:lnTo>
                    <a:pt x="266928" y="474256"/>
                  </a:lnTo>
                  <a:lnTo>
                    <a:pt x="252374" y="430885"/>
                  </a:lnTo>
                  <a:lnTo>
                    <a:pt x="231101" y="391096"/>
                  </a:lnTo>
                  <a:lnTo>
                    <a:pt x="203809" y="355561"/>
                  </a:lnTo>
                  <a:lnTo>
                    <a:pt x="171170" y="324954"/>
                  </a:lnTo>
                  <a:lnTo>
                    <a:pt x="133858" y="299974"/>
                  </a:lnTo>
                  <a:lnTo>
                    <a:pt x="92544" y="281292"/>
                  </a:lnTo>
                  <a:lnTo>
                    <a:pt x="47929" y="269582"/>
                  </a:lnTo>
                  <a:lnTo>
                    <a:pt x="12" y="265531"/>
                  </a:lnTo>
                  <a:lnTo>
                    <a:pt x="5461" y="313690"/>
                  </a:lnTo>
                  <a:lnTo>
                    <a:pt x="18859" y="358952"/>
                  </a:lnTo>
                  <a:lnTo>
                    <a:pt x="39471" y="400583"/>
                  </a:lnTo>
                  <a:lnTo>
                    <a:pt x="66573" y="437832"/>
                  </a:lnTo>
                  <a:lnTo>
                    <a:pt x="99415" y="469988"/>
                  </a:lnTo>
                  <a:lnTo>
                    <a:pt x="137261" y="496303"/>
                  </a:lnTo>
                  <a:lnTo>
                    <a:pt x="179387" y="516039"/>
                  </a:lnTo>
                  <a:lnTo>
                    <a:pt x="225056" y="528459"/>
                  </a:lnTo>
                  <a:lnTo>
                    <a:pt x="273532" y="532828"/>
                  </a:lnTo>
                  <a:lnTo>
                    <a:pt x="274764" y="532828"/>
                  </a:lnTo>
                  <a:lnTo>
                    <a:pt x="323100" y="528472"/>
                  </a:lnTo>
                  <a:lnTo>
                    <a:pt x="368655" y="516115"/>
                  </a:lnTo>
                  <a:lnTo>
                    <a:pt x="410692" y="496468"/>
                  </a:lnTo>
                  <a:lnTo>
                    <a:pt x="448475" y="470268"/>
                  </a:lnTo>
                  <a:lnTo>
                    <a:pt x="481279" y="438251"/>
                  </a:lnTo>
                  <a:lnTo>
                    <a:pt x="508368" y="401154"/>
                  </a:lnTo>
                  <a:lnTo>
                    <a:pt x="529018" y="359689"/>
                  </a:lnTo>
                  <a:lnTo>
                    <a:pt x="542480" y="314604"/>
                  </a:lnTo>
                  <a:lnTo>
                    <a:pt x="548055" y="266611"/>
                  </a:lnTo>
                  <a:close/>
                </a:path>
                <a:path w="548640" h="786765">
                  <a:moveTo>
                    <a:pt x="548055" y="1079"/>
                  </a:moveTo>
                  <a:lnTo>
                    <a:pt x="500380" y="5118"/>
                  </a:lnTo>
                  <a:lnTo>
                    <a:pt x="455853" y="16776"/>
                  </a:lnTo>
                  <a:lnTo>
                    <a:pt x="414616" y="35369"/>
                  </a:lnTo>
                  <a:lnTo>
                    <a:pt x="377355" y="60248"/>
                  </a:lnTo>
                  <a:lnTo>
                    <a:pt x="344728" y="90716"/>
                  </a:lnTo>
                  <a:lnTo>
                    <a:pt x="317423" y="126098"/>
                  </a:lnTo>
                  <a:lnTo>
                    <a:pt x="296100" y="165722"/>
                  </a:lnTo>
                  <a:lnTo>
                    <a:pt x="281432" y="208915"/>
                  </a:lnTo>
                  <a:lnTo>
                    <a:pt x="274104" y="255003"/>
                  </a:lnTo>
                  <a:lnTo>
                    <a:pt x="266928" y="208724"/>
                  </a:lnTo>
                  <a:lnTo>
                    <a:pt x="252374" y="165354"/>
                  </a:lnTo>
                  <a:lnTo>
                    <a:pt x="231101" y="125564"/>
                  </a:lnTo>
                  <a:lnTo>
                    <a:pt x="203809" y="90030"/>
                  </a:lnTo>
                  <a:lnTo>
                    <a:pt x="171170" y="59436"/>
                  </a:lnTo>
                  <a:lnTo>
                    <a:pt x="133858" y="34455"/>
                  </a:lnTo>
                  <a:lnTo>
                    <a:pt x="92544" y="15760"/>
                  </a:lnTo>
                  <a:lnTo>
                    <a:pt x="47929" y="4064"/>
                  </a:lnTo>
                  <a:lnTo>
                    <a:pt x="12" y="0"/>
                  </a:lnTo>
                  <a:lnTo>
                    <a:pt x="5461" y="48171"/>
                  </a:lnTo>
                  <a:lnTo>
                    <a:pt x="18859" y="93433"/>
                  </a:lnTo>
                  <a:lnTo>
                    <a:pt x="39471" y="135051"/>
                  </a:lnTo>
                  <a:lnTo>
                    <a:pt x="66573" y="172313"/>
                  </a:lnTo>
                  <a:lnTo>
                    <a:pt x="99415" y="204457"/>
                  </a:lnTo>
                  <a:lnTo>
                    <a:pt x="137261" y="230771"/>
                  </a:lnTo>
                  <a:lnTo>
                    <a:pt x="179387" y="250507"/>
                  </a:lnTo>
                  <a:lnTo>
                    <a:pt x="225056" y="262928"/>
                  </a:lnTo>
                  <a:lnTo>
                    <a:pt x="273532" y="267309"/>
                  </a:lnTo>
                  <a:lnTo>
                    <a:pt x="274764" y="267309"/>
                  </a:lnTo>
                  <a:lnTo>
                    <a:pt x="323100" y="262953"/>
                  </a:lnTo>
                  <a:lnTo>
                    <a:pt x="368655" y="250583"/>
                  </a:lnTo>
                  <a:lnTo>
                    <a:pt x="410692" y="230936"/>
                  </a:lnTo>
                  <a:lnTo>
                    <a:pt x="448475" y="204736"/>
                  </a:lnTo>
                  <a:lnTo>
                    <a:pt x="481279" y="172732"/>
                  </a:lnTo>
                  <a:lnTo>
                    <a:pt x="508368" y="135623"/>
                  </a:lnTo>
                  <a:lnTo>
                    <a:pt x="529018" y="94157"/>
                  </a:lnTo>
                  <a:lnTo>
                    <a:pt x="542480" y="49072"/>
                  </a:lnTo>
                  <a:lnTo>
                    <a:pt x="548055" y="1079"/>
                  </a:lnTo>
                  <a:close/>
                </a:path>
                <a:path w="548640" h="786765">
                  <a:moveTo>
                    <a:pt x="548093" y="520204"/>
                  </a:moveTo>
                  <a:lnTo>
                    <a:pt x="500380" y="524205"/>
                  </a:lnTo>
                  <a:lnTo>
                    <a:pt x="455853" y="535863"/>
                  </a:lnTo>
                  <a:lnTo>
                    <a:pt x="414616" y="554469"/>
                  </a:lnTo>
                  <a:lnTo>
                    <a:pt x="377355" y="579335"/>
                  </a:lnTo>
                  <a:lnTo>
                    <a:pt x="344728" y="609803"/>
                  </a:lnTo>
                  <a:lnTo>
                    <a:pt x="317411" y="645172"/>
                  </a:lnTo>
                  <a:lnTo>
                    <a:pt x="296087" y="684796"/>
                  </a:lnTo>
                  <a:lnTo>
                    <a:pt x="281419" y="727976"/>
                  </a:lnTo>
                  <a:lnTo>
                    <a:pt x="274091" y="774039"/>
                  </a:lnTo>
                  <a:lnTo>
                    <a:pt x="266928" y="727824"/>
                  </a:lnTo>
                  <a:lnTo>
                    <a:pt x="252374" y="684453"/>
                  </a:lnTo>
                  <a:lnTo>
                    <a:pt x="231101" y="644652"/>
                  </a:lnTo>
                  <a:lnTo>
                    <a:pt x="203809" y="609117"/>
                  </a:lnTo>
                  <a:lnTo>
                    <a:pt x="171170" y="578523"/>
                  </a:lnTo>
                  <a:lnTo>
                    <a:pt x="133858" y="553542"/>
                  </a:lnTo>
                  <a:lnTo>
                    <a:pt x="92532" y="534835"/>
                  </a:lnTo>
                  <a:lnTo>
                    <a:pt x="47917" y="523125"/>
                  </a:lnTo>
                  <a:lnTo>
                    <a:pt x="0" y="519074"/>
                  </a:lnTo>
                  <a:lnTo>
                    <a:pt x="5448" y="567245"/>
                  </a:lnTo>
                  <a:lnTo>
                    <a:pt x="18846" y="612508"/>
                  </a:lnTo>
                  <a:lnTo>
                    <a:pt x="39458" y="654138"/>
                  </a:lnTo>
                  <a:lnTo>
                    <a:pt x="66560" y="691388"/>
                  </a:lnTo>
                  <a:lnTo>
                    <a:pt x="99415" y="723557"/>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429" name="object 139">
              <a:extLst>
                <a:ext uri="{FF2B5EF4-FFF2-40B4-BE49-F238E27FC236}">
                  <a16:creationId xmlns:a16="http://schemas.microsoft.com/office/drawing/2014/main" id="{99DB288D-7012-F39E-9B70-68C060C93833}"/>
                </a:ext>
              </a:extLst>
            </p:cNvPr>
            <p:cNvPicPr/>
            <p:nvPr/>
          </p:nvPicPr>
          <p:blipFill>
            <a:blip r:embed="rId11" cstate="print"/>
            <a:stretch>
              <a:fillRect/>
            </a:stretch>
          </p:blipFill>
          <p:spPr>
            <a:xfrm>
              <a:off x="11561989" y="64269"/>
              <a:ext cx="106445" cy="107156"/>
            </a:xfrm>
            <a:prstGeom prst="rect">
              <a:avLst/>
            </a:prstGeom>
          </p:spPr>
        </p:pic>
        <p:sp>
          <p:nvSpPr>
            <p:cNvPr id="430" name="object 140">
              <a:extLst>
                <a:ext uri="{FF2B5EF4-FFF2-40B4-BE49-F238E27FC236}">
                  <a16:creationId xmlns:a16="http://schemas.microsoft.com/office/drawing/2014/main" id="{83A05C51-92C6-26C2-5698-A6C9CA66707A}"/>
                </a:ext>
              </a:extLst>
            </p:cNvPr>
            <p:cNvSpPr/>
            <p:nvPr/>
          </p:nvSpPr>
          <p:spPr>
            <a:xfrm>
              <a:off x="11449331" y="2112754"/>
              <a:ext cx="332700" cy="477101"/>
            </a:xfrm>
            <a:custGeom>
              <a:avLst/>
              <a:gdLst/>
              <a:ahLst/>
              <a:cxnLst/>
              <a:rect l="l" t="t" r="r" b="b"/>
              <a:pathLst>
                <a:path w="548640" h="786764">
                  <a:moveTo>
                    <a:pt x="548055" y="266611"/>
                  </a:moveTo>
                  <a:lnTo>
                    <a:pt x="500380" y="270649"/>
                  </a:lnTo>
                  <a:lnTo>
                    <a:pt x="455853" y="282308"/>
                  </a:lnTo>
                  <a:lnTo>
                    <a:pt x="414616" y="300901"/>
                  </a:lnTo>
                  <a:lnTo>
                    <a:pt x="377355" y="325780"/>
                  </a:lnTo>
                  <a:lnTo>
                    <a:pt x="344728" y="356247"/>
                  </a:lnTo>
                  <a:lnTo>
                    <a:pt x="317423" y="391629"/>
                  </a:lnTo>
                  <a:lnTo>
                    <a:pt x="296100" y="431253"/>
                  </a:lnTo>
                  <a:lnTo>
                    <a:pt x="281432" y="474446"/>
                  </a:lnTo>
                  <a:lnTo>
                    <a:pt x="274104" y="520534"/>
                  </a:lnTo>
                  <a:lnTo>
                    <a:pt x="266928" y="474256"/>
                  </a:lnTo>
                  <a:lnTo>
                    <a:pt x="252374" y="430885"/>
                  </a:lnTo>
                  <a:lnTo>
                    <a:pt x="231101" y="391096"/>
                  </a:lnTo>
                  <a:lnTo>
                    <a:pt x="203809" y="355561"/>
                  </a:lnTo>
                  <a:lnTo>
                    <a:pt x="171170" y="324967"/>
                  </a:lnTo>
                  <a:lnTo>
                    <a:pt x="133858" y="299986"/>
                  </a:lnTo>
                  <a:lnTo>
                    <a:pt x="92544" y="281292"/>
                  </a:lnTo>
                  <a:lnTo>
                    <a:pt x="47929" y="269582"/>
                  </a:lnTo>
                  <a:lnTo>
                    <a:pt x="12" y="265531"/>
                  </a:lnTo>
                  <a:lnTo>
                    <a:pt x="5461" y="313702"/>
                  </a:lnTo>
                  <a:lnTo>
                    <a:pt x="18859" y="358952"/>
                  </a:lnTo>
                  <a:lnTo>
                    <a:pt x="39471" y="400583"/>
                  </a:lnTo>
                  <a:lnTo>
                    <a:pt x="66573" y="437845"/>
                  </a:lnTo>
                  <a:lnTo>
                    <a:pt x="99415" y="469988"/>
                  </a:lnTo>
                  <a:lnTo>
                    <a:pt x="137261" y="496303"/>
                  </a:lnTo>
                  <a:lnTo>
                    <a:pt x="179387" y="516039"/>
                  </a:lnTo>
                  <a:lnTo>
                    <a:pt x="225056" y="528459"/>
                  </a:lnTo>
                  <a:lnTo>
                    <a:pt x="273532" y="532841"/>
                  </a:lnTo>
                  <a:lnTo>
                    <a:pt x="274764" y="532841"/>
                  </a:lnTo>
                  <a:lnTo>
                    <a:pt x="323100" y="528485"/>
                  </a:lnTo>
                  <a:lnTo>
                    <a:pt x="368655" y="516115"/>
                  </a:lnTo>
                  <a:lnTo>
                    <a:pt x="410692" y="496468"/>
                  </a:lnTo>
                  <a:lnTo>
                    <a:pt x="448475" y="470268"/>
                  </a:lnTo>
                  <a:lnTo>
                    <a:pt x="481279" y="438264"/>
                  </a:lnTo>
                  <a:lnTo>
                    <a:pt x="508368" y="401154"/>
                  </a:lnTo>
                  <a:lnTo>
                    <a:pt x="529018" y="359689"/>
                  </a:lnTo>
                  <a:lnTo>
                    <a:pt x="542480" y="314604"/>
                  </a:lnTo>
                  <a:lnTo>
                    <a:pt x="548055" y="266611"/>
                  </a:lnTo>
                  <a:close/>
                </a:path>
                <a:path w="548640" h="786764">
                  <a:moveTo>
                    <a:pt x="548055" y="1079"/>
                  </a:moveTo>
                  <a:lnTo>
                    <a:pt x="500380" y="5118"/>
                  </a:lnTo>
                  <a:lnTo>
                    <a:pt x="455853" y="16776"/>
                  </a:lnTo>
                  <a:lnTo>
                    <a:pt x="414616" y="35369"/>
                  </a:lnTo>
                  <a:lnTo>
                    <a:pt x="377355" y="60248"/>
                  </a:lnTo>
                  <a:lnTo>
                    <a:pt x="344728" y="90703"/>
                  </a:lnTo>
                  <a:lnTo>
                    <a:pt x="317423" y="126085"/>
                  </a:lnTo>
                  <a:lnTo>
                    <a:pt x="296100" y="165722"/>
                  </a:lnTo>
                  <a:lnTo>
                    <a:pt x="281432" y="208915"/>
                  </a:lnTo>
                  <a:lnTo>
                    <a:pt x="274104" y="255003"/>
                  </a:lnTo>
                  <a:lnTo>
                    <a:pt x="266928" y="208724"/>
                  </a:lnTo>
                  <a:lnTo>
                    <a:pt x="252374" y="165354"/>
                  </a:lnTo>
                  <a:lnTo>
                    <a:pt x="231101" y="125564"/>
                  </a:lnTo>
                  <a:lnTo>
                    <a:pt x="203809" y="90030"/>
                  </a:lnTo>
                  <a:lnTo>
                    <a:pt x="171170" y="59423"/>
                  </a:lnTo>
                  <a:lnTo>
                    <a:pt x="133858" y="34442"/>
                  </a:lnTo>
                  <a:lnTo>
                    <a:pt x="92544" y="15760"/>
                  </a:lnTo>
                  <a:lnTo>
                    <a:pt x="47929" y="4051"/>
                  </a:lnTo>
                  <a:lnTo>
                    <a:pt x="12" y="0"/>
                  </a:lnTo>
                  <a:lnTo>
                    <a:pt x="5461" y="48158"/>
                  </a:lnTo>
                  <a:lnTo>
                    <a:pt x="18859" y="93421"/>
                  </a:lnTo>
                  <a:lnTo>
                    <a:pt x="39471" y="135051"/>
                  </a:lnTo>
                  <a:lnTo>
                    <a:pt x="66573" y="172313"/>
                  </a:lnTo>
                  <a:lnTo>
                    <a:pt x="99415" y="204457"/>
                  </a:lnTo>
                  <a:lnTo>
                    <a:pt x="137261" y="230771"/>
                  </a:lnTo>
                  <a:lnTo>
                    <a:pt x="179387" y="250507"/>
                  </a:lnTo>
                  <a:lnTo>
                    <a:pt x="225056" y="262928"/>
                  </a:lnTo>
                  <a:lnTo>
                    <a:pt x="273532" y="267296"/>
                  </a:lnTo>
                  <a:lnTo>
                    <a:pt x="274764" y="267296"/>
                  </a:lnTo>
                  <a:lnTo>
                    <a:pt x="323100" y="262940"/>
                  </a:lnTo>
                  <a:lnTo>
                    <a:pt x="368655" y="250583"/>
                  </a:lnTo>
                  <a:lnTo>
                    <a:pt x="410692" y="230936"/>
                  </a:lnTo>
                  <a:lnTo>
                    <a:pt x="448475" y="204736"/>
                  </a:lnTo>
                  <a:lnTo>
                    <a:pt x="481279" y="172720"/>
                  </a:lnTo>
                  <a:lnTo>
                    <a:pt x="508368" y="135623"/>
                  </a:lnTo>
                  <a:lnTo>
                    <a:pt x="529018" y="94157"/>
                  </a:lnTo>
                  <a:lnTo>
                    <a:pt x="542480" y="49072"/>
                  </a:lnTo>
                  <a:lnTo>
                    <a:pt x="548055" y="1079"/>
                  </a:lnTo>
                  <a:close/>
                </a:path>
                <a:path w="548640" h="786764">
                  <a:moveTo>
                    <a:pt x="548093" y="520204"/>
                  </a:moveTo>
                  <a:lnTo>
                    <a:pt x="500380" y="524205"/>
                  </a:lnTo>
                  <a:lnTo>
                    <a:pt x="455853" y="535863"/>
                  </a:lnTo>
                  <a:lnTo>
                    <a:pt x="414616" y="554456"/>
                  </a:lnTo>
                  <a:lnTo>
                    <a:pt x="377355" y="579335"/>
                  </a:lnTo>
                  <a:lnTo>
                    <a:pt x="344728" y="609803"/>
                  </a:lnTo>
                  <a:lnTo>
                    <a:pt x="317411" y="645172"/>
                  </a:lnTo>
                  <a:lnTo>
                    <a:pt x="296087" y="684796"/>
                  </a:lnTo>
                  <a:lnTo>
                    <a:pt x="281419" y="727989"/>
                  </a:lnTo>
                  <a:lnTo>
                    <a:pt x="274091" y="774039"/>
                  </a:lnTo>
                  <a:lnTo>
                    <a:pt x="266928" y="727811"/>
                  </a:lnTo>
                  <a:lnTo>
                    <a:pt x="252374" y="684441"/>
                  </a:lnTo>
                  <a:lnTo>
                    <a:pt x="231101" y="644652"/>
                  </a:lnTo>
                  <a:lnTo>
                    <a:pt x="203809" y="609117"/>
                  </a:lnTo>
                  <a:lnTo>
                    <a:pt x="171170" y="578523"/>
                  </a:lnTo>
                  <a:lnTo>
                    <a:pt x="146177" y="561797"/>
                  </a:lnTo>
                  <a:lnTo>
                    <a:pt x="133858" y="553542"/>
                  </a:lnTo>
                  <a:lnTo>
                    <a:pt x="92544" y="534860"/>
                  </a:lnTo>
                  <a:lnTo>
                    <a:pt x="47917" y="523125"/>
                  </a:lnTo>
                  <a:lnTo>
                    <a:pt x="12" y="519087"/>
                  </a:lnTo>
                  <a:lnTo>
                    <a:pt x="5448" y="567245"/>
                  </a:lnTo>
                  <a:lnTo>
                    <a:pt x="18846" y="612508"/>
                  </a:lnTo>
                  <a:lnTo>
                    <a:pt x="39458" y="654138"/>
                  </a:lnTo>
                  <a:lnTo>
                    <a:pt x="66560" y="691400"/>
                  </a:lnTo>
                  <a:lnTo>
                    <a:pt x="99402" y="723544"/>
                  </a:lnTo>
                  <a:lnTo>
                    <a:pt x="125717" y="741832"/>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2DB7EA"/>
            </a:solidFill>
          </p:spPr>
          <p:txBody>
            <a:bodyPr wrap="square" lIns="0" tIns="0" rIns="0" bIns="0" rtlCol="0"/>
            <a:lstStyle/>
            <a:p>
              <a:endParaRPr dirty="0"/>
            </a:p>
          </p:txBody>
        </p:sp>
        <p:pic>
          <p:nvPicPr>
            <p:cNvPr id="431" name="object 141">
              <a:extLst>
                <a:ext uri="{FF2B5EF4-FFF2-40B4-BE49-F238E27FC236}">
                  <a16:creationId xmlns:a16="http://schemas.microsoft.com/office/drawing/2014/main" id="{9B204C0A-7A6A-6A78-E718-C784E08662C0}"/>
                </a:ext>
              </a:extLst>
            </p:cNvPr>
            <p:cNvPicPr/>
            <p:nvPr/>
          </p:nvPicPr>
          <p:blipFill>
            <a:blip r:embed="rId10" cstate="print"/>
            <a:stretch>
              <a:fillRect/>
            </a:stretch>
          </p:blipFill>
          <p:spPr>
            <a:xfrm>
              <a:off x="11561989" y="2026765"/>
              <a:ext cx="106445" cy="107156"/>
            </a:xfrm>
            <a:prstGeom prst="rect">
              <a:avLst/>
            </a:prstGeom>
          </p:spPr>
        </p:pic>
        <p:sp>
          <p:nvSpPr>
            <p:cNvPr id="432" name="object 142">
              <a:extLst>
                <a:ext uri="{FF2B5EF4-FFF2-40B4-BE49-F238E27FC236}">
                  <a16:creationId xmlns:a16="http://schemas.microsoft.com/office/drawing/2014/main" id="{EC3FACE9-116E-1946-6CE8-445E19845E2A}"/>
                </a:ext>
              </a:extLst>
            </p:cNvPr>
            <p:cNvSpPr/>
            <p:nvPr/>
          </p:nvSpPr>
          <p:spPr>
            <a:xfrm>
              <a:off x="11449331" y="1458591"/>
              <a:ext cx="332700" cy="477101"/>
            </a:xfrm>
            <a:custGeom>
              <a:avLst/>
              <a:gdLst/>
              <a:ahLst/>
              <a:cxnLst/>
              <a:rect l="l" t="t" r="r" b="b"/>
              <a:pathLst>
                <a:path w="548640" h="786764">
                  <a:moveTo>
                    <a:pt x="548055" y="266611"/>
                  </a:moveTo>
                  <a:lnTo>
                    <a:pt x="500380" y="270649"/>
                  </a:lnTo>
                  <a:lnTo>
                    <a:pt x="455853" y="282295"/>
                  </a:lnTo>
                  <a:lnTo>
                    <a:pt x="414616" y="300901"/>
                  </a:lnTo>
                  <a:lnTo>
                    <a:pt x="377355" y="325767"/>
                  </a:lnTo>
                  <a:lnTo>
                    <a:pt x="344728" y="356235"/>
                  </a:lnTo>
                  <a:lnTo>
                    <a:pt x="317423" y="391617"/>
                  </a:lnTo>
                  <a:lnTo>
                    <a:pt x="296100" y="431241"/>
                  </a:lnTo>
                  <a:lnTo>
                    <a:pt x="281432" y="474446"/>
                  </a:lnTo>
                  <a:lnTo>
                    <a:pt x="274104" y="520522"/>
                  </a:lnTo>
                  <a:lnTo>
                    <a:pt x="266928" y="474256"/>
                  </a:lnTo>
                  <a:lnTo>
                    <a:pt x="252374" y="430885"/>
                  </a:lnTo>
                  <a:lnTo>
                    <a:pt x="231101" y="391083"/>
                  </a:lnTo>
                  <a:lnTo>
                    <a:pt x="203809" y="355549"/>
                  </a:lnTo>
                  <a:lnTo>
                    <a:pt x="171170" y="324954"/>
                  </a:lnTo>
                  <a:lnTo>
                    <a:pt x="133858" y="299974"/>
                  </a:lnTo>
                  <a:lnTo>
                    <a:pt x="92544" y="281292"/>
                  </a:lnTo>
                  <a:lnTo>
                    <a:pt x="47929" y="269582"/>
                  </a:lnTo>
                  <a:lnTo>
                    <a:pt x="12" y="265531"/>
                  </a:lnTo>
                  <a:lnTo>
                    <a:pt x="5461" y="313690"/>
                  </a:lnTo>
                  <a:lnTo>
                    <a:pt x="18859" y="358952"/>
                  </a:lnTo>
                  <a:lnTo>
                    <a:pt x="39471" y="400583"/>
                  </a:lnTo>
                  <a:lnTo>
                    <a:pt x="66573" y="437832"/>
                  </a:lnTo>
                  <a:lnTo>
                    <a:pt x="99415" y="469988"/>
                  </a:lnTo>
                  <a:lnTo>
                    <a:pt x="137261" y="496303"/>
                  </a:lnTo>
                  <a:lnTo>
                    <a:pt x="179387" y="516026"/>
                  </a:lnTo>
                  <a:lnTo>
                    <a:pt x="225056" y="528459"/>
                  </a:lnTo>
                  <a:lnTo>
                    <a:pt x="273532" y="532828"/>
                  </a:lnTo>
                  <a:lnTo>
                    <a:pt x="274764" y="532828"/>
                  </a:lnTo>
                  <a:lnTo>
                    <a:pt x="323100" y="528472"/>
                  </a:lnTo>
                  <a:lnTo>
                    <a:pt x="368655" y="516102"/>
                  </a:lnTo>
                  <a:lnTo>
                    <a:pt x="410692" y="496468"/>
                  </a:lnTo>
                  <a:lnTo>
                    <a:pt x="448475" y="470268"/>
                  </a:lnTo>
                  <a:lnTo>
                    <a:pt x="481279" y="438251"/>
                  </a:lnTo>
                  <a:lnTo>
                    <a:pt x="508368" y="401154"/>
                  </a:lnTo>
                  <a:lnTo>
                    <a:pt x="529018" y="359689"/>
                  </a:lnTo>
                  <a:lnTo>
                    <a:pt x="542480" y="314604"/>
                  </a:lnTo>
                  <a:lnTo>
                    <a:pt x="548055" y="266611"/>
                  </a:lnTo>
                  <a:close/>
                </a:path>
                <a:path w="548640" h="786764">
                  <a:moveTo>
                    <a:pt x="548055" y="1079"/>
                  </a:moveTo>
                  <a:lnTo>
                    <a:pt x="500380" y="5105"/>
                  </a:lnTo>
                  <a:lnTo>
                    <a:pt x="455853" y="16764"/>
                  </a:lnTo>
                  <a:lnTo>
                    <a:pt x="414616" y="35369"/>
                  </a:lnTo>
                  <a:lnTo>
                    <a:pt x="377355" y="60236"/>
                  </a:lnTo>
                  <a:lnTo>
                    <a:pt x="344728" y="90703"/>
                  </a:lnTo>
                  <a:lnTo>
                    <a:pt x="317423" y="126085"/>
                  </a:lnTo>
                  <a:lnTo>
                    <a:pt x="296100" y="165709"/>
                  </a:lnTo>
                  <a:lnTo>
                    <a:pt x="281432" y="208902"/>
                  </a:lnTo>
                  <a:lnTo>
                    <a:pt x="274104" y="254990"/>
                  </a:lnTo>
                  <a:lnTo>
                    <a:pt x="266928" y="208724"/>
                  </a:lnTo>
                  <a:lnTo>
                    <a:pt x="252374" y="165354"/>
                  </a:lnTo>
                  <a:lnTo>
                    <a:pt x="231101" y="125552"/>
                  </a:lnTo>
                  <a:lnTo>
                    <a:pt x="203809" y="90017"/>
                  </a:lnTo>
                  <a:lnTo>
                    <a:pt x="171170" y="59423"/>
                  </a:lnTo>
                  <a:lnTo>
                    <a:pt x="133858" y="34442"/>
                  </a:lnTo>
                  <a:lnTo>
                    <a:pt x="92544" y="15760"/>
                  </a:lnTo>
                  <a:lnTo>
                    <a:pt x="47929" y="4051"/>
                  </a:lnTo>
                  <a:lnTo>
                    <a:pt x="12" y="0"/>
                  </a:lnTo>
                  <a:lnTo>
                    <a:pt x="5461" y="48158"/>
                  </a:lnTo>
                  <a:lnTo>
                    <a:pt x="18859" y="93421"/>
                  </a:lnTo>
                  <a:lnTo>
                    <a:pt x="39471" y="135051"/>
                  </a:lnTo>
                  <a:lnTo>
                    <a:pt x="66573" y="172300"/>
                  </a:lnTo>
                  <a:lnTo>
                    <a:pt x="99415" y="204457"/>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36"/>
                  </a:lnTo>
                  <a:lnTo>
                    <a:pt x="481279" y="172720"/>
                  </a:lnTo>
                  <a:lnTo>
                    <a:pt x="508368" y="135623"/>
                  </a:lnTo>
                  <a:lnTo>
                    <a:pt x="529018" y="94157"/>
                  </a:lnTo>
                  <a:lnTo>
                    <a:pt x="542480" y="49060"/>
                  </a:lnTo>
                  <a:lnTo>
                    <a:pt x="548055" y="1079"/>
                  </a:lnTo>
                  <a:close/>
                </a:path>
                <a:path w="548640" h="786764">
                  <a:moveTo>
                    <a:pt x="548093" y="520192"/>
                  </a:moveTo>
                  <a:lnTo>
                    <a:pt x="500380" y="524205"/>
                  </a:lnTo>
                  <a:lnTo>
                    <a:pt x="455853" y="535863"/>
                  </a:lnTo>
                  <a:lnTo>
                    <a:pt x="414616" y="554456"/>
                  </a:lnTo>
                  <a:lnTo>
                    <a:pt x="377355" y="579335"/>
                  </a:lnTo>
                  <a:lnTo>
                    <a:pt x="344728" y="609790"/>
                  </a:lnTo>
                  <a:lnTo>
                    <a:pt x="317411" y="645172"/>
                  </a:lnTo>
                  <a:lnTo>
                    <a:pt x="296087" y="684784"/>
                  </a:lnTo>
                  <a:lnTo>
                    <a:pt x="281419" y="727976"/>
                  </a:lnTo>
                  <a:lnTo>
                    <a:pt x="274091" y="774039"/>
                  </a:lnTo>
                  <a:lnTo>
                    <a:pt x="266928" y="727811"/>
                  </a:lnTo>
                  <a:lnTo>
                    <a:pt x="252374" y="684441"/>
                  </a:lnTo>
                  <a:lnTo>
                    <a:pt x="231101" y="644652"/>
                  </a:lnTo>
                  <a:lnTo>
                    <a:pt x="203809" y="609117"/>
                  </a:lnTo>
                  <a:lnTo>
                    <a:pt x="171170" y="578510"/>
                  </a:lnTo>
                  <a:lnTo>
                    <a:pt x="133858" y="553529"/>
                  </a:lnTo>
                  <a:lnTo>
                    <a:pt x="115163" y="545084"/>
                  </a:lnTo>
                  <a:lnTo>
                    <a:pt x="92544" y="534847"/>
                  </a:lnTo>
                  <a:lnTo>
                    <a:pt x="47929" y="523138"/>
                  </a:lnTo>
                  <a:lnTo>
                    <a:pt x="0" y="519061"/>
                  </a:lnTo>
                  <a:lnTo>
                    <a:pt x="5448" y="567245"/>
                  </a:lnTo>
                  <a:lnTo>
                    <a:pt x="18846" y="612508"/>
                  </a:lnTo>
                  <a:lnTo>
                    <a:pt x="39458" y="654138"/>
                  </a:lnTo>
                  <a:lnTo>
                    <a:pt x="66560" y="691388"/>
                  </a:lnTo>
                  <a:lnTo>
                    <a:pt x="67259" y="692073"/>
                  </a:lnTo>
                  <a:lnTo>
                    <a:pt x="99402" y="723544"/>
                  </a:lnTo>
                  <a:lnTo>
                    <a:pt x="125717" y="741832"/>
                  </a:lnTo>
                  <a:lnTo>
                    <a:pt x="137261" y="749858"/>
                  </a:lnTo>
                  <a:lnTo>
                    <a:pt x="179387" y="769594"/>
                  </a:lnTo>
                  <a:lnTo>
                    <a:pt x="225056" y="782015"/>
                  </a:lnTo>
                  <a:lnTo>
                    <a:pt x="273532" y="786384"/>
                  </a:lnTo>
                  <a:lnTo>
                    <a:pt x="274764" y="786384"/>
                  </a:lnTo>
                  <a:lnTo>
                    <a:pt x="323100" y="782027"/>
                  </a:lnTo>
                  <a:lnTo>
                    <a:pt x="368655" y="769670"/>
                  </a:lnTo>
                  <a:lnTo>
                    <a:pt x="410692" y="750023"/>
                  </a:lnTo>
                  <a:lnTo>
                    <a:pt x="448475" y="723823"/>
                  </a:lnTo>
                  <a:lnTo>
                    <a:pt x="449287" y="723023"/>
                  </a:lnTo>
                  <a:lnTo>
                    <a:pt x="481279" y="691807"/>
                  </a:lnTo>
                  <a:lnTo>
                    <a:pt x="508393" y="654697"/>
                  </a:lnTo>
                  <a:lnTo>
                    <a:pt x="529043" y="613244"/>
                  </a:lnTo>
                  <a:lnTo>
                    <a:pt x="542531" y="568172"/>
                  </a:lnTo>
                  <a:lnTo>
                    <a:pt x="548093" y="520192"/>
                  </a:lnTo>
                  <a:close/>
                </a:path>
              </a:pathLst>
            </a:custGeom>
            <a:solidFill>
              <a:srgbClr val="7ED3F1"/>
            </a:solidFill>
          </p:spPr>
          <p:txBody>
            <a:bodyPr wrap="square" lIns="0" tIns="0" rIns="0" bIns="0" rtlCol="0"/>
            <a:lstStyle/>
            <a:p>
              <a:endParaRPr dirty="0"/>
            </a:p>
          </p:txBody>
        </p:sp>
        <p:pic>
          <p:nvPicPr>
            <p:cNvPr id="433" name="object 143">
              <a:extLst>
                <a:ext uri="{FF2B5EF4-FFF2-40B4-BE49-F238E27FC236}">
                  <a16:creationId xmlns:a16="http://schemas.microsoft.com/office/drawing/2014/main" id="{5DED944D-185E-682C-9162-3CD5A99E685E}"/>
                </a:ext>
              </a:extLst>
            </p:cNvPr>
            <p:cNvPicPr/>
            <p:nvPr/>
          </p:nvPicPr>
          <p:blipFill>
            <a:blip r:embed="rId11" cstate="print"/>
            <a:stretch>
              <a:fillRect/>
            </a:stretch>
          </p:blipFill>
          <p:spPr>
            <a:xfrm>
              <a:off x="11561989" y="1372599"/>
              <a:ext cx="106445" cy="107156"/>
            </a:xfrm>
            <a:prstGeom prst="rect">
              <a:avLst/>
            </a:prstGeom>
          </p:spPr>
        </p:pic>
        <p:sp>
          <p:nvSpPr>
            <p:cNvPr id="434" name="object 144">
              <a:extLst>
                <a:ext uri="{FF2B5EF4-FFF2-40B4-BE49-F238E27FC236}">
                  <a16:creationId xmlns:a16="http://schemas.microsoft.com/office/drawing/2014/main" id="{0E6157BD-12E4-B055-0081-3C6327E54296}"/>
                </a:ext>
              </a:extLst>
            </p:cNvPr>
            <p:cNvSpPr/>
            <p:nvPr/>
          </p:nvSpPr>
          <p:spPr>
            <a:xfrm>
              <a:off x="11449331" y="3421088"/>
              <a:ext cx="332700" cy="477101"/>
            </a:xfrm>
            <a:custGeom>
              <a:avLst/>
              <a:gdLst/>
              <a:ahLst/>
              <a:cxnLst/>
              <a:rect l="l" t="t" r="r" b="b"/>
              <a:pathLst>
                <a:path w="548640" h="786764">
                  <a:moveTo>
                    <a:pt x="548055" y="266611"/>
                  </a:moveTo>
                  <a:lnTo>
                    <a:pt x="500380" y="270637"/>
                  </a:lnTo>
                  <a:lnTo>
                    <a:pt x="455853" y="282295"/>
                  </a:lnTo>
                  <a:lnTo>
                    <a:pt x="414616" y="300901"/>
                  </a:lnTo>
                  <a:lnTo>
                    <a:pt x="377355" y="325767"/>
                  </a:lnTo>
                  <a:lnTo>
                    <a:pt x="344728" y="356235"/>
                  </a:lnTo>
                  <a:lnTo>
                    <a:pt x="317423" y="391617"/>
                  </a:lnTo>
                  <a:lnTo>
                    <a:pt x="296100" y="431241"/>
                  </a:lnTo>
                  <a:lnTo>
                    <a:pt x="281432" y="474433"/>
                  </a:lnTo>
                  <a:lnTo>
                    <a:pt x="274104" y="520522"/>
                  </a:lnTo>
                  <a:lnTo>
                    <a:pt x="266928" y="474256"/>
                  </a:lnTo>
                  <a:lnTo>
                    <a:pt x="252374" y="430885"/>
                  </a:lnTo>
                  <a:lnTo>
                    <a:pt x="231101" y="391083"/>
                  </a:lnTo>
                  <a:lnTo>
                    <a:pt x="203809" y="355549"/>
                  </a:lnTo>
                  <a:lnTo>
                    <a:pt x="171170" y="324954"/>
                  </a:lnTo>
                  <a:lnTo>
                    <a:pt x="133858" y="299974"/>
                  </a:lnTo>
                  <a:lnTo>
                    <a:pt x="92544" y="281292"/>
                  </a:lnTo>
                  <a:lnTo>
                    <a:pt x="47929" y="269582"/>
                  </a:lnTo>
                  <a:lnTo>
                    <a:pt x="12" y="265531"/>
                  </a:lnTo>
                  <a:lnTo>
                    <a:pt x="5461" y="313690"/>
                  </a:lnTo>
                  <a:lnTo>
                    <a:pt x="18859" y="358952"/>
                  </a:lnTo>
                  <a:lnTo>
                    <a:pt x="39471" y="400570"/>
                  </a:lnTo>
                  <a:lnTo>
                    <a:pt x="66573" y="437832"/>
                  </a:lnTo>
                  <a:lnTo>
                    <a:pt x="99415" y="469976"/>
                  </a:lnTo>
                  <a:lnTo>
                    <a:pt x="137261" y="496290"/>
                  </a:lnTo>
                  <a:lnTo>
                    <a:pt x="179387" y="516026"/>
                  </a:lnTo>
                  <a:lnTo>
                    <a:pt x="225056" y="528447"/>
                  </a:lnTo>
                  <a:lnTo>
                    <a:pt x="273532" y="532828"/>
                  </a:lnTo>
                  <a:lnTo>
                    <a:pt x="274764" y="532828"/>
                  </a:lnTo>
                  <a:lnTo>
                    <a:pt x="323100" y="528472"/>
                  </a:lnTo>
                  <a:lnTo>
                    <a:pt x="368655" y="516102"/>
                  </a:lnTo>
                  <a:lnTo>
                    <a:pt x="410692" y="496455"/>
                  </a:lnTo>
                  <a:lnTo>
                    <a:pt x="448475" y="470255"/>
                  </a:lnTo>
                  <a:lnTo>
                    <a:pt x="481279" y="438251"/>
                  </a:lnTo>
                  <a:lnTo>
                    <a:pt x="508368" y="401142"/>
                  </a:lnTo>
                  <a:lnTo>
                    <a:pt x="529018" y="359689"/>
                  </a:lnTo>
                  <a:lnTo>
                    <a:pt x="542480" y="314591"/>
                  </a:lnTo>
                  <a:lnTo>
                    <a:pt x="548055" y="266611"/>
                  </a:lnTo>
                  <a:close/>
                </a:path>
                <a:path w="548640" h="786764">
                  <a:moveTo>
                    <a:pt x="548055" y="1079"/>
                  </a:moveTo>
                  <a:lnTo>
                    <a:pt x="500380" y="5118"/>
                  </a:lnTo>
                  <a:lnTo>
                    <a:pt x="455853" y="16764"/>
                  </a:lnTo>
                  <a:lnTo>
                    <a:pt x="414616" y="35369"/>
                  </a:lnTo>
                  <a:lnTo>
                    <a:pt x="377355" y="60236"/>
                  </a:lnTo>
                  <a:lnTo>
                    <a:pt x="344728" y="90703"/>
                  </a:lnTo>
                  <a:lnTo>
                    <a:pt x="317423" y="126085"/>
                  </a:lnTo>
                  <a:lnTo>
                    <a:pt x="296100" y="165709"/>
                  </a:lnTo>
                  <a:lnTo>
                    <a:pt x="281432" y="208915"/>
                  </a:lnTo>
                  <a:lnTo>
                    <a:pt x="274104" y="254990"/>
                  </a:lnTo>
                  <a:lnTo>
                    <a:pt x="266928" y="208724"/>
                  </a:lnTo>
                  <a:lnTo>
                    <a:pt x="252374" y="165354"/>
                  </a:lnTo>
                  <a:lnTo>
                    <a:pt x="231101" y="125552"/>
                  </a:lnTo>
                  <a:lnTo>
                    <a:pt x="203809" y="90017"/>
                  </a:lnTo>
                  <a:lnTo>
                    <a:pt x="171170" y="59423"/>
                  </a:lnTo>
                  <a:lnTo>
                    <a:pt x="133858" y="34442"/>
                  </a:lnTo>
                  <a:lnTo>
                    <a:pt x="92544" y="15760"/>
                  </a:lnTo>
                  <a:lnTo>
                    <a:pt x="47929" y="4051"/>
                  </a:lnTo>
                  <a:lnTo>
                    <a:pt x="12" y="0"/>
                  </a:lnTo>
                  <a:lnTo>
                    <a:pt x="5461" y="48158"/>
                  </a:lnTo>
                  <a:lnTo>
                    <a:pt x="18859" y="93421"/>
                  </a:lnTo>
                  <a:lnTo>
                    <a:pt x="39471" y="135051"/>
                  </a:lnTo>
                  <a:lnTo>
                    <a:pt x="66573" y="172300"/>
                  </a:lnTo>
                  <a:lnTo>
                    <a:pt x="99415" y="204457"/>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36"/>
                  </a:lnTo>
                  <a:lnTo>
                    <a:pt x="481279" y="172720"/>
                  </a:lnTo>
                  <a:lnTo>
                    <a:pt x="508368" y="135623"/>
                  </a:lnTo>
                  <a:lnTo>
                    <a:pt x="529018" y="94157"/>
                  </a:lnTo>
                  <a:lnTo>
                    <a:pt x="542480" y="49072"/>
                  </a:lnTo>
                  <a:lnTo>
                    <a:pt x="548055" y="1079"/>
                  </a:lnTo>
                  <a:close/>
                </a:path>
                <a:path w="548640" h="786764">
                  <a:moveTo>
                    <a:pt x="548093" y="520192"/>
                  </a:moveTo>
                  <a:lnTo>
                    <a:pt x="500380" y="524217"/>
                  </a:lnTo>
                  <a:lnTo>
                    <a:pt x="455853" y="535863"/>
                  </a:lnTo>
                  <a:lnTo>
                    <a:pt x="414616" y="554469"/>
                  </a:lnTo>
                  <a:lnTo>
                    <a:pt x="377355" y="579335"/>
                  </a:lnTo>
                  <a:lnTo>
                    <a:pt x="344728" y="609790"/>
                  </a:lnTo>
                  <a:lnTo>
                    <a:pt x="317411" y="645172"/>
                  </a:lnTo>
                  <a:lnTo>
                    <a:pt x="296087" y="684784"/>
                  </a:lnTo>
                  <a:lnTo>
                    <a:pt x="281419" y="727976"/>
                  </a:lnTo>
                  <a:lnTo>
                    <a:pt x="274091" y="774039"/>
                  </a:lnTo>
                  <a:lnTo>
                    <a:pt x="266928" y="727811"/>
                  </a:lnTo>
                  <a:lnTo>
                    <a:pt x="252374" y="684441"/>
                  </a:lnTo>
                  <a:lnTo>
                    <a:pt x="231101" y="644652"/>
                  </a:lnTo>
                  <a:lnTo>
                    <a:pt x="203809" y="609117"/>
                  </a:lnTo>
                  <a:lnTo>
                    <a:pt x="186956" y="593318"/>
                  </a:lnTo>
                  <a:lnTo>
                    <a:pt x="171170" y="578510"/>
                  </a:lnTo>
                  <a:lnTo>
                    <a:pt x="146177" y="561784"/>
                  </a:lnTo>
                  <a:lnTo>
                    <a:pt x="133858" y="553529"/>
                  </a:lnTo>
                  <a:lnTo>
                    <a:pt x="92544" y="534847"/>
                  </a:lnTo>
                  <a:lnTo>
                    <a:pt x="47929" y="523138"/>
                  </a:lnTo>
                  <a:lnTo>
                    <a:pt x="0" y="519061"/>
                  </a:lnTo>
                  <a:lnTo>
                    <a:pt x="5448" y="567232"/>
                  </a:lnTo>
                  <a:lnTo>
                    <a:pt x="18846" y="612508"/>
                  </a:lnTo>
                  <a:lnTo>
                    <a:pt x="39458" y="654138"/>
                  </a:lnTo>
                  <a:lnTo>
                    <a:pt x="66560" y="691388"/>
                  </a:lnTo>
                  <a:lnTo>
                    <a:pt x="99415" y="723544"/>
                  </a:lnTo>
                  <a:lnTo>
                    <a:pt x="137261" y="749858"/>
                  </a:lnTo>
                  <a:lnTo>
                    <a:pt x="179387" y="769594"/>
                  </a:lnTo>
                  <a:lnTo>
                    <a:pt x="225056" y="782015"/>
                  </a:lnTo>
                  <a:lnTo>
                    <a:pt x="273532" y="786384"/>
                  </a:lnTo>
                  <a:lnTo>
                    <a:pt x="274764" y="786384"/>
                  </a:lnTo>
                  <a:lnTo>
                    <a:pt x="323100" y="782027"/>
                  </a:lnTo>
                  <a:lnTo>
                    <a:pt x="368655" y="769670"/>
                  </a:lnTo>
                  <a:lnTo>
                    <a:pt x="410692" y="750023"/>
                  </a:lnTo>
                  <a:lnTo>
                    <a:pt x="448475" y="723823"/>
                  </a:lnTo>
                  <a:lnTo>
                    <a:pt x="481279" y="691819"/>
                  </a:lnTo>
                  <a:lnTo>
                    <a:pt x="508393" y="654697"/>
                  </a:lnTo>
                  <a:lnTo>
                    <a:pt x="529043"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435" name="object 145">
              <a:extLst>
                <a:ext uri="{FF2B5EF4-FFF2-40B4-BE49-F238E27FC236}">
                  <a16:creationId xmlns:a16="http://schemas.microsoft.com/office/drawing/2014/main" id="{B54C7C35-2466-E1C9-7E52-F5D09C80358E}"/>
                </a:ext>
              </a:extLst>
            </p:cNvPr>
            <p:cNvPicPr/>
            <p:nvPr/>
          </p:nvPicPr>
          <p:blipFill>
            <a:blip r:embed="rId10" cstate="print"/>
            <a:stretch>
              <a:fillRect/>
            </a:stretch>
          </p:blipFill>
          <p:spPr>
            <a:xfrm>
              <a:off x="11561989" y="3335097"/>
              <a:ext cx="106445" cy="107156"/>
            </a:xfrm>
            <a:prstGeom prst="rect">
              <a:avLst/>
            </a:prstGeom>
          </p:spPr>
        </p:pic>
        <p:sp>
          <p:nvSpPr>
            <p:cNvPr id="436" name="object 146">
              <a:extLst>
                <a:ext uri="{FF2B5EF4-FFF2-40B4-BE49-F238E27FC236}">
                  <a16:creationId xmlns:a16="http://schemas.microsoft.com/office/drawing/2014/main" id="{59E230D3-FC1C-9EB1-298C-E3E8093B42B8}"/>
                </a:ext>
              </a:extLst>
            </p:cNvPr>
            <p:cNvSpPr/>
            <p:nvPr/>
          </p:nvSpPr>
          <p:spPr>
            <a:xfrm>
              <a:off x="11449331" y="2766918"/>
              <a:ext cx="332700" cy="477101"/>
            </a:xfrm>
            <a:custGeom>
              <a:avLst/>
              <a:gdLst/>
              <a:ahLst/>
              <a:cxnLst/>
              <a:rect l="l" t="t" r="r" b="b"/>
              <a:pathLst>
                <a:path w="548640" h="786764">
                  <a:moveTo>
                    <a:pt x="548055" y="266611"/>
                  </a:moveTo>
                  <a:lnTo>
                    <a:pt x="500380" y="270649"/>
                  </a:lnTo>
                  <a:lnTo>
                    <a:pt x="455853" y="282308"/>
                  </a:lnTo>
                  <a:lnTo>
                    <a:pt x="414616" y="300901"/>
                  </a:lnTo>
                  <a:lnTo>
                    <a:pt x="377355" y="325780"/>
                  </a:lnTo>
                  <a:lnTo>
                    <a:pt x="344728" y="356247"/>
                  </a:lnTo>
                  <a:lnTo>
                    <a:pt x="317423" y="391629"/>
                  </a:lnTo>
                  <a:lnTo>
                    <a:pt x="296100" y="431253"/>
                  </a:lnTo>
                  <a:lnTo>
                    <a:pt x="281432" y="474446"/>
                  </a:lnTo>
                  <a:lnTo>
                    <a:pt x="274104" y="520534"/>
                  </a:lnTo>
                  <a:lnTo>
                    <a:pt x="266928" y="474256"/>
                  </a:lnTo>
                  <a:lnTo>
                    <a:pt x="252374" y="430885"/>
                  </a:lnTo>
                  <a:lnTo>
                    <a:pt x="231101" y="391096"/>
                  </a:lnTo>
                  <a:lnTo>
                    <a:pt x="203809" y="355561"/>
                  </a:lnTo>
                  <a:lnTo>
                    <a:pt x="171170" y="324967"/>
                  </a:lnTo>
                  <a:lnTo>
                    <a:pt x="133858" y="299986"/>
                  </a:lnTo>
                  <a:lnTo>
                    <a:pt x="92544" y="281292"/>
                  </a:lnTo>
                  <a:lnTo>
                    <a:pt x="47929" y="269582"/>
                  </a:lnTo>
                  <a:lnTo>
                    <a:pt x="12" y="265531"/>
                  </a:lnTo>
                  <a:lnTo>
                    <a:pt x="5461" y="313702"/>
                  </a:lnTo>
                  <a:lnTo>
                    <a:pt x="18859" y="358952"/>
                  </a:lnTo>
                  <a:lnTo>
                    <a:pt x="39471" y="400583"/>
                  </a:lnTo>
                  <a:lnTo>
                    <a:pt x="66573" y="437845"/>
                  </a:lnTo>
                  <a:lnTo>
                    <a:pt x="99415" y="469988"/>
                  </a:lnTo>
                  <a:lnTo>
                    <a:pt x="137261" y="496303"/>
                  </a:lnTo>
                  <a:lnTo>
                    <a:pt x="179387" y="516039"/>
                  </a:lnTo>
                  <a:lnTo>
                    <a:pt x="225056" y="528459"/>
                  </a:lnTo>
                  <a:lnTo>
                    <a:pt x="273532" y="532841"/>
                  </a:lnTo>
                  <a:lnTo>
                    <a:pt x="274764" y="532841"/>
                  </a:lnTo>
                  <a:lnTo>
                    <a:pt x="323100" y="528485"/>
                  </a:lnTo>
                  <a:lnTo>
                    <a:pt x="368655" y="516115"/>
                  </a:lnTo>
                  <a:lnTo>
                    <a:pt x="410692" y="496468"/>
                  </a:lnTo>
                  <a:lnTo>
                    <a:pt x="448475" y="470268"/>
                  </a:lnTo>
                  <a:lnTo>
                    <a:pt x="481279" y="438264"/>
                  </a:lnTo>
                  <a:lnTo>
                    <a:pt x="508368" y="401154"/>
                  </a:lnTo>
                  <a:lnTo>
                    <a:pt x="529018" y="359689"/>
                  </a:lnTo>
                  <a:lnTo>
                    <a:pt x="542480" y="314604"/>
                  </a:lnTo>
                  <a:lnTo>
                    <a:pt x="548055" y="266611"/>
                  </a:lnTo>
                  <a:close/>
                </a:path>
                <a:path w="548640" h="786764">
                  <a:moveTo>
                    <a:pt x="548055" y="1079"/>
                  </a:moveTo>
                  <a:lnTo>
                    <a:pt x="500380" y="5118"/>
                  </a:lnTo>
                  <a:lnTo>
                    <a:pt x="455853" y="16776"/>
                  </a:lnTo>
                  <a:lnTo>
                    <a:pt x="414616" y="35369"/>
                  </a:lnTo>
                  <a:lnTo>
                    <a:pt x="377355" y="60248"/>
                  </a:lnTo>
                  <a:lnTo>
                    <a:pt x="344728" y="90716"/>
                  </a:lnTo>
                  <a:lnTo>
                    <a:pt x="317423" y="126098"/>
                  </a:lnTo>
                  <a:lnTo>
                    <a:pt x="296100" y="165722"/>
                  </a:lnTo>
                  <a:lnTo>
                    <a:pt x="281432" y="208915"/>
                  </a:lnTo>
                  <a:lnTo>
                    <a:pt x="274104" y="255003"/>
                  </a:lnTo>
                  <a:lnTo>
                    <a:pt x="266928" y="208724"/>
                  </a:lnTo>
                  <a:lnTo>
                    <a:pt x="252374" y="165354"/>
                  </a:lnTo>
                  <a:lnTo>
                    <a:pt x="231101" y="125564"/>
                  </a:lnTo>
                  <a:lnTo>
                    <a:pt x="203809" y="90030"/>
                  </a:lnTo>
                  <a:lnTo>
                    <a:pt x="171170" y="59436"/>
                  </a:lnTo>
                  <a:lnTo>
                    <a:pt x="133858" y="34455"/>
                  </a:lnTo>
                  <a:lnTo>
                    <a:pt x="92544" y="15773"/>
                  </a:lnTo>
                  <a:lnTo>
                    <a:pt x="47929" y="4064"/>
                  </a:lnTo>
                  <a:lnTo>
                    <a:pt x="12" y="0"/>
                  </a:lnTo>
                  <a:lnTo>
                    <a:pt x="5461" y="48171"/>
                  </a:lnTo>
                  <a:lnTo>
                    <a:pt x="18859" y="93433"/>
                  </a:lnTo>
                  <a:lnTo>
                    <a:pt x="39471" y="135051"/>
                  </a:lnTo>
                  <a:lnTo>
                    <a:pt x="66573" y="172313"/>
                  </a:lnTo>
                  <a:lnTo>
                    <a:pt x="99415" y="204457"/>
                  </a:lnTo>
                  <a:lnTo>
                    <a:pt x="137261" y="230771"/>
                  </a:lnTo>
                  <a:lnTo>
                    <a:pt x="179387" y="250507"/>
                  </a:lnTo>
                  <a:lnTo>
                    <a:pt x="225056" y="262928"/>
                  </a:lnTo>
                  <a:lnTo>
                    <a:pt x="273532" y="267309"/>
                  </a:lnTo>
                  <a:lnTo>
                    <a:pt x="274764" y="267309"/>
                  </a:lnTo>
                  <a:lnTo>
                    <a:pt x="323100" y="262953"/>
                  </a:lnTo>
                  <a:lnTo>
                    <a:pt x="368655" y="250583"/>
                  </a:lnTo>
                  <a:lnTo>
                    <a:pt x="410692" y="230936"/>
                  </a:lnTo>
                  <a:lnTo>
                    <a:pt x="448475" y="204749"/>
                  </a:lnTo>
                  <a:lnTo>
                    <a:pt x="481279" y="172732"/>
                  </a:lnTo>
                  <a:lnTo>
                    <a:pt x="508368" y="135623"/>
                  </a:lnTo>
                  <a:lnTo>
                    <a:pt x="529018" y="94157"/>
                  </a:lnTo>
                  <a:lnTo>
                    <a:pt x="542480" y="49072"/>
                  </a:lnTo>
                  <a:lnTo>
                    <a:pt x="548055" y="1079"/>
                  </a:lnTo>
                  <a:close/>
                </a:path>
                <a:path w="548640" h="786764">
                  <a:moveTo>
                    <a:pt x="548093" y="520204"/>
                  </a:moveTo>
                  <a:lnTo>
                    <a:pt x="500380" y="524205"/>
                  </a:lnTo>
                  <a:lnTo>
                    <a:pt x="455853" y="535863"/>
                  </a:lnTo>
                  <a:lnTo>
                    <a:pt x="414616" y="554469"/>
                  </a:lnTo>
                  <a:lnTo>
                    <a:pt x="377355" y="579335"/>
                  </a:lnTo>
                  <a:lnTo>
                    <a:pt x="344728" y="609803"/>
                  </a:lnTo>
                  <a:lnTo>
                    <a:pt x="317411" y="645172"/>
                  </a:lnTo>
                  <a:lnTo>
                    <a:pt x="296087" y="684796"/>
                  </a:lnTo>
                  <a:lnTo>
                    <a:pt x="281419" y="727989"/>
                  </a:lnTo>
                  <a:lnTo>
                    <a:pt x="274091" y="774039"/>
                  </a:lnTo>
                  <a:lnTo>
                    <a:pt x="266928" y="727824"/>
                  </a:lnTo>
                  <a:lnTo>
                    <a:pt x="252374" y="684453"/>
                  </a:lnTo>
                  <a:lnTo>
                    <a:pt x="231101" y="644652"/>
                  </a:lnTo>
                  <a:lnTo>
                    <a:pt x="203809" y="609117"/>
                  </a:lnTo>
                  <a:lnTo>
                    <a:pt x="171170" y="578523"/>
                  </a:lnTo>
                  <a:lnTo>
                    <a:pt x="146177" y="561797"/>
                  </a:lnTo>
                  <a:lnTo>
                    <a:pt x="133858" y="553542"/>
                  </a:lnTo>
                  <a:lnTo>
                    <a:pt x="92532" y="534835"/>
                  </a:lnTo>
                  <a:lnTo>
                    <a:pt x="47917" y="523125"/>
                  </a:lnTo>
                  <a:lnTo>
                    <a:pt x="0" y="519074"/>
                  </a:lnTo>
                  <a:lnTo>
                    <a:pt x="5448" y="567245"/>
                  </a:lnTo>
                  <a:lnTo>
                    <a:pt x="18846" y="612508"/>
                  </a:lnTo>
                  <a:lnTo>
                    <a:pt x="39458" y="654138"/>
                  </a:lnTo>
                  <a:lnTo>
                    <a:pt x="66560" y="691400"/>
                  </a:lnTo>
                  <a:lnTo>
                    <a:pt x="98717" y="722884"/>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437" name="object 147">
              <a:extLst>
                <a:ext uri="{FF2B5EF4-FFF2-40B4-BE49-F238E27FC236}">
                  <a16:creationId xmlns:a16="http://schemas.microsoft.com/office/drawing/2014/main" id="{91644C24-76A2-7F65-17B6-DF5FF2E929A5}"/>
                </a:ext>
              </a:extLst>
            </p:cNvPr>
            <p:cNvPicPr/>
            <p:nvPr/>
          </p:nvPicPr>
          <p:blipFill>
            <a:blip r:embed="rId11" cstate="print"/>
            <a:stretch>
              <a:fillRect/>
            </a:stretch>
          </p:blipFill>
          <p:spPr>
            <a:xfrm>
              <a:off x="11561989" y="2680931"/>
              <a:ext cx="106445" cy="107156"/>
            </a:xfrm>
            <a:prstGeom prst="rect">
              <a:avLst/>
            </a:prstGeom>
          </p:spPr>
        </p:pic>
        <p:sp>
          <p:nvSpPr>
            <p:cNvPr id="438" name="object 148">
              <a:extLst>
                <a:ext uri="{FF2B5EF4-FFF2-40B4-BE49-F238E27FC236}">
                  <a16:creationId xmlns:a16="http://schemas.microsoft.com/office/drawing/2014/main" id="{1C708457-962A-1440-0EED-D0F039AB664E}"/>
                </a:ext>
              </a:extLst>
            </p:cNvPr>
            <p:cNvSpPr/>
            <p:nvPr/>
          </p:nvSpPr>
          <p:spPr>
            <a:xfrm>
              <a:off x="11449331" y="4729423"/>
              <a:ext cx="332700" cy="477101"/>
            </a:xfrm>
            <a:custGeom>
              <a:avLst/>
              <a:gdLst/>
              <a:ahLst/>
              <a:cxnLst/>
              <a:rect l="l" t="t" r="r" b="b"/>
              <a:pathLst>
                <a:path w="548640" h="786765">
                  <a:moveTo>
                    <a:pt x="548055" y="266611"/>
                  </a:moveTo>
                  <a:lnTo>
                    <a:pt x="500380" y="270649"/>
                  </a:lnTo>
                  <a:lnTo>
                    <a:pt x="455853" y="282308"/>
                  </a:lnTo>
                  <a:lnTo>
                    <a:pt x="414616" y="300901"/>
                  </a:lnTo>
                  <a:lnTo>
                    <a:pt x="377355" y="325767"/>
                  </a:lnTo>
                  <a:lnTo>
                    <a:pt x="344728" y="356235"/>
                  </a:lnTo>
                  <a:lnTo>
                    <a:pt x="317423" y="391617"/>
                  </a:lnTo>
                  <a:lnTo>
                    <a:pt x="296100" y="431241"/>
                  </a:lnTo>
                  <a:lnTo>
                    <a:pt x="281432" y="474433"/>
                  </a:lnTo>
                  <a:lnTo>
                    <a:pt x="274104" y="520522"/>
                  </a:lnTo>
                  <a:lnTo>
                    <a:pt x="266928" y="474243"/>
                  </a:lnTo>
                  <a:lnTo>
                    <a:pt x="252374" y="430872"/>
                  </a:lnTo>
                  <a:lnTo>
                    <a:pt x="231101" y="391083"/>
                  </a:lnTo>
                  <a:lnTo>
                    <a:pt x="203809" y="355549"/>
                  </a:lnTo>
                  <a:lnTo>
                    <a:pt x="171170" y="324954"/>
                  </a:lnTo>
                  <a:lnTo>
                    <a:pt x="133858" y="299974"/>
                  </a:lnTo>
                  <a:lnTo>
                    <a:pt x="92544" y="281292"/>
                  </a:lnTo>
                  <a:lnTo>
                    <a:pt x="47929" y="269582"/>
                  </a:lnTo>
                  <a:lnTo>
                    <a:pt x="12" y="265518"/>
                  </a:lnTo>
                  <a:lnTo>
                    <a:pt x="5461" y="313690"/>
                  </a:lnTo>
                  <a:lnTo>
                    <a:pt x="18859" y="358952"/>
                  </a:lnTo>
                  <a:lnTo>
                    <a:pt x="39471" y="400570"/>
                  </a:lnTo>
                  <a:lnTo>
                    <a:pt x="66573" y="437832"/>
                  </a:lnTo>
                  <a:lnTo>
                    <a:pt x="99415" y="469976"/>
                  </a:lnTo>
                  <a:lnTo>
                    <a:pt x="137261" y="496290"/>
                  </a:lnTo>
                  <a:lnTo>
                    <a:pt x="179387" y="516026"/>
                  </a:lnTo>
                  <a:lnTo>
                    <a:pt x="225056" y="528447"/>
                  </a:lnTo>
                  <a:lnTo>
                    <a:pt x="273532" y="532828"/>
                  </a:lnTo>
                  <a:lnTo>
                    <a:pt x="274764" y="532828"/>
                  </a:lnTo>
                  <a:lnTo>
                    <a:pt x="323100" y="528472"/>
                  </a:lnTo>
                  <a:lnTo>
                    <a:pt x="368655" y="516102"/>
                  </a:lnTo>
                  <a:lnTo>
                    <a:pt x="410692" y="496455"/>
                  </a:lnTo>
                  <a:lnTo>
                    <a:pt x="448475" y="470268"/>
                  </a:lnTo>
                  <a:lnTo>
                    <a:pt x="481279" y="438251"/>
                  </a:lnTo>
                  <a:lnTo>
                    <a:pt x="508368" y="401154"/>
                  </a:lnTo>
                  <a:lnTo>
                    <a:pt x="529018" y="359689"/>
                  </a:lnTo>
                  <a:lnTo>
                    <a:pt x="542480" y="314604"/>
                  </a:lnTo>
                  <a:lnTo>
                    <a:pt x="548055" y="266611"/>
                  </a:lnTo>
                  <a:close/>
                </a:path>
                <a:path w="548640" h="786765">
                  <a:moveTo>
                    <a:pt x="548055" y="1079"/>
                  </a:moveTo>
                  <a:lnTo>
                    <a:pt x="500380" y="5105"/>
                  </a:lnTo>
                  <a:lnTo>
                    <a:pt x="455853" y="16764"/>
                  </a:lnTo>
                  <a:lnTo>
                    <a:pt x="414616" y="35369"/>
                  </a:lnTo>
                  <a:lnTo>
                    <a:pt x="377355" y="60236"/>
                  </a:lnTo>
                  <a:lnTo>
                    <a:pt x="344728" y="90703"/>
                  </a:lnTo>
                  <a:lnTo>
                    <a:pt x="317423" y="126085"/>
                  </a:lnTo>
                  <a:lnTo>
                    <a:pt x="296100" y="165709"/>
                  </a:lnTo>
                  <a:lnTo>
                    <a:pt x="281432" y="208902"/>
                  </a:lnTo>
                  <a:lnTo>
                    <a:pt x="274104" y="254990"/>
                  </a:lnTo>
                  <a:lnTo>
                    <a:pt x="266928" y="208724"/>
                  </a:lnTo>
                  <a:lnTo>
                    <a:pt x="252374" y="165354"/>
                  </a:lnTo>
                  <a:lnTo>
                    <a:pt x="231101" y="125552"/>
                  </a:lnTo>
                  <a:lnTo>
                    <a:pt x="203809" y="90017"/>
                  </a:lnTo>
                  <a:lnTo>
                    <a:pt x="171170" y="59423"/>
                  </a:lnTo>
                  <a:lnTo>
                    <a:pt x="133858" y="34442"/>
                  </a:lnTo>
                  <a:lnTo>
                    <a:pt x="92544" y="15760"/>
                  </a:lnTo>
                  <a:lnTo>
                    <a:pt x="47929" y="4051"/>
                  </a:lnTo>
                  <a:lnTo>
                    <a:pt x="12" y="0"/>
                  </a:lnTo>
                  <a:lnTo>
                    <a:pt x="5461" y="48158"/>
                  </a:lnTo>
                  <a:lnTo>
                    <a:pt x="18859" y="93421"/>
                  </a:lnTo>
                  <a:lnTo>
                    <a:pt x="39471" y="135039"/>
                  </a:lnTo>
                  <a:lnTo>
                    <a:pt x="66573" y="172300"/>
                  </a:lnTo>
                  <a:lnTo>
                    <a:pt x="99415" y="204444"/>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24"/>
                  </a:lnTo>
                  <a:lnTo>
                    <a:pt x="481279" y="172720"/>
                  </a:lnTo>
                  <a:lnTo>
                    <a:pt x="508368" y="135610"/>
                  </a:lnTo>
                  <a:lnTo>
                    <a:pt x="529018" y="94157"/>
                  </a:lnTo>
                  <a:lnTo>
                    <a:pt x="542480" y="49060"/>
                  </a:lnTo>
                  <a:lnTo>
                    <a:pt x="548055" y="1079"/>
                  </a:lnTo>
                  <a:close/>
                </a:path>
                <a:path w="548640" h="786765">
                  <a:moveTo>
                    <a:pt x="548093" y="520192"/>
                  </a:moveTo>
                  <a:lnTo>
                    <a:pt x="500380" y="524205"/>
                  </a:lnTo>
                  <a:lnTo>
                    <a:pt x="455853" y="535863"/>
                  </a:lnTo>
                  <a:lnTo>
                    <a:pt x="414616" y="554469"/>
                  </a:lnTo>
                  <a:lnTo>
                    <a:pt x="377355" y="579335"/>
                  </a:lnTo>
                  <a:lnTo>
                    <a:pt x="344728" y="609790"/>
                  </a:lnTo>
                  <a:lnTo>
                    <a:pt x="317411" y="645160"/>
                  </a:lnTo>
                  <a:lnTo>
                    <a:pt x="296087" y="684784"/>
                  </a:lnTo>
                  <a:lnTo>
                    <a:pt x="281419" y="727976"/>
                  </a:lnTo>
                  <a:lnTo>
                    <a:pt x="274091" y="774039"/>
                  </a:lnTo>
                  <a:lnTo>
                    <a:pt x="266928" y="727811"/>
                  </a:lnTo>
                  <a:lnTo>
                    <a:pt x="252374" y="684441"/>
                  </a:lnTo>
                  <a:lnTo>
                    <a:pt x="231101" y="644639"/>
                  </a:lnTo>
                  <a:lnTo>
                    <a:pt x="203809" y="609104"/>
                  </a:lnTo>
                  <a:lnTo>
                    <a:pt x="171170" y="578510"/>
                  </a:lnTo>
                  <a:lnTo>
                    <a:pt x="146177" y="561784"/>
                  </a:lnTo>
                  <a:lnTo>
                    <a:pt x="133858" y="553529"/>
                  </a:lnTo>
                  <a:lnTo>
                    <a:pt x="92544" y="534847"/>
                  </a:lnTo>
                  <a:lnTo>
                    <a:pt x="47917" y="523113"/>
                  </a:lnTo>
                  <a:lnTo>
                    <a:pt x="0" y="519061"/>
                  </a:lnTo>
                  <a:lnTo>
                    <a:pt x="5448" y="567232"/>
                  </a:lnTo>
                  <a:lnTo>
                    <a:pt x="18846" y="612508"/>
                  </a:lnTo>
                  <a:lnTo>
                    <a:pt x="39458" y="654126"/>
                  </a:lnTo>
                  <a:lnTo>
                    <a:pt x="66560" y="691388"/>
                  </a:lnTo>
                  <a:lnTo>
                    <a:pt x="98717" y="722871"/>
                  </a:lnTo>
                  <a:lnTo>
                    <a:pt x="137261" y="749858"/>
                  </a:lnTo>
                  <a:lnTo>
                    <a:pt x="179387" y="769581"/>
                  </a:lnTo>
                  <a:lnTo>
                    <a:pt x="225056" y="782015"/>
                  </a:lnTo>
                  <a:lnTo>
                    <a:pt x="273532" y="786384"/>
                  </a:lnTo>
                  <a:lnTo>
                    <a:pt x="274764" y="786384"/>
                  </a:lnTo>
                  <a:lnTo>
                    <a:pt x="323100" y="782027"/>
                  </a:lnTo>
                  <a:lnTo>
                    <a:pt x="368655" y="769670"/>
                  </a:lnTo>
                  <a:lnTo>
                    <a:pt x="410692" y="750023"/>
                  </a:lnTo>
                  <a:lnTo>
                    <a:pt x="448475" y="723823"/>
                  </a:lnTo>
                  <a:lnTo>
                    <a:pt x="449287" y="723023"/>
                  </a:lnTo>
                  <a:lnTo>
                    <a:pt x="481279" y="691807"/>
                  </a:lnTo>
                  <a:lnTo>
                    <a:pt x="508393" y="654697"/>
                  </a:lnTo>
                  <a:lnTo>
                    <a:pt x="529043"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439" name="object 149">
              <a:extLst>
                <a:ext uri="{FF2B5EF4-FFF2-40B4-BE49-F238E27FC236}">
                  <a16:creationId xmlns:a16="http://schemas.microsoft.com/office/drawing/2014/main" id="{2059081C-9D32-57DD-3CBF-5F11757EF969}"/>
                </a:ext>
              </a:extLst>
            </p:cNvPr>
            <p:cNvPicPr/>
            <p:nvPr/>
          </p:nvPicPr>
          <p:blipFill>
            <a:blip r:embed="rId10" cstate="print"/>
            <a:stretch>
              <a:fillRect/>
            </a:stretch>
          </p:blipFill>
          <p:spPr>
            <a:xfrm>
              <a:off x="11561989" y="4643430"/>
              <a:ext cx="106445" cy="107156"/>
            </a:xfrm>
            <a:prstGeom prst="rect">
              <a:avLst/>
            </a:prstGeom>
          </p:spPr>
        </p:pic>
        <p:sp>
          <p:nvSpPr>
            <p:cNvPr id="440" name="object 150">
              <a:extLst>
                <a:ext uri="{FF2B5EF4-FFF2-40B4-BE49-F238E27FC236}">
                  <a16:creationId xmlns:a16="http://schemas.microsoft.com/office/drawing/2014/main" id="{B68386D5-A5FB-A977-8247-5702353EB294}"/>
                </a:ext>
              </a:extLst>
            </p:cNvPr>
            <p:cNvSpPr/>
            <p:nvPr/>
          </p:nvSpPr>
          <p:spPr>
            <a:xfrm>
              <a:off x="11449331" y="4075252"/>
              <a:ext cx="332700" cy="477101"/>
            </a:xfrm>
            <a:custGeom>
              <a:avLst/>
              <a:gdLst/>
              <a:ahLst/>
              <a:cxnLst/>
              <a:rect l="l" t="t" r="r" b="b"/>
              <a:pathLst>
                <a:path w="548640" h="786765">
                  <a:moveTo>
                    <a:pt x="548055" y="266623"/>
                  </a:moveTo>
                  <a:lnTo>
                    <a:pt x="500380" y="270662"/>
                  </a:lnTo>
                  <a:lnTo>
                    <a:pt x="455853" y="282308"/>
                  </a:lnTo>
                  <a:lnTo>
                    <a:pt x="414616" y="300913"/>
                  </a:lnTo>
                  <a:lnTo>
                    <a:pt x="377355" y="325780"/>
                  </a:lnTo>
                  <a:lnTo>
                    <a:pt x="344728" y="356247"/>
                  </a:lnTo>
                  <a:lnTo>
                    <a:pt x="317423" y="391629"/>
                  </a:lnTo>
                  <a:lnTo>
                    <a:pt x="296100" y="431253"/>
                  </a:lnTo>
                  <a:lnTo>
                    <a:pt x="281432" y="474446"/>
                  </a:lnTo>
                  <a:lnTo>
                    <a:pt x="274104" y="520534"/>
                  </a:lnTo>
                  <a:lnTo>
                    <a:pt x="266928" y="474256"/>
                  </a:lnTo>
                  <a:lnTo>
                    <a:pt x="252374" y="430885"/>
                  </a:lnTo>
                  <a:lnTo>
                    <a:pt x="231101" y="391096"/>
                  </a:lnTo>
                  <a:lnTo>
                    <a:pt x="203809" y="355561"/>
                  </a:lnTo>
                  <a:lnTo>
                    <a:pt x="171170" y="324954"/>
                  </a:lnTo>
                  <a:lnTo>
                    <a:pt x="133858" y="299974"/>
                  </a:lnTo>
                  <a:lnTo>
                    <a:pt x="92544" y="281292"/>
                  </a:lnTo>
                  <a:lnTo>
                    <a:pt x="47929" y="269582"/>
                  </a:lnTo>
                  <a:lnTo>
                    <a:pt x="12" y="265531"/>
                  </a:lnTo>
                  <a:lnTo>
                    <a:pt x="5461" y="313690"/>
                  </a:lnTo>
                  <a:lnTo>
                    <a:pt x="18859" y="358952"/>
                  </a:lnTo>
                  <a:lnTo>
                    <a:pt x="39471" y="400583"/>
                  </a:lnTo>
                  <a:lnTo>
                    <a:pt x="66573" y="437832"/>
                  </a:lnTo>
                  <a:lnTo>
                    <a:pt x="99415" y="469988"/>
                  </a:lnTo>
                  <a:lnTo>
                    <a:pt x="137261" y="496303"/>
                  </a:lnTo>
                  <a:lnTo>
                    <a:pt x="179387" y="516039"/>
                  </a:lnTo>
                  <a:lnTo>
                    <a:pt x="225056" y="528459"/>
                  </a:lnTo>
                  <a:lnTo>
                    <a:pt x="273532" y="532828"/>
                  </a:lnTo>
                  <a:lnTo>
                    <a:pt x="274764" y="532828"/>
                  </a:lnTo>
                  <a:lnTo>
                    <a:pt x="323100" y="528472"/>
                  </a:lnTo>
                  <a:lnTo>
                    <a:pt x="368655" y="516115"/>
                  </a:lnTo>
                  <a:lnTo>
                    <a:pt x="410692" y="496468"/>
                  </a:lnTo>
                  <a:lnTo>
                    <a:pt x="448475" y="470268"/>
                  </a:lnTo>
                  <a:lnTo>
                    <a:pt x="481279" y="438264"/>
                  </a:lnTo>
                  <a:lnTo>
                    <a:pt x="508368" y="401154"/>
                  </a:lnTo>
                  <a:lnTo>
                    <a:pt x="529018" y="359702"/>
                  </a:lnTo>
                  <a:lnTo>
                    <a:pt x="542480" y="314604"/>
                  </a:lnTo>
                  <a:lnTo>
                    <a:pt x="548055" y="266623"/>
                  </a:lnTo>
                  <a:close/>
                </a:path>
                <a:path w="548640" h="786765">
                  <a:moveTo>
                    <a:pt x="548055" y="1092"/>
                  </a:moveTo>
                  <a:lnTo>
                    <a:pt x="500380" y="5130"/>
                  </a:lnTo>
                  <a:lnTo>
                    <a:pt x="455853" y="16776"/>
                  </a:lnTo>
                  <a:lnTo>
                    <a:pt x="414616" y="35382"/>
                  </a:lnTo>
                  <a:lnTo>
                    <a:pt x="377355" y="60248"/>
                  </a:lnTo>
                  <a:lnTo>
                    <a:pt x="344728" y="90716"/>
                  </a:lnTo>
                  <a:lnTo>
                    <a:pt x="317423" y="126098"/>
                  </a:lnTo>
                  <a:lnTo>
                    <a:pt x="296100" y="165722"/>
                  </a:lnTo>
                  <a:lnTo>
                    <a:pt x="281432" y="208915"/>
                  </a:lnTo>
                  <a:lnTo>
                    <a:pt x="274104" y="255003"/>
                  </a:lnTo>
                  <a:lnTo>
                    <a:pt x="266928" y="208724"/>
                  </a:lnTo>
                  <a:lnTo>
                    <a:pt x="252374" y="165354"/>
                  </a:lnTo>
                  <a:lnTo>
                    <a:pt x="231101" y="125564"/>
                  </a:lnTo>
                  <a:lnTo>
                    <a:pt x="203809" y="90030"/>
                  </a:lnTo>
                  <a:lnTo>
                    <a:pt x="171170" y="59436"/>
                  </a:lnTo>
                  <a:lnTo>
                    <a:pt x="133858" y="34455"/>
                  </a:lnTo>
                  <a:lnTo>
                    <a:pt x="92544" y="15760"/>
                  </a:lnTo>
                  <a:lnTo>
                    <a:pt x="47929" y="4051"/>
                  </a:lnTo>
                  <a:lnTo>
                    <a:pt x="12" y="0"/>
                  </a:lnTo>
                  <a:lnTo>
                    <a:pt x="5461" y="48158"/>
                  </a:lnTo>
                  <a:lnTo>
                    <a:pt x="18859" y="93421"/>
                  </a:lnTo>
                  <a:lnTo>
                    <a:pt x="39471" y="135051"/>
                  </a:lnTo>
                  <a:lnTo>
                    <a:pt x="66573" y="172300"/>
                  </a:lnTo>
                  <a:lnTo>
                    <a:pt x="99415" y="204457"/>
                  </a:lnTo>
                  <a:lnTo>
                    <a:pt x="137261" y="230771"/>
                  </a:lnTo>
                  <a:lnTo>
                    <a:pt x="179387" y="250494"/>
                  </a:lnTo>
                  <a:lnTo>
                    <a:pt x="225056" y="262928"/>
                  </a:lnTo>
                  <a:lnTo>
                    <a:pt x="273532" y="267309"/>
                  </a:lnTo>
                  <a:lnTo>
                    <a:pt x="274764" y="267309"/>
                  </a:lnTo>
                  <a:lnTo>
                    <a:pt x="323100" y="262940"/>
                  </a:lnTo>
                  <a:lnTo>
                    <a:pt x="368655" y="250583"/>
                  </a:lnTo>
                  <a:lnTo>
                    <a:pt x="410692" y="230936"/>
                  </a:lnTo>
                  <a:lnTo>
                    <a:pt x="448475" y="204736"/>
                  </a:lnTo>
                  <a:lnTo>
                    <a:pt x="481279" y="172720"/>
                  </a:lnTo>
                  <a:lnTo>
                    <a:pt x="508368" y="135623"/>
                  </a:lnTo>
                  <a:lnTo>
                    <a:pt x="529018" y="94170"/>
                  </a:lnTo>
                  <a:lnTo>
                    <a:pt x="542480" y="49072"/>
                  </a:lnTo>
                  <a:lnTo>
                    <a:pt x="548055" y="1092"/>
                  </a:lnTo>
                  <a:close/>
                </a:path>
                <a:path w="548640" h="786765">
                  <a:moveTo>
                    <a:pt x="548093" y="520204"/>
                  </a:moveTo>
                  <a:lnTo>
                    <a:pt x="500380" y="524217"/>
                  </a:lnTo>
                  <a:lnTo>
                    <a:pt x="455853" y="535876"/>
                  </a:lnTo>
                  <a:lnTo>
                    <a:pt x="414616" y="554469"/>
                  </a:lnTo>
                  <a:lnTo>
                    <a:pt x="377355" y="579335"/>
                  </a:lnTo>
                  <a:lnTo>
                    <a:pt x="344728" y="609803"/>
                  </a:lnTo>
                  <a:lnTo>
                    <a:pt x="317411" y="645172"/>
                  </a:lnTo>
                  <a:lnTo>
                    <a:pt x="296087" y="684796"/>
                  </a:lnTo>
                  <a:lnTo>
                    <a:pt x="281419" y="727976"/>
                  </a:lnTo>
                  <a:lnTo>
                    <a:pt x="274091" y="774039"/>
                  </a:lnTo>
                  <a:lnTo>
                    <a:pt x="266928" y="727824"/>
                  </a:lnTo>
                  <a:lnTo>
                    <a:pt x="252374" y="684441"/>
                  </a:lnTo>
                  <a:lnTo>
                    <a:pt x="231101" y="644652"/>
                  </a:lnTo>
                  <a:lnTo>
                    <a:pt x="203809" y="609117"/>
                  </a:lnTo>
                  <a:lnTo>
                    <a:pt x="171170" y="578523"/>
                  </a:lnTo>
                  <a:lnTo>
                    <a:pt x="133858" y="553542"/>
                  </a:lnTo>
                  <a:lnTo>
                    <a:pt x="92532" y="534835"/>
                  </a:lnTo>
                  <a:lnTo>
                    <a:pt x="47917" y="523125"/>
                  </a:lnTo>
                  <a:lnTo>
                    <a:pt x="0" y="519074"/>
                  </a:lnTo>
                  <a:lnTo>
                    <a:pt x="5448" y="567245"/>
                  </a:lnTo>
                  <a:lnTo>
                    <a:pt x="18846" y="612508"/>
                  </a:lnTo>
                  <a:lnTo>
                    <a:pt x="39458" y="654138"/>
                  </a:lnTo>
                  <a:lnTo>
                    <a:pt x="66560" y="691388"/>
                  </a:lnTo>
                  <a:lnTo>
                    <a:pt x="99415" y="723557"/>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441" name="object 151">
              <a:extLst>
                <a:ext uri="{FF2B5EF4-FFF2-40B4-BE49-F238E27FC236}">
                  <a16:creationId xmlns:a16="http://schemas.microsoft.com/office/drawing/2014/main" id="{B24BB298-DBA1-7E75-5BBB-94C3A229D377}"/>
                </a:ext>
              </a:extLst>
            </p:cNvPr>
            <p:cNvPicPr/>
            <p:nvPr/>
          </p:nvPicPr>
          <p:blipFill>
            <a:blip r:embed="rId11" cstate="print"/>
            <a:stretch>
              <a:fillRect/>
            </a:stretch>
          </p:blipFill>
          <p:spPr>
            <a:xfrm>
              <a:off x="11561989" y="3989263"/>
              <a:ext cx="106445" cy="107156"/>
            </a:xfrm>
            <a:prstGeom prst="rect">
              <a:avLst/>
            </a:prstGeom>
          </p:spPr>
        </p:pic>
        <p:sp>
          <p:nvSpPr>
            <p:cNvPr id="442" name="object 152">
              <a:extLst>
                <a:ext uri="{FF2B5EF4-FFF2-40B4-BE49-F238E27FC236}">
                  <a16:creationId xmlns:a16="http://schemas.microsoft.com/office/drawing/2014/main" id="{7ABF451D-9999-ECF0-1A4F-45EFED42FE9A}"/>
                </a:ext>
              </a:extLst>
            </p:cNvPr>
            <p:cNvSpPr/>
            <p:nvPr/>
          </p:nvSpPr>
          <p:spPr>
            <a:xfrm>
              <a:off x="11064254" y="3862863"/>
              <a:ext cx="332700" cy="477101"/>
            </a:xfrm>
            <a:custGeom>
              <a:avLst/>
              <a:gdLst/>
              <a:ahLst/>
              <a:cxnLst/>
              <a:rect l="l" t="t" r="r" b="b"/>
              <a:pathLst>
                <a:path w="548640" h="786765">
                  <a:moveTo>
                    <a:pt x="548081" y="786396"/>
                  </a:moveTo>
                  <a:lnTo>
                    <a:pt x="542632" y="738238"/>
                  </a:lnTo>
                  <a:lnTo>
                    <a:pt x="529234" y="692975"/>
                  </a:lnTo>
                  <a:lnTo>
                    <a:pt x="508622" y="651344"/>
                  </a:lnTo>
                  <a:lnTo>
                    <a:pt x="481520" y="614083"/>
                  </a:lnTo>
                  <a:lnTo>
                    <a:pt x="448678" y="581939"/>
                  </a:lnTo>
                  <a:lnTo>
                    <a:pt x="410832" y="555625"/>
                  </a:lnTo>
                  <a:lnTo>
                    <a:pt x="368706" y="535889"/>
                  </a:lnTo>
                  <a:lnTo>
                    <a:pt x="323037" y="523468"/>
                  </a:lnTo>
                  <a:lnTo>
                    <a:pt x="274561" y="519099"/>
                  </a:lnTo>
                  <a:lnTo>
                    <a:pt x="273329" y="519099"/>
                  </a:lnTo>
                  <a:lnTo>
                    <a:pt x="224993" y="523455"/>
                  </a:lnTo>
                  <a:lnTo>
                    <a:pt x="179438" y="535813"/>
                  </a:lnTo>
                  <a:lnTo>
                    <a:pt x="137401" y="555459"/>
                  </a:lnTo>
                  <a:lnTo>
                    <a:pt x="99618" y="581660"/>
                  </a:lnTo>
                  <a:lnTo>
                    <a:pt x="66814" y="613664"/>
                  </a:lnTo>
                  <a:lnTo>
                    <a:pt x="39725" y="650773"/>
                  </a:lnTo>
                  <a:lnTo>
                    <a:pt x="19075" y="692226"/>
                  </a:lnTo>
                  <a:lnTo>
                    <a:pt x="5613" y="737323"/>
                  </a:lnTo>
                  <a:lnTo>
                    <a:pt x="38" y="785304"/>
                  </a:lnTo>
                  <a:lnTo>
                    <a:pt x="47713" y="781265"/>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35"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78" y="316407"/>
                  </a:lnTo>
                  <a:lnTo>
                    <a:pt x="410832" y="290106"/>
                  </a:lnTo>
                  <a:lnTo>
                    <a:pt x="368706" y="270370"/>
                  </a:lnTo>
                  <a:lnTo>
                    <a:pt x="323037" y="257949"/>
                  </a:lnTo>
                  <a:lnTo>
                    <a:pt x="274561" y="253568"/>
                  </a:lnTo>
                  <a:lnTo>
                    <a:pt x="273329" y="253568"/>
                  </a:lnTo>
                  <a:lnTo>
                    <a:pt x="224993" y="257924"/>
                  </a:lnTo>
                  <a:lnTo>
                    <a:pt x="179438" y="270294"/>
                  </a:lnTo>
                  <a:lnTo>
                    <a:pt x="137401" y="289941"/>
                  </a:lnTo>
                  <a:lnTo>
                    <a:pt x="99618" y="316128"/>
                  </a:lnTo>
                  <a:lnTo>
                    <a:pt x="66814" y="348145"/>
                  </a:lnTo>
                  <a:lnTo>
                    <a:pt x="39725" y="385241"/>
                  </a:lnTo>
                  <a:lnTo>
                    <a:pt x="19075" y="426707"/>
                  </a:lnTo>
                  <a:lnTo>
                    <a:pt x="5613" y="471792"/>
                  </a:lnTo>
                  <a:lnTo>
                    <a:pt x="38" y="519785"/>
                  </a:lnTo>
                  <a:lnTo>
                    <a:pt x="47713" y="515747"/>
                  </a:lnTo>
                  <a:lnTo>
                    <a:pt x="92240" y="504101"/>
                  </a:lnTo>
                  <a:lnTo>
                    <a:pt x="133464" y="485495"/>
                  </a:lnTo>
                  <a:lnTo>
                    <a:pt x="170738" y="460629"/>
                  </a:lnTo>
                  <a:lnTo>
                    <a:pt x="203365" y="430161"/>
                  </a:lnTo>
                  <a:lnTo>
                    <a:pt x="230670" y="394779"/>
                  </a:lnTo>
                  <a:lnTo>
                    <a:pt x="251993" y="355142"/>
                  </a:lnTo>
                  <a:lnTo>
                    <a:pt x="266661" y="311950"/>
                  </a:lnTo>
                  <a:lnTo>
                    <a:pt x="273989" y="265874"/>
                  </a:lnTo>
                  <a:lnTo>
                    <a:pt x="281165" y="312140"/>
                  </a:lnTo>
                  <a:lnTo>
                    <a:pt x="295719" y="355511"/>
                  </a:lnTo>
                  <a:lnTo>
                    <a:pt x="316992" y="395300"/>
                  </a:lnTo>
                  <a:lnTo>
                    <a:pt x="344284" y="430847"/>
                  </a:lnTo>
                  <a:lnTo>
                    <a:pt x="376923" y="461441"/>
                  </a:lnTo>
                  <a:lnTo>
                    <a:pt x="414235" y="486422"/>
                  </a:lnTo>
                  <a:lnTo>
                    <a:pt x="455549" y="505104"/>
                  </a:lnTo>
                  <a:lnTo>
                    <a:pt x="500164" y="516813"/>
                  </a:lnTo>
                  <a:lnTo>
                    <a:pt x="548081" y="520865"/>
                  </a:lnTo>
                  <a:close/>
                </a:path>
                <a:path w="548640" h="786765">
                  <a:moveTo>
                    <a:pt x="548081" y="267322"/>
                  </a:moveTo>
                  <a:lnTo>
                    <a:pt x="547458" y="261874"/>
                  </a:lnTo>
                  <a:lnTo>
                    <a:pt x="542645" y="219151"/>
                  </a:lnTo>
                  <a:lnTo>
                    <a:pt x="529247" y="173888"/>
                  </a:lnTo>
                  <a:lnTo>
                    <a:pt x="508635" y="132257"/>
                  </a:lnTo>
                  <a:lnTo>
                    <a:pt x="481533" y="95008"/>
                  </a:lnTo>
                  <a:lnTo>
                    <a:pt x="480834" y="94335"/>
                  </a:lnTo>
                  <a:lnTo>
                    <a:pt x="448691" y="62852"/>
                  </a:lnTo>
                  <a:lnTo>
                    <a:pt x="433158" y="52070"/>
                  </a:lnTo>
                  <a:lnTo>
                    <a:pt x="410832" y="36550"/>
                  </a:lnTo>
                  <a:lnTo>
                    <a:pt x="368706" y="16802"/>
                  </a:lnTo>
                  <a:lnTo>
                    <a:pt x="323037" y="4381"/>
                  </a:lnTo>
                  <a:lnTo>
                    <a:pt x="274561" y="0"/>
                  </a:lnTo>
                  <a:lnTo>
                    <a:pt x="273329" y="0"/>
                  </a:lnTo>
                  <a:lnTo>
                    <a:pt x="224993" y="4356"/>
                  </a:lnTo>
                  <a:lnTo>
                    <a:pt x="179438" y="16725"/>
                  </a:lnTo>
                  <a:lnTo>
                    <a:pt x="137401" y="36372"/>
                  </a:lnTo>
                  <a:lnTo>
                    <a:pt x="99618" y="62560"/>
                  </a:lnTo>
                  <a:lnTo>
                    <a:pt x="66814" y="94576"/>
                  </a:lnTo>
                  <a:lnTo>
                    <a:pt x="39700" y="131686"/>
                  </a:lnTo>
                  <a:lnTo>
                    <a:pt x="19037" y="173139"/>
                  </a:lnTo>
                  <a:lnTo>
                    <a:pt x="5562" y="218224"/>
                  </a:lnTo>
                  <a:lnTo>
                    <a:pt x="0" y="266192"/>
                  </a:lnTo>
                  <a:lnTo>
                    <a:pt x="47713" y="262178"/>
                  </a:lnTo>
                  <a:lnTo>
                    <a:pt x="92240" y="250520"/>
                  </a:lnTo>
                  <a:lnTo>
                    <a:pt x="133464" y="231927"/>
                  </a:lnTo>
                  <a:lnTo>
                    <a:pt x="170738" y="207060"/>
                  </a:lnTo>
                  <a:lnTo>
                    <a:pt x="203365" y="176593"/>
                  </a:lnTo>
                  <a:lnTo>
                    <a:pt x="230682" y="141224"/>
                  </a:lnTo>
                  <a:lnTo>
                    <a:pt x="252006" y="101600"/>
                  </a:lnTo>
                  <a:lnTo>
                    <a:pt x="266674" y="58420"/>
                  </a:lnTo>
                  <a:lnTo>
                    <a:pt x="273989" y="12369"/>
                  </a:lnTo>
                  <a:lnTo>
                    <a:pt x="279844" y="50101"/>
                  </a:lnTo>
                  <a:lnTo>
                    <a:pt x="281165" y="58585"/>
                  </a:lnTo>
                  <a:lnTo>
                    <a:pt x="284822" y="69481"/>
                  </a:lnTo>
                  <a:lnTo>
                    <a:pt x="295719" y="101955"/>
                  </a:lnTo>
                  <a:lnTo>
                    <a:pt x="316992" y="141744"/>
                  </a:lnTo>
                  <a:lnTo>
                    <a:pt x="344284" y="177279"/>
                  </a:lnTo>
                  <a:lnTo>
                    <a:pt x="376936" y="207886"/>
                  </a:lnTo>
                  <a:lnTo>
                    <a:pt x="414248" y="232867"/>
                  </a:lnTo>
                  <a:lnTo>
                    <a:pt x="455549" y="251561"/>
                  </a:lnTo>
                  <a:lnTo>
                    <a:pt x="500176" y="263271"/>
                  </a:lnTo>
                  <a:lnTo>
                    <a:pt x="548081" y="267322"/>
                  </a:lnTo>
                  <a:close/>
                </a:path>
              </a:pathLst>
            </a:custGeom>
            <a:solidFill>
              <a:srgbClr val="2DB7EA"/>
            </a:solidFill>
          </p:spPr>
          <p:txBody>
            <a:bodyPr wrap="square" lIns="0" tIns="0" rIns="0" bIns="0" rtlCol="0"/>
            <a:lstStyle/>
            <a:p>
              <a:endParaRPr dirty="0"/>
            </a:p>
          </p:txBody>
        </p:sp>
        <p:pic>
          <p:nvPicPr>
            <p:cNvPr id="443" name="object 153">
              <a:extLst>
                <a:ext uri="{FF2B5EF4-FFF2-40B4-BE49-F238E27FC236}">
                  <a16:creationId xmlns:a16="http://schemas.microsoft.com/office/drawing/2014/main" id="{D70E26C8-C486-7BE4-5450-BE4B9414A9AD}"/>
                </a:ext>
              </a:extLst>
            </p:cNvPr>
            <p:cNvPicPr/>
            <p:nvPr/>
          </p:nvPicPr>
          <p:blipFill>
            <a:blip r:embed="rId13" cstate="print"/>
            <a:stretch>
              <a:fillRect/>
            </a:stretch>
          </p:blipFill>
          <p:spPr>
            <a:xfrm>
              <a:off x="11177526" y="4318566"/>
              <a:ext cx="106445" cy="107156"/>
            </a:xfrm>
            <a:prstGeom prst="rect">
              <a:avLst/>
            </a:prstGeom>
          </p:spPr>
        </p:pic>
        <p:sp>
          <p:nvSpPr>
            <p:cNvPr id="444" name="object 154">
              <a:extLst>
                <a:ext uri="{FF2B5EF4-FFF2-40B4-BE49-F238E27FC236}">
                  <a16:creationId xmlns:a16="http://schemas.microsoft.com/office/drawing/2014/main" id="{351B4FDE-56C6-219F-164F-6C17E9784EE6}"/>
                </a:ext>
              </a:extLst>
            </p:cNvPr>
            <p:cNvSpPr/>
            <p:nvPr/>
          </p:nvSpPr>
          <p:spPr>
            <a:xfrm>
              <a:off x="11064254" y="4517034"/>
              <a:ext cx="332700" cy="477101"/>
            </a:xfrm>
            <a:custGeom>
              <a:avLst/>
              <a:gdLst/>
              <a:ahLst/>
              <a:cxnLst/>
              <a:rect l="l" t="t" r="r" b="b"/>
              <a:pathLst>
                <a:path w="548640" h="786765">
                  <a:moveTo>
                    <a:pt x="548081" y="786384"/>
                  </a:moveTo>
                  <a:lnTo>
                    <a:pt x="542632" y="738225"/>
                  </a:lnTo>
                  <a:lnTo>
                    <a:pt x="529234" y="692962"/>
                  </a:lnTo>
                  <a:lnTo>
                    <a:pt x="508622" y="651332"/>
                  </a:lnTo>
                  <a:lnTo>
                    <a:pt x="481520" y="614083"/>
                  </a:lnTo>
                  <a:lnTo>
                    <a:pt x="448678"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38" y="785304"/>
                  </a:lnTo>
                  <a:lnTo>
                    <a:pt x="47713" y="781265"/>
                  </a:lnTo>
                  <a:lnTo>
                    <a:pt x="92240" y="769620"/>
                  </a:lnTo>
                  <a:lnTo>
                    <a:pt x="133464" y="751014"/>
                  </a:lnTo>
                  <a:lnTo>
                    <a:pt x="170738" y="726147"/>
                  </a:lnTo>
                  <a:lnTo>
                    <a:pt x="203365" y="695680"/>
                  </a:lnTo>
                  <a:lnTo>
                    <a:pt x="230670" y="660298"/>
                  </a:lnTo>
                  <a:lnTo>
                    <a:pt x="251993" y="620674"/>
                  </a:lnTo>
                  <a:lnTo>
                    <a:pt x="266661" y="577469"/>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5">
                  <a:moveTo>
                    <a:pt x="548081" y="520852"/>
                  </a:moveTo>
                  <a:lnTo>
                    <a:pt x="542632" y="472694"/>
                  </a:lnTo>
                  <a:lnTo>
                    <a:pt x="529234" y="427431"/>
                  </a:lnTo>
                  <a:lnTo>
                    <a:pt x="508622" y="385813"/>
                  </a:lnTo>
                  <a:lnTo>
                    <a:pt x="481520" y="348551"/>
                  </a:lnTo>
                  <a:lnTo>
                    <a:pt x="448678" y="316407"/>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28"/>
                  </a:lnTo>
                  <a:lnTo>
                    <a:pt x="66814" y="348132"/>
                  </a:lnTo>
                  <a:lnTo>
                    <a:pt x="39725" y="385241"/>
                  </a:lnTo>
                  <a:lnTo>
                    <a:pt x="19075" y="426694"/>
                  </a:lnTo>
                  <a:lnTo>
                    <a:pt x="5613" y="471779"/>
                  </a:lnTo>
                  <a:lnTo>
                    <a:pt x="38" y="519772"/>
                  </a:lnTo>
                  <a:lnTo>
                    <a:pt x="47713" y="515734"/>
                  </a:lnTo>
                  <a:lnTo>
                    <a:pt x="92240" y="504075"/>
                  </a:lnTo>
                  <a:lnTo>
                    <a:pt x="133464" y="485482"/>
                  </a:lnTo>
                  <a:lnTo>
                    <a:pt x="170738" y="460616"/>
                  </a:lnTo>
                  <a:lnTo>
                    <a:pt x="203365"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35" y="486410"/>
                  </a:lnTo>
                  <a:lnTo>
                    <a:pt x="455549" y="505091"/>
                  </a:lnTo>
                  <a:lnTo>
                    <a:pt x="500164" y="516801"/>
                  </a:lnTo>
                  <a:lnTo>
                    <a:pt x="548081" y="520852"/>
                  </a:lnTo>
                  <a:close/>
                </a:path>
                <a:path w="548640" h="786765">
                  <a:moveTo>
                    <a:pt x="548081" y="267322"/>
                  </a:moveTo>
                  <a:lnTo>
                    <a:pt x="546976" y="257530"/>
                  </a:lnTo>
                  <a:lnTo>
                    <a:pt x="542645" y="219151"/>
                  </a:lnTo>
                  <a:lnTo>
                    <a:pt x="529247" y="173875"/>
                  </a:lnTo>
                  <a:lnTo>
                    <a:pt x="508635" y="132245"/>
                  </a:lnTo>
                  <a:lnTo>
                    <a:pt x="481533" y="94996"/>
                  </a:lnTo>
                  <a:lnTo>
                    <a:pt x="449376" y="63525"/>
                  </a:lnTo>
                  <a:lnTo>
                    <a:pt x="448691" y="62852"/>
                  </a:lnTo>
                  <a:lnTo>
                    <a:pt x="410832" y="36537"/>
                  </a:lnTo>
                  <a:lnTo>
                    <a:pt x="368706" y="16814"/>
                  </a:lnTo>
                  <a:lnTo>
                    <a:pt x="323037" y="4368"/>
                  </a:lnTo>
                  <a:lnTo>
                    <a:pt x="274561" y="0"/>
                  </a:lnTo>
                  <a:lnTo>
                    <a:pt x="273329" y="0"/>
                  </a:lnTo>
                  <a:lnTo>
                    <a:pt x="224993" y="4356"/>
                  </a:lnTo>
                  <a:lnTo>
                    <a:pt x="179438" y="16725"/>
                  </a:lnTo>
                  <a:lnTo>
                    <a:pt x="137401" y="36372"/>
                  </a:lnTo>
                  <a:lnTo>
                    <a:pt x="99618" y="62560"/>
                  </a:lnTo>
                  <a:lnTo>
                    <a:pt x="98793" y="63360"/>
                  </a:lnTo>
                  <a:lnTo>
                    <a:pt x="66814" y="94576"/>
                  </a:lnTo>
                  <a:lnTo>
                    <a:pt x="39700" y="131686"/>
                  </a:lnTo>
                  <a:lnTo>
                    <a:pt x="19037" y="173139"/>
                  </a:lnTo>
                  <a:lnTo>
                    <a:pt x="5562" y="218211"/>
                  </a:lnTo>
                  <a:lnTo>
                    <a:pt x="0" y="266192"/>
                  </a:lnTo>
                  <a:lnTo>
                    <a:pt x="47713" y="262166"/>
                  </a:lnTo>
                  <a:lnTo>
                    <a:pt x="92240" y="250520"/>
                  </a:lnTo>
                  <a:lnTo>
                    <a:pt x="133477" y="231914"/>
                  </a:lnTo>
                  <a:lnTo>
                    <a:pt x="170738" y="207048"/>
                  </a:lnTo>
                  <a:lnTo>
                    <a:pt x="203365" y="176593"/>
                  </a:lnTo>
                  <a:lnTo>
                    <a:pt x="230682" y="141211"/>
                  </a:lnTo>
                  <a:lnTo>
                    <a:pt x="252006" y="101600"/>
                  </a:lnTo>
                  <a:lnTo>
                    <a:pt x="266674" y="58407"/>
                  </a:lnTo>
                  <a:lnTo>
                    <a:pt x="273989" y="12357"/>
                  </a:lnTo>
                  <a:lnTo>
                    <a:pt x="279844" y="50101"/>
                  </a:lnTo>
                  <a:lnTo>
                    <a:pt x="295719" y="101942"/>
                  </a:lnTo>
                  <a:lnTo>
                    <a:pt x="316992" y="141732"/>
                  </a:lnTo>
                  <a:lnTo>
                    <a:pt x="344284" y="177279"/>
                  </a:lnTo>
                  <a:lnTo>
                    <a:pt x="376923" y="207873"/>
                  </a:lnTo>
                  <a:lnTo>
                    <a:pt x="414248" y="232867"/>
                  </a:lnTo>
                  <a:lnTo>
                    <a:pt x="455549" y="251548"/>
                  </a:lnTo>
                  <a:lnTo>
                    <a:pt x="500176" y="263258"/>
                  </a:lnTo>
                  <a:lnTo>
                    <a:pt x="548081" y="267322"/>
                  </a:lnTo>
                  <a:close/>
                </a:path>
              </a:pathLst>
            </a:custGeom>
            <a:solidFill>
              <a:srgbClr val="7ED3F1"/>
            </a:solidFill>
          </p:spPr>
          <p:txBody>
            <a:bodyPr wrap="square" lIns="0" tIns="0" rIns="0" bIns="0" rtlCol="0"/>
            <a:lstStyle/>
            <a:p>
              <a:endParaRPr dirty="0"/>
            </a:p>
          </p:txBody>
        </p:sp>
        <p:pic>
          <p:nvPicPr>
            <p:cNvPr id="445" name="object 155">
              <a:extLst>
                <a:ext uri="{FF2B5EF4-FFF2-40B4-BE49-F238E27FC236}">
                  <a16:creationId xmlns:a16="http://schemas.microsoft.com/office/drawing/2014/main" id="{846F3CC2-CEFA-EEA4-3325-78ADE44EB656}"/>
                </a:ext>
              </a:extLst>
            </p:cNvPr>
            <p:cNvPicPr/>
            <p:nvPr/>
          </p:nvPicPr>
          <p:blipFill>
            <a:blip r:embed="rId14" cstate="print"/>
            <a:stretch>
              <a:fillRect/>
            </a:stretch>
          </p:blipFill>
          <p:spPr>
            <a:xfrm>
              <a:off x="11177526" y="4972731"/>
              <a:ext cx="106445" cy="107156"/>
            </a:xfrm>
            <a:prstGeom prst="rect">
              <a:avLst/>
            </a:prstGeom>
          </p:spPr>
        </p:pic>
        <p:sp>
          <p:nvSpPr>
            <p:cNvPr id="446" name="object 156">
              <a:extLst>
                <a:ext uri="{FF2B5EF4-FFF2-40B4-BE49-F238E27FC236}">
                  <a16:creationId xmlns:a16="http://schemas.microsoft.com/office/drawing/2014/main" id="{3D4B64C4-C488-3337-5EE5-C8D637DA66CC}"/>
                </a:ext>
              </a:extLst>
            </p:cNvPr>
            <p:cNvSpPr/>
            <p:nvPr/>
          </p:nvSpPr>
          <p:spPr>
            <a:xfrm>
              <a:off x="11064254" y="2554529"/>
              <a:ext cx="332700" cy="477101"/>
            </a:xfrm>
            <a:custGeom>
              <a:avLst/>
              <a:gdLst/>
              <a:ahLst/>
              <a:cxnLst/>
              <a:rect l="l" t="t" r="r" b="b"/>
              <a:pathLst>
                <a:path w="548640" h="786764">
                  <a:moveTo>
                    <a:pt x="548081" y="786396"/>
                  </a:moveTo>
                  <a:lnTo>
                    <a:pt x="542632" y="738238"/>
                  </a:lnTo>
                  <a:lnTo>
                    <a:pt x="529234" y="692975"/>
                  </a:lnTo>
                  <a:lnTo>
                    <a:pt x="508622" y="651344"/>
                  </a:lnTo>
                  <a:lnTo>
                    <a:pt x="481520" y="614095"/>
                  </a:lnTo>
                  <a:lnTo>
                    <a:pt x="448678" y="581939"/>
                  </a:lnTo>
                  <a:lnTo>
                    <a:pt x="410832" y="555625"/>
                  </a:lnTo>
                  <a:lnTo>
                    <a:pt x="368706" y="535901"/>
                  </a:lnTo>
                  <a:lnTo>
                    <a:pt x="323037" y="523468"/>
                  </a:lnTo>
                  <a:lnTo>
                    <a:pt x="274561" y="519099"/>
                  </a:lnTo>
                  <a:lnTo>
                    <a:pt x="273329" y="519099"/>
                  </a:lnTo>
                  <a:lnTo>
                    <a:pt x="224993" y="523455"/>
                  </a:lnTo>
                  <a:lnTo>
                    <a:pt x="179438" y="535813"/>
                  </a:lnTo>
                  <a:lnTo>
                    <a:pt x="137401" y="555459"/>
                  </a:lnTo>
                  <a:lnTo>
                    <a:pt x="99618" y="581660"/>
                  </a:lnTo>
                  <a:lnTo>
                    <a:pt x="66814" y="613676"/>
                  </a:lnTo>
                  <a:lnTo>
                    <a:pt x="39725" y="650773"/>
                  </a:lnTo>
                  <a:lnTo>
                    <a:pt x="19075" y="692238"/>
                  </a:lnTo>
                  <a:lnTo>
                    <a:pt x="5613" y="737323"/>
                  </a:lnTo>
                  <a:lnTo>
                    <a:pt x="38" y="785317"/>
                  </a:lnTo>
                  <a:lnTo>
                    <a:pt x="47713" y="781278"/>
                  </a:lnTo>
                  <a:lnTo>
                    <a:pt x="92240" y="769632"/>
                  </a:lnTo>
                  <a:lnTo>
                    <a:pt x="133464" y="751027"/>
                  </a:lnTo>
                  <a:lnTo>
                    <a:pt x="170738" y="726160"/>
                  </a:lnTo>
                  <a:lnTo>
                    <a:pt x="203365" y="695693"/>
                  </a:lnTo>
                  <a:lnTo>
                    <a:pt x="230670" y="660311"/>
                  </a:lnTo>
                  <a:lnTo>
                    <a:pt x="251993" y="620687"/>
                  </a:lnTo>
                  <a:lnTo>
                    <a:pt x="266661" y="577481"/>
                  </a:lnTo>
                  <a:lnTo>
                    <a:pt x="273989" y="531406"/>
                  </a:lnTo>
                  <a:lnTo>
                    <a:pt x="281165" y="577672"/>
                  </a:lnTo>
                  <a:lnTo>
                    <a:pt x="295719" y="621042"/>
                  </a:lnTo>
                  <a:lnTo>
                    <a:pt x="316992" y="660844"/>
                  </a:lnTo>
                  <a:lnTo>
                    <a:pt x="344284" y="696379"/>
                  </a:lnTo>
                  <a:lnTo>
                    <a:pt x="376923" y="726973"/>
                  </a:lnTo>
                  <a:lnTo>
                    <a:pt x="414235" y="751954"/>
                  </a:lnTo>
                  <a:lnTo>
                    <a:pt x="455549" y="770636"/>
                  </a:lnTo>
                  <a:lnTo>
                    <a:pt x="500164" y="782345"/>
                  </a:lnTo>
                  <a:lnTo>
                    <a:pt x="548081" y="786396"/>
                  </a:lnTo>
                  <a:close/>
                </a:path>
                <a:path w="548640" h="786764">
                  <a:moveTo>
                    <a:pt x="548081" y="520865"/>
                  </a:moveTo>
                  <a:lnTo>
                    <a:pt x="542632" y="472706"/>
                  </a:lnTo>
                  <a:lnTo>
                    <a:pt x="529234" y="427443"/>
                  </a:lnTo>
                  <a:lnTo>
                    <a:pt x="508622" y="385813"/>
                  </a:lnTo>
                  <a:lnTo>
                    <a:pt x="481520" y="348564"/>
                  </a:lnTo>
                  <a:lnTo>
                    <a:pt x="448678" y="316407"/>
                  </a:lnTo>
                  <a:lnTo>
                    <a:pt x="410832" y="290106"/>
                  </a:lnTo>
                  <a:lnTo>
                    <a:pt x="368706" y="270370"/>
                  </a:lnTo>
                  <a:lnTo>
                    <a:pt x="323037" y="257949"/>
                  </a:lnTo>
                  <a:lnTo>
                    <a:pt x="274561" y="253568"/>
                  </a:lnTo>
                  <a:lnTo>
                    <a:pt x="273329" y="253568"/>
                  </a:lnTo>
                  <a:lnTo>
                    <a:pt x="224993" y="257924"/>
                  </a:lnTo>
                  <a:lnTo>
                    <a:pt x="179438" y="270294"/>
                  </a:lnTo>
                  <a:lnTo>
                    <a:pt x="137401" y="289941"/>
                  </a:lnTo>
                  <a:lnTo>
                    <a:pt x="99618" y="316128"/>
                  </a:lnTo>
                  <a:lnTo>
                    <a:pt x="66814" y="348145"/>
                  </a:lnTo>
                  <a:lnTo>
                    <a:pt x="39725" y="385254"/>
                  </a:lnTo>
                  <a:lnTo>
                    <a:pt x="19075" y="426707"/>
                  </a:lnTo>
                  <a:lnTo>
                    <a:pt x="5613" y="471805"/>
                  </a:lnTo>
                  <a:lnTo>
                    <a:pt x="38" y="519785"/>
                  </a:lnTo>
                  <a:lnTo>
                    <a:pt x="47713" y="515759"/>
                  </a:lnTo>
                  <a:lnTo>
                    <a:pt x="92240" y="504101"/>
                  </a:lnTo>
                  <a:lnTo>
                    <a:pt x="133464" y="485495"/>
                  </a:lnTo>
                  <a:lnTo>
                    <a:pt x="170738" y="460629"/>
                  </a:lnTo>
                  <a:lnTo>
                    <a:pt x="203365" y="430161"/>
                  </a:lnTo>
                  <a:lnTo>
                    <a:pt x="230670" y="394779"/>
                  </a:lnTo>
                  <a:lnTo>
                    <a:pt x="251993" y="355155"/>
                  </a:lnTo>
                  <a:lnTo>
                    <a:pt x="266661" y="311962"/>
                  </a:lnTo>
                  <a:lnTo>
                    <a:pt x="273989" y="265874"/>
                  </a:lnTo>
                  <a:lnTo>
                    <a:pt x="281165" y="312140"/>
                  </a:lnTo>
                  <a:lnTo>
                    <a:pt x="295719" y="355511"/>
                  </a:lnTo>
                  <a:lnTo>
                    <a:pt x="316992" y="395312"/>
                  </a:lnTo>
                  <a:lnTo>
                    <a:pt x="344284" y="430847"/>
                  </a:lnTo>
                  <a:lnTo>
                    <a:pt x="376923" y="461441"/>
                  </a:lnTo>
                  <a:lnTo>
                    <a:pt x="414235" y="486422"/>
                  </a:lnTo>
                  <a:lnTo>
                    <a:pt x="455549" y="505104"/>
                  </a:lnTo>
                  <a:lnTo>
                    <a:pt x="500164" y="516813"/>
                  </a:lnTo>
                  <a:lnTo>
                    <a:pt x="548081" y="520865"/>
                  </a:lnTo>
                  <a:close/>
                </a:path>
                <a:path w="548640" h="786764">
                  <a:moveTo>
                    <a:pt x="548081" y="267335"/>
                  </a:moveTo>
                  <a:lnTo>
                    <a:pt x="546849" y="256438"/>
                  </a:lnTo>
                  <a:lnTo>
                    <a:pt x="542645" y="219163"/>
                  </a:lnTo>
                  <a:lnTo>
                    <a:pt x="529247" y="173888"/>
                  </a:lnTo>
                  <a:lnTo>
                    <a:pt x="508635" y="132257"/>
                  </a:lnTo>
                  <a:lnTo>
                    <a:pt x="481533" y="95008"/>
                  </a:lnTo>
                  <a:lnTo>
                    <a:pt x="448691" y="62865"/>
                  </a:lnTo>
                  <a:lnTo>
                    <a:pt x="410832" y="36537"/>
                  </a:lnTo>
                  <a:lnTo>
                    <a:pt x="368706" y="16802"/>
                  </a:lnTo>
                  <a:lnTo>
                    <a:pt x="323037" y="4381"/>
                  </a:lnTo>
                  <a:lnTo>
                    <a:pt x="274561" y="0"/>
                  </a:lnTo>
                  <a:lnTo>
                    <a:pt x="273329" y="0"/>
                  </a:lnTo>
                  <a:lnTo>
                    <a:pt x="224993" y="4356"/>
                  </a:lnTo>
                  <a:lnTo>
                    <a:pt x="179438" y="16725"/>
                  </a:lnTo>
                  <a:lnTo>
                    <a:pt x="137401" y="36372"/>
                  </a:lnTo>
                  <a:lnTo>
                    <a:pt x="99618" y="62572"/>
                  </a:lnTo>
                  <a:lnTo>
                    <a:pt x="66814" y="94576"/>
                  </a:lnTo>
                  <a:lnTo>
                    <a:pt x="39700" y="131699"/>
                  </a:lnTo>
                  <a:lnTo>
                    <a:pt x="19037" y="173151"/>
                  </a:lnTo>
                  <a:lnTo>
                    <a:pt x="5562" y="218224"/>
                  </a:lnTo>
                  <a:lnTo>
                    <a:pt x="0" y="266204"/>
                  </a:lnTo>
                  <a:lnTo>
                    <a:pt x="47713" y="262191"/>
                  </a:lnTo>
                  <a:lnTo>
                    <a:pt x="92240" y="250532"/>
                  </a:lnTo>
                  <a:lnTo>
                    <a:pt x="133464" y="231940"/>
                  </a:lnTo>
                  <a:lnTo>
                    <a:pt x="170738" y="207060"/>
                  </a:lnTo>
                  <a:lnTo>
                    <a:pt x="203365" y="176606"/>
                  </a:lnTo>
                  <a:lnTo>
                    <a:pt x="230682" y="141224"/>
                  </a:lnTo>
                  <a:lnTo>
                    <a:pt x="252006" y="101612"/>
                  </a:lnTo>
                  <a:lnTo>
                    <a:pt x="266674" y="58420"/>
                  </a:lnTo>
                  <a:lnTo>
                    <a:pt x="273989" y="12369"/>
                  </a:lnTo>
                  <a:lnTo>
                    <a:pt x="279844" y="50114"/>
                  </a:lnTo>
                  <a:lnTo>
                    <a:pt x="295719" y="101955"/>
                  </a:lnTo>
                  <a:lnTo>
                    <a:pt x="316992" y="141744"/>
                  </a:lnTo>
                  <a:lnTo>
                    <a:pt x="344284" y="177279"/>
                  </a:lnTo>
                  <a:lnTo>
                    <a:pt x="376936" y="207886"/>
                  </a:lnTo>
                  <a:lnTo>
                    <a:pt x="414248" y="232867"/>
                  </a:lnTo>
                  <a:lnTo>
                    <a:pt x="455549" y="251561"/>
                  </a:lnTo>
                  <a:lnTo>
                    <a:pt x="500176" y="263271"/>
                  </a:lnTo>
                  <a:lnTo>
                    <a:pt x="548081" y="267335"/>
                  </a:lnTo>
                  <a:close/>
                </a:path>
              </a:pathLst>
            </a:custGeom>
            <a:solidFill>
              <a:srgbClr val="2DB7EA"/>
            </a:solidFill>
          </p:spPr>
          <p:txBody>
            <a:bodyPr wrap="square" lIns="0" tIns="0" rIns="0" bIns="0" rtlCol="0"/>
            <a:lstStyle/>
            <a:p>
              <a:endParaRPr dirty="0"/>
            </a:p>
          </p:txBody>
        </p:sp>
        <p:pic>
          <p:nvPicPr>
            <p:cNvPr id="447" name="object 157">
              <a:extLst>
                <a:ext uri="{FF2B5EF4-FFF2-40B4-BE49-F238E27FC236}">
                  <a16:creationId xmlns:a16="http://schemas.microsoft.com/office/drawing/2014/main" id="{A5E8F2F7-017B-9D8B-6D09-80167F9F7C75}"/>
                </a:ext>
              </a:extLst>
            </p:cNvPr>
            <p:cNvPicPr/>
            <p:nvPr/>
          </p:nvPicPr>
          <p:blipFill>
            <a:blip r:embed="rId13" cstate="print"/>
            <a:stretch>
              <a:fillRect/>
            </a:stretch>
          </p:blipFill>
          <p:spPr>
            <a:xfrm>
              <a:off x="11177526" y="3010234"/>
              <a:ext cx="106445" cy="107156"/>
            </a:xfrm>
            <a:prstGeom prst="rect">
              <a:avLst/>
            </a:prstGeom>
          </p:spPr>
        </p:pic>
        <p:sp>
          <p:nvSpPr>
            <p:cNvPr id="448" name="object 158">
              <a:extLst>
                <a:ext uri="{FF2B5EF4-FFF2-40B4-BE49-F238E27FC236}">
                  <a16:creationId xmlns:a16="http://schemas.microsoft.com/office/drawing/2014/main" id="{819916F4-FC8A-024E-A050-ED3BD8D033F7}"/>
                </a:ext>
              </a:extLst>
            </p:cNvPr>
            <p:cNvSpPr/>
            <p:nvPr/>
          </p:nvSpPr>
          <p:spPr>
            <a:xfrm>
              <a:off x="11064254" y="3208700"/>
              <a:ext cx="332700" cy="477101"/>
            </a:xfrm>
            <a:custGeom>
              <a:avLst/>
              <a:gdLst/>
              <a:ahLst/>
              <a:cxnLst/>
              <a:rect l="l" t="t" r="r" b="b"/>
              <a:pathLst>
                <a:path w="548640" h="786764">
                  <a:moveTo>
                    <a:pt x="548081" y="786384"/>
                  </a:moveTo>
                  <a:lnTo>
                    <a:pt x="542632" y="738225"/>
                  </a:lnTo>
                  <a:lnTo>
                    <a:pt x="529234" y="692962"/>
                  </a:lnTo>
                  <a:lnTo>
                    <a:pt x="508622" y="651344"/>
                  </a:lnTo>
                  <a:lnTo>
                    <a:pt x="481520" y="614083"/>
                  </a:lnTo>
                  <a:lnTo>
                    <a:pt x="448678"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73"/>
                  </a:lnTo>
                  <a:lnTo>
                    <a:pt x="19075" y="692226"/>
                  </a:lnTo>
                  <a:lnTo>
                    <a:pt x="5613" y="737323"/>
                  </a:lnTo>
                  <a:lnTo>
                    <a:pt x="38" y="785317"/>
                  </a:lnTo>
                  <a:lnTo>
                    <a:pt x="47713" y="781278"/>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59"/>
                  </a:lnTo>
                  <a:lnTo>
                    <a:pt x="295719" y="621042"/>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65"/>
                  </a:moveTo>
                  <a:lnTo>
                    <a:pt x="542632" y="472694"/>
                  </a:lnTo>
                  <a:lnTo>
                    <a:pt x="529234" y="427431"/>
                  </a:lnTo>
                  <a:lnTo>
                    <a:pt x="508622" y="385813"/>
                  </a:lnTo>
                  <a:lnTo>
                    <a:pt x="481520" y="348551"/>
                  </a:lnTo>
                  <a:lnTo>
                    <a:pt x="448678" y="316407"/>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15"/>
                  </a:lnTo>
                  <a:lnTo>
                    <a:pt x="66814" y="348132"/>
                  </a:lnTo>
                  <a:lnTo>
                    <a:pt x="39725" y="385241"/>
                  </a:lnTo>
                  <a:lnTo>
                    <a:pt x="19075" y="426694"/>
                  </a:lnTo>
                  <a:lnTo>
                    <a:pt x="5613" y="471792"/>
                  </a:lnTo>
                  <a:lnTo>
                    <a:pt x="38" y="519785"/>
                  </a:lnTo>
                  <a:lnTo>
                    <a:pt x="47713" y="515747"/>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29"/>
                  </a:lnTo>
                  <a:lnTo>
                    <a:pt x="414235" y="486410"/>
                  </a:lnTo>
                  <a:lnTo>
                    <a:pt x="455549" y="505091"/>
                  </a:lnTo>
                  <a:lnTo>
                    <a:pt x="500164" y="516801"/>
                  </a:lnTo>
                  <a:lnTo>
                    <a:pt x="548081" y="520865"/>
                  </a:lnTo>
                  <a:close/>
                </a:path>
                <a:path w="548640" h="786764">
                  <a:moveTo>
                    <a:pt x="548081" y="267322"/>
                  </a:moveTo>
                  <a:lnTo>
                    <a:pt x="546976" y="257530"/>
                  </a:lnTo>
                  <a:lnTo>
                    <a:pt x="542645" y="219151"/>
                  </a:lnTo>
                  <a:lnTo>
                    <a:pt x="529247" y="173888"/>
                  </a:lnTo>
                  <a:lnTo>
                    <a:pt x="508635" y="132257"/>
                  </a:lnTo>
                  <a:lnTo>
                    <a:pt x="481533" y="94996"/>
                  </a:lnTo>
                  <a:lnTo>
                    <a:pt x="449376" y="63525"/>
                  </a:lnTo>
                  <a:lnTo>
                    <a:pt x="448691" y="62852"/>
                  </a:lnTo>
                  <a:lnTo>
                    <a:pt x="410832" y="36525"/>
                  </a:lnTo>
                  <a:lnTo>
                    <a:pt x="368706" y="16814"/>
                  </a:lnTo>
                  <a:lnTo>
                    <a:pt x="323037" y="4368"/>
                  </a:lnTo>
                  <a:lnTo>
                    <a:pt x="274561" y="0"/>
                  </a:lnTo>
                  <a:lnTo>
                    <a:pt x="273329" y="0"/>
                  </a:lnTo>
                  <a:lnTo>
                    <a:pt x="224993" y="4356"/>
                  </a:lnTo>
                  <a:lnTo>
                    <a:pt x="179438" y="16725"/>
                  </a:lnTo>
                  <a:lnTo>
                    <a:pt x="137401" y="36360"/>
                  </a:lnTo>
                  <a:lnTo>
                    <a:pt x="99618" y="62560"/>
                  </a:lnTo>
                  <a:lnTo>
                    <a:pt x="66814" y="94576"/>
                  </a:lnTo>
                  <a:lnTo>
                    <a:pt x="39700" y="131686"/>
                  </a:lnTo>
                  <a:lnTo>
                    <a:pt x="19037" y="173139"/>
                  </a:lnTo>
                  <a:lnTo>
                    <a:pt x="5562" y="218224"/>
                  </a:lnTo>
                  <a:lnTo>
                    <a:pt x="0" y="266192"/>
                  </a:lnTo>
                  <a:lnTo>
                    <a:pt x="47713" y="262178"/>
                  </a:lnTo>
                  <a:lnTo>
                    <a:pt x="92240" y="250532"/>
                  </a:lnTo>
                  <a:lnTo>
                    <a:pt x="133464" y="231927"/>
                  </a:lnTo>
                  <a:lnTo>
                    <a:pt x="170738" y="207060"/>
                  </a:lnTo>
                  <a:lnTo>
                    <a:pt x="203365" y="176593"/>
                  </a:lnTo>
                  <a:lnTo>
                    <a:pt x="230682" y="141224"/>
                  </a:lnTo>
                  <a:lnTo>
                    <a:pt x="252006" y="101600"/>
                  </a:lnTo>
                  <a:lnTo>
                    <a:pt x="266674" y="58407"/>
                  </a:lnTo>
                  <a:lnTo>
                    <a:pt x="273989" y="12369"/>
                  </a:lnTo>
                  <a:lnTo>
                    <a:pt x="279844" y="50101"/>
                  </a:lnTo>
                  <a:lnTo>
                    <a:pt x="295719" y="101942"/>
                  </a:lnTo>
                  <a:lnTo>
                    <a:pt x="316992" y="141744"/>
                  </a:lnTo>
                  <a:lnTo>
                    <a:pt x="344284" y="177279"/>
                  </a:lnTo>
                  <a:lnTo>
                    <a:pt x="376923" y="207873"/>
                  </a:lnTo>
                  <a:lnTo>
                    <a:pt x="414248" y="232867"/>
                  </a:lnTo>
                  <a:lnTo>
                    <a:pt x="455549" y="251548"/>
                  </a:lnTo>
                  <a:lnTo>
                    <a:pt x="500176" y="263271"/>
                  </a:lnTo>
                  <a:lnTo>
                    <a:pt x="548081" y="267322"/>
                  </a:lnTo>
                  <a:close/>
                </a:path>
              </a:pathLst>
            </a:custGeom>
            <a:solidFill>
              <a:srgbClr val="7ED3F1"/>
            </a:solidFill>
          </p:spPr>
          <p:txBody>
            <a:bodyPr wrap="square" lIns="0" tIns="0" rIns="0" bIns="0" rtlCol="0"/>
            <a:lstStyle/>
            <a:p>
              <a:endParaRPr dirty="0"/>
            </a:p>
          </p:txBody>
        </p:sp>
        <p:pic>
          <p:nvPicPr>
            <p:cNvPr id="449" name="object 159">
              <a:extLst>
                <a:ext uri="{FF2B5EF4-FFF2-40B4-BE49-F238E27FC236}">
                  <a16:creationId xmlns:a16="http://schemas.microsoft.com/office/drawing/2014/main" id="{9CA9CE00-D3BC-1612-69AB-8C4DFE5D5923}"/>
                </a:ext>
              </a:extLst>
            </p:cNvPr>
            <p:cNvPicPr/>
            <p:nvPr/>
          </p:nvPicPr>
          <p:blipFill>
            <a:blip r:embed="rId14" cstate="print"/>
            <a:stretch>
              <a:fillRect/>
            </a:stretch>
          </p:blipFill>
          <p:spPr>
            <a:xfrm>
              <a:off x="11177526" y="3664400"/>
              <a:ext cx="106445" cy="107156"/>
            </a:xfrm>
            <a:prstGeom prst="rect">
              <a:avLst/>
            </a:prstGeom>
          </p:spPr>
        </p:pic>
        <p:sp>
          <p:nvSpPr>
            <p:cNvPr id="450" name="object 160">
              <a:extLst>
                <a:ext uri="{FF2B5EF4-FFF2-40B4-BE49-F238E27FC236}">
                  <a16:creationId xmlns:a16="http://schemas.microsoft.com/office/drawing/2014/main" id="{2842B0EA-26E5-5619-AC1E-BF17B8DF0319}"/>
                </a:ext>
              </a:extLst>
            </p:cNvPr>
            <p:cNvSpPr/>
            <p:nvPr/>
          </p:nvSpPr>
          <p:spPr>
            <a:xfrm>
              <a:off x="11064254" y="1246203"/>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78"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38" y="785304"/>
                  </a:lnTo>
                  <a:lnTo>
                    <a:pt x="47713" y="781278"/>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52"/>
                  </a:moveTo>
                  <a:lnTo>
                    <a:pt x="542632" y="472694"/>
                  </a:lnTo>
                  <a:lnTo>
                    <a:pt x="529234" y="427431"/>
                  </a:lnTo>
                  <a:lnTo>
                    <a:pt x="508622" y="385813"/>
                  </a:lnTo>
                  <a:lnTo>
                    <a:pt x="481520" y="348551"/>
                  </a:lnTo>
                  <a:lnTo>
                    <a:pt x="448678" y="316395"/>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15"/>
                  </a:lnTo>
                  <a:lnTo>
                    <a:pt x="66814" y="348132"/>
                  </a:lnTo>
                  <a:lnTo>
                    <a:pt x="39725" y="385241"/>
                  </a:lnTo>
                  <a:lnTo>
                    <a:pt x="19075" y="426694"/>
                  </a:lnTo>
                  <a:lnTo>
                    <a:pt x="5613" y="471792"/>
                  </a:lnTo>
                  <a:lnTo>
                    <a:pt x="38" y="519785"/>
                  </a:lnTo>
                  <a:lnTo>
                    <a:pt x="47713" y="515747"/>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35" y="486410"/>
                  </a:lnTo>
                  <a:lnTo>
                    <a:pt x="455549" y="505091"/>
                  </a:lnTo>
                  <a:lnTo>
                    <a:pt x="500164" y="516801"/>
                  </a:lnTo>
                  <a:lnTo>
                    <a:pt x="548081" y="520852"/>
                  </a:lnTo>
                  <a:close/>
                </a:path>
                <a:path w="548640" h="786764">
                  <a:moveTo>
                    <a:pt x="548081" y="267322"/>
                  </a:moveTo>
                  <a:lnTo>
                    <a:pt x="546976" y="257530"/>
                  </a:lnTo>
                  <a:lnTo>
                    <a:pt x="542645" y="219151"/>
                  </a:lnTo>
                  <a:lnTo>
                    <a:pt x="529247" y="173875"/>
                  </a:lnTo>
                  <a:lnTo>
                    <a:pt x="508635" y="132257"/>
                  </a:lnTo>
                  <a:lnTo>
                    <a:pt x="481533" y="94996"/>
                  </a:lnTo>
                  <a:lnTo>
                    <a:pt x="449376" y="63525"/>
                  </a:lnTo>
                  <a:lnTo>
                    <a:pt x="448691" y="62852"/>
                  </a:lnTo>
                  <a:lnTo>
                    <a:pt x="410832" y="36525"/>
                  </a:lnTo>
                  <a:lnTo>
                    <a:pt x="368706" y="16789"/>
                  </a:lnTo>
                  <a:lnTo>
                    <a:pt x="323037" y="4368"/>
                  </a:lnTo>
                  <a:lnTo>
                    <a:pt x="274561" y="0"/>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32"/>
                  </a:lnTo>
                  <a:lnTo>
                    <a:pt x="133464" y="231927"/>
                  </a:lnTo>
                  <a:lnTo>
                    <a:pt x="170738" y="207060"/>
                  </a:lnTo>
                  <a:lnTo>
                    <a:pt x="203365" y="176593"/>
                  </a:lnTo>
                  <a:lnTo>
                    <a:pt x="230682" y="141224"/>
                  </a:lnTo>
                  <a:lnTo>
                    <a:pt x="252006" y="101600"/>
                  </a:lnTo>
                  <a:lnTo>
                    <a:pt x="266674" y="58407"/>
                  </a:lnTo>
                  <a:lnTo>
                    <a:pt x="273989" y="12357"/>
                  </a:lnTo>
                  <a:lnTo>
                    <a:pt x="279844" y="50101"/>
                  </a:lnTo>
                  <a:lnTo>
                    <a:pt x="295719" y="101942"/>
                  </a:lnTo>
                  <a:lnTo>
                    <a:pt x="316992" y="141744"/>
                  </a:lnTo>
                  <a:lnTo>
                    <a:pt x="344284" y="177279"/>
                  </a:lnTo>
                  <a:lnTo>
                    <a:pt x="376923" y="207873"/>
                  </a:lnTo>
                  <a:lnTo>
                    <a:pt x="414248" y="232867"/>
                  </a:lnTo>
                  <a:lnTo>
                    <a:pt x="455549" y="251548"/>
                  </a:lnTo>
                  <a:lnTo>
                    <a:pt x="500176" y="263271"/>
                  </a:lnTo>
                  <a:lnTo>
                    <a:pt x="548081" y="267322"/>
                  </a:lnTo>
                  <a:close/>
                </a:path>
              </a:pathLst>
            </a:custGeom>
            <a:solidFill>
              <a:srgbClr val="2DB7EA"/>
            </a:solidFill>
          </p:spPr>
          <p:txBody>
            <a:bodyPr wrap="square" lIns="0" tIns="0" rIns="0" bIns="0" rtlCol="0"/>
            <a:lstStyle/>
            <a:p>
              <a:endParaRPr dirty="0"/>
            </a:p>
          </p:txBody>
        </p:sp>
        <p:pic>
          <p:nvPicPr>
            <p:cNvPr id="451" name="object 161">
              <a:extLst>
                <a:ext uri="{FF2B5EF4-FFF2-40B4-BE49-F238E27FC236}">
                  <a16:creationId xmlns:a16="http://schemas.microsoft.com/office/drawing/2014/main" id="{C3BA81B2-8DBE-F4C1-5725-92466A0A6129}"/>
                </a:ext>
              </a:extLst>
            </p:cNvPr>
            <p:cNvPicPr/>
            <p:nvPr/>
          </p:nvPicPr>
          <p:blipFill>
            <a:blip r:embed="rId13" cstate="print"/>
            <a:stretch>
              <a:fillRect/>
            </a:stretch>
          </p:blipFill>
          <p:spPr>
            <a:xfrm>
              <a:off x="11177526" y="1701903"/>
              <a:ext cx="106445" cy="107156"/>
            </a:xfrm>
            <a:prstGeom prst="rect">
              <a:avLst/>
            </a:prstGeom>
          </p:spPr>
        </p:pic>
        <p:sp>
          <p:nvSpPr>
            <p:cNvPr id="452" name="object 162">
              <a:extLst>
                <a:ext uri="{FF2B5EF4-FFF2-40B4-BE49-F238E27FC236}">
                  <a16:creationId xmlns:a16="http://schemas.microsoft.com/office/drawing/2014/main" id="{4C016F50-436F-7F13-A425-BDB0DF053720}"/>
                </a:ext>
              </a:extLst>
            </p:cNvPr>
            <p:cNvSpPr/>
            <p:nvPr/>
          </p:nvSpPr>
          <p:spPr>
            <a:xfrm>
              <a:off x="11064254" y="1900365"/>
              <a:ext cx="332700" cy="477101"/>
            </a:xfrm>
            <a:custGeom>
              <a:avLst/>
              <a:gdLst/>
              <a:ahLst/>
              <a:cxnLst/>
              <a:rect l="l" t="t" r="r" b="b"/>
              <a:pathLst>
                <a:path w="548640" h="786764">
                  <a:moveTo>
                    <a:pt x="548081" y="786396"/>
                  </a:moveTo>
                  <a:lnTo>
                    <a:pt x="542632" y="738225"/>
                  </a:lnTo>
                  <a:lnTo>
                    <a:pt x="529234" y="692962"/>
                  </a:lnTo>
                  <a:lnTo>
                    <a:pt x="508622" y="651344"/>
                  </a:lnTo>
                  <a:lnTo>
                    <a:pt x="481520" y="614083"/>
                  </a:lnTo>
                  <a:lnTo>
                    <a:pt x="448678" y="581939"/>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60"/>
                  </a:lnTo>
                  <a:lnTo>
                    <a:pt x="66814" y="613664"/>
                  </a:lnTo>
                  <a:lnTo>
                    <a:pt x="39725" y="650773"/>
                  </a:lnTo>
                  <a:lnTo>
                    <a:pt x="19075" y="692238"/>
                  </a:lnTo>
                  <a:lnTo>
                    <a:pt x="5613" y="737323"/>
                  </a:lnTo>
                  <a:lnTo>
                    <a:pt x="38" y="785317"/>
                  </a:lnTo>
                  <a:lnTo>
                    <a:pt x="47713" y="781278"/>
                  </a:lnTo>
                  <a:lnTo>
                    <a:pt x="92240" y="769620"/>
                  </a:lnTo>
                  <a:lnTo>
                    <a:pt x="133464" y="751027"/>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35" y="751941"/>
                  </a:lnTo>
                  <a:lnTo>
                    <a:pt x="455549" y="770636"/>
                  </a:lnTo>
                  <a:lnTo>
                    <a:pt x="500164" y="782332"/>
                  </a:lnTo>
                  <a:lnTo>
                    <a:pt x="548081" y="786396"/>
                  </a:lnTo>
                  <a:close/>
                </a:path>
                <a:path w="548640" h="786764">
                  <a:moveTo>
                    <a:pt x="548081" y="520865"/>
                  </a:moveTo>
                  <a:lnTo>
                    <a:pt x="542632" y="472706"/>
                  </a:lnTo>
                  <a:lnTo>
                    <a:pt x="529234" y="427443"/>
                  </a:lnTo>
                  <a:lnTo>
                    <a:pt x="508622" y="385813"/>
                  </a:lnTo>
                  <a:lnTo>
                    <a:pt x="481520" y="348551"/>
                  </a:lnTo>
                  <a:lnTo>
                    <a:pt x="448678" y="316407"/>
                  </a:lnTo>
                  <a:lnTo>
                    <a:pt x="410832" y="290093"/>
                  </a:lnTo>
                  <a:lnTo>
                    <a:pt x="368706" y="270357"/>
                  </a:lnTo>
                  <a:lnTo>
                    <a:pt x="323037" y="257937"/>
                  </a:lnTo>
                  <a:lnTo>
                    <a:pt x="274561" y="253555"/>
                  </a:lnTo>
                  <a:lnTo>
                    <a:pt x="273329" y="253555"/>
                  </a:lnTo>
                  <a:lnTo>
                    <a:pt x="224993" y="257924"/>
                  </a:lnTo>
                  <a:lnTo>
                    <a:pt x="179438" y="270281"/>
                  </a:lnTo>
                  <a:lnTo>
                    <a:pt x="137401" y="289928"/>
                  </a:lnTo>
                  <a:lnTo>
                    <a:pt x="99618" y="316128"/>
                  </a:lnTo>
                  <a:lnTo>
                    <a:pt x="66814" y="348132"/>
                  </a:lnTo>
                  <a:lnTo>
                    <a:pt x="39725" y="385241"/>
                  </a:lnTo>
                  <a:lnTo>
                    <a:pt x="19075" y="426707"/>
                  </a:lnTo>
                  <a:lnTo>
                    <a:pt x="5613" y="471792"/>
                  </a:lnTo>
                  <a:lnTo>
                    <a:pt x="38" y="519785"/>
                  </a:lnTo>
                  <a:lnTo>
                    <a:pt x="47713" y="515747"/>
                  </a:lnTo>
                  <a:lnTo>
                    <a:pt x="92240" y="504088"/>
                  </a:lnTo>
                  <a:lnTo>
                    <a:pt x="133464" y="485495"/>
                  </a:lnTo>
                  <a:lnTo>
                    <a:pt x="170738" y="460616"/>
                  </a:lnTo>
                  <a:lnTo>
                    <a:pt x="203365" y="430161"/>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4">
                  <a:moveTo>
                    <a:pt x="548081" y="267322"/>
                  </a:moveTo>
                  <a:lnTo>
                    <a:pt x="546976" y="257530"/>
                  </a:lnTo>
                  <a:lnTo>
                    <a:pt x="542645" y="219151"/>
                  </a:lnTo>
                  <a:lnTo>
                    <a:pt x="529247" y="173888"/>
                  </a:lnTo>
                  <a:lnTo>
                    <a:pt x="508635" y="132257"/>
                  </a:lnTo>
                  <a:lnTo>
                    <a:pt x="481533" y="95008"/>
                  </a:lnTo>
                  <a:lnTo>
                    <a:pt x="448691" y="62852"/>
                  </a:lnTo>
                  <a:lnTo>
                    <a:pt x="410832" y="36550"/>
                  </a:lnTo>
                  <a:lnTo>
                    <a:pt x="368706" y="16814"/>
                  </a:lnTo>
                  <a:lnTo>
                    <a:pt x="323037" y="4381"/>
                  </a:lnTo>
                  <a:lnTo>
                    <a:pt x="274561" y="0"/>
                  </a:lnTo>
                  <a:lnTo>
                    <a:pt x="273329" y="0"/>
                  </a:lnTo>
                  <a:lnTo>
                    <a:pt x="224993" y="4356"/>
                  </a:lnTo>
                  <a:lnTo>
                    <a:pt x="179438" y="16725"/>
                  </a:lnTo>
                  <a:lnTo>
                    <a:pt x="137401" y="36372"/>
                  </a:lnTo>
                  <a:lnTo>
                    <a:pt x="99618" y="62560"/>
                  </a:lnTo>
                  <a:lnTo>
                    <a:pt x="66814" y="94576"/>
                  </a:lnTo>
                  <a:lnTo>
                    <a:pt x="39700" y="131686"/>
                  </a:lnTo>
                  <a:lnTo>
                    <a:pt x="19037" y="173139"/>
                  </a:lnTo>
                  <a:lnTo>
                    <a:pt x="5562" y="218224"/>
                  </a:lnTo>
                  <a:lnTo>
                    <a:pt x="0" y="266192"/>
                  </a:lnTo>
                  <a:lnTo>
                    <a:pt x="47713" y="262191"/>
                  </a:lnTo>
                  <a:lnTo>
                    <a:pt x="92240" y="250532"/>
                  </a:lnTo>
                  <a:lnTo>
                    <a:pt x="133464" y="231927"/>
                  </a:lnTo>
                  <a:lnTo>
                    <a:pt x="170738" y="207060"/>
                  </a:lnTo>
                  <a:lnTo>
                    <a:pt x="203365" y="176593"/>
                  </a:lnTo>
                  <a:lnTo>
                    <a:pt x="230682" y="141224"/>
                  </a:lnTo>
                  <a:lnTo>
                    <a:pt x="252006" y="101600"/>
                  </a:lnTo>
                  <a:lnTo>
                    <a:pt x="266674" y="58420"/>
                  </a:lnTo>
                  <a:lnTo>
                    <a:pt x="273989" y="12369"/>
                  </a:lnTo>
                  <a:lnTo>
                    <a:pt x="279844" y="50101"/>
                  </a:lnTo>
                  <a:lnTo>
                    <a:pt x="295719" y="101942"/>
                  </a:lnTo>
                  <a:lnTo>
                    <a:pt x="316992" y="141744"/>
                  </a:lnTo>
                  <a:lnTo>
                    <a:pt x="344284" y="177279"/>
                  </a:lnTo>
                  <a:lnTo>
                    <a:pt x="376936" y="207886"/>
                  </a:lnTo>
                  <a:lnTo>
                    <a:pt x="414248" y="232867"/>
                  </a:lnTo>
                  <a:lnTo>
                    <a:pt x="455549" y="251561"/>
                  </a:lnTo>
                  <a:lnTo>
                    <a:pt x="500176" y="263271"/>
                  </a:lnTo>
                  <a:lnTo>
                    <a:pt x="548081" y="267322"/>
                  </a:lnTo>
                  <a:close/>
                </a:path>
              </a:pathLst>
            </a:custGeom>
            <a:solidFill>
              <a:srgbClr val="7ED3F1"/>
            </a:solidFill>
          </p:spPr>
          <p:txBody>
            <a:bodyPr wrap="square" lIns="0" tIns="0" rIns="0" bIns="0" rtlCol="0"/>
            <a:lstStyle/>
            <a:p>
              <a:endParaRPr dirty="0"/>
            </a:p>
          </p:txBody>
        </p:sp>
        <p:pic>
          <p:nvPicPr>
            <p:cNvPr id="453" name="object 163">
              <a:extLst>
                <a:ext uri="{FF2B5EF4-FFF2-40B4-BE49-F238E27FC236}">
                  <a16:creationId xmlns:a16="http://schemas.microsoft.com/office/drawing/2014/main" id="{E39BF7A6-ACC7-7CDC-9BB5-A3526B6DEE2F}"/>
                </a:ext>
              </a:extLst>
            </p:cNvPr>
            <p:cNvPicPr/>
            <p:nvPr/>
          </p:nvPicPr>
          <p:blipFill>
            <a:blip r:embed="rId14" cstate="print"/>
            <a:stretch>
              <a:fillRect/>
            </a:stretch>
          </p:blipFill>
          <p:spPr>
            <a:xfrm>
              <a:off x="11177526" y="2356067"/>
              <a:ext cx="106445" cy="107156"/>
            </a:xfrm>
            <a:prstGeom prst="rect">
              <a:avLst/>
            </a:prstGeom>
          </p:spPr>
        </p:pic>
        <p:sp>
          <p:nvSpPr>
            <p:cNvPr id="454" name="object 164">
              <a:extLst>
                <a:ext uri="{FF2B5EF4-FFF2-40B4-BE49-F238E27FC236}">
                  <a16:creationId xmlns:a16="http://schemas.microsoft.com/office/drawing/2014/main" id="{C14227E3-3636-146F-720D-2F58B3C034D9}"/>
                </a:ext>
              </a:extLst>
            </p:cNvPr>
            <p:cNvSpPr/>
            <p:nvPr/>
          </p:nvSpPr>
          <p:spPr>
            <a:xfrm>
              <a:off x="11064256"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455" name="object 165">
              <a:extLst>
                <a:ext uri="{FF2B5EF4-FFF2-40B4-BE49-F238E27FC236}">
                  <a16:creationId xmlns:a16="http://schemas.microsoft.com/office/drawing/2014/main" id="{B4FC25CF-1881-6A62-4B3F-381F79BEA831}"/>
                </a:ext>
              </a:extLst>
            </p:cNvPr>
            <p:cNvPicPr/>
            <p:nvPr/>
          </p:nvPicPr>
          <p:blipFill>
            <a:blip r:embed="rId22" cstate="print"/>
            <a:stretch>
              <a:fillRect/>
            </a:stretch>
          </p:blipFill>
          <p:spPr>
            <a:xfrm>
              <a:off x="11064284" y="123"/>
              <a:ext cx="152433" cy="99184"/>
            </a:xfrm>
            <a:prstGeom prst="rect">
              <a:avLst/>
            </a:prstGeom>
          </p:spPr>
        </p:pic>
        <p:pic>
          <p:nvPicPr>
            <p:cNvPr id="456" name="object 166">
              <a:extLst>
                <a:ext uri="{FF2B5EF4-FFF2-40B4-BE49-F238E27FC236}">
                  <a16:creationId xmlns:a16="http://schemas.microsoft.com/office/drawing/2014/main" id="{C719253B-884F-AC11-BE94-395EFAAD273B}"/>
                </a:ext>
              </a:extLst>
            </p:cNvPr>
            <p:cNvPicPr/>
            <p:nvPr/>
          </p:nvPicPr>
          <p:blipFill>
            <a:blip r:embed="rId23" cstate="print"/>
            <a:stretch>
              <a:fillRect/>
            </a:stretch>
          </p:blipFill>
          <p:spPr>
            <a:xfrm>
              <a:off x="11243818" y="123"/>
              <a:ext cx="152798" cy="99837"/>
            </a:xfrm>
            <a:prstGeom prst="rect">
              <a:avLst/>
            </a:prstGeom>
          </p:spPr>
        </p:pic>
        <p:sp>
          <p:nvSpPr>
            <p:cNvPr id="457" name="object 167">
              <a:extLst>
                <a:ext uri="{FF2B5EF4-FFF2-40B4-BE49-F238E27FC236}">
                  <a16:creationId xmlns:a16="http://schemas.microsoft.com/office/drawing/2014/main" id="{40AB647C-F5CD-C705-4097-E759CC6A3465}"/>
                </a:ext>
              </a:extLst>
            </p:cNvPr>
            <p:cNvSpPr/>
            <p:nvPr/>
          </p:nvSpPr>
          <p:spPr>
            <a:xfrm>
              <a:off x="11064277" y="91626"/>
              <a:ext cx="332700" cy="323458"/>
            </a:xfrm>
            <a:custGeom>
              <a:avLst/>
              <a:gdLst/>
              <a:ahLst/>
              <a:cxnLst/>
              <a:rect l="l" t="t" r="r" b="b"/>
              <a:pathLst>
                <a:path w="548640" h="533400">
                  <a:moveTo>
                    <a:pt x="548043" y="532841"/>
                  </a:moveTo>
                  <a:lnTo>
                    <a:pt x="542594" y="484682"/>
                  </a:lnTo>
                  <a:lnTo>
                    <a:pt x="529196" y="439420"/>
                  </a:lnTo>
                  <a:lnTo>
                    <a:pt x="508584" y="397789"/>
                  </a:lnTo>
                  <a:lnTo>
                    <a:pt x="481482" y="360527"/>
                  </a:lnTo>
                  <a:lnTo>
                    <a:pt x="448640" y="328383"/>
                  </a:lnTo>
                  <a:lnTo>
                    <a:pt x="410794" y="302069"/>
                  </a:lnTo>
                  <a:lnTo>
                    <a:pt x="368668" y="282333"/>
                  </a:lnTo>
                  <a:lnTo>
                    <a:pt x="322999" y="269913"/>
                  </a:lnTo>
                  <a:lnTo>
                    <a:pt x="274523" y="265544"/>
                  </a:lnTo>
                  <a:lnTo>
                    <a:pt x="273291" y="265544"/>
                  </a:lnTo>
                  <a:lnTo>
                    <a:pt x="224955" y="269900"/>
                  </a:lnTo>
                  <a:lnTo>
                    <a:pt x="179400" y="282257"/>
                  </a:lnTo>
                  <a:lnTo>
                    <a:pt x="137363" y="301904"/>
                  </a:lnTo>
                  <a:lnTo>
                    <a:pt x="99580" y="328104"/>
                  </a:lnTo>
                  <a:lnTo>
                    <a:pt x="66776" y="360121"/>
                  </a:lnTo>
                  <a:lnTo>
                    <a:pt x="39687" y="397217"/>
                  </a:lnTo>
                  <a:lnTo>
                    <a:pt x="19037" y="438683"/>
                  </a:lnTo>
                  <a:lnTo>
                    <a:pt x="5575" y="483768"/>
                  </a:lnTo>
                  <a:lnTo>
                    <a:pt x="0" y="531761"/>
                  </a:lnTo>
                  <a:lnTo>
                    <a:pt x="47675" y="527723"/>
                  </a:lnTo>
                  <a:lnTo>
                    <a:pt x="92202" y="516064"/>
                  </a:lnTo>
                  <a:lnTo>
                    <a:pt x="133426" y="497471"/>
                  </a:lnTo>
                  <a:lnTo>
                    <a:pt x="170700" y="472592"/>
                  </a:lnTo>
                  <a:lnTo>
                    <a:pt x="203327" y="442137"/>
                  </a:lnTo>
                  <a:lnTo>
                    <a:pt x="230632" y="406755"/>
                  </a:lnTo>
                  <a:lnTo>
                    <a:pt x="251955" y="367118"/>
                  </a:lnTo>
                  <a:lnTo>
                    <a:pt x="266623" y="323926"/>
                  </a:lnTo>
                  <a:lnTo>
                    <a:pt x="273951" y="277837"/>
                  </a:lnTo>
                  <a:lnTo>
                    <a:pt x="281127" y="324116"/>
                  </a:lnTo>
                  <a:lnTo>
                    <a:pt x="295681" y="367487"/>
                  </a:lnTo>
                  <a:lnTo>
                    <a:pt x="316953" y="407276"/>
                  </a:lnTo>
                  <a:lnTo>
                    <a:pt x="344246" y="442810"/>
                  </a:lnTo>
                  <a:lnTo>
                    <a:pt x="376885" y="473417"/>
                  </a:lnTo>
                  <a:lnTo>
                    <a:pt x="414197" y="498398"/>
                  </a:lnTo>
                  <a:lnTo>
                    <a:pt x="455510" y="517080"/>
                  </a:lnTo>
                  <a:lnTo>
                    <a:pt x="500126" y="528789"/>
                  </a:lnTo>
                  <a:lnTo>
                    <a:pt x="548043" y="532841"/>
                  </a:lnTo>
                  <a:close/>
                </a:path>
                <a:path w="548640" h="533400">
                  <a:moveTo>
                    <a:pt x="548043" y="267309"/>
                  </a:moveTo>
                  <a:lnTo>
                    <a:pt x="542594" y="219138"/>
                  </a:lnTo>
                  <a:lnTo>
                    <a:pt x="529196" y="173888"/>
                  </a:lnTo>
                  <a:lnTo>
                    <a:pt x="508584" y="132257"/>
                  </a:lnTo>
                  <a:lnTo>
                    <a:pt x="481482" y="94996"/>
                  </a:lnTo>
                  <a:lnTo>
                    <a:pt x="448640" y="62852"/>
                  </a:lnTo>
                  <a:lnTo>
                    <a:pt x="410794" y="36537"/>
                  </a:lnTo>
                  <a:lnTo>
                    <a:pt x="368668" y="16802"/>
                  </a:lnTo>
                  <a:lnTo>
                    <a:pt x="322999" y="4381"/>
                  </a:lnTo>
                  <a:lnTo>
                    <a:pt x="274523" y="0"/>
                  </a:lnTo>
                  <a:lnTo>
                    <a:pt x="273291" y="0"/>
                  </a:lnTo>
                  <a:lnTo>
                    <a:pt x="224955" y="4356"/>
                  </a:lnTo>
                  <a:lnTo>
                    <a:pt x="179400" y="16725"/>
                  </a:lnTo>
                  <a:lnTo>
                    <a:pt x="137363" y="36372"/>
                  </a:lnTo>
                  <a:lnTo>
                    <a:pt x="99580" y="62572"/>
                  </a:lnTo>
                  <a:lnTo>
                    <a:pt x="66776" y="94576"/>
                  </a:lnTo>
                  <a:lnTo>
                    <a:pt x="39687" y="131686"/>
                  </a:lnTo>
                  <a:lnTo>
                    <a:pt x="19037" y="173151"/>
                  </a:lnTo>
                  <a:lnTo>
                    <a:pt x="5575" y="218236"/>
                  </a:lnTo>
                  <a:lnTo>
                    <a:pt x="0" y="266230"/>
                  </a:lnTo>
                  <a:lnTo>
                    <a:pt x="47675" y="262191"/>
                  </a:lnTo>
                  <a:lnTo>
                    <a:pt x="92202" y="250532"/>
                  </a:lnTo>
                  <a:lnTo>
                    <a:pt x="133426" y="231940"/>
                  </a:lnTo>
                  <a:lnTo>
                    <a:pt x="170700" y="207060"/>
                  </a:lnTo>
                  <a:lnTo>
                    <a:pt x="203327" y="176593"/>
                  </a:lnTo>
                  <a:lnTo>
                    <a:pt x="230632" y="141211"/>
                  </a:lnTo>
                  <a:lnTo>
                    <a:pt x="251955" y="101587"/>
                  </a:lnTo>
                  <a:lnTo>
                    <a:pt x="266623" y="58394"/>
                  </a:lnTo>
                  <a:lnTo>
                    <a:pt x="273951" y="12306"/>
                  </a:lnTo>
                  <a:lnTo>
                    <a:pt x="281127" y="58585"/>
                  </a:lnTo>
                  <a:lnTo>
                    <a:pt x="295681" y="101955"/>
                  </a:lnTo>
                  <a:lnTo>
                    <a:pt x="316953" y="141744"/>
                  </a:lnTo>
                  <a:lnTo>
                    <a:pt x="344246" y="177279"/>
                  </a:lnTo>
                  <a:lnTo>
                    <a:pt x="376885" y="207873"/>
                  </a:lnTo>
                  <a:lnTo>
                    <a:pt x="414197" y="232854"/>
                  </a:lnTo>
                  <a:lnTo>
                    <a:pt x="455510" y="251548"/>
                  </a:lnTo>
                  <a:lnTo>
                    <a:pt x="500126" y="263258"/>
                  </a:lnTo>
                  <a:lnTo>
                    <a:pt x="548043" y="267309"/>
                  </a:lnTo>
                  <a:close/>
                </a:path>
              </a:pathLst>
            </a:custGeom>
            <a:solidFill>
              <a:srgbClr val="2DB7EA"/>
            </a:solidFill>
          </p:spPr>
          <p:txBody>
            <a:bodyPr wrap="square" lIns="0" tIns="0" rIns="0" bIns="0" rtlCol="0"/>
            <a:lstStyle/>
            <a:p>
              <a:endParaRPr dirty="0"/>
            </a:p>
          </p:txBody>
        </p:sp>
        <p:pic>
          <p:nvPicPr>
            <p:cNvPr id="458" name="object 168">
              <a:extLst>
                <a:ext uri="{FF2B5EF4-FFF2-40B4-BE49-F238E27FC236}">
                  <a16:creationId xmlns:a16="http://schemas.microsoft.com/office/drawing/2014/main" id="{B0661ACD-1F40-7477-269A-6935825CF51D}"/>
                </a:ext>
              </a:extLst>
            </p:cNvPr>
            <p:cNvPicPr/>
            <p:nvPr/>
          </p:nvPicPr>
          <p:blipFill>
            <a:blip r:embed="rId13" cstate="print"/>
            <a:stretch>
              <a:fillRect/>
            </a:stretch>
          </p:blipFill>
          <p:spPr>
            <a:xfrm>
              <a:off x="11177526" y="393572"/>
              <a:ext cx="106445" cy="107156"/>
            </a:xfrm>
            <a:prstGeom prst="rect">
              <a:avLst/>
            </a:prstGeom>
          </p:spPr>
        </p:pic>
        <p:sp>
          <p:nvSpPr>
            <p:cNvPr id="459" name="object 169">
              <a:extLst>
                <a:ext uri="{FF2B5EF4-FFF2-40B4-BE49-F238E27FC236}">
                  <a16:creationId xmlns:a16="http://schemas.microsoft.com/office/drawing/2014/main" id="{BF742633-17E5-FC11-63D5-2EC0132121BD}"/>
                </a:ext>
              </a:extLst>
            </p:cNvPr>
            <p:cNvSpPr/>
            <p:nvPr/>
          </p:nvSpPr>
          <p:spPr>
            <a:xfrm>
              <a:off x="11064254" y="592039"/>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78"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38" y="785304"/>
                  </a:lnTo>
                  <a:lnTo>
                    <a:pt x="47713" y="781278"/>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52"/>
                  </a:moveTo>
                  <a:lnTo>
                    <a:pt x="542632" y="472694"/>
                  </a:lnTo>
                  <a:lnTo>
                    <a:pt x="529234" y="427431"/>
                  </a:lnTo>
                  <a:lnTo>
                    <a:pt x="508622" y="385800"/>
                  </a:lnTo>
                  <a:lnTo>
                    <a:pt x="481520" y="348551"/>
                  </a:lnTo>
                  <a:lnTo>
                    <a:pt x="448678" y="316395"/>
                  </a:lnTo>
                  <a:lnTo>
                    <a:pt x="410832" y="290080"/>
                  </a:lnTo>
                  <a:lnTo>
                    <a:pt x="368706" y="270357"/>
                  </a:lnTo>
                  <a:lnTo>
                    <a:pt x="323037" y="257924"/>
                  </a:lnTo>
                  <a:lnTo>
                    <a:pt x="274561" y="253555"/>
                  </a:lnTo>
                  <a:lnTo>
                    <a:pt x="273329" y="253555"/>
                  </a:lnTo>
                  <a:lnTo>
                    <a:pt x="224993" y="257911"/>
                  </a:lnTo>
                  <a:lnTo>
                    <a:pt x="179438" y="270281"/>
                  </a:lnTo>
                  <a:lnTo>
                    <a:pt x="137401" y="289915"/>
                  </a:lnTo>
                  <a:lnTo>
                    <a:pt x="99618" y="316115"/>
                  </a:lnTo>
                  <a:lnTo>
                    <a:pt x="66814" y="348132"/>
                  </a:lnTo>
                  <a:lnTo>
                    <a:pt x="39725" y="385229"/>
                  </a:lnTo>
                  <a:lnTo>
                    <a:pt x="19075" y="426694"/>
                  </a:lnTo>
                  <a:lnTo>
                    <a:pt x="5613" y="471779"/>
                  </a:lnTo>
                  <a:lnTo>
                    <a:pt x="38" y="519772"/>
                  </a:lnTo>
                  <a:lnTo>
                    <a:pt x="47713" y="515734"/>
                  </a:lnTo>
                  <a:lnTo>
                    <a:pt x="92240" y="504088"/>
                  </a:lnTo>
                  <a:lnTo>
                    <a:pt x="133464" y="485482"/>
                  </a:lnTo>
                  <a:lnTo>
                    <a:pt x="170738" y="460616"/>
                  </a:lnTo>
                  <a:lnTo>
                    <a:pt x="203365" y="430149"/>
                  </a:lnTo>
                  <a:lnTo>
                    <a:pt x="230670" y="394766"/>
                  </a:lnTo>
                  <a:lnTo>
                    <a:pt x="251993" y="355142"/>
                  </a:lnTo>
                  <a:lnTo>
                    <a:pt x="266661" y="311937"/>
                  </a:lnTo>
                  <a:lnTo>
                    <a:pt x="273989" y="265861"/>
                  </a:lnTo>
                  <a:lnTo>
                    <a:pt x="281165" y="312127"/>
                  </a:lnTo>
                  <a:lnTo>
                    <a:pt x="295719" y="355498"/>
                  </a:lnTo>
                  <a:lnTo>
                    <a:pt x="316992" y="395300"/>
                  </a:lnTo>
                  <a:lnTo>
                    <a:pt x="344284" y="430834"/>
                  </a:lnTo>
                  <a:lnTo>
                    <a:pt x="376923" y="461429"/>
                  </a:lnTo>
                  <a:lnTo>
                    <a:pt x="414235" y="486410"/>
                  </a:lnTo>
                  <a:lnTo>
                    <a:pt x="455549" y="505091"/>
                  </a:lnTo>
                  <a:lnTo>
                    <a:pt x="500164" y="516801"/>
                  </a:lnTo>
                  <a:lnTo>
                    <a:pt x="548081" y="520852"/>
                  </a:lnTo>
                  <a:close/>
                </a:path>
                <a:path w="548640" h="786764">
                  <a:moveTo>
                    <a:pt x="548081" y="267322"/>
                  </a:moveTo>
                  <a:lnTo>
                    <a:pt x="547077" y="258432"/>
                  </a:lnTo>
                  <a:lnTo>
                    <a:pt x="542645" y="219138"/>
                  </a:lnTo>
                  <a:lnTo>
                    <a:pt x="529247" y="173875"/>
                  </a:lnTo>
                  <a:lnTo>
                    <a:pt x="508635" y="132245"/>
                  </a:lnTo>
                  <a:lnTo>
                    <a:pt x="481533" y="94996"/>
                  </a:lnTo>
                  <a:lnTo>
                    <a:pt x="480834" y="94322"/>
                  </a:lnTo>
                  <a:lnTo>
                    <a:pt x="448691" y="62839"/>
                  </a:lnTo>
                  <a:lnTo>
                    <a:pt x="433158" y="52057"/>
                  </a:lnTo>
                  <a:lnTo>
                    <a:pt x="410832" y="36537"/>
                  </a:lnTo>
                  <a:lnTo>
                    <a:pt x="368706" y="16789"/>
                  </a:lnTo>
                  <a:lnTo>
                    <a:pt x="323037" y="4368"/>
                  </a:lnTo>
                  <a:lnTo>
                    <a:pt x="274561" y="12"/>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64" y="231927"/>
                  </a:lnTo>
                  <a:lnTo>
                    <a:pt x="170738" y="207048"/>
                  </a:lnTo>
                  <a:lnTo>
                    <a:pt x="203365" y="176593"/>
                  </a:lnTo>
                  <a:lnTo>
                    <a:pt x="230682" y="141211"/>
                  </a:lnTo>
                  <a:lnTo>
                    <a:pt x="252006" y="101587"/>
                  </a:lnTo>
                  <a:lnTo>
                    <a:pt x="266674" y="58407"/>
                  </a:lnTo>
                  <a:lnTo>
                    <a:pt x="273989" y="12357"/>
                  </a:lnTo>
                  <a:lnTo>
                    <a:pt x="281165" y="58572"/>
                  </a:lnTo>
                  <a:lnTo>
                    <a:pt x="295719" y="101942"/>
                  </a:lnTo>
                  <a:lnTo>
                    <a:pt x="316992" y="141732"/>
                  </a:lnTo>
                  <a:lnTo>
                    <a:pt x="344284" y="177266"/>
                  </a:lnTo>
                  <a:lnTo>
                    <a:pt x="376923" y="207873"/>
                  </a:lnTo>
                  <a:lnTo>
                    <a:pt x="414235" y="232854"/>
                  </a:lnTo>
                  <a:lnTo>
                    <a:pt x="455549" y="251548"/>
                  </a:lnTo>
                  <a:lnTo>
                    <a:pt x="500176" y="263258"/>
                  </a:lnTo>
                  <a:lnTo>
                    <a:pt x="548081" y="267322"/>
                  </a:lnTo>
                  <a:close/>
                </a:path>
              </a:pathLst>
            </a:custGeom>
            <a:solidFill>
              <a:srgbClr val="7ED3F1"/>
            </a:solidFill>
          </p:spPr>
          <p:txBody>
            <a:bodyPr wrap="square" lIns="0" tIns="0" rIns="0" bIns="0" rtlCol="0"/>
            <a:lstStyle/>
            <a:p>
              <a:endParaRPr dirty="0"/>
            </a:p>
          </p:txBody>
        </p:sp>
        <p:pic>
          <p:nvPicPr>
            <p:cNvPr id="460" name="object 170">
              <a:extLst>
                <a:ext uri="{FF2B5EF4-FFF2-40B4-BE49-F238E27FC236}">
                  <a16:creationId xmlns:a16="http://schemas.microsoft.com/office/drawing/2014/main" id="{EE229720-54F7-F756-5E51-55FC184B80F4}"/>
                </a:ext>
              </a:extLst>
            </p:cNvPr>
            <p:cNvPicPr/>
            <p:nvPr/>
          </p:nvPicPr>
          <p:blipFill>
            <a:blip r:embed="rId14" cstate="print"/>
            <a:stretch>
              <a:fillRect/>
            </a:stretch>
          </p:blipFill>
          <p:spPr>
            <a:xfrm>
              <a:off x="11177526" y="1047738"/>
              <a:ext cx="106445" cy="107156"/>
            </a:xfrm>
            <a:prstGeom prst="rect">
              <a:avLst/>
            </a:prstGeom>
          </p:spPr>
        </p:pic>
        <p:sp>
          <p:nvSpPr>
            <p:cNvPr id="461" name="object 187">
              <a:extLst>
                <a:ext uri="{FF2B5EF4-FFF2-40B4-BE49-F238E27FC236}">
                  <a16:creationId xmlns:a16="http://schemas.microsoft.com/office/drawing/2014/main" id="{58E1335C-64E0-F667-FA44-67BF0EC0E9EE}"/>
                </a:ext>
              </a:extLst>
            </p:cNvPr>
            <p:cNvSpPr/>
            <p:nvPr/>
          </p:nvSpPr>
          <p:spPr>
            <a:xfrm>
              <a:off x="11834385" y="3862863"/>
              <a:ext cx="332700" cy="477101"/>
            </a:xfrm>
            <a:custGeom>
              <a:avLst/>
              <a:gdLst/>
              <a:ahLst/>
              <a:cxnLst/>
              <a:rect l="l" t="t" r="r" b="b"/>
              <a:pathLst>
                <a:path w="548640" h="786765">
                  <a:moveTo>
                    <a:pt x="548081" y="786396"/>
                  </a:moveTo>
                  <a:lnTo>
                    <a:pt x="542632" y="738238"/>
                  </a:lnTo>
                  <a:lnTo>
                    <a:pt x="529234" y="692975"/>
                  </a:lnTo>
                  <a:lnTo>
                    <a:pt x="508622" y="651344"/>
                  </a:lnTo>
                  <a:lnTo>
                    <a:pt x="481533" y="614083"/>
                  </a:lnTo>
                  <a:lnTo>
                    <a:pt x="448691" y="581939"/>
                  </a:lnTo>
                  <a:lnTo>
                    <a:pt x="410832" y="555625"/>
                  </a:lnTo>
                  <a:lnTo>
                    <a:pt x="368706" y="535889"/>
                  </a:lnTo>
                  <a:lnTo>
                    <a:pt x="323037" y="523468"/>
                  </a:lnTo>
                  <a:lnTo>
                    <a:pt x="274561" y="519099"/>
                  </a:lnTo>
                  <a:lnTo>
                    <a:pt x="273342" y="519099"/>
                  </a:lnTo>
                  <a:lnTo>
                    <a:pt x="224993" y="523455"/>
                  </a:lnTo>
                  <a:lnTo>
                    <a:pt x="179438" y="535813"/>
                  </a:lnTo>
                  <a:lnTo>
                    <a:pt x="137401" y="555459"/>
                  </a:lnTo>
                  <a:lnTo>
                    <a:pt x="99618" y="581660"/>
                  </a:lnTo>
                  <a:lnTo>
                    <a:pt x="66814" y="613664"/>
                  </a:lnTo>
                  <a:lnTo>
                    <a:pt x="39725" y="650773"/>
                  </a:lnTo>
                  <a:lnTo>
                    <a:pt x="19088" y="692226"/>
                  </a:lnTo>
                  <a:lnTo>
                    <a:pt x="5613" y="737323"/>
                  </a:lnTo>
                  <a:lnTo>
                    <a:pt x="50" y="785304"/>
                  </a:lnTo>
                  <a:lnTo>
                    <a:pt x="47713" y="781265"/>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72"/>
                  </a:lnTo>
                  <a:lnTo>
                    <a:pt x="295732" y="621042"/>
                  </a:lnTo>
                  <a:lnTo>
                    <a:pt x="316992" y="660831"/>
                  </a:lnTo>
                  <a:lnTo>
                    <a:pt x="344284" y="696366"/>
                  </a:lnTo>
                  <a:lnTo>
                    <a:pt x="376936" y="726973"/>
                  </a:lnTo>
                  <a:lnTo>
                    <a:pt x="414248"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33" y="348564"/>
                  </a:lnTo>
                  <a:lnTo>
                    <a:pt x="448691" y="316407"/>
                  </a:lnTo>
                  <a:lnTo>
                    <a:pt x="410832" y="290106"/>
                  </a:lnTo>
                  <a:lnTo>
                    <a:pt x="368706" y="270370"/>
                  </a:lnTo>
                  <a:lnTo>
                    <a:pt x="323037" y="257949"/>
                  </a:lnTo>
                  <a:lnTo>
                    <a:pt x="274561" y="253568"/>
                  </a:lnTo>
                  <a:lnTo>
                    <a:pt x="273342" y="253568"/>
                  </a:lnTo>
                  <a:lnTo>
                    <a:pt x="224993" y="257924"/>
                  </a:lnTo>
                  <a:lnTo>
                    <a:pt x="179438" y="270294"/>
                  </a:lnTo>
                  <a:lnTo>
                    <a:pt x="137401" y="289941"/>
                  </a:lnTo>
                  <a:lnTo>
                    <a:pt x="99618" y="316128"/>
                  </a:lnTo>
                  <a:lnTo>
                    <a:pt x="66814" y="348145"/>
                  </a:lnTo>
                  <a:lnTo>
                    <a:pt x="39725" y="385241"/>
                  </a:lnTo>
                  <a:lnTo>
                    <a:pt x="19088" y="426707"/>
                  </a:lnTo>
                  <a:lnTo>
                    <a:pt x="5613" y="471792"/>
                  </a:lnTo>
                  <a:lnTo>
                    <a:pt x="50" y="519785"/>
                  </a:lnTo>
                  <a:lnTo>
                    <a:pt x="47713" y="515747"/>
                  </a:lnTo>
                  <a:lnTo>
                    <a:pt x="92240" y="504101"/>
                  </a:lnTo>
                  <a:lnTo>
                    <a:pt x="133477" y="485495"/>
                  </a:lnTo>
                  <a:lnTo>
                    <a:pt x="170738" y="460629"/>
                  </a:lnTo>
                  <a:lnTo>
                    <a:pt x="203365" y="430161"/>
                  </a:lnTo>
                  <a:lnTo>
                    <a:pt x="230670" y="394779"/>
                  </a:lnTo>
                  <a:lnTo>
                    <a:pt x="252006" y="355142"/>
                  </a:lnTo>
                  <a:lnTo>
                    <a:pt x="266661" y="311950"/>
                  </a:lnTo>
                  <a:lnTo>
                    <a:pt x="274002" y="265874"/>
                  </a:lnTo>
                  <a:lnTo>
                    <a:pt x="281165" y="312140"/>
                  </a:lnTo>
                  <a:lnTo>
                    <a:pt x="295732" y="355511"/>
                  </a:lnTo>
                  <a:lnTo>
                    <a:pt x="316992" y="395300"/>
                  </a:lnTo>
                  <a:lnTo>
                    <a:pt x="344284" y="430847"/>
                  </a:lnTo>
                  <a:lnTo>
                    <a:pt x="376936" y="461441"/>
                  </a:lnTo>
                  <a:lnTo>
                    <a:pt x="414248" y="486422"/>
                  </a:lnTo>
                  <a:lnTo>
                    <a:pt x="455549" y="505104"/>
                  </a:lnTo>
                  <a:lnTo>
                    <a:pt x="500164" y="516813"/>
                  </a:lnTo>
                  <a:lnTo>
                    <a:pt x="548081" y="520865"/>
                  </a:lnTo>
                  <a:close/>
                </a:path>
                <a:path w="548640" h="786765">
                  <a:moveTo>
                    <a:pt x="548093" y="267322"/>
                  </a:moveTo>
                  <a:lnTo>
                    <a:pt x="542645" y="219151"/>
                  </a:lnTo>
                  <a:lnTo>
                    <a:pt x="529247" y="173888"/>
                  </a:lnTo>
                  <a:lnTo>
                    <a:pt x="508635" y="132257"/>
                  </a:lnTo>
                  <a:lnTo>
                    <a:pt x="492937" y="110693"/>
                  </a:lnTo>
                  <a:lnTo>
                    <a:pt x="481533" y="95008"/>
                  </a:lnTo>
                  <a:lnTo>
                    <a:pt x="448691" y="62852"/>
                  </a:lnTo>
                  <a:lnTo>
                    <a:pt x="410845" y="36550"/>
                  </a:lnTo>
                  <a:lnTo>
                    <a:pt x="368706" y="16802"/>
                  </a:lnTo>
                  <a:lnTo>
                    <a:pt x="323037" y="4381"/>
                  </a:lnTo>
                  <a:lnTo>
                    <a:pt x="274561" y="0"/>
                  </a:lnTo>
                  <a:lnTo>
                    <a:pt x="273342" y="0"/>
                  </a:lnTo>
                  <a:lnTo>
                    <a:pt x="224993" y="4356"/>
                  </a:lnTo>
                  <a:lnTo>
                    <a:pt x="179438" y="16725"/>
                  </a:lnTo>
                  <a:lnTo>
                    <a:pt x="137401" y="36372"/>
                  </a:lnTo>
                  <a:lnTo>
                    <a:pt x="99618" y="62560"/>
                  </a:lnTo>
                  <a:lnTo>
                    <a:pt x="66814" y="94576"/>
                  </a:lnTo>
                  <a:lnTo>
                    <a:pt x="39700" y="131686"/>
                  </a:lnTo>
                  <a:lnTo>
                    <a:pt x="19050" y="173139"/>
                  </a:lnTo>
                  <a:lnTo>
                    <a:pt x="5575" y="218224"/>
                  </a:lnTo>
                  <a:lnTo>
                    <a:pt x="0" y="266192"/>
                  </a:lnTo>
                  <a:lnTo>
                    <a:pt x="47713" y="262178"/>
                  </a:lnTo>
                  <a:lnTo>
                    <a:pt x="92240" y="250520"/>
                  </a:lnTo>
                  <a:lnTo>
                    <a:pt x="133477" y="231927"/>
                  </a:lnTo>
                  <a:lnTo>
                    <a:pt x="170738" y="207060"/>
                  </a:lnTo>
                  <a:lnTo>
                    <a:pt x="203365" y="176593"/>
                  </a:lnTo>
                  <a:lnTo>
                    <a:pt x="230682" y="141224"/>
                  </a:lnTo>
                  <a:lnTo>
                    <a:pt x="252006" y="101600"/>
                  </a:lnTo>
                  <a:lnTo>
                    <a:pt x="266674" y="58420"/>
                  </a:lnTo>
                  <a:lnTo>
                    <a:pt x="274002" y="12331"/>
                  </a:lnTo>
                  <a:lnTo>
                    <a:pt x="275920" y="24739"/>
                  </a:lnTo>
                  <a:lnTo>
                    <a:pt x="281165" y="58572"/>
                  </a:lnTo>
                  <a:lnTo>
                    <a:pt x="295732" y="101955"/>
                  </a:lnTo>
                  <a:lnTo>
                    <a:pt x="316992" y="141744"/>
                  </a:lnTo>
                  <a:lnTo>
                    <a:pt x="344284" y="177279"/>
                  </a:lnTo>
                  <a:lnTo>
                    <a:pt x="376936" y="207886"/>
                  </a:lnTo>
                  <a:lnTo>
                    <a:pt x="414248" y="232867"/>
                  </a:lnTo>
                  <a:lnTo>
                    <a:pt x="455561" y="251561"/>
                  </a:lnTo>
                  <a:lnTo>
                    <a:pt x="500176" y="263271"/>
                  </a:lnTo>
                  <a:lnTo>
                    <a:pt x="548093" y="267322"/>
                  </a:lnTo>
                  <a:close/>
                </a:path>
              </a:pathLst>
            </a:custGeom>
            <a:solidFill>
              <a:srgbClr val="2DB7EA"/>
            </a:solidFill>
          </p:spPr>
          <p:txBody>
            <a:bodyPr wrap="square" lIns="0" tIns="0" rIns="0" bIns="0" rtlCol="0"/>
            <a:lstStyle/>
            <a:p>
              <a:endParaRPr dirty="0"/>
            </a:p>
          </p:txBody>
        </p:sp>
        <p:pic>
          <p:nvPicPr>
            <p:cNvPr id="462" name="object 188">
              <a:extLst>
                <a:ext uri="{FF2B5EF4-FFF2-40B4-BE49-F238E27FC236}">
                  <a16:creationId xmlns:a16="http://schemas.microsoft.com/office/drawing/2014/main" id="{B1CCB500-66CC-99F7-0C29-50F8889D02EA}"/>
                </a:ext>
              </a:extLst>
            </p:cNvPr>
            <p:cNvPicPr/>
            <p:nvPr/>
          </p:nvPicPr>
          <p:blipFill>
            <a:blip r:embed="rId16" cstate="print"/>
            <a:stretch>
              <a:fillRect/>
            </a:stretch>
          </p:blipFill>
          <p:spPr>
            <a:xfrm>
              <a:off x="11947657" y="4318566"/>
              <a:ext cx="106445" cy="107156"/>
            </a:xfrm>
            <a:prstGeom prst="rect">
              <a:avLst/>
            </a:prstGeom>
          </p:spPr>
        </p:pic>
        <p:sp>
          <p:nvSpPr>
            <p:cNvPr id="463" name="object 189">
              <a:extLst>
                <a:ext uri="{FF2B5EF4-FFF2-40B4-BE49-F238E27FC236}">
                  <a16:creationId xmlns:a16="http://schemas.microsoft.com/office/drawing/2014/main" id="{73D4F98C-059B-E8FE-69DE-8FD34FE1FD0F}"/>
                </a:ext>
              </a:extLst>
            </p:cNvPr>
            <p:cNvSpPr/>
            <p:nvPr/>
          </p:nvSpPr>
          <p:spPr>
            <a:xfrm>
              <a:off x="11834385" y="4517034"/>
              <a:ext cx="332700" cy="477101"/>
            </a:xfrm>
            <a:custGeom>
              <a:avLst/>
              <a:gdLst/>
              <a:ahLst/>
              <a:cxnLst/>
              <a:rect l="l" t="t" r="r" b="b"/>
              <a:pathLst>
                <a:path w="548640" h="786765">
                  <a:moveTo>
                    <a:pt x="548081" y="786384"/>
                  </a:moveTo>
                  <a:lnTo>
                    <a:pt x="542632" y="738225"/>
                  </a:lnTo>
                  <a:lnTo>
                    <a:pt x="529234"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47"/>
                  </a:lnTo>
                  <a:lnTo>
                    <a:pt x="66814" y="613664"/>
                  </a:lnTo>
                  <a:lnTo>
                    <a:pt x="39725" y="650760"/>
                  </a:lnTo>
                  <a:lnTo>
                    <a:pt x="19088" y="692226"/>
                  </a:lnTo>
                  <a:lnTo>
                    <a:pt x="5613" y="737323"/>
                  </a:lnTo>
                  <a:lnTo>
                    <a:pt x="50" y="785304"/>
                  </a:lnTo>
                  <a:lnTo>
                    <a:pt x="47713" y="781265"/>
                  </a:lnTo>
                  <a:lnTo>
                    <a:pt x="92240" y="769620"/>
                  </a:lnTo>
                  <a:lnTo>
                    <a:pt x="133477" y="751014"/>
                  </a:lnTo>
                  <a:lnTo>
                    <a:pt x="170738" y="726147"/>
                  </a:lnTo>
                  <a:lnTo>
                    <a:pt x="203365" y="695680"/>
                  </a:lnTo>
                  <a:lnTo>
                    <a:pt x="230670" y="660298"/>
                  </a:lnTo>
                  <a:lnTo>
                    <a:pt x="252006" y="620674"/>
                  </a:lnTo>
                  <a:lnTo>
                    <a:pt x="266661" y="577469"/>
                  </a:lnTo>
                  <a:lnTo>
                    <a:pt x="274002" y="531393"/>
                  </a:lnTo>
                  <a:lnTo>
                    <a:pt x="281165" y="577659"/>
                  </a:lnTo>
                  <a:lnTo>
                    <a:pt x="295732" y="621030"/>
                  </a:lnTo>
                  <a:lnTo>
                    <a:pt x="316992" y="660831"/>
                  </a:lnTo>
                  <a:lnTo>
                    <a:pt x="344284" y="696366"/>
                  </a:lnTo>
                  <a:lnTo>
                    <a:pt x="376936" y="726960"/>
                  </a:lnTo>
                  <a:lnTo>
                    <a:pt x="414248" y="751941"/>
                  </a:lnTo>
                  <a:lnTo>
                    <a:pt x="455549" y="770623"/>
                  </a:lnTo>
                  <a:lnTo>
                    <a:pt x="500164" y="782332"/>
                  </a:lnTo>
                  <a:lnTo>
                    <a:pt x="548081" y="786384"/>
                  </a:lnTo>
                  <a:close/>
                </a:path>
                <a:path w="548640" h="786765">
                  <a:moveTo>
                    <a:pt x="548081" y="520852"/>
                  </a:moveTo>
                  <a:lnTo>
                    <a:pt x="542632" y="472694"/>
                  </a:lnTo>
                  <a:lnTo>
                    <a:pt x="529234" y="427431"/>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11"/>
                  </a:lnTo>
                  <a:lnTo>
                    <a:pt x="179438" y="270281"/>
                  </a:lnTo>
                  <a:lnTo>
                    <a:pt x="137401" y="289928"/>
                  </a:lnTo>
                  <a:lnTo>
                    <a:pt x="99618" y="316128"/>
                  </a:lnTo>
                  <a:lnTo>
                    <a:pt x="66814" y="348132"/>
                  </a:lnTo>
                  <a:lnTo>
                    <a:pt x="39725" y="385241"/>
                  </a:lnTo>
                  <a:lnTo>
                    <a:pt x="19088" y="426694"/>
                  </a:lnTo>
                  <a:lnTo>
                    <a:pt x="5613" y="471779"/>
                  </a:lnTo>
                  <a:lnTo>
                    <a:pt x="50" y="519772"/>
                  </a:lnTo>
                  <a:lnTo>
                    <a:pt x="47713" y="515734"/>
                  </a:lnTo>
                  <a:lnTo>
                    <a:pt x="92240" y="504075"/>
                  </a:lnTo>
                  <a:lnTo>
                    <a:pt x="133477" y="485482"/>
                  </a:lnTo>
                  <a:lnTo>
                    <a:pt x="170738" y="460616"/>
                  </a:lnTo>
                  <a:lnTo>
                    <a:pt x="203365" y="430149"/>
                  </a:lnTo>
                  <a:lnTo>
                    <a:pt x="230670" y="394766"/>
                  </a:lnTo>
                  <a:lnTo>
                    <a:pt x="252006" y="355142"/>
                  </a:lnTo>
                  <a:lnTo>
                    <a:pt x="266661" y="311950"/>
                  </a:lnTo>
                  <a:lnTo>
                    <a:pt x="274002" y="265861"/>
                  </a:lnTo>
                  <a:lnTo>
                    <a:pt x="281165" y="312127"/>
                  </a:lnTo>
                  <a:lnTo>
                    <a:pt x="295732" y="355511"/>
                  </a:lnTo>
                  <a:lnTo>
                    <a:pt x="316992" y="395300"/>
                  </a:lnTo>
                  <a:lnTo>
                    <a:pt x="344284" y="430834"/>
                  </a:lnTo>
                  <a:lnTo>
                    <a:pt x="376936" y="461429"/>
                  </a:lnTo>
                  <a:lnTo>
                    <a:pt x="414248" y="486410"/>
                  </a:lnTo>
                  <a:lnTo>
                    <a:pt x="455549" y="505091"/>
                  </a:lnTo>
                  <a:lnTo>
                    <a:pt x="500164" y="516801"/>
                  </a:lnTo>
                  <a:lnTo>
                    <a:pt x="548081" y="520852"/>
                  </a:lnTo>
                  <a:close/>
                </a:path>
                <a:path w="548640" h="786765">
                  <a:moveTo>
                    <a:pt x="548093" y="267322"/>
                  </a:moveTo>
                  <a:lnTo>
                    <a:pt x="542645" y="219151"/>
                  </a:lnTo>
                  <a:lnTo>
                    <a:pt x="529247" y="173875"/>
                  </a:lnTo>
                  <a:lnTo>
                    <a:pt x="508635" y="132245"/>
                  </a:lnTo>
                  <a:lnTo>
                    <a:pt x="481533" y="94996"/>
                  </a:lnTo>
                  <a:lnTo>
                    <a:pt x="448691" y="62852"/>
                  </a:lnTo>
                  <a:lnTo>
                    <a:pt x="426351" y="47332"/>
                  </a:lnTo>
                  <a:lnTo>
                    <a:pt x="410845" y="36537"/>
                  </a:lnTo>
                  <a:lnTo>
                    <a:pt x="391109" y="27305"/>
                  </a:lnTo>
                  <a:lnTo>
                    <a:pt x="368719" y="16814"/>
                  </a:lnTo>
                  <a:lnTo>
                    <a:pt x="323037" y="4368"/>
                  </a:lnTo>
                  <a:lnTo>
                    <a:pt x="274561" y="0"/>
                  </a:lnTo>
                  <a:lnTo>
                    <a:pt x="273342" y="0"/>
                  </a:lnTo>
                  <a:lnTo>
                    <a:pt x="224993" y="4356"/>
                  </a:lnTo>
                  <a:lnTo>
                    <a:pt x="179438" y="16725"/>
                  </a:lnTo>
                  <a:lnTo>
                    <a:pt x="137401" y="36372"/>
                  </a:lnTo>
                  <a:lnTo>
                    <a:pt x="99618" y="62560"/>
                  </a:lnTo>
                  <a:lnTo>
                    <a:pt x="66814" y="94576"/>
                  </a:lnTo>
                  <a:lnTo>
                    <a:pt x="39700" y="131686"/>
                  </a:lnTo>
                  <a:lnTo>
                    <a:pt x="19050" y="173139"/>
                  </a:lnTo>
                  <a:lnTo>
                    <a:pt x="5575" y="218211"/>
                  </a:lnTo>
                  <a:lnTo>
                    <a:pt x="0" y="266192"/>
                  </a:lnTo>
                  <a:lnTo>
                    <a:pt x="47713" y="262166"/>
                  </a:lnTo>
                  <a:lnTo>
                    <a:pt x="92240" y="250520"/>
                  </a:lnTo>
                  <a:lnTo>
                    <a:pt x="133477" y="231914"/>
                  </a:lnTo>
                  <a:lnTo>
                    <a:pt x="170738" y="207048"/>
                  </a:lnTo>
                  <a:lnTo>
                    <a:pt x="203365" y="176593"/>
                  </a:lnTo>
                  <a:lnTo>
                    <a:pt x="230682" y="141211"/>
                  </a:lnTo>
                  <a:lnTo>
                    <a:pt x="252006" y="101600"/>
                  </a:lnTo>
                  <a:lnTo>
                    <a:pt x="266674" y="58407"/>
                  </a:lnTo>
                  <a:lnTo>
                    <a:pt x="274002" y="12319"/>
                  </a:lnTo>
                  <a:lnTo>
                    <a:pt x="275920" y="24726"/>
                  </a:lnTo>
                  <a:lnTo>
                    <a:pt x="281165" y="58572"/>
                  </a:lnTo>
                  <a:lnTo>
                    <a:pt x="295732" y="101942"/>
                  </a:lnTo>
                  <a:lnTo>
                    <a:pt x="316992" y="141732"/>
                  </a:lnTo>
                  <a:lnTo>
                    <a:pt x="344284" y="177279"/>
                  </a:lnTo>
                  <a:lnTo>
                    <a:pt x="376936" y="207873"/>
                  </a:lnTo>
                  <a:lnTo>
                    <a:pt x="414248" y="232867"/>
                  </a:lnTo>
                  <a:lnTo>
                    <a:pt x="455561"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464" name="object 190">
              <a:extLst>
                <a:ext uri="{FF2B5EF4-FFF2-40B4-BE49-F238E27FC236}">
                  <a16:creationId xmlns:a16="http://schemas.microsoft.com/office/drawing/2014/main" id="{1817FAE7-1F59-2A14-9ACF-427AAB98E654}"/>
                </a:ext>
              </a:extLst>
            </p:cNvPr>
            <p:cNvPicPr/>
            <p:nvPr/>
          </p:nvPicPr>
          <p:blipFill>
            <a:blip r:embed="rId17" cstate="print"/>
            <a:stretch>
              <a:fillRect/>
            </a:stretch>
          </p:blipFill>
          <p:spPr>
            <a:xfrm>
              <a:off x="11947657" y="4972731"/>
              <a:ext cx="106445" cy="107156"/>
            </a:xfrm>
            <a:prstGeom prst="rect">
              <a:avLst/>
            </a:prstGeom>
          </p:spPr>
        </p:pic>
        <p:sp>
          <p:nvSpPr>
            <p:cNvPr id="465" name="object 191">
              <a:extLst>
                <a:ext uri="{FF2B5EF4-FFF2-40B4-BE49-F238E27FC236}">
                  <a16:creationId xmlns:a16="http://schemas.microsoft.com/office/drawing/2014/main" id="{F30597C5-327F-0D9C-13EB-43608A7BEC1B}"/>
                </a:ext>
              </a:extLst>
            </p:cNvPr>
            <p:cNvSpPr/>
            <p:nvPr/>
          </p:nvSpPr>
          <p:spPr>
            <a:xfrm>
              <a:off x="11834385" y="2554529"/>
              <a:ext cx="332700" cy="477101"/>
            </a:xfrm>
            <a:custGeom>
              <a:avLst/>
              <a:gdLst/>
              <a:ahLst/>
              <a:cxnLst/>
              <a:rect l="l" t="t" r="r" b="b"/>
              <a:pathLst>
                <a:path w="548640" h="786764">
                  <a:moveTo>
                    <a:pt x="548081" y="786396"/>
                  </a:moveTo>
                  <a:lnTo>
                    <a:pt x="542632" y="738238"/>
                  </a:lnTo>
                  <a:lnTo>
                    <a:pt x="529234" y="692975"/>
                  </a:lnTo>
                  <a:lnTo>
                    <a:pt x="508622" y="651344"/>
                  </a:lnTo>
                  <a:lnTo>
                    <a:pt x="481533" y="614095"/>
                  </a:lnTo>
                  <a:lnTo>
                    <a:pt x="448691" y="581939"/>
                  </a:lnTo>
                  <a:lnTo>
                    <a:pt x="410832" y="555625"/>
                  </a:lnTo>
                  <a:lnTo>
                    <a:pt x="368706" y="535901"/>
                  </a:lnTo>
                  <a:lnTo>
                    <a:pt x="323037" y="523468"/>
                  </a:lnTo>
                  <a:lnTo>
                    <a:pt x="274561" y="519099"/>
                  </a:lnTo>
                  <a:lnTo>
                    <a:pt x="273342" y="519099"/>
                  </a:lnTo>
                  <a:lnTo>
                    <a:pt x="224993" y="523455"/>
                  </a:lnTo>
                  <a:lnTo>
                    <a:pt x="179438" y="535813"/>
                  </a:lnTo>
                  <a:lnTo>
                    <a:pt x="137401" y="555459"/>
                  </a:lnTo>
                  <a:lnTo>
                    <a:pt x="99618" y="581660"/>
                  </a:lnTo>
                  <a:lnTo>
                    <a:pt x="66814" y="613676"/>
                  </a:lnTo>
                  <a:lnTo>
                    <a:pt x="39725" y="650773"/>
                  </a:lnTo>
                  <a:lnTo>
                    <a:pt x="19088" y="692238"/>
                  </a:lnTo>
                  <a:lnTo>
                    <a:pt x="5613" y="737323"/>
                  </a:lnTo>
                  <a:lnTo>
                    <a:pt x="50" y="785317"/>
                  </a:lnTo>
                  <a:lnTo>
                    <a:pt x="47713" y="781278"/>
                  </a:lnTo>
                  <a:lnTo>
                    <a:pt x="92240" y="769632"/>
                  </a:lnTo>
                  <a:lnTo>
                    <a:pt x="133477" y="751027"/>
                  </a:lnTo>
                  <a:lnTo>
                    <a:pt x="170738" y="726160"/>
                  </a:lnTo>
                  <a:lnTo>
                    <a:pt x="203365" y="695693"/>
                  </a:lnTo>
                  <a:lnTo>
                    <a:pt x="230670" y="660311"/>
                  </a:lnTo>
                  <a:lnTo>
                    <a:pt x="252006" y="620687"/>
                  </a:lnTo>
                  <a:lnTo>
                    <a:pt x="266661" y="577481"/>
                  </a:lnTo>
                  <a:lnTo>
                    <a:pt x="274002" y="531406"/>
                  </a:lnTo>
                  <a:lnTo>
                    <a:pt x="281165" y="577672"/>
                  </a:lnTo>
                  <a:lnTo>
                    <a:pt x="295732" y="621042"/>
                  </a:lnTo>
                  <a:lnTo>
                    <a:pt x="316992" y="660844"/>
                  </a:lnTo>
                  <a:lnTo>
                    <a:pt x="344284" y="696379"/>
                  </a:lnTo>
                  <a:lnTo>
                    <a:pt x="376936" y="726973"/>
                  </a:lnTo>
                  <a:lnTo>
                    <a:pt x="414248" y="751954"/>
                  </a:lnTo>
                  <a:lnTo>
                    <a:pt x="455549" y="770636"/>
                  </a:lnTo>
                  <a:lnTo>
                    <a:pt x="500164" y="782345"/>
                  </a:lnTo>
                  <a:lnTo>
                    <a:pt x="548081" y="786396"/>
                  </a:lnTo>
                  <a:close/>
                </a:path>
                <a:path w="548640" h="786764">
                  <a:moveTo>
                    <a:pt x="548081" y="520865"/>
                  </a:moveTo>
                  <a:lnTo>
                    <a:pt x="542632" y="472706"/>
                  </a:lnTo>
                  <a:lnTo>
                    <a:pt x="529234" y="427443"/>
                  </a:lnTo>
                  <a:lnTo>
                    <a:pt x="508622" y="385813"/>
                  </a:lnTo>
                  <a:lnTo>
                    <a:pt x="481533" y="348564"/>
                  </a:lnTo>
                  <a:lnTo>
                    <a:pt x="448691" y="316407"/>
                  </a:lnTo>
                  <a:lnTo>
                    <a:pt x="410832" y="290106"/>
                  </a:lnTo>
                  <a:lnTo>
                    <a:pt x="368706" y="270370"/>
                  </a:lnTo>
                  <a:lnTo>
                    <a:pt x="323037" y="257949"/>
                  </a:lnTo>
                  <a:lnTo>
                    <a:pt x="274561" y="253568"/>
                  </a:lnTo>
                  <a:lnTo>
                    <a:pt x="273342" y="253568"/>
                  </a:lnTo>
                  <a:lnTo>
                    <a:pt x="224993" y="257924"/>
                  </a:lnTo>
                  <a:lnTo>
                    <a:pt x="179438" y="270294"/>
                  </a:lnTo>
                  <a:lnTo>
                    <a:pt x="137401" y="289941"/>
                  </a:lnTo>
                  <a:lnTo>
                    <a:pt x="99618" y="316128"/>
                  </a:lnTo>
                  <a:lnTo>
                    <a:pt x="66814" y="348145"/>
                  </a:lnTo>
                  <a:lnTo>
                    <a:pt x="39725" y="385254"/>
                  </a:lnTo>
                  <a:lnTo>
                    <a:pt x="19088" y="426707"/>
                  </a:lnTo>
                  <a:lnTo>
                    <a:pt x="5613" y="471805"/>
                  </a:lnTo>
                  <a:lnTo>
                    <a:pt x="50" y="519785"/>
                  </a:lnTo>
                  <a:lnTo>
                    <a:pt x="47713" y="515759"/>
                  </a:lnTo>
                  <a:lnTo>
                    <a:pt x="92240" y="504101"/>
                  </a:lnTo>
                  <a:lnTo>
                    <a:pt x="133477" y="485495"/>
                  </a:lnTo>
                  <a:lnTo>
                    <a:pt x="170738" y="460629"/>
                  </a:lnTo>
                  <a:lnTo>
                    <a:pt x="203365" y="430161"/>
                  </a:lnTo>
                  <a:lnTo>
                    <a:pt x="230670" y="394779"/>
                  </a:lnTo>
                  <a:lnTo>
                    <a:pt x="252006" y="355155"/>
                  </a:lnTo>
                  <a:lnTo>
                    <a:pt x="266661" y="311962"/>
                  </a:lnTo>
                  <a:lnTo>
                    <a:pt x="274002" y="265874"/>
                  </a:lnTo>
                  <a:lnTo>
                    <a:pt x="281165" y="312140"/>
                  </a:lnTo>
                  <a:lnTo>
                    <a:pt x="295732" y="355511"/>
                  </a:lnTo>
                  <a:lnTo>
                    <a:pt x="316992" y="395312"/>
                  </a:lnTo>
                  <a:lnTo>
                    <a:pt x="344284" y="430847"/>
                  </a:lnTo>
                  <a:lnTo>
                    <a:pt x="376936" y="461441"/>
                  </a:lnTo>
                  <a:lnTo>
                    <a:pt x="414248" y="486422"/>
                  </a:lnTo>
                  <a:lnTo>
                    <a:pt x="455549" y="505104"/>
                  </a:lnTo>
                  <a:lnTo>
                    <a:pt x="500164" y="516813"/>
                  </a:lnTo>
                  <a:lnTo>
                    <a:pt x="548081" y="520865"/>
                  </a:lnTo>
                  <a:close/>
                </a:path>
                <a:path w="548640" h="786764">
                  <a:moveTo>
                    <a:pt x="548093" y="267335"/>
                  </a:moveTo>
                  <a:lnTo>
                    <a:pt x="542645" y="219163"/>
                  </a:lnTo>
                  <a:lnTo>
                    <a:pt x="529247" y="173888"/>
                  </a:lnTo>
                  <a:lnTo>
                    <a:pt x="508635" y="132257"/>
                  </a:lnTo>
                  <a:lnTo>
                    <a:pt x="492937" y="110693"/>
                  </a:lnTo>
                  <a:lnTo>
                    <a:pt x="481533" y="95008"/>
                  </a:lnTo>
                  <a:lnTo>
                    <a:pt x="448691" y="62865"/>
                  </a:lnTo>
                  <a:lnTo>
                    <a:pt x="410845" y="36563"/>
                  </a:lnTo>
                  <a:lnTo>
                    <a:pt x="368706" y="16802"/>
                  </a:lnTo>
                  <a:lnTo>
                    <a:pt x="323037" y="4381"/>
                  </a:lnTo>
                  <a:lnTo>
                    <a:pt x="274561" y="0"/>
                  </a:lnTo>
                  <a:lnTo>
                    <a:pt x="273342" y="0"/>
                  </a:lnTo>
                  <a:lnTo>
                    <a:pt x="224993" y="4356"/>
                  </a:lnTo>
                  <a:lnTo>
                    <a:pt x="179438" y="16725"/>
                  </a:lnTo>
                  <a:lnTo>
                    <a:pt x="137401" y="36372"/>
                  </a:lnTo>
                  <a:lnTo>
                    <a:pt x="99618" y="62572"/>
                  </a:lnTo>
                  <a:lnTo>
                    <a:pt x="66814" y="94576"/>
                  </a:lnTo>
                  <a:lnTo>
                    <a:pt x="59588" y="104470"/>
                  </a:lnTo>
                  <a:lnTo>
                    <a:pt x="39700" y="131699"/>
                  </a:lnTo>
                  <a:lnTo>
                    <a:pt x="19050" y="173151"/>
                  </a:lnTo>
                  <a:lnTo>
                    <a:pt x="5575" y="218224"/>
                  </a:lnTo>
                  <a:lnTo>
                    <a:pt x="0" y="266204"/>
                  </a:lnTo>
                  <a:lnTo>
                    <a:pt x="47713" y="262191"/>
                  </a:lnTo>
                  <a:lnTo>
                    <a:pt x="92240" y="250532"/>
                  </a:lnTo>
                  <a:lnTo>
                    <a:pt x="133477" y="231940"/>
                  </a:lnTo>
                  <a:lnTo>
                    <a:pt x="170738" y="207060"/>
                  </a:lnTo>
                  <a:lnTo>
                    <a:pt x="203365" y="176606"/>
                  </a:lnTo>
                  <a:lnTo>
                    <a:pt x="230682" y="141224"/>
                  </a:lnTo>
                  <a:lnTo>
                    <a:pt x="252006" y="101612"/>
                  </a:lnTo>
                  <a:lnTo>
                    <a:pt x="266674" y="58420"/>
                  </a:lnTo>
                  <a:lnTo>
                    <a:pt x="274002" y="12331"/>
                  </a:lnTo>
                  <a:lnTo>
                    <a:pt x="275920" y="24739"/>
                  </a:lnTo>
                  <a:lnTo>
                    <a:pt x="281165" y="58585"/>
                  </a:lnTo>
                  <a:lnTo>
                    <a:pt x="295732" y="101955"/>
                  </a:lnTo>
                  <a:lnTo>
                    <a:pt x="316992" y="141744"/>
                  </a:lnTo>
                  <a:lnTo>
                    <a:pt x="344284" y="177279"/>
                  </a:lnTo>
                  <a:lnTo>
                    <a:pt x="376936" y="207886"/>
                  </a:lnTo>
                  <a:lnTo>
                    <a:pt x="414248" y="232867"/>
                  </a:lnTo>
                  <a:lnTo>
                    <a:pt x="455561" y="251561"/>
                  </a:lnTo>
                  <a:lnTo>
                    <a:pt x="500176" y="263271"/>
                  </a:lnTo>
                  <a:lnTo>
                    <a:pt x="548093" y="267335"/>
                  </a:lnTo>
                  <a:close/>
                </a:path>
              </a:pathLst>
            </a:custGeom>
            <a:solidFill>
              <a:srgbClr val="2DB7EA"/>
            </a:solidFill>
          </p:spPr>
          <p:txBody>
            <a:bodyPr wrap="square" lIns="0" tIns="0" rIns="0" bIns="0" rtlCol="0"/>
            <a:lstStyle/>
            <a:p>
              <a:endParaRPr dirty="0"/>
            </a:p>
          </p:txBody>
        </p:sp>
        <p:pic>
          <p:nvPicPr>
            <p:cNvPr id="466" name="object 192">
              <a:extLst>
                <a:ext uri="{FF2B5EF4-FFF2-40B4-BE49-F238E27FC236}">
                  <a16:creationId xmlns:a16="http://schemas.microsoft.com/office/drawing/2014/main" id="{E2F0DE66-3240-30F9-2FAC-B888D52D7D80}"/>
                </a:ext>
              </a:extLst>
            </p:cNvPr>
            <p:cNvPicPr/>
            <p:nvPr/>
          </p:nvPicPr>
          <p:blipFill>
            <a:blip r:embed="rId16" cstate="print"/>
            <a:stretch>
              <a:fillRect/>
            </a:stretch>
          </p:blipFill>
          <p:spPr>
            <a:xfrm>
              <a:off x="11947657" y="3010234"/>
              <a:ext cx="106445" cy="107156"/>
            </a:xfrm>
            <a:prstGeom prst="rect">
              <a:avLst/>
            </a:prstGeom>
          </p:spPr>
        </p:pic>
        <p:sp>
          <p:nvSpPr>
            <p:cNvPr id="467" name="object 193">
              <a:extLst>
                <a:ext uri="{FF2B5EF4-FFF2-40B4-BE49-F238E27FC236}">
                  <a16:creationId xmlns:a16="http://schemas.microsoft.com/office/drawing/2014/main" id="{6A9AFD8F-9B9A-CC12-20F1-9BA80F227D3A}"/>
                </a:ext>
              </a:extLst>
            </p:cNvPr>
            <p:cNvSpPr/>
            <p:nvPr/>
          </p:nvSpPr>
          <p:spPr>
            <a:xfrm>
              <a:off x="11834385" y="3208700"/>
              <a:ext cx="332700" cy="477101"/>
            </a:xfrm>
            <a:custGeom>
              <a:avLst/>
              <a:gdLst/>
              <a:ahLst/>
              <a:cxnLst/>
              <a:rect l="l" t="t" r="r" b="b"/>
              <a:pathLst>
                <a:path w="548640" h="786764">
                  <a:moveTo>
                    <a:pt x="548081" y="786384"/>
                  </a:moveTo>
                  <a:lnTo>
                    <a:pt x="542632" y="738225"/>
                  </a:lnTo>
                  <a:lnTo>
                    <a:pt x="529234" y="692962"/>
                  </a:lnTo>
                  <a:lnTo>
                    <a:pt x="508622" y="651344"/>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47"/>
                  </a:lnTo>
                  <a:lnTo>
                    <a:pt x="66814" y="613664"/>
                  </a:lnTo>
                  <a:lnTo>
                    <a:pt x="39725" y="650773"/>
                  </a:lnTo>
                  <a:lnTo>
                    <a:pt x="19088" y="692226"/>
                  </a:lnTo>
                  <a:lnTo>
                    <a:pt x="5613" y="737323"/>
                  </a:lnTo>
                  <a:lnTo>
                    <a:pt x="50" y="785317"/>
                  </a:lnTo>
                  <a:lnTo>
                    <a:pt x="47713" y="781278"/>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59"/>
                  </a:lnTo>
                  <a:lnTo>
                    <a:pt x="295732" y="621042"/>
                  </a:lnTo>
                  <a:lnTo>
                    <a:pt x="316992" y="660831"/>
                  </a:lnTo>
                  <a:lnTo>
                    <a:pt x="344284" y="696366"/>
                  </a:lnTo>
                  <a:lnTo>
                    <a:pt x="376936" y="726960"/>
                  </a:lnTo>
                  <a:lnTo>
                    <a:pt x="414248" y="751941"/>
                  </a:lnTo>
                  <a:lnTo>
                    <a:pt x="455549" y="770623"/>
                  </a:lnTo>
                  <a:lnTo>
                    <a:pt x="500164" y="782332"/>
                  </a:lnTo>
                  <a:lnTo>
                    <a:pt x="548081" y="786384"/>
                  </a:lnTo>
                  <a:close/>
                </a:path>
                <a:path w="548640" h="786764">
                  <a:moveTo>
                    <a:pt x="548081" y="520865"/>
                  </a:moveTo>
                  <a:lnTo>
                    <a:pt x="542632" y="472694"/>
                  </a:lnTo>
                  <a:lnTo>
                    <a:pt x="529234" y="427431"/>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11"/>
                  </a:lnTo>
                  <a:lnTo>
                    <a:pt x="179438" y="270281"/>
                  </a:lnTo>
                  <a:lnTo>
                    <a:pt x="137401" y="289928"/>
                  </a:lnTo>
                  <a:lnTo>
                    <a:pt x="99618" y="316115"/>
                  </a:lnTo>
                  <a:lnTo>
                    <a:pt x="66814" y="348132"/>
                  </a:lnTo>
                  <a:lnTo>
                    <a:pt x="39725" y="385241"/>
                  </a:lnTo>
                  <a:lnTo>
                    <a:pt x="19088" y="426694"/>
                  </a:lnTo>
                  <a:lnTo>
                    <a:pt x="5613" y="471792"/>
                  </a:lnTo>
                  <a:lnTo>
                    <a:pt x="50" y="519785"/>
                  </a:lnTo>
                  <a:lnTo>
                    <a:pt x="47713" y="515747"/>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40"/>
                  </a:lnTo>
                  <a:lnTo>
                    <a:pt x="295732" y="355511"/>
                  </a:lnTo>
                  <a:lnTo>
                    <a:pt x="316992" y="395300"/>
                  </a:lnTo>
                  <a:lnTo>
                    <a:pt x="344284" y="430834"/>
                  </a:lnTo>
                  <a:lnTo>
                    <a:pt x="376936" y="461429"/>
                  </a:lnTo>
                  <a:lnTo>
                    <a:pt x="414248" y="486410"/>
                  </a:lnTo>
                  <a:lnTo>
                    <a:pt x="455549" y="505091"/>
                  </a:lnTo>
                  <a:lnTo>
                    <a:pt x="500164" y="516801"/>
                  </a:lnTo>
                  <a:lnTo>
                    <a:pt x="548081" y="520865"/>
                  </a:lnTo>
                  <a:close/>
                </a:path>
                <a:path w="548640" h="786764">
                  <a:moveTo>
                    <a:pt x="548093" y="267322"/>
                  </a:moveTo>
                  <a:lnTo>
                    <a:pt x="542645" y="219151"/>
                  </a:lnTo>
                  <a:lnTo>
                    <a:pt x="529247" y="173888"/>
                  </a:lnTo>
                  <a:lnTo>
                    <a:pt x="508635" y="132257"/>
                  </a:lnTo>
                  <a:lnTo>
                    <a:pt x="481533" y="94996"/>
                  </a:lnTo>
                  <a:lnTo>
                    <a:pt x="448691" y="62852"/>
                  </a:lnTo>
                  <a:lnTo>
                    <a:pt x="410845" y="36550"/>
                  </a:lnTo>
                  <a:lnTo>
                    <a:pt x="368719" y="16814"/>
                  </a:lnTo>
                  <a:lnTo>
                    <a:pt x="323037" y="4368"/>
                  </a:lnTo>
                  <a:lnTo>
                    <a:pt x="274561" y="0"/>
                  </a:lnTo>
                  <a:lnTo>
                    <a:pt x="273342" y="0"/>
                  </a:lnTo>
                  <a:lnTo>
                    <a:pt x="224993" y="4356"/>
                  </a:lnTo>
                  <a:lnTo>
                    <a:pt x="179438" y="16725"/>
                  </a:lnTo>
                  <a:lnTo>
                    <a:pt x="137401" y="36360"/>
                  </a:lnTo>
                  <a:lnTo>
                    <a:pt x="99618" y="62560"/>
                  </a:lnTo>
                  <a:lnTo>
                    <a:pt x="66814" y="94576"/>
                  </a:lnTo>
                  <a:lnTo>
                    <a:pt x="39700" y="131686"/>
                  </a:lnTo>
                  <a:lnTo>
                    <a:pt x="19050" y="173139"/>
                  </a:lnTo>
                  <a:lnTo>
                    <a:pt x="5575" y="218224"/>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4002" y="12331"/>
                  </a:lnTo>
                  <a:lnTo>
                    <a:pt x="275920" y="24739"/>
                  </a:lnTo>
                  <a:lnTo>
                    <a:pt x="281165" y="58572"/>
                  </a:lnTo>
                  <a:lnTo>
                    <a:pt x="295732" y="101942"/>
                  </a:lnTo>
                  <a:lnTo>
                    <a:pt x="316992" y="141744"/>
                  </a:lnTo>
                  <a:lnTo>
                    <a:pt x="344284" y="177279"/>
                  </a:lnTo>
                  <a:lnTo>
                    <a:pt x="376936" y="207873"/>
                  </a:lnTo>
                  <a:lnTo>
                    <a:pt x="414248" y="232867"/>
                  </a:lnTo>
                  <a:lnTo>
                    <a:pt x="455561" y="251548"/>
                  </a:lnTo>
                  <a:lnTo>
                    <a:pt x="500176" y="263271"/>
                  </a:lnTo>
                  <a:lnTo>
                    <a:pt x="548093" y="267322"/>
                  </a:lnTo>
                  <a:close/>
                </a:path>
              </a:pathLst>
            </a:custGeom>
            <a:solidFill>
              <a:srgbClr val="7ED3F1"/>
            </a:solidFill>
          </p:spPr>
          <p:txBody>
            <a:bodyPr wrap="square" lIns="0" tIns="0" rIns="0" bIns="0" rtlCol="0"/>
            <a:lstStyle/>
            <a:p>
              <a:endParaRPr dirty="0"/>
            </a:p>
          </p:txBody>
        </p:sp>
        <p:pic>
          <p:nvPicPr>
            <p:cNvPr id="468" name="object 194">
              <a:extLst>
                <a:ext uri="{FF2B5EF4-FFF2-40B4-BE49-F238E27FC236}">
                  <a16:creationId xmlns:a16="http://schemas.microsoft.com/office/drawing/2014/main" id="{79C18BE1-ADAC-99B8-7153-93DA025D2390}"/>
                </a:ext>
              </a:extLst>
            </p:cNvPr>
            <p:cNvPicPr/>
            <p:nvPr/>
          </p:nvPicPr>
          <p:blipFill>
            <a:blip r:embed="rId17" cstate="print"/>
            <a:stretch>
              <a:fillRect/>
            </a:stretch>
          </p:blipFill>
          <p:spPr>
            <a:xfrm>
              <a:off x="11947657" y="3664400"/>
              <a:ext cx="106445" cy="107156"/>
            </a:xfrm>
            <a:prstGeom prst="rect">
              <a:avLst/>
            </a:prstGeom>
          </p:spPr>
        </p:pic>
        <p:sp>
          <p:nvSpPr>
            <p:cNvPr id="469" name="object 195">
              <a:extLst>
                <a:ext uri="{FF2B5EF4-FFF2-40B4-BE49-F238E27FC236}">
                  <a16:creationId xmlns:a16="http://schemas.microsoft.com/office/drawing/2014/main" id="{8D0E9D93-4393-D23B-3E3A-1842603FAB8D}"/>
                </a:ext>
              </a:extLst>
            </p:cNvPr>
            <p:cNvSpPr/>
            <p:nvPr/>
          </p:nvSpPr>
          <p:spPr>
            <a:xfrm>
              <a:off x="11834385" y="1246203"/>
              <a:ext cx="332700" cy="477101"/>
            </a:xfrm>
            <a:custGeom>
              <a:avLst/>
              <a:gdLst/>
              <a:ahLst/>
              <a:cxnLst/>
              <a:rect l="l" t="t" r="r" b="b"/>
              <a:pathLst>
                <a:path w="548640" h="786764">
                  <a:moveTo>
                    <a:pt x="548081" y="786384"/>
                  </a:moveTo>
                  <a:lnTo>
                    <a:pt x="542632" y="738225"/>
                  </a:lnTo>
                  <a:lnTo>
                    <a:pt x="529234"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47"/>
                  </a:lnTo>
                  <a:lnTo>
                    <a:pt x="66814" y="613664"/>
                  </a:lnTo>
                  <a:lnTo>
                    <a:pt x="39725" y="650760"/>
                  </a:lnTo>
                  <a:lnTo>
                    <a:pt x="19088" y="692226"/>
                  </a:lnTo>
                  <a:lnTo>
                    <a:pt x="5613" y="737323"/>
                  </a:lnTo>
                  <a:lnTo>
                    <a:pt x="50" y="785304"/>
                  </a:lnTo>
                  <a:lnTo>
                    <a:pt x="47713" y="781278"/>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59"/>
                  </a:lnTo>
                  <a:lnTo>
                    <a:pt x="295732" y="621030"/>
                  </a:lnTo>
                  <a:lnTo>
                    <a:pt x="316992" y="660831"/>
                  </a:lnTo>
                  <a:lnTo>
                    <a:pt x="344284" y="696366"/>
                  </a:lnTo>
                  <a:lnTo>
                    <a:pt x="376936" y="726960"/>
                  </a:lnTo>
                  <a:lnTo>
                    <a:pt x="414248" y="751941"/>
                  </a:lnTo>
                  <a:lnTo>
                    <a:pt x="455549" y="770623"/>
                  </a:lnTo>
                  <a:lnTo>
                    <a:pt x="500164" y="782332"/>
                  </a:lnTo>
                  <a:lnTo>
                    <a:pt x="548081" y="786384"/>
                  </a:lnTo>
                  <a:close/>
                </a:path>
                <a:path w="548640" h="786764">
                  <a:moveTo>
                    <a:pt x="548081" y="520852"/>
                  </a:moveTo>
                  <a:lnTo>
                    <a:pt x="542632" y="472694"/>
                  </a:lnTo>
                  <a:lnTo>
                    <a:pt x="529234" y="427431"/>
                  </a:lnTo>
                  <a:lnTo>
                    <a:pt x="508622" y="385813"/>
                  </a:lnTo>
                  <a:lnTo>
                    <a:pt x="481533" y="348551"/>
                  </a:lnTo>
                  <a:lnTo>
                    <a:pt x="448691" y="316395"/>
                  </a:lnTo>
                  <a:lnTo>
                    <a:pt x="410832" y="290093"/>
                  </a:lnTo>
                  <a:lnTo>
                    <a:pt x="368706" y="270357"/>
                  </a:lnTo>
                  <a:lnTo>
                    <a:pt x="323037" y="257937"/>
                  </a:lnTo>
                  <a:lnTo>
                    <a:pt x="274561" y="253555"/>
                  </a:lnTo>
                  <a:lnTo>
                    <a:pt x="273342" y="253555"/>
                  </a:lnTo>
                  <a:lnTo>
                    <a:pt x="224993" y="257911"/>
                  </a:lnTo>
                  <a:lnTo>
                    <a:pt x="179438" y="270281"/>
                  </a:lnTo>
                  <a:lnTo>
                    <a:pt x="137401" y="289928"/>
                  </a:lnTo>
                  <a:lnTo>
                    <a:pt x="99618" y="316115"/>
                  </a:lnTo>
                  <a:lnTo>
                    <a:pt x="66814" y="348132"/>
                  </a:lnTo>
                  <a:lnTo>
                    <a:pt x="39725" y="385241"/>
                  </a:lnTo>
                  <a:lnTo>
                    <a:pt x="19088" y="426694"/>
                  </a:lnTo>
                  <a:lnTo>
                    <a:pt x="5613" y="471792"/>
                  </a:lnTo>
                  <a:lnTo>
                    <a:pt x="50" y="519785"/>
                  </a:lnTo>
                  <a:lnTo>
                    <a:pt x="47713" y="515747"/>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27"/>
                  </a:lnTo>
                  <a:lnTo>
                    <a:pt x="295732" y="355511"/>
                  </a:lnTo>
                  <a:lnTo>
                    <a:pt x="316992" y="395300"/>
                  </a:lnTo>
                  <a:lnTo>
                    <a:pt x="344284" y="430834"/>
                  </a:lnTo>
                  <a:lnTo>
                    <a:pt x="376936" y="461429"/>
                  </a:lnTo>
                  <a:lnTo>
                    <a:pt x="414248" y="486410"/>
                  </a:lnTo>
                  <a:lnTo>
                    <a:pt x="455549" y="505091"/>
                  </a:lnTo>
                  <a:lnTo>
                    <a:pt x="500164" y="516801"/>
                  </a:lnTo>
                  <a:lnTo>
                    <a:pt x="548081" y="520852"/>
                  </a:lnTo>
                  <a:close/>
                </a:path>
                <a:path w="548640" h="786764">
                  <a:moveTo>
                    <a:pt x="548093" y="267322"/>
                  </a:moveTo>
                  <a:lnTo>
                    <a:pt x="542645" y="219151"/>
                  </a:lnTo>
                  <a:lnTo>
                    <a:pt x="529247" y="173875"/>
                  </a:lnTo>
                  <a:lnTo>
                    <a:pt x="508635" y="132257"/>
                  </a:lnTo>
                  <a:lnTo>
                    <a:pt x="481533" y="94996"/>
                  </a:lnTo>
                  <a:lnTo>
                    <a:pt x="448691" y="62852"/>
                  </a:lnTo>
                  <a:lnTo>
                    <a:pt x="410845" y="36550"/>
                  </a:lnTo>
                  <a:lnTo>
                    <a:pt x="368706" y="16789"/>
                  </a:lnTo>
                  <a:lnTo>
                    <a:pt x="323037" y="4368"/>
                  </a:lnTo>
                  <a:lnTo>
                    <a:pt x="274561" y="0"/>
                  </a:lnTo>
                  <a:lnTo>
                    <a:pt x="273342" y="0"/>
                  </a:lnTo>
                  <a:lnTo>
                    <a:pt x="224993" y="4356"/>
                  </a:lnTo>
                  <a:lnTo>
                    <a:pt x="179438" y="16713"/>
                  </a:lnTo>
                  <a:lnTo>
                    <a:pt x="137401" y="36360"/>
                  </a:lnTo>
                  <a:lnTo>
                    <a:pt x="99618" y="62560"/>
                  </a:lnTo>
                  <a:lnTo>
                    <a:pt x="66814" y="94576"/>
                  </a:lnTo>
                  <a:lnTo>
                    <a:pt x="39700" y="131686"/>
                  </a:lnTo>
                  <a:lnTo>
                    <a:pt x="19050" y="173139"/>
                  </a:lnTo>
                  <a:lnTo>
                    <a:pt x="5575" y="218211"/>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4002" y="12319"/>
                  </a:lnTo>
                  <a:lnTo>
                    <a:pt x="275920" y="24726"/>
                  </a:lnTo>
                  <a:lnTo>
                    <a:pt x="281165" y="58572"/>
                  </a:lnTo>
                  <a:lnTo>
                    <a:pt x="295732" y="101942"/>
                  </a:lnTo>
                  <a:lnTo>
                    <a:pt x="316992" y="141744"/>
                  </a:lnTo>
                  <a:lnTo>
                    <a:pt x="344284" y="177279"/>
                  </a:lnTo>
                  <a:lnTo>
                    <a:pt x="376936" y="207873"/>
                  </a:lnTo>
                  <a:lnTo>
                    <a:pt x="414248" y="232867"/>
                  </a:lnTo>
                  <a:lnTo>
                    <a:pt x="455561" y="251548"/>
                  </a:lnTo>
                  <a:lnTo>
                    <a:pt x="500176" y="263271"/>
                  </a:lnTo>
                  <a:lnTo>
                    <a:pt x="548093" y="267322"/>
                  </a:lnTo>
                  <a:close/>
                </a:path>
              </a:pathLst>
            </a:custGeom>
            <a:solidFill>
              <a:srgbClr val="2DB7EA"/>
            </a:solidFill>
          </p:spPr>
          <p:txBody>
            <a:bodyPr wrap="square" lIns="0" tIns="0" rIns="0" bIns="0" rtlCol="0"/>
            <a:lstStyle/>
            <a:p>
              <a:endParaRPr dirty="0"/>
            </a:p>
          </p:txBody>
        </p:sp>
        <p:pic>
          <p:nvPicPr>
            <p:cNvPr id="470" name="object 196">
              <a:extLst>
                <a:ext uri="{FF2B5EF4-FFF2-40B4-BE49-F238E27FC236}">
                  <a16:creationId xmlns:a16="http://schemas.microsoft.com/office/drawing/2014/main" id="{FDEEE299-8743-0F47-93CB-308124981985}"/>
                </a:ext>
              </a:extLst>
            </p:cNvPr>
            <p:cNvPicPr/>
            <p:nvPr/>
          </p:nvPicPr>
          <p:blipFill>
            <a:blip r:embed="rId16" cstate="print"/>
            <a:stretch>
              <a:fillRect/>
            </a:stretch>
          </p:blipFill>
          <p:spPr>
            <a:xfrm>
              <a:off x="11947657" y="1701903"/>
              <a:ext cx="106445" cy="107156"/>
            </a:xfrm>
            <a:prstGeom prst="rect">
              <a:avLst/>
            </a:prstGeom>
          </p:spPr>
        </p:pic>
        <p:sp>
          <p:nvSpPr>
            <p:cNvPr id="471" name="object 197">
              <a:extLst>
                <a:ext uri="{FF2B5EF4-FFF2-40B4-BE49-F238E27FC236}">
                  <a16:creationId xmlns:a16="http://schemas.microsoft.com/office/drawing/2014/main" id="{E09D9B26-20D8-6474-E891-55417F2E55A6}"/>
                </a:ext>
              </a:extLst>
            </p:cNvPr>
            <p:cNvSpPr/>
            <p:nvPr/>
          </p:nvSpPr>
          <p:spPr>
            <a:xfrm>
              <a:off x="11834385" y="1900365"/>
              <a:ext cx="332700" cy="477101"/>
            </a:xfrm>
            <a:custGeom>
              <a:avLst/>
              <a:gdLst/>
              <a:ahLst/>
              <a:cxnLst/>
              <a:rect l="l" t="t" r="r" b="b"/>
              <a:pathLst>
                <a:path w="548640" h="786764">
                  <a:moveTo>
                    <a:pt x="548081" y="786396"/>
                  </a:moveTo>
                  <a:lnTo>
                    <a:pt x="542632" y="738225"/>
                  </a:lnTo>
                  <a:lnTo>
                    <a:pt x="529234" y="692962"/>
                  </a:lnTo>
                  <a:lnTo>
                    <a:pt x="508622" y="651344"/>
                  </a:lnTo>
                  <a:lnTo>
                    <a:pt x="481533" y="614083"/>
                  </a:lnTo>
                  <a:lnTo>
                    <a:pt x="448691" y="581939"/>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60"/>
                  </a:lnTo>
                  <a:lnTo>
                    <a:pt x="66814" y="613664"/>
                  </a:lnTo>
                  <a:lnTo>
                    <a:pt x="39725" y="650773"/>
                  </a:lnTo>
                  <a:lnTo>
                    <a:pt x="19088" y="692238"/>
                  </a:lnTo>
                  <a:lnTo>
                    <a:pt x="5613" y="737323"/>
                  </a:lnTo>
                  <a:lnTo>
                    <a:pt x="50" y="785317"/>
                  </a:lnTo>
                  <a:lnTo>
                    <a:pt x="47713" y="781278"/>
                  </a:lnTo>
                  <a:lnTo>
                    <a:pt x="92240" y="769620"/>
                  </a:lnTo>
                  <a:lnTo>
                    <a:pt x="133477" y="751027"/>
                  </a:lnTo>
                  <a:lnTo>
                    <a:pt x="170738" y="726147"/>
                  </a:lnTo>
                  <a:lnTo>
                    <a:pt x="203365" y="695680"/>
                  </a:lnTo>
                  <a:lnTo>
                    <a:pt x="230670" y="660298"/>
                  </a:lnTo>
                  <a:lnTo>
                    <a:pt x="252006" y="620674"/>
                  </a:lnTo>
                  <a:lnTo>
                    <a:pt x="266661" y="577481"/>
                  </a:lnTo>
                  <a:lnTo>
                    <a:pt x="274002" y="531393"/>
                  </a:lnTo>
                  <a:lnTo>
                    <a:pt x="281165" y="577672"/>
                  </a:lnTo>
                  <a:lnTo>
                    <a:pt x="295732" y="621042"/>
                  </a:lnTo>
                  <a:lnTo>
                    <a:pt x="316992" y="660831"/>
                  </a:lnTo>
                  <a:lnTo>
                    <a:pt x="344284" y="696366"/>
                  </a:lnTo>
                  <a:lnTo>
                    <a:pt x="376936" y="726960"/>
                  </a:lnTo>
                  <a:lnTo>
                    <a:pt x="414248" y="751941"/>
                  </a:lnTo>
                  <a:lnTo>
                    <a:pt x="455549" y="770636"/>
                  </a:lnTo>
                  <a:lnTo>
                    <a:pt x="500164" y="782332"/>
                  </a:lnTo>
                  <a:lnTo>
                    <a:pt x="548081" y="786396"/>
                  </a:lnTo>
                  <a:close/>
                </a:path>
                <a:path w="548640" h="786764">
                  <a:moveTo>
                    <a:pt x="548081" y="520865"/>
                  </a:moveTo>
                  <a:lnTo>
                    <a:pt x="542632" y="472706"/>
                  </a:lnTo>
                  <a:lnTo>
                    <a:pt x="529234" y="427443"/>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24"/>
                  </a:lnTo>
                  <a:lnTo>
                    <a:pt x="179438" y="270281"/>
                  </a:lnTo>
                  <a:lnTo>
                    <a:pt x="137401" y="289928"/>
                  </a:lnTo>
                  <a:lnTo>
                    <a:pt x="99618" y="316128"/>
                  </a:lnTo>
                  <a:lnTo>
                    <a:pt x="66814" y="348132"/>
                  </a:lnTo>
                  <a:lnTo>
                    <a:pt x="39725" y="385241"/>
                  </a:lnTo>
                  <a:lnTo>
                    <a:pt x="19088" y="426707"/>
                  </a:lnTo>
                  <a:lnTo>
                    <a:pt x="5613" y="471792"/>
                  </a:lnTo>
                  <a:lnTo>
                    <a:pt x="50" y="519785"/>
                  </a:lnTo>
                  <a:lnTo>
                    <a:pt x="47713" y="515747"/>
                  </a:lnTo>
                  <a:lnTo>
                    <a:pt x="92240" y="504088"/>
                  </a:lnTo>
                  <a:lnTo>
                    <a:pt x="133477" y="485495"/>
                  </a:lnTo>
                  <a:lnTo>
                    <a:pt x="170738" y="460616"/>
                  </a:lnTo>
                  <a:lnTo>
                    <a:pt x="203365" y="430161"/>
                  </a:lnTo>
                  <a:lnTo>
                    <a:pt x="230670" y="394766"/>
                  </a:lnTo>
                  <a:lnTo>
                    <a:pt x="252006" y="355142"/>
                  </a:lnTo>
                  <a:lnTo>
                    <a:pt x="266661" y="311950"/>
                  </a:lnTo>
                  <a:lnTo>
                    <a:pt x="274002" y="265861"/>
                  </a:lnTo>
                  <a:lnTo>
                    <a:pt x="281165" y="312140"/>
                  </a:lnTo>
                  <a:lnTo>
                    <a:pt x="295732" y="355511"/>
                  </a:lnTo>
                  <a:lnTo>
                    <a:pt x="316992" y="395300"/>
                  </a:lnTo>
                  <a:lnTo>
                    <a:pt x="344284" y="430834"/>
                  </a:lnTo>
                  <a:lnTo>
                    <a:pt x="376936" y="461441"/>
                  </a:lnTo>
                  <a:lnTo>
                    <a:pt x="414248" y="486410"/>
                  </a:lnTo>
                  <a:lnTo>
                    <a:pt x="455549" y="505104"/>
                  </a:lnTo>
                  <a:lnTo>
                    <a:pt x="500164" y="516813"/>
                  </a:lnTo>
                  <a:lnTo>
                    <a:pt x="548081" y="520865"/>
                  </a:lnTo>
                  <a:close/>
                </a:path>
                <a:path w="548640" h="786764">
                  <a:moveTo>
                    <a:pt x="548093" y="267322"/>
                  </a:moveTo>
                  <a:lnTo>
                    <a:pt x="542645" y="219151"/>
                  </a:lnTo>
                  <a:lnTo>
                    <a:pt x="529247" y="173888"/>
                  </a:lnTo>
                  <a:lnTo>
                    <a:pt x="508635" y="132257"/>
                  </a:lnTo>
                  <a:lnTo>
                    <a:pt x="501230" y="122097"/>
                  </a:lnTo>
                  <a:lnTo>
                    <a:pt x="481533" y="95008"/>
                  </a:lnTo>
                  <a:lnTo>
                    <a:pt x="448691" y="62852"/>
                  </a:lnTo>
                  <a:lnTo>
                    <a:pt x="410845" y="36550"/>
                  </a:lnTo>
                  <a:lnTo>
                    <a:pt x="368719" y="16814"/>
                  </a:lnTo>
                  <a:lnTo>
                    <a:pt x="323037" y="4381"/>
                  </a:lnTo>
                  <a:lnTo>
                    <a:pt x="274561" y="0"/>
                  </a:lnTo>
                  <a:lnTo>
                    <a:pt x="273342" y="0"/>
                  </a:lnTo>
                  <a:lnTo>
                    <a:pt x="224993" y="4356"/>
                  </a:lnTo>
                  <a:lnTo>
                    <a:pt x="179438" y="16725"/>
                  </a:lnTo>
                  <a:lnTo>
                    <a:pt x="137401" y="36372"/>
                  </a:lnTo>
                  <a:lnTo>
                    <a:pt x="99618" y="62560"/>
                  </a:lnTo>
                  <a:lnTo>
                    <a:pt x="66814" y="94576"/>
                  </a:lnTo>
                  <a:lnTo>
                    <a:pt x="39700" y="131686"/>
                  </a:lnTo>
                  <a:lnTo>
                    <a:pt x="19050" y="173139"/>
                  </a:lnTo>
                  <a:lnTo>
                    <a:pt x="5575" y="218224"/>
                  </a:lnTo>
                  <a:lnTo>
                    <a:pt x="0" y="266192"/>
                  </a:lnTo>
                  <a:lnTo>
                    <a:pt x="47713" y="262191"/>
                  </a:lnTo>
                  <a:lnTo>
                    <a:pt x="92240" y="250532"/>
                  </a:lnTo>
                  <a:lnTo>
                    <a:pt x="133477" y="231927"/>
                  </a:lnTo>
                  <a:lnTo>
                    <a:pt x="170738" y="207060"/>
                  </a:lnTo>
                  <a:lnTo>
                    <a:pt x="203365" y="176593"/>
                  </a:lnTo>
                  <a:lnTo>
                    <a:pt x="230682" y="141224"/>
                  </a:lnTo>
                  <a:lnTo>
                    <a:pt x="252006" y="101600"/>
                  </a:lnTo>
                  <a:lnTo>
                    <a:pt x="266674" y="58420"/>
                  </a:lnTo>
                  <a:lnTo>
                    <a:pt x="274002" y="12331"/>
                  </a:lnTo>
                  <a:lnTo>
                    <a:pt x="275920" y="24739"/>
                  </a:lnTo>
                  <a:lnTo>
                    <a:pt x="281165" y="58572"/>
                  </a:lnTo>
                  <a:lnTo>
                    <a:pt x="290842" y="87388"/>
                  </a:lnTo>
                  <a:lnTo>
                    <a:pt x="295732" y="101955"/>
                  </a:lnTo>
                  <a:lnTo>
                    <a:pt x="316992" y="141744"/>
                  </a:lnTo>
                  <a:lnTo>
                    <a:pt x="344284" y="177279"/>
                  </a:lnTo>
                  <a:lnTo>
                    <a:pt x="376936" y="207886"/>
                  </a:lnTo>
                  <a:lnTo>
                    <a:pt x="414248" y="232867"/>
                  </a:lnTo>
                  <a:lnTo>
                    <a:pt x="455561"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472" name="object 198">
              <a:extLst>
                <a:ext uri="{FF2B5EF4-FFF2-40B4-BE49-F238E27FC236}">
                  <a16:creationId xmlns:a16="http://schemas.microsoft.com/office/drawing/2014/main" id="{AA9F29E3-EA84-009B-1432-E64BE449AF42}"/>
                </a:ext>
              </a:extLst>
            </p:cNvPr>
            <p:cNvPicPr/>
            <p:nvPr/>
          </p:nvPicPr>
          <p:blipFill>
            <a:blip r:embed="rId17" cstate="print"/>
            <a:stretch>
              <a:fillRect/>
            </a:stretch>
          </p:blipFill>
          <p:spPr>
            <a:xfrm>
              <a:off x="11947657" y="2356067"/>
              <a:ext cx="106445" cy="107156"/>
            </a:xfrm>
            <a:prstGeom prst="rect">
              <a:avLst/>
            </a:prstGeom>
          </p:spPr>
        </p:pic>
        <p:sp>
          <p:nvSpPr>
            <p:cNvPr id="473" name="object 199">
              <a:extLst>
                <a:ext uri="{FF2B5EF4-FFF2-40B4-BE49-F238E27FC236}">
                  <a16:creationId xmlns:a16="http://schemas.microsoft.com/office/drawing/2014/main" id="{ECFFB60A-76CD-CF1F-66F6-6E8B4D4DB0AA}"/>
                </a:ext>
              </a:extLst>
            </p:cNvPr>
            <p:cNvSpPr/>
            <p:nvPr/>
          </p:nvSpPr>
          <p:spPr>
            <a:xfrm>
              <a:off x="11834389"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474" name="object 200">
              <a:extLst>
                <a:ext uri="{FF2B5EF4-FFF2-40B4-BE49-F238E27FC236}">
                  <a16:creationId xmlns:a16="http://schemas.microsoft.com/office/drawing/2014/main" id="{807935FA-17A2-F48C-6625-F93C5B903DBA}"/>
                </a:ext>
              </a:extLst>
            </p:cNvPr>
            <p:cNvPicPr/>
            <p:nvPr/>
          </p:nvPicPr>
          <p:blipFill>
            <a:blip r:embed="rId22" cstate="print"/>
            <a:stretch>
              <a:fillRect/>
            </a:stretch>
          </p:blipFill>
          <p:spPr>
            <a:xfrm>
              <a:off x="11834417" y="123"/>
              <a:ext cx="152433" cy="99184"/>
            </a:xfrm>
            <a:prstGeom prst="rect">
              <a:avLst/>
            </a:prstGeom>
          </p:spPr>
        </p:pic>
        <p:pic>
          <p:nvPicPr>
            <p:cNvPr id="475" name="object 201">
              <a:extLst>
                <a:ext uri="{FF2B5EF4-FFF2-40B4-BE49-F238E27FC236}">
                  <a16:creationId xmlns:a16="http://schemas.microsoft.com/office/drawing/2014/main" id="{063DACBB-790B-10DB-CE8C-6842747E7AE3}"/>
                </a:ext>
              </a:extLst>
            </p:cNvPr>
            <p:cNvPicPr/>
            <p:nvPr/>
          </p:nvPicPr>
          <p:blipFill>
            <a:blip r:embed="rId21" cstate="print"/>
            <a:stretch>
              <a:fillRect/>
            </a:stretch>
          </p:blipFill>
          <p:spPr>
            <a:xfrm>
              <a:off x="12013952" y="123"/>
              <a:ext cx="152798" cy="99837"/>
            </a:xfrm>
            <a:prstGeom prst="rect">
              <a:avLst/>
            </a:prstGeom>
          </p:spPr>
        </p:pic>
        <p:sp>
          <p:nvSpPr>
            <p:cNvPr id="476" name="object 202">
              <a:extLst>
                <a:ext uri="{FF2B5EF4-FFF2-40B4-BE49-F238E27FC236}">
                  <a16:creationId xmlns:a16="http://schemas.microsoft.com/office/drawing/2014/main" id="{C6D8750A-200C-F58E-9CB2-1A2C347EFCE4}"/>
                </a:ext>
              </a:extLst>
            </p:cNvPr>
            <p:cNvSpPr/>
            <p:nvPr/>
          </p:nvSpPr>
          <p:spPr>
            <a:xfrm>
              <a:off x="11834416" y="91626"/>
              <a:ext cx="332700" cy="323458"/>
            </a:xfrm>
            <a:custGeom>
              <a:avLst/>
              <a:gdLst/>
              <a:ahLst/>
              <a:cxnLst/>
              <a:rect l="l" t="t" r="r" b="b"/>
              <a:pathLst>
                <a:path w="548640" h="533400">
                  <a:moveTo>
                    <a:pt x="548030" y="532841"/>
                  </a:moveTo>
                  <a:lnTo>
                    <a:pt x="542582" y="484682"/>
                  </a:lnTo>
                  <a:lnTo>
                    <a:pt x="529183" y="439420"/>
                  </a:lnTo>
                  <a:lnTo>
                    <a:pt x="508571" y="397789"/>
                  </a:lnTo>
                  <a:lnTo>
                    <a:pt x="481482" y="360527"/>
                  </a:lnTo>
                  <a:lnTo>
                    <a:pt x="448640" y="328383"/>
                  </a:lnTo>
                  <a:lnTo>
                    <a:pt x="410781" y="302069"/>
                  </a:lnTo>
                  <a:lnTo>
                    <a:pt x="368655" y="282333"/>
                  </a:lnTo>
                  <a:lnTo>
                    <a:pt x="322986" y="269913"/>
                  </a:lnTo>
                  <a:lnTo>
                    <a:pt x="274510" y="265544"/>
                  </a:lnTo>
                  <a:lnTo>
                    <a:pt x="273291" y="265544"/>
                  </a:lnTo>
                  <a:lnTo>
                    <a:pt x="224942" y="269900"/>
                  </a:lnTo>
                  <a:lnTo>
                    <a:pt x="179387" y="282257"/>
                  </a:lnTo>
                  <a:lnTo>
                    <a:pt x="137350" y="301904"/>
                  </a:lnTo>
                  <a:lnTo>
                    <a:pt x="99568" y="328104"/>
                  </a:lnTo>
                  <a:lnTo>
                    <a:pt x="66763" y="360121"/>
                  </a:lnTo>
                  <a:lnTo>
                    <a:pt x="39674" y="397217"/>
                  </a:lnTo>
                  <a:lnTo>
                    <a:pt x="19037" y="438683"/>
                  </a:lnTo>
                  <a:lnTo>
                    <a:pt x="5562" y="483768"/>
                  </a:lnTo>
                  <a:lnTo>
                    <a:pt x="0" y="531761"/>
                  </a:lnTo>
                  <a:lnTo>
                    <a:pt x="47663" y="527723"/>
                  </a:lnTo>
                  <a:lnTo>
                    <a:pt x="92189" y="516064"/>
                  </a:lnTo>
                  <a:lnTo>
                    <a:pt x="133426" y="497471"/>
                  </a:lnTo>
                  <a:lnTo>
                    <a:pt x="170688" y="472592"/>
                  </a:lnTo>
                  <a:lnTo>
                    <a:pt x="203314" y="442137"/>
                  </a:lnTo>
                  <a:lnTo>
                    <a:pt x="230619" y="406755"/>
                  </a:lnTo>
                  <a:lnTo>
                    <a:pt x="251955" y="367118"/>
                  </a:lnTo>
                  <a:lnTo>
                    <a:pt x="266611" y="323926"/>
                  </a:lnTo>
                  <a:lnTo>
                    <a:pt x="273951" y="277837"/>
                  </a:lnTo>
                  <a:lnTo>
                    <a:pt x="281114" y="324116"/>
                  </a:lnTo>
                  <a:lnTo>
                    <a:pt x="295681" y="367487"/>
                  </a:lnTo>
                  <a:lnTo>
                    <a:pt x="316941" y="407276"/>
                  </a:lnTo>
                  <a:lnTo>
                    <a:pt x="344233" y="442810"/>
                  </a:lnTo>
                  <a:lnTo>
                    <a:pt x="376885" y="473417"/>
                  </a:lnTo>
                  <a:lnTo>
                    <a:pt x="414197" y="498398"/>
                  </a:lnTo>
                  <a:lnTo>
                    <a:pt x="455498" y="517080"/>
                  </a:lnTo>
                  <a:lnTo>
                    <a:pt x="500113" y="528789"/>
                  </a:lnTo>
                  <a:lnTo>
                    <a:pt x="548030" y="532841"/>
                  </a:lnTo>
                  <a:close/>
                </a:path>
                <a:path w="548640" h="533400">
                  <a:moveTo>
                    <a:pt x="548030" y="267309"/>
                  </a:moveTo>
                  <a:lnTo>
                    <a:pt x="542582" y="219138"/>
                  </a:lnTo>
                  <a:lnTo>
                    <a:pt x="529183" y="173888"/>
                  </a:lnTo>
                  <a:lnTo>
                    <a:pt x="508571" y="132257"/>
                  </a:lnTo>
                  <a:lnTo>
                    <a:pt x="481482" y="94996"/>
                  </a:lnTo>
                  <a:lnTo>
                    <a:pt x="448640" y="62852"/>
                  </a:lnTo>
                  <a:lnTo>
                    <a:pt x="410781" y="36537"/>
                  </a:lnTo>
                  <a:lnTo>
                    <a:pt x="368655" y="16802"/>
                  </a:lnTo>
                  <a:lnTo>
                    <a:pt x="322986" y="4381"/>
                  </a:lnTo>
                  <a:lnTo>
                    <a:pt x="274510" y="0"/>
                  </a:lnTo>
                  <a:lnTo>
                    <a:pt x="273291" y="0"/>
                  </a:lnTo>
                  <a:lnTo>
                    <a:pt x="224942" y="4356"/>
                  </a:lnTo>
                  <a:lnTo>
                    <a:pt x="179387" y="16725"/>
                  </a:lnTo>
                  <a:lnTo>
                    <a:pt x="137350" y="36372"/>
                  </a:lnTo>
                  <a:lnTo>
                    <a:pt x="99568" y="62572"/>
                  </a:lnTo>
                  <a:lnTo>
                    <a:pt x="66763" y="94576"/>
                  </a:lnTo>
                  <a:lnTo>
                    <a:pt x="39674" y="131686"/>
                  </a:lnTo>
                  <a:lnTo>
                    <a:pt x="19037" y="173151"/>
                  </a:lnTo>
                  <a:lnTo>
                    <a:pt x="5562" y="218236"/>
                  </a:lnTo>
                  <a:lnTo>
                    <a:pt x="0" y="266230"/>
                  </a:lnTo>
                  <a:lnTo>
                    <a:pt x="47663" y="262191"/>
                  </a:lnTo>
                  <a:lnTo>
                    <a:pt x="92189" y="250532"/>
                  </a:lnTo>
                  <a:lnTo>
                    <a:pt x="133426" y="231940"/>
                  </a:lnTo>
                  <a:lnTo>
                    <a:pt x="170688" y="207060"/>
                  </a:lnTo>
                  <a:lnTo>
                    <a:pt x="203314" y="176593"/>
                  </a:lnTo>
                  <a:lnTo>
                    <a:pt x="230619" y="141211"/>
                  </a:lnTo>
                  <a:lnTo>
                    <a:pt x="251955" y="101587"/>
                  </a:lnTo>
                  <a:lnTo>
                    <a:pt x="266611" y="58394"/>
                  </a:lnTo>
                  <a:lnTo>
                    <a:pt x="273951" y="12306"/>
                  </a:lnTo>
                  <a:lnTo>
                    <a:pt x="281114" y="58585"/>
                  </a:lnTo>
                  <a:lnTo>
                    <a:pt x="295681" y="101955"/>
                  </a:lnTo>
                  <a:lnTo>
                    <a:pt x="316941" y="141744"/>
                  </a:lnTo>
                  <a:lnTo>
                    <a:pt x="344233" y="177279"/>
                  </a:lnTo>
                  <a:lnTo>
                    <a:pt x="376885" y="207873"/>
                  </a:lnTo>
                  <a:lnTo>
                    <a:pt x="414197" y="232854"/>
                  </a:lnTo>
                  <a:lnTo>
                    <a:pt x="455498" y="251548"/>
                  </a:lnTo>
                  <a:lnTo>
                    <a:pt x="500113" y="263258"/>
                  </a:lnTo>
                  <a:lnTo>
                    <a:pt x="548030" y="267309"/>
                  </a:lnTo>
                  <a:close/>
                </a:path>
              </a:pathLst>
            </a:custGeom>
            <a:solidFill>
              <a:srgbClr val="2DB7EA"/>
            </a:solidFill>
          </p:spPr>
          <p:txBody>
            <a:bodyPr wrap="square" lIns="0" tIns="0" rIns="0" bIns="0" rtlCol="0"/>
            <a:lstStyle/>
            <a:p>
              <a:endParaRPr dirty="0"/>
            </a:p>
          </p:txBody>
        </p:sp>
        <p:pic>
          <p:nvPicPr>
            <p:cNvPr id="477" name="object 203">
              <a:extLst>
                <a:ext uri="{FF2B5EF4-FFF2-40B4-BE49-F238E27FC236}">
                  <a16:creationId xmlns:a16="http://schemas.microsoft.com/office/drawing/2014/main" id="{AC3B9657-CD2D-1940-D843-347BCAAD4F9E}"/>
                </a:ext>
              </a:extLst>
            </p:cNvPr>
            <p:cNvPicPr/>
            <p:nvPr/>
          </p:nvPicPr>
          <p:blipFill>
            <a:blip r:embed="rId16" cstate="print"/>
            <a:stretch>
              <a:fillRect/>
            </a:stretch>
          </p:blipFill>
          <p:spPr>
            <a:xfrm>
              <a:off x="11947657" y="393572"/>
              <a:ext cx="106445" cy="107156"/>
            </a:xfrm>
            <a:prstGeom prst="rect">
              <a:avLst/>
            </a:prstGeom>
          </p:spPr>
        </p:pic>
        <p:sp>
          <p:nvSpPr>
            <p:cNvPr id="478" name="object 204">
              <a:extLst>
                <a:ext uri="{FF2B5EF4-FFF2-40B4-BE49-F238E27FC236}">
                  <a16:creationId xmlns:a16="http://schemas.microsoft.com/office/drawing/2014/main" id="{BB191E3A-FC51-54B9-D69C-AA0877910975}"/>
                </a:ext>
              </a:extLst>
            </p:cNvPr>
            <p:cNvSpPr/>
            <p:nvPr/>
          </p:nvSpPr>
          <p:spPr>
            <a:xfrm>
              <a:off x="11834385" y="592039"/>
              <a:ext cx="332700" cy="477101"/>
            </a:xfrm>
            <a:custGeom>
              <a:avLst/>
              <a:gdLst/>
              <a:ahLst/>
              <a:cxnLst/>
              <a:rect l="l" t="t" r="r" b="b"/>
              <a:pathLst>
                <a:path w="548640" h="786764">
                  <a:moveTo>
                    <a:pt x="548081" y="786384"/>
                  </a:moveTo>
                  <a:lnTo>
                    <a:pt x="542632" y="738225"/>
                  </a:lnTo>
                  <a:lnTo>
                    <a:pt x="529234"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47"/>
                  </a:lnTo>
                  <a:lnTo>
                    <a:pt x="66814" y="613664"/>
                  </a:lnTo>
                  <a:lnTo>
                    <a:pt x="39725" y="650760"/>
                  </a:lnTo>
                  <a:lnTo>
                    <a:pt x="19088" y="692226"/>
                  </a:lnTo>
                  <a:lnTo>
                    <a:pt x="5613" y="737323"/>
                  </a:lnTo>
                  <a:lnTo>
                    <a:pt x="50" y="785304"/>
                  </a:lnTo>
                  <a:lnTo>
                    <a:pt x="47713" y="781278"/>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59"/>
                  </a:lnTo>
                  <a:lnTo>
                    <a:pt x="295732" y="621030"/>
                  </a:lnTo>
                  <a:lnTo>
                    <a:pt x="316992" y="660831"/>
                  </a:lnTo>
                  <a:lnTo>
                    <a:pt x="344284" y="696366"/>
                  </a:lnTo>
                  <a:lnTo>
                    <a:pt x="376936" y="726960"/>
                  </a:lnTo>
                  <a:lnTo>
                    <a:pt x="414248" y="751941"/>
                  </a:lnTo>
                  <a:lnTo>
                    <a:pt x="455549" y="770623"/>
                  </a:lnTo>
                  <a:lnTo>
                    <a:pt x="500164" y="782332"/>
                  </a:lnTo>
                  <a:lnTo>
                    <a:pt x="548081" y="786384"/>
                  </a:lnTo>
                  <a:close/>
                </a:path>
                <a:path w="548640" h="786764">
                  <a:moveTo>
                    <a:pt x="548081" y="520852"/>
                  </a:moveTo>
                  <a:lnTo>
                    <a:pt x="542632" y="472694"/>
                  </a:lnTo>
                  <a:lnTo>
                    <a:pt x="529234" y="427431"/>
                  </a:lnTo>
                  <a:lnTo>
                    <a:pt x="508622" y="385800"/>
                  </a:lnTo>
                  <a:lnTo>
                    <a:pt x="481533" y="348551"/>
                  </a:lnTo>
                  <a:lnTo>
                    <a:pt x="448691" y="316395"/>
                  </a:lnTo>
                  <a:lnTo>
                    <a:pt x="410832" y="290080"/>
                  </a:lnTo>
                  <a:lnTo>
                    <a:pt x="368706" y="270357"/>
                  </a:lnTo>
                  <a:lnTo>
                    <a:pt x="323037" y="257924"/>
                  </a:lnTo>
                  <a:lnTo>
                    <a:pt x="274561" y="253555"/>
                  </a:lnTo>
                  <a:lnTo>
                    <a:pt x="273342" y="253555"/>
                  </a:lnTo>
                  <a:lnTo>
                    <a:pt x="224993" y="257911"/>
                  </a:lnTo>
                  <a:lnTo>
                    <a:pt x="179438" y="270281"/>
                  </a:lnTo>
                  <a:lnTo>
                    <a:pt x="137401" y="289915"/>
                  </a:lnTo>
                  <a:lnTo>
                    <a:pt x="99618" y="316115"/>
                  </a:lnTo>
                  <a:lnTo>
                    <a:pt x="66814" y="348132"/>
                  </a:lnTo>
                  <a:lnTo>
                    <a:pt x="39725" y="385229"/>
                  </a:lnTo>
                  <a:lnTo>
                    <a:pt x="19088" y="426694"/>
                  </a:lnTo>
                  <a:lnTo>
                    <a:pt x="5613" y="471779"/>
                  </a:lnTo>
                  <a:lnTo>
                    <a:pt x="50" y="519772"/>
                  </a:lnTo>
                  <a:lnTo>
                    <a:pt x="47713" y="515734"/>
                  </a:lnTo>
                  <a:lnTo>
                    <a:pt x="92240" y="504088"/>
                  </a:lnTo>
                  <a:lnTo>
                    <a:pt x="133477" y="485482"/>
                  </a:lnTo>
                  <a:lnTo>
                    <a:pt x="170738" y="460616"/>
                  </a:lnTo>
                  <a:lnTo>
                    <a:pt x="203365" y="430149"/>
                  </a:lnTo>
                  <a:lnTo>
                    <a:pt x="230670" y="394766"/>
                  </a:lnTo>
                  <a:lnTo>
                    <a:pt x="252006" y="355142"/>
                  </a:lnTo>
                  <a:lnTo>
                    <a:pt x="266661" y="311937"/>
                  </a:lnTo>
                  <a:lnTo>
                    <a:pt x="274002" y="265861"/>
                  </a:lnTo>
                  <a:lnTo>
                    <a:pt x="281165" y="312127"/>
                  </a:lnTo>
                  <a:lnTo>
                    <a:pt x="295732" y="355498"/>
                  </a:lnTo>
                  <a:lnTo>
                    <a:pt x="316992" y="395300"/>
                  </a:lnTo>
                  <a:lnTo>
                    <a:pt x="344284" y="430834"/>
                  </a:lnTo>
                  <a:lnTo>
                    <a:pt x="376936" y="461429"/>
                  </a:lnTo>
                  <a:lnTo>
                    <a:pt x="414248" y="486410"/>
                  </a:lnTo>
                  <a:lnTo>
                    <a:pt x="455549" y="505091"/>
                  </a:lnTo>
                  <a:lnTo>
                    <a:pt x="500164" y="516801"/>
                  </a:lnTo>
                  <a:lnTo>
                    <a:pt x="548081" y="520852"/>
                  </a:lnTo>
                  <a:close/>
                </a:path>
                <a:path w="548640" h="786764">
                  <a:moveTo>
                    <a:pt x="548093" y="267322"/>
                  </a:moveTo>
                  <a:lnTo>
                    <a:pt x="542645" y="219138"/>
                  </a:lnTo>
                  <a:lnTo>
                    <a:pt x="529247" y="173875"/>
                  </a:lnTo>
                  <a:lnTo>
                    <a:pt x="508635" y="132245"/>
                  </a:lnTo>
                  <a:lnTo>
                    <a:pt x="492937" y="110680"/>
                  </a:lnTo>
                  <a:lnTo>
                    <a:pt x="481533" y="94996"/>
                  </a:lnTo>
                  <a:lnTo>
                    <a:pt x="448691" y="62839"/>
                  </a:lnTo>
                  <a:lnTo>
                    <a:pt x="410845" y="36537"/>
                  </a:lnTo>
                  <a:lnTo>
                    <a:pt x="368706" y="16789"/>
                  </a:lnTo>
                  <a:lnTo>
                    <a:pt x="323037" y="4368"/>
                  </a:lnTo>
                  <a:lnTo>
                    <a:pt x="274574" y="12"/>
                  </a:lnTo>
                  <a:lnTo>
                    <a:pt x="273342" y="0"/>
                  </a:lnTo>
                  <a:lnTo>
                    <a:pt x="224993" y="4356"/>
                  </a:lnTo>
                  <a:lnTo>
                    <a:pt x="179438" y="16713"/>
                  </a:lnTo>
                  <a:lnTo>
                    <a:pt x="137401" y="36360"/>
                  </a:lnTo>
                  <a:lnTo>
                    <a:pt x="99618" y="62560"/>
                  </a:lnTo>
                  <a:lnTo>
                    <a:pt x="66814" y="94576"/>
                  </a:lnTo>
                  <a:lnTo>
                    <a:pt x="39700" y="131686"/>
                  </a:lnTo>
                  <a:lnTo>
                    <a:pt x="19050" y="173139"/>
                  </a:lnTo>
                  <a:lnTo>
                    <a:pt x="5575" y="218211"/>
                  </a:lnTo>
                  <a:lnTo>
                    <a:pt x="0" y="266192"/>
                  </a:lnTo>
                  <a:lnTo>
                    <a:pt x="47713" y="262178"/>
                  </a:lnTo>
                  <a:lnTo>
                    <a:pt x="92240" y="250520"/>
                  </a:lnTo>
                  <a:lnTo>
                    <a:pt x="133477" y="231927"/>
                  </a:lnTo>
                  <a:lnTo>
                    <a:pt x="170738" y="207048"/>
                  </a:lnTo>
                  <a:lnTo>
                    <a:pt x="203365" y="176593"/>
                  </a:lnTo>
                  <a:lnTo>
                    <a:pt x="230682" y="141211"/>
                  </a:lnTo>
                  <a:lnTo>
                    <a:pt x="252006" y="101587"/>
                  </a:lnTo>
                  <a:lnTo>
                    <a:pt x="266674" y="58407"/>
                  </a:lnTo>
                  <a:lnTo>
                    <a:pt x="274002" y="12319"/>
                  </a:lnTo>
                  <a:lnTo>
                    <a:pt x="275691" y="23253"/>
                  </a:lnTo>
                  <a:lnTo>
                    <a:pt x="281165" y="58572"/>
                  </a:lnTo>
                  <a:lnTo>
                    <a:pt x="295732" y="101942"/>
                  </a:lnTo>
                  <a:lnTo>
                    <a:pt x="316992" y="141732"/>
                  </a:lnTo>
                  <a:lnTo>
                    <a:pt x="344284" y="177266"/>
                  </a:lnTo>
                  <a:lnTo>
                    <a:pt x="376936" y="207873"/>
                  </a:lnTo>
                  <a:lnTo>
                    <a:pt x="414248" y="232854"/>
                  </a:lnTo>
                  <a:lnTo>
                    <a:pt x="455561"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479" name="object 205">
              <a:extLst>
                <a:ext uri="{FF2B5EF4-FFF2-40B4-BE49-F238E27FC236}">
                  <a16:creationId xmlns:a16="http://schemas.microsoft.com/office/drawing/2014/main" id="{FE58E3B8-68B8-337A-8F8A-89F3371AFF60}"/>
                </a:ext>
              </a:extLst>
            </p:cNvPr>
            <p:cNvPicPr/>
            <p:nvPr/>
          </p:nvPicPr>
          <p:blipFill>
            <a:blip r:embed="rId17" cstate="print"/>
            <a:stretch>
              <a:fillRect/>
            </a:stretch>
          </p:blipFill>
          <p:spPr>
            <a:xfrm>
              <a:off x="11947657" y="1047738"/>
              <a:ext cx="106445" cy="107156"/>
            </a:xfrm>
            <a:prstGeom prst="rect">
              <a:avLst/>
            </a:prstGeom>
          </p:spPr>
        </p:pic>
        <p:sp>
          <p:nvSpPr>
            <p:cNvPr id="480" name="object 241">
              <a:extLst>
                <a:ext uri="{FF2B5EF4-FFF2-40B4-BE49-F238E27FC236}">
                  <a16:creationId xmlns:a16="http://schemas.microsoft.com/office/drawing/2014/main" id="{8B67BA58-5645-E80D-D6EA-C484B8ADE23E}"/>
                </a:ext>
              </a:extLst>
            </p:cNvPr>
            <p:cNvSpPr/>
            <p:nvPr/>
          </p:nvSpPr>
          <p:spPr>
            <a:xfrm>
              <a:off x="7598678" y="804428"/>
              <a:ext cx="332700" cy="477101"/>
            </a:xfrm>
            <a:custGeom>
              <a:avLst/>
              <a:gdLst/>
              <a:ahLst/>
              <a:cxnLst/>
              <a:rect l="l" t="t" r="r" b="b"/>
              <a:pathLst>
                <a:path w="548640" h="786764">
                  <a:moveTo>
                    <a:pt x="548043" y="266598"/>
                  </a:moveTo>
                  <a:lnTo>
                    <a:pt x="500367" y="270637"/>
                  </a:lnTo>
                  <a:lnTo>
                    <a:pt x="455841" y="282295"/>
                  </a:lnTo>
                  <a:lnTo>
                    <a:pt x="414616" y="300901"/>
                  </a:lnTo>
                  <a:lnTo>
                    <a:pt x="377342" y="325767"/>
                  </a:lnTo>
                  <a:lnTo>
                    <a:pt x="344728" y="356235"/>
                  </a:lnTo>
                  <a:lnTo>
                    <a:pt x="317411" y="391617"/>
                  </a:lnTo>
                  <a:lnTo>
                    <a:pt x="296087" y="431241"/>
                  </a:lnTo>
                  <a:lnTo>
                    <a:pt x="281419" y="474433"/>
                  </a:lnTo>
                  <a:lnTo>
                    <a:pt x="274091" y="520522"/>
                  </a:lnTo>
                  <a:lnTo>
                    <a:pt x="266915" y="474256"/>
                  </a:lnTo>
                  <a:lnTo>
                    <a:pt x="252361" y="430872"/>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88"/>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42"/>
                  </a:lnTo>
                  <a:lnTo>
                    <a:pt x="529005" y="359689"/>
                  </a:lnTo>
                  <a:lnTo>
                    <a:pt x="542480" y="314591"/>
                  </a:lnTo>
                  <a:lnTo>
                    <a:pt x="548043" y="266598"/>
                  </a:lnTo>
                  <a:close/>
                </a:path>
                <a:path w="548640" h="786764">
                  <a:moveTo>
                    <a:pt x="548043" y="1079"/>
                  </a:moveTo>
                  <a:lnTo>
                    <a:pt x="500367" y="5105"/>
                  </a:lnTo>
                  <a:lnTo>
                    <a:pt x="455841" y="16764"/>
                  </a:lnTo>
                  <a:lnTo>
                    <a:pt x="414616" y="35369"/>
                  </a:lnTo>
                  <a:lnTo>
                    <a:pt x="377342" y="60236"/>
                  </a:lnTo>
                  <a:lnTo>
                    <a:pt x="344728"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80" y="49060"/>
                  </a:lnTo>
                  <a:lnTo>
                    <a:pt x="548043" y="1079"/>
                  </a:lnTo>
                  <a:close/>
                </a:path>
                <a:path w="548640" h="786764">
                  <a:moveTo>
                    <a:pt x="548081" y="520192"/>
                  </a:moveTo>
                  <a:lnTo>
                    <a:pt x="500367" y="524205"/>
                  </a:lnTo>
                  <a:lnTo>
                    <a:pt x="455841" y="535851"/>
                  </a:lnTo>
                  <a:lnTo>
                    <a:pt x="414616" y="554456"/>
                  </a:lnTo>
                  <a:lnTo>
                    <a:pt x="377342" y="579323"/>
                  </a:lnTo>
                  <a:lnTo>
                    <a:pt x="360464" y="595083"/>
                  </a:lnTo>
                  <a:lnTo>
                    <a:pt x="344728" y="609790"/>
                  </a:lnTo>
                  <a:lnTo>
                    <a:pt x="317398" y="645160"/>
                  </a:lnTo>
                  <a:lnTo>
                    <a:pt x="296075" y="684784"/>
                  </a:lnTo>
                  <a:lnTo>
                    <a:pt x="281419" y="727976"/>
                  </a:lnTo>
                  <a:lnTo>
                    <a:pt x="274078" y="774039"/>
                  </a:lnTo>
                  <a:lnTo>
                    <a:pt x="268224" y="736295"/>
                  </a:lnTo>
                  <a:lnTo>
                    <a:pt x="266915" y="727811"/>
                  </a:lnTo>
                  <a:lnTo>
                    <a:pt x="252361" y="684441"/>
                  </a:lnTo>
                  <a:lnTo>
                    <a:pt x="231089" y="644652"/>
                  </a:lnTo>
                  <a:lnTo>
                    <a:pt x="203796" y="609117"/>
                  </a:lnTo>
                  <a:lnTo>
                    <a:pt x="171157" y="578510"/>
                  </a:lnTo>
                  <a:lnTo>
                    <a:pt x="133845" y="553529"/>
                  </a:lnTo>
                  <a:lnTo>
                    <a:pt x="92532" y="534847"/>
                  </a:lnTo>
                  <a:lnTo>
                    <a:pt x="47904" y="523113"/>
                  </a:lnTo>
                  <a:lnTo>
                    <a:pt x="0" y="519061"/>
                  </a:lnTo>
                  <a:lnTo>
                    <a:pt x="5448" y="567245"/>
                  </a:lnTo>
                  <a:lnTo>
                    <a:pt x="8496" y="577583"/>
                  </a:lnTo>
                  <a:lnTo>
                    <a:pt x="18834" y="612508"/>
                  </a:lnTo>
                  <a:lnTo>
                    <a:pt x="32626" y="640346"/>
                  </a:lnTo>
                  <a:lnTo>
                    <a:pt x="39458" y="654138"/>
                  </a:lnTo>
                  <a:lnTo>
                    <a:pt x="66548" y="691388"/>
                  </a:lnTo>
                  <a:lnTo>
                    <a:pt x="98704" y="722871"/>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49275" y="723023"/>
                  </a:lnTo>
                  <a:lnTo>
                    <a:pt x="481266" y="691807"/>
                  </a:lnTo>
                  <a:lnTo>
                    <a:pt x="508393" y="654697"/>
                  </a:lnTo>
                  <a:lnTo>
                    <a:pt x="529043" y="613244"/>
                  </a:lnTo>
                  <a:lnTo>
                    <a:pt x="542518" y="568172"/>
                  </a:lnTo>
                  <a:lnTo>
                    <a:pt x="548081" y="520192"/>
                  </a:lnTo>
                  <a:close/>
                </a:path>
              </a:pathLst>
            </a:custGeom>
            <a:solidFill>
              <a:srgbClr val="2DB7EA"/>
            </a:solidFill>
          </p:spPr>
          <p:txBody>
            <a:bodyPr wrap="square" lIns="0" tIns="0" rIns="0" bIns="0" rtlCol="0"/>
            <a:lstStyle/>
            <a:p>
              <a:endParaRPr dirty="0"/>
            </a:p>
          </p:txBody>
        </p:sp>
        <p:pic>
          <p:nvPicPr>
            <p:cNvPr id="481" name="object 242">
              <a:extLst>
                <a:ext uri="{FF2B5EF4-FFF2-40B4-BE49-F238E27FC236}">
                  <a16:creationId xmlns:a16="http://schemas.microsoft.com/office/drawing/2014/main" id="{8536826C-F749-ED5E-1509-F16835A42B7A}"/>
                </a:ext>
              </a:extLst>
            </p:cNvPr>
            <p:cNvPicPr/>
            <p:nvPr/>
          </p:nvPicPr>
          <p:blipFill>
            <a:blip r:embed="rId5" cstate="print"/>
            <a:stretch>
              <a:fillRect/>
            </a:stretch>
          </p:blipFill>
          <p:spPr>
            <a:xfrm>
              <a:off x="7711331" y="718433"/>
              <a:ext cx="106445" cy="107156"/>
            </a:xfrm>
            <a:prstGeom prst="rect">
              <a:avLst/>
            </a:prstGeom>
          </p:spPr>
        </p:pic>
        <p:sp>
          <p:nvSpPr>
            <p:cNvPr id="482" name="object 243">
              <a:extLst>
                <a:ext uri="{FF2B5EF4-FFF2-40B4-BE49-F238E27FC236}">
                  <a16:creationId xmlns:a16="http://schemas.microsoft.com/office/drawing/2014/main" id="{8B4C4E9D-8A42-8139-325E-0D5348B69728}"/>
                </a:ext>
              </a:extLst>
            </p:cNvPr>
            <p:cNvSpPr/>
            <p:nvPr/>
          </p:nvSpPr>
          <p:spPr>
            <a:xfrm>
              <a:off x="7598678" y="150257"/>
              <a:ext cx="332700" cy="477101"/>
            </a:xfrm>
            <a:custGeom>
              <a:avLst/>
              <a:gdLst/>
              <a:ahLst/>
              <a:cxnLst/>
              <a:rect l="l" t="t" r="r" b="b"/>
              <a:pathLst>
                <a:path w="548640" h="786765">
                  <a:moveTo>
                    <a:pt x="548043" y="266611"/>
                  </a:moveTo>
                  <a:lnTo>
                    <a:pt x="500367" y="270649"/>
                  </a:lnTo>
                  <a:lnTo>
                    <a:pt x="455841" y="282308"/>
                  </a:lnTo>
                  <a:lnTo>
                    <a:pt x="414616" y="300901"/>
                  </a:lnTo>
                  <a:lnTo>
                    <a:pt x="377342" y="325767"/>
                  </a:lnTo>
                  <a:lnTo>
                    <a:pt x="344728" y="356235"/>
                  </a:lnTo>
                  <a:lnTo>
                    <a:pt x="317411" y="391617"/>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39"/>
                  </a:lnTo>
                  <a:lnTo>
                    <a:pt x="225044" y="528459"/>
                  </a:lnTo>
                  <a:lnTo>
                    <a:pt x="273519" y="532828"/>
                  </a:lnTo>
                  <a:lnTo>
                    <a:pt x="274751" y="532828"/>
                  </a:lnTo>
                  <a:lnTo>
                    <a:pt x="323088" y="528472"/>
                  </a:lnTo>
                  <a:lnTo>
                    <a:pt x="368642" y="516115"/>
                  </a:lnTo>
                  <a:lnTo>
                    <a:pt x="410679" y="496468"/>
                  </a:lnTo>
                  <a:lnTo>
                    <a:pt x="448462" y="470268"/>
                  </a:lnTo>
                  <a:lnTo>
                    <a:pt x="481266" y="438251"/>
                  </a:lnTo>
                  <a:lnTo>
                    <a:pt x="508355" y="401154"/>
                  </a:lnTo>
                  <a:lnTo>
                    <a:pt x="529005" y="359689"/>
                  </a:lnTo>
                  <a:lnTo>
                    <a:pt x="542480" y="314604"/>
                  </a:lnTo>
                  <a:lnTo>
                    <a:pt x="548043" y="266611"/>
                  </a:lnTo>
                  <a:close/>
                </a:path>
                <a:path w="548640" h="786765">
                  <a:moveTo>
                    <a:pt x="548043" y="1079"/>
                  </a:moveTo>
                  <a:lnTo>
                    <a:pt x="500367" y="5118"/>
                  </a:lnTo>
                  <a:lnTo>
                    <a:pt x="455841" y="16776"/>
                  </a:lnTo>
                  <a:lnTo>
                    <a:pt x="414616" y="35369"/>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60"/>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36"/>
                  </a:lnTo>
                  <a:lnTo>
                    <a:pt x="481266" y="172732"/>
                  </a:lnTo>
                  <a:lnTo>
                    <a:pt x="508355" y="135623"/>
                  </a:lnTo>
                  <a:lnTo>
                    <a:pt x="529005" y="94157"/>
                  </a:lnTo>
                  <a:lnTo>
                    <a:pt x="542480" y="49072"/>
                  </a:lnTo>
                  <a:lnTo>
                    <a:pt x="548043" y="1079"/>
                  </a:lnTo>
                  <a:close/>
                </a:path>
                <a:path w="548640" h="786765">
                  <a:moveTo>
                    <a:pt x="548081" y="520204"/>
                  </a:moveTo>
                  <a:lnTo>
                    <a:pt x="500367" y="524205"/>
                  </a:lnTo>
                  <a:lnTo>
                    <a:pt x="455841" y="535863"/>
                  </a:lnTo>
                  <a:lnTo>
                    <a:pt x="414616" y="554469"/>
                  </a:lnTo>
                  <a:lnTo>
                    <a:pt x="377342" y="579335"/>
                  </a:lnTo>
                  <a:lnTo>
                    <a:pt x="344728" y="609803"/>
                  </a:lnTo>
                  <a:lnTo>
                    <a:pt x="317398" y="645172"/>
                  </a:lnTo>
                  <a:lnTo>
                    <a:pt x="296075" y="684796"/>
                  </a:lnTo>
                  <a:lnTo>
                    <a:pt x="281419" y="727976"/>
                  </a:lnTo>
                  <a:lnTo>
                    <a:pt x="274078" y="774039"/>
                  </a:lnTo>
                  <a:lnTo>
                    <a:pt x="268224" y="736307"/>
                  </a:lnTo>
                  <a:lnTo>
                    <a:pt x="266915" y="727824"/>
                  </a:lnTo>
                  <a:lnTo>
                    <a:pt x="252361" y="684453"/>
                  </a:lnTo>
                  <a:lnTo>
                    <a:pt x="231089" y="644652"/>
                  </a:lnTo>
                  <a:lnTo>
                    <a:pt x="203796" y="609117"/>
                  </a:lnTo>
                  <a:lnTo>
                    <a:pt x="171157" y="578523"/>
                  </a:lnTo>
                  <a:lnTo>
                    <a:pt x="133845" y="553542"/>
                  </a:lnTo>
                  <a:lnTo>
                    <a:pt x="92532" y="534835"/>
                  </a:lnTo>
                  <a:lnTo>
                    <a:pt x="47904" y="523125"/>
                  </a:lnTo>
                  <a:lnTo>
                    <a:pt x="0" y="519074"/>
                  </a:lnTo>
                  <a:lnTo>
                    <a:pt x="5448" y="567258"/>
                  </a:lnTo>
                  <a:lnTo>
                    <a:pt x="9410" y="580644"/>
                  </a:lnTo>
                  <a:lnTo>
                    <a:pt x="18834" y="612508"/>
                  </a:lnTo>
                  <a:lnTo>
                    <a:pt x="29235" y="633526"/>
                  </a:lnTo>
                  <a:lnTo>
                    <a:pt x="39458" y="654151"/>
                  </a:lnTo>
                  <a:lnTo>
                    <a:pt x="59156" y="681240"/>
                  </a:lnTo>
                  <a:lnTo>
                    <a:pt x="66548" y="691388"/>
                  </a:lnTo>
                  <a:lnTo>
                    <a:pt x="99402" y="723557"/>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7ED3F1"/>
            </a:solidFill>
          </p:spPr>
          <p:txBody>
            <a:bodyPr wrap="square" lIns="0" tIns="0" rIns="0" bIns="0" rtlCol="0"/>
            <a:lstStyle/>
            <a:p>
              <a:endParaRPr dirty="0"/>
            </a:p>
          </p:txBody>
        </p:sp>
        <p:pic>
          <p:nvPicPr>
            <p:cNvPr id="483" name="object 244">
              <a:extLst>
                <a:ext uri="{FF2B5EF4-FFF2-40B4-BE49-F238E27FC236}">
                  <a16:creationId xmlns:a16="http://schemas.microsoft.com/office/drawing/2014/main" id="{B194ABD0-44BE-5018-01FD-543F067AF4B8}"/>
                </a:ext>
              </a:extLst>
            </p:cNvPr>
            <p:cNvPicPr/>
            <p:nvPr/>
          </p:nvPicPr>
          <p:blipFill>
            <a:blip r:embed="rId6" cstate="print"/>
            <a:stretch>
              <a:fillRect/>
            </a:stretch>
          </p:blipFill>
          <p:spPr>
            <a:xfrm>
              <a:off x="7711331" y="64269"/>
              <a:ext cx="106445" cy="107156"/>
            </a:xfrm>
            <a:prstGeom prst="rect">
              <a:avLst/>
            </a:prstGeom>
          </p:spPr>
        </p:pic>
        <p:sp>
          <p:nvSpPr>
            <p:cNvPr id="484" name="object 245">
              <a:extLst>
                <a:ext uri="{FF2B5EF4-FFF2-40B4-BE49-F238E27FC236}">
                  <a16:creationId xmlns:a16="http://schemas.microsoft.com/office/drawing/2014/main" id="{44F6BD3F-9D26-0BB2-8B1F-36DAB7C48133}"/>
                </a:ext>
              </a:extLst>
            </p:cNvPr>
            <p:cNvSpPr/>
            <p:nvPr/>
          </p:nvSpPr>
          <p:spPr>
            <a:xfrm>
              <a:off x="7598678" y="2112754"/>
              <a:ext cx="332700" cy="477101"/>
            </a:xfrm>
            <a:custGeom>
              <a:avLst/>
              <a:gdLst/>
              <a:ahLst/>
              <a:cxnLst/>
              <a:rect l="l" t="t" r="r" b="b"/>
              <a:pathLst>
                <a:path w="548640" h="786764">
                  <a:moveTo>
                    <a:pt x="548043" y="266611"/>
                  </a:moveTo>
                  <a:lnTo>
                    <a:pt x="500367" y="270649"/>
                  </a:lnTo>
                  <a:lnTo>
                    <a:pt x="455841" y="282308"/>
                  </a:lnTo>
                  <a:lnTo>
                    <a:pt x="414616" y="300901"/>
                  </a:lnTo>
                  <a:lnTo>
                    <a:pt x="377342" y="325780"/>
                  </a:lnTo>
                  <a:lnTo>
                    <a:pt x="344728"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74" y="516039"/>
                  </a:lnTo>
                  <a:lnTo>
                    <a:pt x="225044" y="528459"/>
                  </a:lnTo>
                  <a:lnTo>
                    <a:pt x="273519" y="532841"/>
                  </a:lnTo>
                  <a:lnTo>
                    <a:pt x="274751" y="532841"/>
                  </a:lnTo>
                  <a:lnTo>
                    <a:pt x="323088" y="528485"/>
                  </a:lnTo>
                  <a:lnTo>
                    <a:pt x="368642" y="516115"/>
                  </a:lnTo>
                  <a:lnTo>
                    <a:pt x="410679" y="496468"/>
                  </a:lnTo>
                  <a:lnTo>
                    <a:pt x="448462" y="470268"/>
                  </a:lnTo>
                  <a:lnTo>
                    <a:pt x="481266" y="438264"/>
                  </a:lnTo>
                  <a:lnTo>
                    <a:pt x="508355" y="401154"/>
                  </a:lnTo>
                  <a:lnTo>
                    <a:pt x="529005" y="359689"/>
                  </a:lnTo>
                  <a:lnTo>
                    <a:pt x="542480" y="314604"/>
                  </a:lnTo>
                  <a:lnTo>
                    <a:pt x="548043" y="266611"/>
                  </a:lnTo>
                  <a:close/>
                </a:path>
                <a:path w="548640" h="786764">
                  <a:moveTo>
                    <a:pt x="548043" y="1079"/>
                  </a:moveTo>
                  <a:lnTo>
                    <a:pt x="500367" y="5118"/>
                  </a:lnTo>
                  <a:lnTo>
                    <a:pt x="455841" y="16776"/>
                  </a:lnTo>
                  <a:lnTo>
                    <a:pt x="414616" y="35369"/>
                  </a:lnTo>
                  <a:lnTo>
                    <a:pt x="377342" y="60248"/>
                  </a:lnTo>
                  <a:lnTo>
                    <a:pt x="344728" y="90703"/>
                  </a:lnTo>
                  <a:lnTo>
                    <a:pt x="317411" y="126085"/>
                  </a:lnTo>
                  <a:lnTo>
                    <a:pt x="296087" y="165722"/>
                  </a:lnTo>
                  <a:lnTo>
                    <a:pt x="281419" y="208915"/>
                  </a:lnTo>
                  <a:lnTo>
                    <a:pt x="274091" y="255003"/>
                  </a:lnTo>
                  <a:lnTo>
                    <a:pt x="266915" y="208724"/>
                  </a:lnTo>
                  <a:lnTo>
                    <a:pt x="252361" y="165354"/>
                  </a:lnTo>
                  <a:lnTo>
                    <a:pt x="231089"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13"/>
                  </a:lnTo>
                  <a:lnTo>
                    <a:pt x="99402" y="204457"/>
                  </a:lnTo>
                  <a:lnTo>
                    <a:pt x="137248" y="230771"/>
                  </a:lnTo>
                  <a:lnTo>
                    <a:pt x="179374" y="250507"/>
                  </a:lnTo>
                  <a:lnTo>
                    <a:pt x="225044" y="262928"/>
                  </a:lnTo>
                  <a:lnTo>
                    <a:pt x="273519" y="267296"/>
                  </a:lnTo>
                  <a:lnTo>
                    <a:pt x="274751" y="267296"/>
                  </a:lnTo>
                  <a:lnTo>
                    <a:pt x="323088" y="262940"/>
                  </a:lnTo>
                  <a:lnTo>
                    <a:pt x="368642" y="250583"/>
                  </a:lnTo>
                  <a:lnTo>
                    <a:pt x="410679" y="230936"/>
                  </a:lnTo>
                  <a:lnTo>
                    <a:pt x="448462" y="204736"/>
                  </a:lnTo>
                  <a:lnTo>
                    <a:pt x="481266" y="172720"/>
                  </a:lnTo>
                  <a:lnTo>
                    <a:pt x="508355" y="135623"/>
                  </a:lnTo>
                  <a:lnTo>
                    <a:pt x="529005" y="94157"/>
                  </a:lnTo>
                  <a:lnTo>
                    <a:pt x="542480" y="49072"/>
                  </a:lnTo>
                  <a:lnTo>
                    <a:pt x="548043" y="1079"/>
                  </a:lnTo>
                  <a:close/>
                </a:path>
                <a:path w="548640" h="786764">
                  <a:moveTo>
                    <a:pt x="548081" y="520204"/>
                  </a:moveTo>
                  <a:lnTo>
                    <a:pt x="500367" y="524205"/>
                  </a:lnTo>
                  <a:lnTo>
                    <a:pt x="455841" y="535863"/>
                  </a:lnTo>
                  <a:lnTo>
                    <a:pt x="414616" y="554456"/>
                  </a:lnTo>
                  <a:lnTo>
                    <a:pt x="377342" y="579335"/>
                  </a:lnTo>
                  <a:lnTo>
                    <a:pt x="344728" y="609803"/>
                  </a:lnTo>
                  <a:lnTo>
                    <a:pt x="317398" y="645172"/>
                  </a:lnTo>
                  <a:lnTo>
                    <a:pt x="296075" y="684796"/>
                  </a:lnTo>
                  <a:lnTo>
                    <a:pt x="281419" y="727989"/>
                  </a:lnTo>
                  <a:lnTo>
                    <a:pt x="274078" y="774039"/>
                  </a:lnTo>
                  <a:lnTo>
                    <a:pt x="266915" y="727811"/>
                  </a:lnTo>
                  <a:lnTo>
                    <a:pt x="252361" y="684441"/>
                  </a:lnTo>
                  <a:lnTo>
                    <a:pt x="231089" y="644652"/>
                  </a:lnTo>
                  <a:lnTo>
                    <a:pt x="203796" y="609117"/>
                  </a:lnTo>
                  <a:lnTo>
                    <a:pt x="171157" y="578523"/>
                  </a:lnTo>
                  <a:lnTo>
                    <a:pt x="133845" y="553542"/>
                  </a:lnTo>
                  <a:lnTo>
                    <a:pt x="92532" y="534860"/>
                  </a:lnTo>
                  <a:lnTo>
                    <a:pt x="47904" y="523125"/>
                  </a:lnTo>
                  <a:lnTo>
                    <a:pt x="0" y="519099"/>
                  </a:lnTo>
                  <a:lnTo>
                    <a:pt x="5448" y="567258"/>
                  </a:lnTo>
                  <a:lnTo>
                    <a:pt x="9410" y="580644"/>
                  </a:lnTo>
                  <a:lnTo>
                    <a:pt x="18834" y="612508"/>
                  </a:lnTo>
                  <a:lnTo>
                    <a:pt x="39458" y="654138"/>
                  </a:lnTo>
                  <a:lnTo>
                    <a:pt x="66548" y="691400"/>
                  </a:lnTo>
                  <a:lnTo>
                    <a:pt x="99390" y="72354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2DB7EA"/>
            </a:solidFill>
          </p:spPr>
          <p:txBody>
            <a:bodyPr wrap="square" lIns="0" tIns="0" rIns="0" bIns="0" rtlCol="0"/>
            <a:lstStyle/>
            <a:p>
              <a:endParaRPr dirty="0"/>
            </a:p>
          </p:txBody>
        </p:sp>
        <p:pic>
          <p:nvPicPr>
            <p:cNvPr id="485" name="object 246">
              <a:extLst>
                <a:ext uri="{FF2B5EF4-FFF2-40B4-BE49-F238E27FC236}">
                  <a16:creationId xmlns:a16="http://schemas.microsoft.com/office/drawing/2014/main" id="{9CC2E224-5772-5DA2-E633-FE5265BBD94E}"/>
                </a:ext>
              </a:extLst>
            </p:cNvPr>
            <p:cNvPicPr/>
            <p:nvPr/>
          </p:nvPicPr>
          <p:blipFill>
            <a:blip r:embed="rId5" cstate="print"/>
            <a:stretch>
              <a:fillRect/>
            </a:stretch>
          </p:blipFill>
          <p:spPr>
            <a:xfrm>
              <a:off x="7711331" y="2026765"/>
              <a:ext cx="106445" cy="107156"/>
            </a:xfrm>
            <a:prstGeom prst="rect">
              <a:avLst/>
            </a:prstGeom>
          </p:spPr>
        </p:pic>
        <p:sp>
          <p:nvSpPr>
            <p:cNvPr id="486" name="object 247">
              <a:extLst>
                <a:ext uri="{FF2B5EF4-FFF2-40B4-BE49-F238E27FC236}">
                  <a16:creationId xmlns:a16="http://schemas.microsoft.com/office/drawing/2014/main" id="{1FDA961A-B7BE-4492-67BB-12C55D266F86}"/>
                </a:ext>
              </a:extLst>
            </p:cNvPr>
            <p:cNvSpPr/>
            <p:nvPr/>
          </p:nvSpPr>
          <p:spPr>
            <a:xfrm>
              <a:off x="7598678" y="1458591"/>
              <a:ext cx="332700" cy="477101"/>
            </a:xfrm>
            <a:custGeom>
              <a:avLst/>
              <a:gdLst/>
              <a:ahLst/>
              <a:cxnLst/>
              <a:rect l="l" t="t" r="r" b="b"/>
              <a:pathLst>
                <a:path w="548640" h="786764">
                  <a:moveTo>
                    <a:pt x="548043" y="266611"/>
                  </a:moveTo>
                  <a:lnTo>
                    <a:pt x="500367" y="270649"/>
                  </a:lnTo>
                  <a:lnTo>
                    <a:pt x="455841" y="282295"/>
                  </a:lnTo>
                  <a:lnTo>
                    <a:pt x="414616" y="300901"/>
                  </a:lnTo>
                  <a:lnTo>
                    <a:pt x="377342" y="325767"/>
                  </a:lnTo>
                  <a:lnTo>
                    <a:pt x="344728" y="356235"/>
                  </a:lnTo>
                  <a:lnTo>
                    <a:pt x="317411" y="391617"/>
                  </a:lnTo>
                  <a:lnTo>
                    <a:pt x="296087" y="431241"/>
                  </a:lnTo>
                  <a:lnTo>
                    <a:pt x="281419" y="474446"/>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26"/>
                  </a:lnTo>
                  <a:lnTo>
                    <a:pt x="225044" y="528459"/>
                  </a:lnTo>
                  <a:lnTo>
                    <a:pt x="273519" y="532828"/>
                  </a:lnTo>
                  <a:lnTo>
                    <a:pt x="274751" y="532828"/>
                  </a:lnTo>
                  <a:lnTo>
                    <a:pt x="323088" y="528472"/>
                  </a:lnTo>
                  <a:lnTo>
                    <a:pt x="368642" y="516102"/>
                  </a:lnTo>
                  <a:lnTo>
                    <a:pt x="410679" y="496468"/>
                  </a:lnTo>
                  <a:lnTo>
                    <a:pt x="448462" y="470268"/>
                  </a:lnTo>
                  <a:lnTo>
                    <a:pt x="481266" y="438251"/>
                  </a:lnTo>
                  <a:lnTo>
                    <a:pt x="508355" y="401154"/>
                  </a:lnTo>
                  <a:lnTo>
                    <a:pt x="529005" y="359689"/>
                  </a:lnTo>
                  <a:lnTo>
                    <a:pt x="542480" y="314604"/>
                  </a:lnTo>
                  <a:lnTo>
                    <a:pt x="548043" y="266611"/>
                  </a:lnTo>
                  <a:close/>
                </a:path>
                <a:path w="548640" h="786764">
                  <a:moveTo>
                    <a:pt x="548043" y="1079"/>
                  </a:moveTo>
                  <a:lnTo>
                    <a:pt x="500367" y="5105"/>
                  </a:lnTo>
                  <a:lnTo>
                    <a:pt x="455841" y="16764"/>
                  </a:lnTo>
                  <a:lnTo>
                    <a:pt x="414616" y="35369"/>
                  </a:lnTo>
                  <a:lnTo>
                    <a:pt x="377342" y="60236"/>
                  </a:lnTo>
                  <a:lnTo>
                    <a:pt x="344728"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80" y="49060"/>
                  </a:lnTo>
                  <a:lnTo>
                    <a:pt x="548043" y="1079"/>
                  </a:lnTo>
                  <a:close/>
                </a:path>
                <a:path w="548640" h="786764">
                  <a:moveTo>
                    <a:pt x="548081" y="520192"/>
                  </a:moveTo>
                  <a:lnTo>
                    <a:pt x="500367" y="524205"/>
                  </a:lnTo>
                  <a:lnTo>
                    <a:pt x="455841" y="535863"/>
                  </a:lnTo>
                  <a:lnTo>
                    <a:pt x="414616" y="554456"/>
                  </a:lnTo>
                  <a:lnTo>
                    <a:pt x="377342" y="579335"/>
                  </a:lnTo>
                  <a:lnTo>
                    <a:pt x="344728" y="609790"/>
                  </a:lnTo>
                  <a:lnTo>
                    <a:pt x="317398" y="645172"/>
                  </a:lnTo>
                  <a:lnTo>
                    <a:pt x="296075" y="684784"/>
                  </a:lnTo>
                  <a:lnTo>
                    <a:pt x="281419" y="727976"/>
                  </a:lnTo>
                  <a:lnTo>
                    <a:pt x="274078" y="774039"/>
                  </a:lnTo>
                  <a:lnTo>
                    <a:pt x="266915" y="727811"/>
                  </a:lnTo>
                  <a:lnTo>
                    <a:pt x="252361" y="684441"/>
                  </a:lnTo>
                  <a:lnTo>
                    <a:pt x="231089" y="644652"/>
                  </a:lnTo>
                  <a:lnTo>
                    <a:pt x="203796" y="609117"/>
                  </a:lnTo>
                  <a:lnTo>
                    <a:pt x="171157" y="578510"/>
                  </a:lnTo>
                  <a:lnTo>
                    <a:pt x="133845" y="553529"/>
                  </a:lnTo>
                  <a:lnTo>
                    <a:pt x="120967" y="547712"/>
                  </a:lnTo>
                  <a:lnTo>
                    <a:pt x="92532" y="534847"/>
                  </a:lnTo>
                  <a:lnTo>
                    <a:pt x="47917" y="523138"/>
                  </a:lnTo>
                  <a:lnTo>
                    <a:pt x="0" y="519061"/>
                  </a:lnTo>
                  <a:lnTo>
                    <a:pt x="5448" y="567245"/>
                  </a:lnTo>
                  <a:lnTo>
                    <a:pt x="18834" y="612508"/>
                  </a:lnTo>
                  <a:lnTo>
                    <a:pt x="39458" y="654138"/>
                  </a:lnTo>
                  <a:lnTo>
                    <a:pt x="66548" y="691388"/>
                  </a:lnTo>
                  <a:lnTo>
                    <a:pt x="67246" y="692073"/>
                  </a:lnTo>
                  <a:lnTo>
                    <a:pt x="99390" y="723544"/>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49275" y="723023"/>
                  </a:lnTo>
                  <a:lnTo>
                    <a:pt x="481266" y="691807"/>
                  </a:lnTo>
                  <a:lnTo>
                    <a:pt x="508393" y="654697"/>
                  </a:lnTo>
                  <a:lnTo>
                    <a:pt x="529043" y="613244"/>
                  </a:lnTo>
                  <a:lnTo>
                    <a:pt x="542518" y="568172"/>
                  </a:lnTo>
                  <a:lnTo>
                    <a:pt x="548081" y="520192"/>
                  </a:lnTo>
                  <a:close/>
                </a:path>
              </a:pathLst>
            </a:custGeom>
            <a:solidFill>
              <a:srgbClr val="7ED3F1"/>
            </a:solidFill>
          </p:spPr>
          <p:txBody>
            <a:bodyPr wrap="square" lIns="0" tIns="0" rIns="0" bIns="0" rtlCol="0"/>
            <a:lstStyle/>
            <a:p>
              <a:endParaRPr dirty="0"/>
            </a:p>
          </p:txBody>
        </p:sp>
        <p:pic>
          <p:nvPicPr>
            <p:cNvPr id="487" name="object 248">
              <a:extLst>
                <a:ext uri="{FF2B5EF4-FFF2-40B4-BE49-F238E27FC236}">
                  <a16:creationId xmlns:a16="http://schemas.microsoft.com/office/drawing/2014/main" id="{8E6A157C-5036-6B58-8FE9-CA6E9F0BEF7A}"/>
                </a:ext>
              </a:extLst>
            </p:cNvPr>
            <p:cNvPicPr/>
            <p:nvPr/>
          </p:nvPicPr>
          <p:blipFill>
            <a:blip r:embed="rId6" cstate="print"/>
            <a:stretch>
              <a:fillRect/>
            </a:stretch>
          </p:blipFill>
          <p:spPr>
            <a:xfrm>
              <a:off x="7711331" y="1372599"/>
              <a:ext cx="106445" cy="107156"/>
            </a:xfrm>
            <a:prstGeom prst="rect">
              <a:avLst/>
            </a:prstGeom>
          </p:spPr>
        </p:pic>
        <p:sp>
          <p:nvSpPr>
            <p:cNvPr id="488" name="object 249">
              <a:extLst>
                <a:ext uri="{FF2B5EF4-FFF2-40B4-BE49-F238E27FC236}">
                  <a16:creationId xmlns:a16="http://schemas.microsoft.com/office/drawing/2014/main" id="{3D8ED397-59EB-0787-81DB-DE8A12F69AFB}"/>
                </a:ext>
              </a:extLst>
            </p:cNvPr>
            <p:cNvSpPr/>
            <p:nvPr/>
          </p:nvSpPr>
          <p:spPr>
            <a:xfrm>
              <a:off x="7598678" y="3421088"/>
              <a:ext cx="332700" cy="477101"/>
            </a:xfrm>
            <a:custGeom>
              <a:avLst/>
              <a:gdLst/>
              <a:ahLst/>
              <a:cxnLst/>
              <a:rect l="l" t="t" r="r" b="b"/>
              <a:pathLst>
                <a:path w="548640" h="786764">
                  <a:moveTo>
                    <a:pt x="548043" y="266611"/>
                  </a:moveTo>
                  <a:lnTo>
                    <a:pt x="500367" y="270637"/>
                  </a:lnTo>
                  <a:lnTo>
                    <a:pt x="455841" y="282295"/>
                  </a:lnTo>
                  <a:lnTo>
                    <a:pt x="414616" y="300901"/>
                  </a:lnTo>
                  <a:lnTo>
                    <a:pt x="377342" y="325767"/>
                  </a:lnTo>
                  <a:lnTo>
                    <a:pt x="344728" y="356235"/>
                  </a:lnTo>
                  <a:lnTo>
                    <a:pt x="317411" y="391617"/>
                  </a:lnTo>
                  <a:lnTo>
                    <a:pt x="296087" y="431241"/>
                  </a:lnTo>
                  <a:lnTo>
                    <a:pt x="281419" y="474433"/>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55"/>
                  </a:lnTo>
                  <a:lnTo>
                    <a:pt x="481266" y="438251"/>
                  </a:lnTo>
                  <a:lnTo>
                    <a:pt x="508355" y="401142"/>
                  </a:lnTo>
                  <a:lnTo>
                    <a:pt x="529005" y="359689"/>
                  </a:lnTo>
                  <a:lnTo>
                    <a:pt x="542480" y="314591"/>
                  </a:lnTo>
                  <a:lnTo>
                    <a:pt x="548043" y="266611"/>
                  </a:lnTo>
                  <a:close/>
                </a:path>
                <a:path w="548640" h="786764">
                  <a:moveTo>
                    <a:pt x="548043" y="1079"/>
                  </a:moveTo>
                  <a:lnTo>
                    <a:pt x="500367" y="5118"/>
                  </a:lnTo>
                  <a:lnTo>
                    <a:pt x="455841" y="16764"/>
                  </a:lnTo>
                  <a:lnTo>
                    <a:pt x="414616" y="35369"/>
                  </a:lnTo>
                  <a:lnTo>
                    <a:pt x="377342" y="60236"/>
                  </a:lnTo>
                  <a:lnTo>
                    <a:pt x="344728" y="90703"/>
                  </a:lnTo>
                  <a:lnTo>
                    <a:pt x="317411" y="126085"/>
                  </a:lnTo>
                  <a:lnTo>
                    <a:pt x="296087" y="165709"/>
                  </a:lnTo>
                  <a:lnTo>
                    <a:pt x="281419" y="208915"/>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80" y="49072"/>
                  </a:lnTo>
                  <a:lnTo>
                    <a:pt x="548043" y="1079"/>
                  </a:lnTo>
                  <a:close/>
                </a:path>
                <a:path w="548640" h="786764">
                  <a:moveTo>
                    <a:pt x="548081" y="520192"/>
                  </a:moveTo>
                  <a:lnTo>
                    <a:pt x="500367" y="524217"/>
                  </a:lnTo>
                  <a:lnTo>
                    <a:pt x="455841" y="535863"/>
                  </a:lnTo>
                  <a:lnTo>
                    <a:pt x="427418" y="548690"/>
                  </a:lnTo>
                  <a:lnTo>
                    <a:pt x="414616" y="554469"/>
                  </a:lnTo>
                  <a:lnTo>
                    <a:pt x="377342" y="579335"/>
                  </a:lnTo>
                  <a:lnTo>
                    <a:pt x="344716" y="609790"/>
                  </a:lnTo>
                  <a:lnTo>
                    <a:pt x="317398" y="645172"/>
                  </a:lnTo>
                  <a:lnTo>
                    <a:pt x="296075" y="684784"/>
                  </a:lnTo>
                  <a:lnTo>
                    <a:pt x="281419" y="727976"/>
                  </a:lnTo>
                  <a:lnTo>
                    <a:pt x="274078" y="774039"/>
                  </a:lnTo>
                  <a:lnTo>
                    <a:pt x="268224" y="736295"/>
                  </a:lnTo>
                  <a:lnTo>
                    <a:pt x="266915" y="727811"/>
                  </a:lnTo>
                  <a:lnTo>
                    <a:pt x="252361" y="684441"/>
                  </a:lnTo>
                  <a:lnTo>
                    <a:pt x="231089" y="644652"/>
                  </a:lnTo>
                  <a:lnTo>
                    <a:pt x="203796" y="609117"/>
                  </a:lnTo>
                  <a:lnTo>
                    <a:pt x="171157" y="578510"/>
                  </a:lnTo>
                  <a:lnTo>
                    <a:pt x="133845" y="553529"/>
                  </a:lnTo>
                  <a:lnTo>
                    <a:pt x="92532" y="534847"/>
                  </a:lnTo>
                  <a:lnTo>
                    <a:pt x="47917" y="523138"/>
                  </a:lnTo>
                  <a:lnTo>
                    <a:pt x="0" y="519061"/>
                  </a:lnTo>
                  <a:lnTo>
                    <a:pt x="5448" y="567245"/>
                  </a:lnTo>
                  <a:lnTo>
                    <a:pt x="18834" y="612508"/>
                  </a:lnTo>
                  <a:lnTo>
                    <a:pt x="39458" y="654138"/>
                  </a:lnTo>
                  <a:lnTo>
                    <a:pt x="66548" y="691388"/>
                  </a:lnTo>
                  <a:lnTo>
                    <a:pt x="99402" y="723544"/>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81266" y="691819"/>
                  </a:lnTo>
                  <a:lnTo>
                    <a:pt x="508393" y="654697"/>
                  </a:lnTo>
                  <a:lnTo>
                    <a:pt x="529043" y="613244"/>
                  </a:lnTo>
                  <a:lnTo>
                    <a:pt x="542518" y="568172"/>
                  </a:lnTo>
                  <a:lnTo>
                    <a:pt x="548081" y="520192"/>
                  </a:lnTo>
                  <a:close/>
                </a:path>
              </a:pathLst>
            </a:custGeom>
            <a:solidFill>
              <a:srgbClr val="2DB7EA"/>
            </a:solidFill>
          </p:spPr>
          <p:txBody>
            <a:bodyPr wrap="square" lIns="0" tIns="0" rIns="0" bIns="0" rtlCol="0"/>
            <a:lstStyle/>
            <a:p>
              <a:endParaRPr dirty="0"/>
            </a:p>
          </p:txBody>
        </p:sp>
        <p:pic>
          <p:nvPicPr>
            <p:cNvPr id="489" name="object 250">
              <a:extLst>
                <a:ext uri="{FF2B5EF4-FFF2-40B4-BE49-F238E27FC236}">
                  <a16:creationId xmlns:a16="http://schemas.microsoft.com/office/drawing/2014/main" id="{D2E64203-B638-B9B2-65DE-5A55D440E837}"/>
                </a:ext>
              </a:extLst>
            </p:cNvPr>
            <p:cNvPicPr/>
            <p:nvPr/>
          </p:nvPicPr>
          <p:blipFill>
            <a:blip r:embed="rId5" cstate="print"/>
            <a:stretch>
              <a:fillRect/>
            </a:stretch>
          </p:blipFill>
          <p:spPr>
            <a:xfrm>
              <a:off x="7711331" y="3335097"/>
              <a:ext cx="106445" cy="107156"/>
            </a:xfrm>
            <a:prstGeom prst="rect">
              <a:avLst/>
            </a:prstGeom>
          </p:spPr>
        </p:pic>
        <p:sp>
          <p:nvSpPr>
            <p:cNvPr id="490" name="object 251">
              <a:extLst>
                <a:ext uri="{FF2B5EF4-FFF2-40B4-BE49-F238E27FC236}">
                  <a16:creationId xmlns:a16="http://schemas.microsoft.com/office/drawing/2014/main" id="{5F1FD725-7046-8B4B-482F-EE9355418500}"/>
                </a:ext>
              </a:extLst>
            </p:cNvPr>
            <p:cNvSpPr/>
            <p:nvPr/>
          </p:nvSpPr>
          <p:spPr>
            <a:xfrm>
              <a:off x="7598678" y="2766918"/>
              <a:ext cx="332700" cy="477101"/>
            </a:xfrm>
            <a:custGeom>
              <a:avLst/>
              <a:gdLst/>
              <a:ahLst/>
              <a:cxnLst/>
              <a:rect l="l" t="t" r="r" b="b"/>
              <a:pathLst>
                <a:path w="548640" h="786764">
                  <a:moveTo>
                    <a:pt x="548043" y="266611"/>
                  </a:moveTo>
                  <a:lnTo>
                    <a:pt x="500367" y="270649"/>
                  </a:lnTo>
                  <a:lnTo>
                    <a:pt x="455841" y="282308"/>
                  </a:lnTo>
                  <a:lnTo>
                    <a:pt x="414616" y="300901"/>
                  </a:lnTo>
                  <a:lnTo>
                    <a:pt x="377342" y="325780"/>
                  </a:lnTo>
                  <a:lnTo>
                    <a:pt x="344728"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74" y="516039"/>
                  </a:lnTo>
                  <a:lnTo>
                    <a:pt x="225044" y="528459"/>
                  </a:lnTo>
                  <a:lnTo>
                    <a:pt x="273519" y="532841"/>
                  </a:lnTo>
                  <a:lnTo>
                    <a:pt x="274751" y="532841"/>
                  </a:lnTo>
                  <a:lnTo>
                    <a:pt x="323088" y="528485"/>
                  </a:lnTo>
                  <a:lnTo>
                    <a:pt x="368642" y="516115"/>
                  </a:lnTo>
                  <a:lnTo>
                    <a:pt x="410679" y="496468"/>
                  </a:lnTo>
                  <a:lnTo>
                    <a:pt x="448462" y="470268"/>
                  </a:lnTo>
                  <a:lnTo>
                    <a:pt x="481266" y="438264"/>
                  </a:lnTo>
                  <a:lnTo>
                    <a:pt x="508355" y="401154"/>
                  </a:lnTo>
                  <a:lnTo>
                    <a:pt x="529005" y="359689"/>
                  </a:lnTo>
                  <a:lnTo>
                    <a:pt x="542480" y="314604"/>
                  </a:lnTo>
                  <a:lnTo>
                    <a:pt x="548043" y="266611"/>
                  </a:lnTo>
                  <a:close/>
                </a:path>
                <a:path w="548640" h="786764">
                  <a:moveTo>
                    <a:pt x="548043" y="1079"/>
                  </a:moveTo>
                  <a:lnTo>
                    <a:pt x="500367" y="5118"/>
                  </a:lnTo>
                  <a:lnTo>
                    <a:pt x="455841" y="16776"/>
                  </a:lnTo>
                  <a:lnTo>
                    <a:pt x="414616" y="35369"/>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49"/>
                  </a:lnTo>
                  <a:lnTo>
                    <a:pt x="481266" y="172732"/>
                  </a:lnTo>
                  <a:lnTo>
                    <a:pt x="508355" y="135623"/>
                  </a:lnTo>
                  <a:lnTo>
                    <a:pt x="529005" y="94157"/>
                  </a:lnTo>
                  <a:lnTo>
                    <a:pt x="542480" y="49072"/>
                  </a:lnTo>
                  <a:lnTo>
                    <a:pt x="548043" y="1079"/>
                  </a:lnTo>
                  <a:close/>
                </a:path>
                <a:path w="548640" h="786764">
                  <a:moveTo>
                    <a:pt x="548081" y="520204"/>
                  </a:moveTo>
                  <a:lnTo>
                    <a:pt x="500367" y="524205"/>
                  </a:lnTo>
                  <a:lnTo>
                    <a:pt x="455841" y="535863"/>
                  </a:lnTo>
                  <a:lnTo>
                    <a:pt x="414616" y="554469"/>
                  </a:lnTo>
                  <a:lnTo>
                    <a:pt x="377342" y="579335"/>
                  </a:lnTo>
                  <a:lnTo>
                    <a:pt x="360464" y="595096"/>
                  </a:lnTo>
                  <a:lnTo>
                    <a:pt x="344728" y="609803"/>
                  </a:lnTo>
                  <a:lnTo>
                    <a:pt x="317398" y="645172"/>
                  </a:lnTo>
                  <a:lnTo>
                    <a:pt x="296075" y="684796"/>
                  </a:lnTo>
                  <a:lnTo>
                    <a:pt x="281419" y="727989"/>
                  </a:lnTo>
                  <a:lnTo>
                    <a:pt x="274078" y="774039"/>
                  </a:lnTo>
                  <a:lnTo>
                    <a:pt x="268224" y="736307"/>
                  </a:lnTo>
                  <a:lnTo>
                    <a:pt x="266915" y="727824"/>
                  </a:lnTo>
                  <a:lnTo>
                    <a:pt x="252361" y="684453"/>
                  </a:lnTo>
                  <a:lnTo>
                    <a:pt x="231089" y="644652"/>
                  </a:lnTo>
                  <a:lnTo>
                    <a:pt x="203796" y="609117"/>
                  </a:lnTo>
                  <a:lnTo>
                    <a:pt x="171157" y="578523"/>
                  </a:lnTo>
                  <a:lnTo>
                    <a:pt x="133845" y="553542"/>
                  </a:lnTo>
                  <a:lnTo>
                    <a:pt x="92532" y="534835"/>
                  </a:lnTo>
                  <a:lnTo>
                    <a:pt x="47904" y="523125"/>
                  </a:lnTo>
                  <a:lnTo>
                    <a:pt x="0" y="519074"/>
                  </a:lnTo>
                  <a:lnTo>
                    <a:pt x="5448" y="567258"/>
                  </a:lnTo>
                  <a:lnTo>
                    <a:pt x="9410" y="580644"/>
                  </a:lnTo>
                  <a:lnTo>
                    <a:pt x="18834" y="612508"/>
                  </a:lnTo>
                  <a:lnTo>
                    <a:pt x="39458" y="654151"/>
                  </a:lnTo>
                  <a:lnTo>
                    <a:pt x="66548" y="691400"/>
                  </a:lnTo>
                  <a:lnTo>
                    <a:pt x="98704" y="72288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7ED3F1"/>
            </a:solidFill>
          </p:spPr>
          <p:txBody>
            <a:bodyPr wrap="square" lIns="0" tIns="0" rIns="0" bIns="0" rtlCol="0"/>
            <a:lstStyle/>
            <a:p>
              <a:endParaRPr dirty="0"/>
            </a:p>
          </p:txBody>
        </p:sp>
        <p:pic>
          <p:nvPicPr>
            <p:cNvPr id="491" name="object 252">
              <a:extLst>
                <a:ext uri="{FF2B5EF4-FFF2-40B4-BE49-F238E27FC236}">
                  <a16:creationId xmlns:a16="http://schemas.microsoft.com/office/drawing/2014/main" id="{F5D0232E-A2F0-5720-C63E-82E6D2C9293B}"/>
                </a:ext>
              </a:extLst>
            </p:cNvPr>
            <p:cNvPicPr/>
            <p:nvPr/>
          </p:nvPicPr>
          <p:blipFill>
            <a:blip r:embed="rId6" cstate="print"/>
            <a:stretch>
              <a:fillRect/>
            </a:stretch>
          </p:blipFill>
          <p:spPr>
            <a:xfrm>
              <a:off x="7711331" y="2680931"/>
              <a:ext cx="106445" cy="107156"/>
            </a:xfrm>
            <a:prstGeom prst="rect">
              <a:avLst/>
            </a:prstGeom>
          </p:spPr>
        </p:pic>
        <p:sp>
          <p:nvSpPr>
            <p:cNvPr id="492" name="object 253">
              <a:extLst>
                <a:ext uri="{FF2B5EF4-FFF2-40B4-BE49-F238E27FC236}">
                  <a16:creationId xmlns:a16="http://schemas.microsoft.com/office/drawing/2014/main" id="{CB51AF61-C4C4-26D4-A378-B8972FE5157A}"/>
                </a:ext>
              </a:extLst>
            </p:cNvPr>
            <p:cNvSpPr/>
            <p:nvPr/>
          </p:nvSpPr>
          <p:spPr>
            <a:xfrm>
              <a:off x="7598678" y="4729423"/>
              <a:ext cx="332700" cy="477101"/>
            </a:xfrm>
            <a:custGeom>
              <a:avLst/>
              <a:gdLst/>
              <a:ahLst/>
              <a:cxnLst/>
              <a:rect l="l" t="t" r="r" b="b"/>
              <a:pathLst>
                <a:path w="548640" h="786765">
                  <a:moveTo>
                    <a:pt x="548043" y="266611"/>
                  </a:moveTo>
                  <a:lnTo>
                    <a:pt x="500367" y="270649"/>
                  </a:lnTo>
                  <a:lnTo>
                    <a:pt x="455841" y="282308"/>
                  </a:lnTo>
                  <a:lnTo>
                    <a:pt x="414616" y="300901"/>
                  </a:lnTo>
                  <a:lnTo>
                    <a:pt x="377342" y="325767"/>
                  </a:lnTo>
                  <a:lnTo>
                    <a:pt x="344728" y="356235"/>
                  </a:lnTo>
                  <a:lnTo>
                    <a:pt x="317411" y="391617"/>
                  </a:lnTo>
                  <a:lnTo>
                    <a:pt x="296087" y="431241"/>
                  </a:lnTo>
                  <a:lnTo>
                    <a:pt x="281419" y="474433"/>
                  </a:lnTo>
                  <a:lnTo>
                    <a:pt x="274091" y="520522"/>
                  </a:lnTo>
                  <a:lnTo>
                    <a:pt x="266915" y="474243"/>
                  </a:lnTo>
                  <a:lnTo>
                    <a:pt x="252361" y="430872"/>
                  </a:lnTo>
                  <a:lnTo>
                    <a:pt x="231089" y="391083"/>
                  </a:lnTo>
                  <a:lnTo>
                    <a:pt x="203796" y="355549"/>
                  </a:lnTo>
                  <a:lnTo>
                    <a:pt x="171157" y="324954"/>
                  </a:lnTo>
                  <a:lnTo>
                    <a:pt x="133845" y="299974"/>
                  </a:lnTo>
                  <a:lnTo>
                    <a:pt x="92532" y="281292"/>
                  </a:lnTo>
                  <a:lnTo>
                    <a:pt x="47917" y="269582"/>
                  </a:lnTo>
                  <a:lnTo>
                    <a:pt x="0" y="265518"/>
                  </a:lnTo>
                  <a:lnTo>
                    <a:pt x="5448" y="313690"/>
                  </a:lnTo>
                  <a:lnTo>
                    <a:pt x="18846" y="358952"/>
                  </a:lnTo>
                  <a:lnTo>
                    <a:pt x="39458" y="400570"/>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54"/>
                  </a:lnTo>
                  <a:lnTo>
                    <a:pt x="529005" y="359689"/>
                  </a:lnTo>
                  <a:lnTo>
                    <a:pt x="542480" y="314604"/>
                  </a:lnTo>
                  <a:lnTo>
                    <a:pt x="548043" y="266611"/>
                  </a:lnTo>
                  <a:close/>
                </a:path>
                <a:path w="548640" h="786765">
                  <a:moveTo>
                    <a:pt x="548043" y="1079"/>
                  </a:moveTo>
                  <a:lnTo>
                    <a:pt x="500367" y="5105"/>
                  </a:lnTo>
                  <a:lnTo>
                    <a:pt x="455841" y="16764"/>
                  </a:lnTo>
                  <a:lnTo>
                    <a:pt x="414616" y="35369"/>
                  </a:lnTo>
                  <a:lnTo>
                    <a:pt x="377342" y="60236"/>
                  </a:lnTo>
                  <a:lnTo>
                    <a:pt x="344728"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39"/>
                  </a:lnTo>
                  <a:lnTo>
                    <a:pt x="66560" y="172300"/>
                  </a:lnTo>
                  <a:lnTo>
                    <a:pt x="99402" y="204444"/>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24"/>
                  </a:lnTo>
                  <a:lnTo>
                    <a:pt x="481266" y="172720"/>
                  </a:lnTo>
                  <a:lnTo>
                    <a:pt x="508355" y="135610"/>
                  </a:lnTo>
                  <a:lnTo>
                    <a:pt x="529005" y="94157"/>
                  </a:lnTo>
                  <a:lnTo>
                    <a:pt x="542480" y="49060"/>
                  </a:lnTo>
                  <a:lnTo>
                    <a:pt x="548043" y="1079"/>
                  </a:lnTo>
                  <a:close/>
                </a:path>
                <a:path w="548640" h="786765">
                  <a:moveTo>
                    <a:pt x="548081" y="520192"/>
                  </a:moveTo>
                  <a:lnTo>
                    <a:pt x="500367" y="524205"/>
                  </a:lnTo>
                  <a:lnTo>
                    <a:pt x="455841" y="535863"/>
                  </a:lnTo>
                  <a:lnTo>
                    <a:pt x="427418" y="548690"/>
                  </a:lnTo>
                  <a:lnTo>
                    <a:pt x="414616" y="554469"/>
                  </a:lnTo>
                  <a:lnTo>
                    <a:pt x="377342" y="579335"/>
                  </a:lnTo>
                  <a:lnTo>
                    <a:pt x="344716" y="609790"/>
                  </a:lnTo>
                  <a:lnTo>
                    <a:pt x="317398" y="645160"/>
                  </a:lnTo>
                  <a:lnTo>
                    <a:pt x="296075" y="684784"/>
                  </a:lnTo>
                  <a:lnTo>
                    <a:pt x="281419" y="727976"/>
                  </a:lnTo>
                  <a:lnTo>
                    <a:pt x="274078" y="774039"/>
                  </a:lnTo>
                  <a:lnTo>
                    <a:pt x="268020" y="734974"/>
                  </a:lnTo>
                  <a:lnTo>
                    <a:pt x="266915" y="727811"/>
                  </a:lnTo>
                  <a:lnTo>
                    <a:pt x="252361" y="684441"/>
                  </a:lnTo>
                  <a:lnTo>
                    <a:pt x="231089" y="644639"/>
                  </a:lnTo>
                  <a:lnTo>
                    <a:pt x="203796" y="609104"/>
                  </a:lnTo>
                  <a:lnTo>
                    <a:pt x="171157" y="578510"/>
                  </a:lnTo>
                  <a:lnTo>
                    <a:pt x="133845" y="553529"/>
                  </a:lnTo>
                  <a:lnTo>
                    <a:pt x="92532" y="534847"/>
                  </a:lnTo>
                  <a:lnTo>
                    <a:pt x="47904" y="523113"/>
                  </a:lnTo>
                  <a:lnTo>
                    <a:pt x="0" y="519061"/>
                  </a:lnTo>
                  <a:lnTo>
                    <a:pt x="5448" y="567245"/>
                  </a:lnTo>
                  <a:lnTo>
                    <a:pt x="8496" y="577583"/>
                  </a:lnTo>
                  <a:lnTo>
                    <a:pt x="18834" y="612508"/>
                  </a:lnTo>
                  <a:lnTo>
                    <a:pt x="32626" y="640346"/>
                  </a:lnTo>
                  <a:lnTo>
                    <a:pt x="39458" y="654138"/>
                  </a:lnTo>
                  <a:lnTo>
                    <a:pt x="66548" y="691388"/>
                  </a:lnTo>
                  <a:lnTo>
                    <a:pt x="98704" y="722871"/>
                  </a:lnTo>
                  <a:lnTo>
                    <a:pt x="137248" y="749858"/>
                  </a:lnTo>
                  <a:lnTo>
                    <a:pt x="179374" y="769581"/>
                  </a:lnTo>
                  <a:lnTo>
                    <a:pt x="225044" y="782015"/>
                  </a:lnTo>
                  <a:lnTo>
                    <a:pt x="273519" y="786384"/>
                  </a:lnTo>
                  <a:lnTo>
                    <a:pt x="274751" y="786384"/>
                  </a:lnTo>
                  <a:lnTo>
                    <a:pt x="323088" y="782027"/>
                  </a:lnTo>
                  <a:lnTo>
                    <a:pt x="368642" y="769670"/>
                  </a:lnTo>
                  <a:lnTo>
                    <a:pt x="410679" y="750023"/>
                  </a:lnTo>
                  <a:lnTo>
                    <a:pt x="448462" y="723823"/>
                  </a:lnTo>
                  <a:lnTo>
                    <a:pt x="449275" y="723023"/>
                  </a:lnTo>
                  <a:lnTo>
                    <a:pt x="481266" y="691807"/>
                  </a:lnTo>
                  <a:lnTo>
                    <a:pt x="508393" y="654697"/>
                  </a:lnTo>
                  <a:lnTo>
                    <a:pt x="529043" y="613244"/>
                  </a:lnTo>
                  <a:lnTo>
                    <a:pt x="542518" y="568172"/>
                  </a:lnTo>
                  <a:lnTo>
                    <a:pt x="548081" y="520192"/>
                  </a:lnTo>
                  <a:close/>
                </a:path>
              </a:pathLst>
            </a:custGeom>
            <a:solidFill>
              <a:srgbClr val="2DB7EA"/>
            </a:solidFill>
          </p:spPr>
          <p:txBody>
            <a:bodyPr wrap="square" lIns="0" tIns="0" rIns="0" bIns="0" rtlCol="0"/>
            <a:lstStyle/>
            <a:p>
              <a:endParaRPr dirty="0"/>
            </a:p>
          </p:txBody>
        </p:sp>
        <p:pic>
          <p:nvPicPr>
            <p:cNvPr id="493" name="object 254">
              <a:extLst>
                <a:ext uri="{FF2B5EF4-FFF2-40B4-BE49-F238E27FC236}">
                  <a16:creationId xmlns:a16="http://schemas.microsoft.com/office/drawing/2014/main" id="{9EEB34A1-621C-033C-CB92-903CB28BB33C}"/>
                </a:ext>
              </a:extLst>
            </p:cNvPr>
            <p:cNvPicPr/>
            <p:nvPr/>
          </p:nvPicPr>
          <p:blipFill>
            <a:blip r:embed="rId5" cstate="print"/>
            <a:stretch>
              <a:fillRect/>
            </a:stretch>
          </p:blipFill>
          <p:spPr>
            <a:xfrm>
              <a:off x="7711331" y="4643430"/>
              <a:ext cx="106445" cy="107156"/>
            </a:xfrm>
            <a:prstGeom prst="rect">
              <a:avLst/>
            </a:prstGeom>
          </p:spPr>
        </p:pic>
        <p:sp>
          <p:nvSpPr>
            <p:cNvPr id="494" name="object 255">
              <a:extLst>
                <a:ext uri="{FF2B5EF4-FFF2-40B4-BE49-F238E27FC236}">
                  <a16:creationId xmlns:a16="http://schemas.microsoft.com/office/drawing/2014/main" id="{2DF5567F-A2A8-0322-4236-167CCA017096}"/>
                </a:ext>
              </a:extLst>
            </p:cNvPr>
            <p:cNvSpPr/>
            <p:nvPr/>
          </p:nvSpPr>
          <p:spPr>
            <a:xfrm>
              <a:off x="7598678" y="4075252"/>
              <a:ext cx="332700" cy="477101"/>
            </a:xfrm>
            <a:custGeom>
              <a:avLst/>
              <a:gdLst/>
              <a:ahLst/>
              <a:cxnLst/>
              <a:rect l="l" t="t" r="r" b="b"/>
              <a:pathLst>
                <a:path w="548640" h="786765">
                  <a:moveTo>
                    <a:pt x="548043" y="266623"/>
                  </a:moveTo>
                  <a:lnTo>
                    <a:pt x="500367" y="270662"/>
                  </a:lnTo>
                  <a:lnTo>
                    <a:pt x="455841" y="282308"/>
                  </a:lnTo>
                  <a:lnTo>
                    <a:pt x="414616" y="300913"/>
                  </a:lnTo>
                  <a:lnTo>
                    <a:pt x="377342" y="325780"/>
                  </a:lnTo>
                  <a:lnTo>
                    <a:pt x="344728"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39"/>
                  </a:lnTo>
                  <a:lnTo>
                    <a:pt x="225044" y="528459"/>
                  </a:lnTo>
                  <a:lnTo>
                    <a:pt x="273519" y="532828"/>
                  </a:lnTo>
                  <a:lnTo>
                    <a:pt x="274751" y="532828"/>
                  </a:lnTo>
                  <a:lnTo>
                    <a:pt x="323088" y="528472"/>
                  </a:lnTo>
                  <a:lnTo>
                    <a:pt x="368642" y="516115"/>
                  </a:lnTo>
                  <a:lnTo>
                    <a:pt x="410679" y="496468"/>
                  </a:lnTo>
                  <a:lnTo>
                    <a:pt x="448462" y="470268"/>
                  </a:lnTo>
                  <a:lnTo>
                    <a:pt x="481266" y="438264"/>
                  </a:lnTo>
                  <a:lnTo>
                    <a:pt x="508355" y="401154"/>
                  </a:lnTo>
                  <a:lnTo>
                    <a:pt x="529005" y="359702"/>
                  </a:lnTo>
                  <a:lnTo>
                    <a:pt x="542480" y="314604"/>
                  </a:lnTo>
                  <a:lnTo>
                    <a:pt x="548043" y="266623"/>
                  </a:lnTo>
                  <a:close/>
                </a:path>
                <a:path w="548640" h="786765">
                  <a:moveTo>
                    <a:pt x="548043" y="1092"/>
                  </a:moveTo>
                  <a:lnTo>
                    <a:pt x="500367" y="5130"/>
                  </a:lnTo>
                  <a:lnTo>
                    <a:pt x="455841" y="16776"/>
                  </a:lnTo>
                  <a:lnTo>
                    <a:pt x="414616" y="35382"/>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60"/>
                  </a:lnTo>
                  <a:lnTo>
                    <a:pt x="47917" y="4051"/>
                  </a:lnTo>
                  <a:lnTo>
                    <a:pt x="0" y="0"/>
                  </a:lnTo>
                  <a:lnTo>
                    <a:pt x="5448" y="48158"/>
                  </a:lnTo>
                  <a:lnTo>
                    <a:pt x="18846" y="93421"/>
                  </a:lnTo>
                  <a:lnTo>
                    <a:pt x="39458" y="135051"/>
                  </a:lnTo>
                  <a:lnTo>
                    <a:pt x="66560" y="172300"/>
                  </a:lnTo>
                  <a:lnTo>
                    <a:pt x="99402" y="204457"/>
                  </a:lnTo>
                  <a:lnTo>
                    <a:pt x="137248" y="230771"/>
                  </a:lnTo>
                  <a:lnTo>
                    <a:pt x="179374" y="250494"/>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70"/>
                  </a:lnTo>
                  <a:lnTo>
                    <a:pt x="542480" y="49072"/>
                  </a:lnTo>
                  <a:lnTo>
                    <a:pt x="548043" y="1092"/>
                  </a:lnTo>
                  <a:close/>
                </a:path>
                <a:path w="548640" h="786765">
                  <a:moveTo>
                    <a:pt x="548081" y="520204"/>
                  </a:moveTo>
                  <a:lnTo>
                    <a:pt x="500367" y="524217"/>
                  </a:lnTo>
                  <a:lnTo>
                    <a:pt x="455841" y="535876"/>
                  </a:lnTo>
                  <a:lnTo>
                    <a:pt x="414616" y="554469"/>
                  </a:lnTo>
                  <a:lnTo>
                    <a:pt x="377342" y="579335"/>
                  </a:lnTo>
                  <a:lnTo>
                    <a:pt x="344728" y="609803"/>
                  </a:lnTo>
                  <a:lnTo>
                    <a:pt x="317398" y="645172"/>
                  </a:lnTo>
                  <a:lnTo>
                    <a:pt x="296075" y="684796"/>
                  </a:lnTo>
                  <a:lnTo>
                    <a:pt x="281419" y="727976"/>
                  </a:lnTo>
                  <a:lnTo>
                    <a:pt x="274078" y="774039"/>
                  </a:lnTo>
                  <a:lnTo>
                    <a:pt x="268224" y="736307"/>
                  </a:lnTo>
                  <a:lnTo>
                    <a:pt x="266915" y="727824"/>
                  </a:lnTo>
                  <a:lnTo>
                    <a:pt x="252361" y="684441"/>
                  </a:lnTo>
                  <a:lnTo>
                    <a:pt x="231089" y="644652"/>
                  </a:lnTo>
                  <a:lnTo>
                    <a:pt x="203796" y="609117"/>
                  </a:lnTo>
                  <a:lnTo>
                    <a:pt x="171157" y="578523"/>
                  </a:lnTo>
                  <a:lnTo>
                    <a:pt x="133845" y="553542"/>
                  </a:lnTo>
                  <a:lnTo>
                    <a:pt x="92532" y="534835"/>
                  </a:lnTo>
                  <a:lnTo>
                    <a:pt x="47904" y="523125"/>
                  </a:lnTo>
                  <a:lnTo>
                    <a:pt x="0" y="519074"/>
                  </a:lnTo>
                  <a:lnTo>
                    <a:pt x="5448" y="567258"/>
                  </a:lnTo>
                  <a:lnTo>
                    <a:pt x="9410" y="580644"/>
                  </a:lnTo>
                  <a:lnTo>
                    <a:pt x="18834" y="612508"/>
                  </a:lnTo>
                  <a:lnTo>
                    <a:pt x="39458" y="654138"/>
                  </a:lnTo>
                  <a:lnTo>
                    <a:pt x="66548" y="691388"/>
                  </a:lnTo>
                  <a:lnTo>
                    <a:pt x="99402" y="723557"/>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7ED3F1"/>
            </a:solidFill>
          </p:spPr>
          <p:txBody>
            <a:bodyPr wrap="square" lIns="0" tIns="0" rIns="0" bIns="0" rtlCol="0"/>
            <a:lstStyle/>
            <a:p>
              <a:endParaRPr dirty="0"/>
            </a:p>
          </p:txBody>
        </p:sp>
        <p:pic>
          <p:nvPicPr>
            <p:cNvPr id="495" name="object 256">
              <a:extLst>
                <a:ext uri="{FF2B5EF4-FFF2-40B4-BE49-F238E27FC236}">
                  <a16:creationId xmlns:a16="http://schemas.microsoft.com/office/drawing/2014/main" id="{DBB1A8B9-0B46-B407-469E-4840588D764E}"/>
                </a:ext>
              </a:extLst>
            </p:cNvPr>
            <p:cNvPicPr/>
            <p:nvPr/>
          </p:nvPicPr>
          <p:blipFill>
            <a:blip r:embed="rId6" cstate="print"/>
            <a:stretch>
              <a:fillRect/>
            </a:stretch>
          </p:blipFill>
          <p:spPr>
            <a:xfrm>
              <a:off x="7711331" y="3989263"/>
              <a:ext cx="106445" cy="107156"/>
            </a:xfrm>
            <a:prstGeom prst="rect">
              <a:avLst/>
            </a:prstGeom>
          </p:spPr>
        </p:pic>
        <p:sp>
          <p:nvSpPr>
            <p:cNvPr id="496" name="object 257">
              <a:extLst>
                <a:ext uri="{FF2B5EF4-FFF2-40B4-BE49-F238E27FC236}">
                  <a16:creationId xmlns:a16="http://schemas.microsoft.com/office/drawing/2014/main" id="{9136EC5B-EB09-04E3-1ED2-58851C826D82}"/>
                </a:ext>
              </a:extLst>
            </p:cNvPr>
            <p:cNvSpPr/>
            <p:nvPr/>
          </p:nvSpPr>
          <p:spPr>
            <a:xfrm>
              <a:off x="7226300" y="3862863"/>
              <a:ext cx="319992" cy="477101"/>
            </a:xfrm>
            <a:custGeom>
              <a:avLst/>
              <a:gdLst/>
              <a:ahLst/>
              <a:cxnLst/>
              <a:rect l="l" t="t" r="r" b="b"/>
              <a:pathLst>
                <a:path w="527684" h="786765">
                  <a:moveTo>
                    <a:pt x="527126" y="786396"/>
                  </a:moveTo>
                  <a:lnTo>
                    <a:pt x="521677" y="738238"/>
                  </a:lnTo>
                  <a:lnTo>
                    <a:pt x="508279" y="692975"/>
                  </a:lnTo>
                  <a:lnTo>
                    <a:pt x="487667" y="651344"/>
                  </a:lnTo>
                  <a:lnTo>
                    <a:pt x="460578" y="614083"/>
                  </a:lnTo>
                  <a:lnTo>
                    <a:pt x="427736" y="581939"/>
                  </a:lnTo>
                  <a:lnTo>
                    <a:pt x="389877" y="555625"/>
                  </a:lnTo>
                  <a:lnTo>
                    <a:pt x="347751" y="535889"/>
                  </a:lnTo>
                  <a:lnTo>
                    <a:pt x="302082" y="523468"/>
                  </a:lnTo>
                  <a:lnTo>
                    <a:pt x="253606" y="519099"/>
                  </a:lnTo>
                  <a:lnTo>
                    <a:pt x="252387" y="519099"/>
                  </a:lnTo>
                  <a:lnTo>
                    <a:pt x="204038" y="523455"/>
                  </a:lnTo>
                  <a:lnTo>
                    <a:pt x="158483" y="535813"/>
                  </a:lnTo>
                  <a:lnTo>
                    <a:pt x="116446" y="555459"/>
                  </a:lnTo>
                  <a:lnTo>
                    <a:pt x="78663" y="581660"/>
                  </a:lnTo>
                  <a:lnTo>
                    <a:pt x="45859" y="613664"/>
                  </a:lnTo>
                  <a:lnTo>
                    <a:pt x="18770" y="650773"/>
                  </a:lnTo>
                  <a:lnTo>
                    <a:pt x="0" y="688467"/>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72"/>
                  </a:lnTo>
                  <a:lnTo>
                    <a:pt x="274777" y="621042"/>
                  </a:lnTo>
                  <a:lnTo>
                    <a:pt x="296037" y="660831"/>
                  </a:lnTo>
                  <a:lnTo>
                    <a:pt x="323329" y="696366"/>
                  </a:lnTo>
                  <a:lnTo>
                    <a:pt x="355968" y="726973"/>
                  </a:lnTo>
                  <a:lnTo>
                    <a:pt x="393293" y="751954"/>
                  </a:lnTo>
                  <a:lnTo>
                    <a:pt x="434594" y="770636"/>
                  </a:lnTo>
                  <a:lnTo>
                    <a:pt x="479209" y="782345"/>
                  </a:lnTo>
                  <a:lnTo>
                    <a:pt x="527126" y="786396"/>
                  </a:lnTo>
                  <a:close/>
                </a:path>
                <a:path w="527684" h="786765">
                  <a:moveTo>
                    <a:pt x="527126" y="520865"/>
                  </a:moveTo>
                  <a:lnTo>
                    <a:pt x="521677" y="472706"/>
                  </a:lnTo>
                  <a:lnTo>
                    <a:pt x="508279" y="427443"/>
                  </a:lnTo>
                  <a:lnTo>
                    <a:pt x="487667" y="385813"/>
                  </a:lnTo>
                  <a:lnTo>
                    <a:pt x="460578" y="348564"/>
                  </a:lnTo>
                  <a:lnTo>
                    <a:pt x="427736" y="316407"/>
                  </a:lnTo>
                  <a:lnTo>
                    <a:pt x="389877" y="290106"/>
                  </a:lnTo>
                  <a:lnTo>
                    <a:pt x="347751" y="270370"/>
                  </a:lnTo>
                  <a:lnTo>
                    <a:pt x="302082" y="257949"/>
                  </a:lnTo>
                  <a:lnTo>
                    <a:pt x="253606" y="253568"/>
                  </a:lnTo>
                  <a:lnTo>
                    <a:pt x="252387" y="253568"/>
                  </a:lnTo>
                  <a:lnTo>
                    <a:pt x="204038" y="257924"/>
                  </a:lnTo>
                  <a:lnTo>
                    <a:pt x="158483" y="270294"/>
                  </a:lnTo>
                  <a:lnTo>
                    <a:pt x="116446" y="289941"/>
                  </a:lnTo>
                  <a:lnTo>
                    <a:pt x="78663" y="316128"/>
                  </a:lnTo>
                  <a:lnTo>
                    <a:pt x="45859" y="348145"/>
                  </a:lnTo>
                  <a:lnTo>
                    <a:pt x="18770" y="385241"/>
                  </a:lnTo>
                  <a:lnTo>
                    <a:pt x="0" y="422935"/>
                  </a:lnTo>
                  <a:lnTo>
                    <a:pt x="0" y="518045"/>
                  </a:lnTo>
                  <a:lnTo>
                    <a:pt x="71285" y="504101"/>
                  </a:lnTo>
                  <a:lnTo>
                    <a:pt x="112522" y="485495"/>
                  </a:lnTo>
                  <a:lnTo>
                    <a:pt x="149783" y="460629"/>
                  </a:lnTo>
                  <a:lnTo>
                    <a:pt x="182410" y="430161"/>
                  </a:lnTo>
                  <a:lnTo>
                    <a:pt x="209715" y="394779"/>
                  </a:lnTo>
                  <a:lnTo>
                    <a:pt x="231038" y="355155"/>
                  </a:lnTo>
                  <a:lnTo>
                    <a:pt x="245706" y="311950"/>
                  </a:lnTo>
                  <a:lnTo>
                    <a:pt x="253034" y="265874"/>
                  </a:lnTo>
                  <a:lnTo>
                    <a:pt x="260210" y="312140"/>
                  </a:lnTo>
                  <a:lnTo>
                    <a:pt x="274777" y="355511"/>
                  </a:lnTo>
                  <a:lnTo>
                    <a:pt x="296037" y="395300"/>
                  </a:lnTo>
                  <a:lnTo>
                    <a:pt x="323329" y="430847"/>
                  </a:lnTo>
                  <a:lnTo>
                    <a:pt x="355968" y="461441"/>
                  </a:lnTo>
                  <a:lnTo>
                    <a:pt x="393293" y="486422"/>
                  </a:lnTo>
                  <a:lnTo>
                    <a:pt x="434594" y="505104"/>
                  </a:lnTo>
                  <a:lnTo>
                    <a:pt x="479209" y="516813"/>
                  </a:lnTo>
                  <a:lnTo>
                    <a:pt x="527126" y="520865"/>
                  </a:lnTo>
                  <a:close/>
                </a:path>
                <a:path w="527684" h="786765">
                  <a:moveTo>
                    <a:pt x="527138" y="267322"/>
                  </a:moveTo>
                  <a:lnTo>
                    <a:pt x="521690" y="219151"/>
                  </a:lnTo>
                  <a:lnTo>
                    <a:pt x="508292" y="173888"/>
                  </a:lnTo>
                  <a:lnTo>
                    <a:pt x="487680" y="132257"/>
                  </a:lnTo>
                  <a:lnTo>
                    <a:pt x="471982" y="110693"/>
                  </a:lnTo>
                  <a:lnTo>
                    <a:pt x="460578" y="95008"/>
                  </a:lnTo>
                  <a:lnTo>
                    <a:pt x="427736" y="62852"/>
                  </a:lnTo>
                  <a:lnTo>
                    <a:pt x="389890" y="36550"/>
                  </a:lnTo>
                  <a:lnTo>
                    <a:pt x="347751" y="16802"/>
                  </a:lnTo>
                  <a:lnTo>
                    <a:pt x="302082" y="4381"/>
                  </a:lnTo>
                  <a:lnTo>
                    <a:pt x="253606" y="0"/>
                  </a:lnTo>
                  <a:lnTo>
                    <a:pt x="252387" y="0"/>
                  </a:lnTo>
                  <a:lnTo>
                    <a:pt x="204038" y="4356"/>
                  </a:lnTo>
                  <a:lnTo>
                    <a:pt x="158483" y="16725"/>
                  </a:lnTo>
                  <a:lnTo>
                    <a:pt x="116446" y="36372"/>
                  </a:lnTo>
                  <a:lnTo>
                    <a:pt x="78663" y="62560"/>
                  </a:lnTo>
                  <a:lnTo>
                    <a:pt x="45859" y="94576"/>
                  </a:lnTo>
                  <a:lnTo>
                    <a:pt x="18745" y="131686"/>
                  </a:lnTo>
                  <a:lnTo>
                    <a:pt x="0" y="169303"/>
                  </a:lnTo>
                  <a:lnTo>
                    <a:pt x="0" y="264452"/>
                  </a:lnTo>
                  <a:lnTo>
                    <a:pt x="26758" y="262178"/>
                  </a:lnTo>
                  <a:lnTo>
                    <a:pt x="71285" y="250520"/>
                  </a:lnTo>
                  <a:lnTo>
                    <a:pt x="112522" y="231927"/>
                  </a:lnTo>
                  <a:lnTo>
                    <a:pt x="149783" y="207060"/>
                  </a:lnTo>
                  <a:lnTo>
                    <a:pt x="182410" y="176593"/>
                  </a:lnTo>
                  <a:lnTo>
                    <a:pt x="209727" y="141224"/>
                  </a:lnTo>
                  <a:lnTo>
                    <a:pt x="231051" y="101600"/>
                  </a:lnTo>
                  <a:lnTo>
                    <a:pt x="245719" y="58420"/>
                  </a:lnTo>
                  <a:lnTo>
                    <a:pt x="253034" y="12369"/>
                  </a:lnTo>
                  <a:lnTo>
                    <a:pt x="260210" y="58572"/>
                  </a:lnTo>
                  <a:lnTo>
                    <a:pt x="274777" y="101955"/>
                  </a:lnTo>
                  <a:lnTo>
                    <a:pt x="296037" y="141744"/>
                  </a:lnTo>
                  <a:lnTo>
                    <a:pt x="323329" y="177279"/>
                  </a:lnTo>
                  <a:lnTo>
                    <a:pt x="355981" y="207886"/>
                  </a:lnTo>
                  <a:lnTo>
                    <a:pt x="393293" y="232867"/>
                  </a:lnTo>
                  <a:lnTo>
                    <a:pt x="434606" y="251561"/>
                  </a:lnTo>
                  <a:lnTo>
                    <a:pt x="479221" y="263271"/>
                  </a:lnTo>
                  <a:lnTo>
                    <a:pt x="527138" y="267322"/>
                  </a:lnTo>
                  <a:close/>
                </a:path>
              </a:pathLst>
            </a:custGeom>
            <a:solidFill>
              <a:srgbClr val="2DB7EA"/>
            </a:solidFill>
          </p:spPr>
          <p:txBody>
            <a:bodyPr wrap="square" lIns="0" tIns="0" rIns="0" bIns="0" rtlCol="0"/>
            <a:lstStyle/>
            <a:p>
              <a:endParaRPr dirty="0"/>
            </a:p>
          </p:txBody>
        </p:sp>
        <p:pic>
          <p:nvPicPr>
            <p:cNvPr id="497" name="object 258">
              <a:extLst>
                <a:ext uri="{FF2B5EF4-FFF2-40B4-BE49-F238E27FC236}">
                  <a16:creationId xmlns:a16="http://schemas.microsoft.com/office/drawing/2014/main" id="{4C4BCEB5-2E2E-9507-80C8-D7CE676BEA0F}"/>
                </a:ext>
              </a:extLst>
            </p:cNvPr>
            <p:cNvPicPr/>
            <p:nvPr/>
          </p:nvPicPr>
          <p:blipFill>
            <a:blip r:embed="rId16" cstate="print"/>
            <a:stretch>
              <a:fillRect/>
            </a:stretch>
          </p:blipFill>
          <p:spPr>
            <a:xfrm>
              <a:off x="7326865" y="4318566"/>
              <a:ext cx="106445" cy="107156"/>
            </a:xfrm>
            <a:prstGeom prst="rect">
              <a:avLst/>
            </a:prstGeom>
          </p:spPr>
        </p:pic>
        <p:sp>
          <p:nvSpPr>
            <p:cNvPr id="498" name="object 259">
              <a:extLst>
                <a:ext uri="{FF2B5EF4-FFF2-40B4-BE49-F238E27FC236}">
                  <a16:creationId xmlns:a16="http://schemas.microsoft.com/office/drawing/2014/main" id="{17C545A1-B261-F767-7C5B-6E1C5CCECFBA}"/>
                </a:ext>
              </a:extLst>
            </p:cNvPr>
            <p:cNvSpPr/>
            <p:nvPr/>
          </p:nvSpPr>
          <p:spPr>
            <a:xfrm>
              <a:off x="7226300" y="4517034"/>
              <a:ext cx="319992" cy="477101"/>
            </a:xfrm>
            <a:custGeom>
              <a:avLst/>
              <a:gdLst/>
              <a:ahLst/>
              <a:cxnLst/>
              <a:rect l="l" t="t" r="r" b="b"/>
              <a:pathLst>
                <a:path w="527684" h="786765">
                  <a:moveTo>
                    <a:pt x="527126" y="786384"/>
                  </a:moveTo>
                  <a:lnTo>
                    <a:pt x="521677" y="738225"/>
                  </a:lnTo>
                  <a:lnTo>
                    <a:pt x="508279" y="692962"/>
                  </a:lnTo>
                  <a:lnTo>
                    <a:pt x="487667" y="651332"/>
                  </a:lnTo>
                  <a:lnTo>
                    <a:pt x="460578" y="614083"/>
                  </a:lnTo>
                  <a:lnTo>
                    <a:pt x="427736" y="581926"/>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47"/>
                  </a:lnTo>
                  <a:lnTo>
                    <a:pt x="45859" y="613664"/>
                  </a:lnTo>
                  <a:lnTo>
                    <a:pt x="18770" y="650773"/>
                  </a:lnTo>
                  <a:lnTo>
                    <a:pt x="0" y="688454"/>
                  </a:lnTo>
                  <a:lnTo>
                    <a:pt x="0" y="783564"/>
                  </a:lnTo>
                  <a:lnTo>
                    <a:pt x="71285" y="769620"/>
                  </a:lnTo>
                  <a:lnTo>
                    <a:pt x="112522" y="751014"/>
                  </a:lnTo>
                  <a:lnTo>
                    <a:pt x="149783" y="726147"/>
                  </a:lnTo>
                  <a:lnTo>
                    <a:pt x="182410" y="695680"/>
                  </a:lnTo>
                  <a:lnTo>
                    <a:pt x="209715" y="660298"/>
                  </a:lnTo>
                  <a:lnTo>
                    <a:pt x="231038" y="620674"/>
                  </a:lnTo>
                  <a:lnTo>
                    <a:pt x="245706" y="577469"/>
                  </a:lnTo>
                  <a:lnTo>
                    <a:pt x="253034" y="531393"/>
                  </a:lnTo>
                  <a:lnTo>
                    <a:pt x="260210" y="577659"/>
                  </a:lnTo>
                  <a:lnTo>
                    <a:pt x="274777" y="621030"/>
                  </a:lnTo>
                  <a:lnTo>
                    <a:pt x="296037" y="660831"/>
                  </a:lnTo>
                  <a:lnTo>
                    <a:pt x="323329" y="696366"/>
                  </a:lnTo>
                  <a:lnTo>
                    <a:pt x="355968" y="726960"/>
                  </a:lnTo>
                  <a:lnTo>
                    <a:pt x="393293" y="751941"/>
                  </a:lnTo>
                  <a:lnTo>
                    <a:pt x="434594" y="770623"/>
                  </a:lnTo>
                  <a:lnTo>
                    <a:pt x="479209" y="782332"/>
                  </a:lnTo>
                  <a:lnTo>
                    <a:pt x="527126" y="786384"/>
                  </a:lnTo>
                  <a:close/>
                </a:path>
                <a:path w="527684" h="786765">
                  <a:moveTo>
                    <a:pt x="527126" y="520852"/>
                  </a:moveTo>
                  <a:lnTo>
                    <a:pt x="521677" y="472694"/>
                  </a:lnTo>
                  <a:lnTo>
                    <a:pt x="508279" y="427431"/>
                  </a:lnTo>
                  <a:lnTo>
                    <a:pt x="487667" y="385813"/>
                  </a:lnTo>
                  <a:lnTo>
                    <a:pt x="460578" y="348551"/>
                  </a:lnTo>
                  <a:lnTo>
                    <a:pt x="427736" y="316407"/>
                  </a:lnTo>
                  <a:lnTo>
                    <a:pt x="389877" y="290093"/>
                  </a:lnTo>
                  <a:lnTo>
                    <a:pt x="347751" y="270357"/>
                  </a:lnTo>
                  <a:lnTo>
                    <a:pt x="302082" y="257937"/>
                  </a:lnTo>
                  <a:lnTo>
                    <a:pt x="253606" y="253555"/>
                  </a:lnTo>
                  <a:lnTo>
                    <a:pt x="252387" y="253555"/>
                  </a:lnTo>
                  <a:lnTo>
                    <a:pt x="204038" y="257911"/>
                  </a:lnTo>
                  <a:lnTo>
                    <a:pt x="158483" y="270281"/>
                  </a:lnTo>
                  <a:lnTo>
                    <a:pt x="116446" y="289928"/>
                  </a:lnTo>
                  <a:lnTo>
                    <a:pt x="78663" y="316128"/>
                  </a:lnTo>
                  <a:lnTo>
                    <a:pt x="45859" y="348132"/>
                  </a:lnTo>
                  <a:lnTo>
                    <a:pt x="18770" y="385241"/>
                  </a:lnTo>
                  <a:lnTo>
                    <a:pt x="0" y="422922"/>
                  </a:lnTo>
                  <a:lnTo>
                    <a:pt x="0" y="518020"/>
                  </a:lnTo>
                  <a:lnTo>
                    <a:pt x="71285" y="504075"/>
                  </a:lnTo>
                  <a:lnTo>
                    <a:pt x="112522" y="485482"/>
                  </a:lnTo>
                  <a:lnTo>
                    <a:pt x="149783" y="460616"/>
                  </a:lnTo>
                  <a:lnTo>
                    <a:pt x="182410" y="430149"/>
                  </a:lnTo>
                  <a:lnTo>
                    <a:pt x="209715" y="394766"/>
                  </a:lnTo>
                  <a:lnTo>
                    <a:pt x="231038" y="355142"/>
                  </a:lnTo>
                  <a:lnTo>
                    <a:pt x="245706" y="311950"/>
                  </a:lnTo>
                  <a:lnTo>
                    <a:pt x="253034" y="265861"/>
                  </a:lnTo>
                  <a:lnTo>
                    <a:pt x="260210" y="312127"/>
                  </a:lnTo>
                  <a:lnTo>
                    <a:pt x="274777" y="355511"/>
                  </a:lnTo>
                  <a:lnTo>
                    <a:pt x="296037" y="395300"/>
                  </a:lnTo>
                  <a:lnTo>
                    <a:pt x="323329" y="430834"/>
                  </a:lnTo>
                  <a:lnTo>
                    <a:pt x="355968" y="461429"/>
                  </a:lnTo>
                  <a:lnTo>
                    <a:pt x="393293" y="486410"/>
                  </a:lnTo>
                  <a:lnTo>
                    <a:pt x="434594" y="505091"/>
                  </a:lnTo>
                  <a:lnTo>
                    <a:pt x="479209" y="516801"/>
                  </a:lnTo>
                  <a:lnTo>
                    <a:pt x="527126" y="520852"/>
                  </a:lnTo>
                  <a:close/>
                </a:path>
                <a:path w="527684" h="786765">
                  <a:moveTo>
                    <a:pt x="527138" y="267322"/>
                  </a:moveTo>
                  <a:lnTo>
                    <a:pt x="521690" y="219151"/>
                  </a:lnTo>
                  <a:lnTo>
                    <a:pt x="508292" y="173875"/>
                  </a:lnTo>
                  <a:lnTo>
                    <a:pt x="487680" y="132245"/>
                  </a:lnTo>
                  <a:lnTo>
                    <a:pt x="460578" y="94996"/>
                  </a:lnTo>
                  <a:lnTo>
                    <a:pt x="427736" y="62852"/>
                  </a:lnTo>
                  <a:lnTo>
                    <a:pt x="405396" y="47332"/>
                  </a:lnTo>
                  <a:lnTo>
                    <a:pt x="389890" y="36537"/>
                  </a:lnTo>
                  <a:lnTo>
                    <a:pt x="370154" y="27305"/>
                  </a:lnTo>
                  <a:lnTo>
                    <a:pt x="347764" y="16814"/>
                  </a:lnTo>
                  <a:lnTo>
                    <a:pt x="302082" y="4368"/>
                  </a:lnTo>
                  <a:lnTo>
                    <a:pt x="253606" y="0"/>
                  </a:lnTo>
                  <a:lnTo>
                    <a:pt x="252387" y="0"/>
                  </a:lnTo>
                  <a:lnTo>
                    <a:pt x="204038" y="4356"/>
                  </a:lnTo>
                  <a:lnTo>
                    <a:pt x="158483" y="16725"/>
                  </a:lnTo>
                  <a:lnTo>
                    <a:pt x="116446" y="36372"/>
                  </a:lnTo>
                  <a:lnTo>
                    <a:pt x="78663" y="62560"/>
                  </a:lnTo>
                  <a:lnTo>
                    <a:pt x="45859" y="94576"/>
                  </a:lnTo>
                  <a:lnTo>
                    <a:pt x="18745" y="131686"/>
                  </a:lnTo>
                  <a:lnTo>
                    <a:pt x="0" y="169291"/>
                  </a:lnTo>
                  <a:lnTo>
                    <a:pt x="0" y="264439"/>
                  </a:lnTo>
                  <a:lnTo>
                    <a:pt x="26758" y="262166"/>
                  </a:lnTo>
                  <a:lnTo>
                    <a:pt x="71285" y="250520"/>
                  </a:lnTo>
                  <a:lnTo>
                    <a:pt x="112522" y="231914"/>
                  </a:lnTo>
                  <a:lnTo>
                    <a:pt x="149783" y="207048"/>
                  </a:lnTo>
                  <a:lnTo>
                    <a:pt x="182410" y="176593"/>
                  </a:lnTo>
                  <a:lnTo>
                    <a:pt x="209727" y="141211"/>
                  </a:lnTo>
                  <a:lnTo>
                    <a:pt x="231051" y="101600"/>
                  </a:lnTo>
                  <a:lnTo>
                    <a:pt x="245719" y="58407"/>
                  </a:lnTo>
                  <a:lnTo>
                    <a:pt x="253034" y="12357"/>
                  </a:lnTo>
                  <a:lnTo>
                    <a:pt x="260210" y="58572"/>
                  </a:lnTo>
                  <a:lnTo>
                    <a:pt x="274777" y="101942"/>
                  </a:lnTo>
                  <a:lnTo>
                    <a:pt x="296037" y="141732"/>
                  </a:lnTo>
                  <a:lnTo>
                    <a:pt x="323329" y="177279"/>
                  </a:lnTo>
                  <a:lnTo>
                    <a:pt x="355968" y="207873"/>
                  </a:lnTo>
                  <a:lnTo>
                    <a:pt x="393293" y="232867"/>
                  </a:lnTo>
                  <a:lnTo>
                    <a:pt x="434606" y="251548"/>
                  </a:lnTo>
                  <a:lnTo>
                    <a:pt x="479221" y="263271"/>
                  </a:lnTo>
                  <a:lnTo>
                    <a:pt x="527138" y="267322"/>
                  </a:lnTo>
                  <a:close/>
                </a:path>
              </a:pathLst>
            </a:custGeom>
            <a:solidFill>
              <a:srgbClr val="7ED3F1"/>
            </a:solidFill>
          </p:spPr>
          <p:txBody>
            <a:bodyPr wrap="square" lIns="0" tIns="0" rIns="0" bIns="0" rtlCol="0"/>
            <a:lstStyle/>
            <a:p>
              <a:endParaRPr dirty="0"/>
            </a:p>
          </p:txBody>
        </p:sp>
        <p:pic>
          <p:nvPicPr>
            <p:cNvPr id="499" name="object 260">
              <a:extLst>
                <a:ext uri="{FF2B5EF4-FFF2-40B4-BE49-F238E27FC236}">
                  <a16:creationId xmlns:a16="http://schemas.microsoft.com/office/drawing/2014/main" id="{10B0B877-C1FE-7EAE-F7D0-8C97B23B788E}"/>
                </a:ext>
              </a:extLst>
            </p:cNvPr>
            <p:cNvPicPr/>
            <p:nvPr/>
          </p:nvPicPr>
          <p:blipFill>
            <a:blip r:embed="rId17" cstate="print"/>
            <a:stretch>
              <a:fillRect/>
            </a:stretch>
          </p:blipFill>
          <p:spPr>
            <a:xfrm>
              <a:off x="7326865" y="4972731"/>
              <a:ext cx="106445" cy="107156"/>
            </a:xfrm>
            <a:prstGeom prst="rect">
              <a:avLst/>
            </a:prstGeom>
          </p:spPr>
        </p:pic>
        <p:sp>
          <p:nvSpPr>
            <p:cNvPr id="500" name="object 261">
              <a:extLst>
                <a:ext uri="{FF2B5EF4-FFF2-40B4-BE49-F238E27FC236}">
                  <a16:creationId xmlns:a16="http://schemas.microsoft.com/office/drawing/2014/main" id="{FD6BEE36-5A0C-6584-A320-DBFA13BAC107}"/>
                </a:ext>
              </a:extLst>
            </p:cNvPr>
            <p:cNvSpPr/>
            <p:nvPr/>
          </p:nvSpPr>
          <p:spPr>
            <a:xfrm>
              <a:off x="7226300" y="2554529"/>
              <a:ext cx="319992" cy="477101"/>
            </a:xfrm>
            <a:custGeom>
              <a:avLst/>
              <a:gdLst/>
              <a:ahLst/>
              <a:cxnLst/>
              <a:rect l="l" t="t" r="r" b="b"/>
              <a:pathLst>
                <a:path w="527684" h="786764">
                  <a:moveTo>
                    <a:pt x="527126" y="786396"/>
                  </a:moveTo>
                  <a:lnTo>
                    <a:pt x="521677" y="738238"/>
                  </a:lnTo>
                  <a:lnTo>
                    <a:pt x="508279" y="692975"/>
                  </a:lnTo>
                  <a:lnTo>
                    <a:pt x="487667" y="651344"/>
                  </a:lnTo>
                  <a:lnTo>
                    <a:pt x="460578" y="614095"/>
                  </a:lnTo>
                  <a:lnTo>
                    <a:pt x="427736" y="581939"/>
                  </a:lnTo>
                  <a:lnTo>
                    <a:pt x="389877" y="555625"/>
                  </a:lnTo>
                  <a:lnTo>
                    <a:pt x="347751" y="535901"/>
                  </a:lnTo>
                  <a:lnTo>
                    <a:pt x="302082" y="523468"/>
                  </a:lnTo>
                  <a:lnTo>
                    <a:pt x="253606" y="519099"/>
                  </a:lnTo>
                  <a:lnTo>
                    <a:pt x="252387" y="519099"/>
                  </a:lnTo>
                  <a:lnTo>
                    <a:pt x="204038" y="523455"/>
                  </a:lnTo>
                  <a:lnTo>
                    <a:pt x="158483" y="535825"/>
                  </a:lnTo>
                  <a:lnTo>
                    <a:pt x="116446" y="555459"/>
                  </a:lnTo>
                  <a:lnTo>
                    <a:pt x="78663" y="581660"/>
                  </a:lnTo>
                  <a:lnTo>
                    <a:pt x="45859" y="613676"/>
                  </a:lnTo>
                  <a:lnTo>
                    <a:pt x="18770" y="650773"/>
                  </a:lnTo>
                  <a:lnTo>
                    <a:pt x="0" y="688467"/>
                  </a:lnTo>
                  <a:lnTo>
                    <a:pt x="0" y="783577"/>
                  </a:lnTo>
                  <a:lnTo>
                    <a:pt x="71285" y="769632"/>
                  </a:lnTo>
                  <a:lnTo>
                    <a:pt x="112522" y="751027"/>
                  </a:lnTo>
                  <a:lnTo>
                    <a:pt x="149783" y="726160"/>
                  </a:lnTo>
                  <a:lnTo>
                    <a:pt x="182410" y="695693"/>
                  </a:lnTo>
                  <a:lnTo>
                    <a:pt x="209715" y="660311"/>
                  </a:lnTo>
                  <a:lnTo>
                    <a:pt x="231038" y="620687"/>
                  </a:lnTo>
                  <a:lnTo>
                    <a:pt x="245706" y="577481"/>
                  </a:lnTo>
                  <a:lnTo>
                    <a:pt x="253034" y="531406"/>
                  </a:lnTo>
                  <a:lnTo>
                    <a:pt x="260210" y="577672"/>
                  </a:lnTo>
                  <a:lnTo>
                    <a:pt x="274777" y="621042"/>
                  </a:lnTo>
                  <a:lnTo>
                    <a:pt x="296037" y="660844"/>
                  </a:lnTo>
                  <a:lnTo>
                    <a:pt x="323329" y="696379"/>
                  </a:lnTo>
                  <a:lnTo>
                    <a:pt x="355968" y="726973"/>
                  </a:lnTo>
                  <a:lnTo>
                    <a:pt x="393293" y="751954"/>
                  </a:lnTo>
                  <a:lnTo>
                    <a:pt x="434594" y="770636"/>
                  </a:lnTo>
                  <a:lnTo>
                    <a:pt x="479209" y="782345"/>
                  </a:lnTo>
                  <a:lnTo>
                    <a:pt x="527126" y="786396"/>
                  </a:lnTo>
                  <a:close/>
                </a:path>
                <a:path w="527684" h="786764">
                  <a:moveTo>
                    <a:pt x="527126" y="520865"/>
                  </a:moveTo>
                  <a:lnTo>
                    <a:pt x="521677" y="472706"/>
                  </a:lnTo>
                  <a:lnTo>
                    <a:pt x="508279" y="427443"/>
                  </a:lnTo>
                  <a:lnTo>
                    <a:pt x="487667" y="385813"/>
                  </a:lnTo>
                  <a:lnTo>
                    <a:pt x="460578" y="348564"/>
                  </a:lnTo>
                  <a:lnTo>
                    <a:pt x="427736" y="316407"/>
                  </a:lnTo>
                  <a:lnTo>
                    <a:pt x="389877" y="290106"/>
                  </a:lnTo>
                  <a:lnTo>
                    <a:pt x="347751" y="270370"/>
                  </a:lnTo>
                  <a:lnTo>
                    <a:pt x="302082" y="257949"/>
                  </a:lnTo>
                  <a:lnTo>
                    <a:pt x="253606" y="253568"/>
                  </a:lnTo>
                  <a:lnTo>
                    <a:pt x="252387" y="253568"/>
                  </a:lnTo>
                  <a:lnTo>
                    <a:pt x="204038" y="257924"/>
                  </a:lnTo>
                  <a:lnTo>
                    <a:pt x="158483" y="270294"/>
                  </a:lnTo>
                  <a:lnTo>
                    <a:pt x="116446" y="289941"/>
                  </a:lnTo>
                  <a:lnTo>
                    <a:pt x="78663" y="316128"/>
                  </a:lnTo>
                  <a:lnTo>
                    <a:pt x="45859" y="348145"/>
                  </a:lnTo>
                  <a:lnTo>
                    <a:pt x="18770" y="385254"/>
                  </a:lnTo>
                  <a:lnTo>
                    <a:pt x="0" y="422935"/>
                  </a:lnTo>
                  <a:lnTo>
                    <a:pt x="0" y="518045"/>
                  </a:lnTo>
                  <a:lnTo>
                    <a:pt x="71285" y="504101"/>
                  </a:lnTo>
                  <a:lnTo>
                    <a:pt x="112522" y="485495"/>
                  </a:lnTo>
                  <a:lnTo>
                    <a:pt x="149783" y="460629"/>
                  </a:lnTo>
                  <a:lnTo>
                    <a:pt x="182410" y="430161"/>
                  </a:lnTo>
                  <a:lnTo>
                    <a:pt x="209715" y="394779"/>
                  </a:lnTo>
                  <a:lnTo>
                    <a:pt x="231038" y="355155"/>
                  </a:lnTo>
                  <a:lnTo>
                    <a:pt x="245706" y="311962"/>
                  </a:lnTo>
                  <a:lnTo>
                    <a:pt x="253034" y="265874"/>
                  </a:lnTo>
                  <a:lnTo>
                    <a:pt x="260210" y="312140"/>
                  </a:lnTo>
                  <a:lnTo>
                    <a:pt x="274777" y="355511"/>
                  </a:lnTo>
                  <a:lnTo>
                    <a:pt x="296037" y="395312"/>
                  </a:lnTo>
                  <a:lnTo>
                    <a:pt x="323329" y="430847"/>
                  </a:lnTo>
                  <a:lnTo>
                    <a:pt x="355968" y="461441"/>
                  </a:lnTo>
                  <a:lnTo>
                    <a:pt x="393293" y="486422"/>
                  </a:lnTo>
                  <a:lnTo>
                    <a:pt x="434594" y="505104"/>
                  </a:lnTo>
                  <a:lnTo>
                    <a:pt x="479209" y="516813"/>
                  </a:lnTo>
                  <a:lnTo>
                    <a:pt x="527126" y="520865"/>
                  </a:lnTo>
                  <a:close/>
                </a:path>
                <a:path w="527684" h="786764">
                  <a:moveTo>
                    <a:pt x="527138" y="267335"/>
                  </a:moveTo>
                  <a:lnTo>
                    <a:pt x="521690" y="219163"/>
                  </a:lnTo>
                  <a:lnTo>
                    <a:pt x="508292" y="173888"/>
                  </a:lnTo>
                  <a:lnTo>
                    <a:pt x="487680" y="132257"/>
                  </a:lnTo>
                  <a:lnTo>
                    <a:pt x="471982" y="110693"/>
                  </a:lnTo>
                  <a:lnTo>
                    <a:pt x="460578" y="95008"/>
                  </a:lnTo>
                  <a:lnTo>
                    <a:pt x="427736" y="62865"/>
                  </a:lnTo>
                  <a:lnTo>
                    <a:pt x="389890" y="36563"/>
                  </a:lnTo>
                  <a:lnTo>
                    <a:pt x="347751" y="16802"/>
                  </a:lnTo>
                  <a:lnTo>
                    <a:pt x="302082" y="4381"/>
                  </a:lnTo>
                  <a:lnTo>
                    <a:pt x="253606" y="0"/>
                  </a:lnTo>
                  <a:lnTo>
                    <a:pt x="252387" y="0"/>
                  </a:lnTo>
                  <a:lnTo>
                    <a:pt x="204038" y="4356"/>
                  </a:lnTo>
                  <a:lnTo>
                    <a:pt x="158483" y="16725"/>
                  </a:lnTo>
                  <a:lnTo>
                    <a:pt x="116446" y="36372"/>
                  </a:lnTo>
                  <a:lnTo>
                    <a:pt x="78663" y="62572"/>
                  </a:lnTo>
                  <a:lnTo>
                    <a:pt x="45859" y="94576"/>
                  </a:lnTo>
                  <a:lnTo>
                    <a:pt x="38633" y="104470"/>
                  </a:lnTo>
                  <a:lnTo>
                    <a:pt x="18745" y="131699"/>
                  </a:lnTo>
                  <a:lnTo>
                    <a:pt x="0" y="169303"/>
                  </a:lnTo>
                  <a:lnTo>
                    <a:pt x="0" y="264452"/>
                  </a:lnTo>
                  <a:lnTo>
                    <a:pt x="26758" y="262191"/>
                  </a:lnTo>
                  <a:lnTo>
                    <a:pt x="71285" y="250532"/>
                  </a:lnTo>
                  <a:lnTo>
                    <a:pt x="112522" y="231940"/>
                  </a:lnTo>
                  <a:lnTo>
                    <a:pt x="149783" y="207060"/>
                  </a:lnTo>
                  <a:lnTo>
                    <a:pt x="182410" y="176606"/>
                  </a:lnTo>
                  <a:lnTo>
                    <a:pt x="209727" y="141224"/>
                  </a:lnTo>
                  <a:lnTo>
                    <a:pt x="231051" y="101612"/>
                  </a:lnTo>
                  <a:lnTo>
                    <a:pt x="245719" y="58420"/>
                  </a:lnTo>
                  <a:lnTo>
                    <a:pt x="253034" y="12369"/>
                  </a:lnTo>
                  <a:lnTo>
                    <a:pt x="260210" y="58585"/>
                  </a:lnTo>
                  <a:lnTo>
                    <a:pt x="274777" y="101955"/>
                  </a:lnTo>
                  <a:lnTo>
                    <a:pt x="296037" y="141744"/>
                  </a:lnTo>
                  <a:lnTo>
                    <a:pt x="323329" y="177279"/>
                  </a:lnTo>
                  <a:lnTo>
                    <a:pt x="355981" y="207886"/>
                  </a:lnTo>
                  <a:lnTo>
                    <a:pt x="393293" y="232867"/>
                  </a:lnTo>
                  <a:lnTo>
                    <a:pt x="434606" y="251561"/>
                  </a:lnTo>
                  <a:lnTo>
                    <a:pt x="479221" y="263271"/>
                  </a:lnTo>
                  <a:lnTo>
                    <a:pt x="527138" y="267335"/>
                  </a:lnTo>
                  <a:close/>
                </a:path>
              </a:pathLst>
            </a:custGeom>
            <a:solidFill>
              <a:srgbClr val="2DB7EA"/>
            </a:solidFill>
          </p:spPr>
          <p:txBody>
            <a:bodyPr wrap="square" lIns="0" tIns="0" rIns="0" bIns="0" rtlCol="0"/>
            <a:lstStyle/>
            <a:p>
              <a:endParaRPr dirty="0"/>
            </a:p>
          </p:txBody>
        </p:sp>
        <p:pic>
          <p:nvPicPr>
            <p:cNvPr id="501" name="object 262">
              <a:extLst>
                <a:ext uri="{FF2B5EF4-FFF2-40B4-BE49-F238E27FC236}">
                  <a16:creationId xmlns:a16="http://schemas.microsoft.com/office/drawing/2014/main" id="{5AB5F02F-8921-7525-F268-A365EEED4087}"/>
                </a:ext>
              </a:extLst>
            </p:cNvPr>
            <p:cNvPicPr/>
            <p:nvPr/>
          </p:nvPicPr>
          <p:blipFill>
            <a:blip r:embed="rId16" cstate="print"/>
            <a:stretch>
              <a:fillRect/>
            </a:stretch>
          </p:blipFill>
          <p:spPr>
            <a:xfrm>
              <a:off x="7326865" y="3010234"/>
              <a:ext cx="106445" cy="107156"/>
            </a:xfrm>
            <a:prstGeom prst="rect">
              <a:avLst/>
            </a:prstGeom>
          </p:spPr>
        </p:pic>
        <p:sp>
          <p:nvSpPr>
            <p:cNvPr id="502" name="object 263">
              <a:extLst>
                <a:ext uri="{FF2B5EF4-FFF2-40B4-BE49-F238E27FC236}">
                  <a16:creationId xmlns:a16="http://schemas.microsoft.com/office/drawing/2014/main" id="{509441A0-44D6-30E2-24D0-65DE9A98E0EA}"/>
                </a:ext>
              </a:extLst>
            </p:cNvPr>
            <p:cNvSpPr/>
            <p:nvPr/>
          </p:nvSpPr>
          <p:spPr>
            <a:xfrm>
              <a:off x="7226300" y="3208700"/>
              <a:ext cx="319992" cy="477101"/>
            </a:xfrm>
            <a:custGeom>
              <a:avLst/>
              <a:gdLst/>
              <a:ahLst/>
              <a:cxnLst/>
              <a:rect l="l" t="t" r="r" b="b"/>
              <a:pathLst>
                <a:path w="527684" h="786764">
                  <a:moveTo>
                    <a:pt x="527126" y="786384"/>
                  </a:moveTo>
                  <a:lnTo>
                    <a:pt x="521677" y="738225"/>
                  </a:lnTo>
                  <a:lnTo>
                    <a:pt x="508279" y="692962"/>
                  </a:lnTo>
                  <a:lnTo>
                    <a:pt x="487667" y="651344"/>
                  </a:lnTo>
                  <a:lnTo>
                    <a:pt x="460578" y="614083"/>
                  </a:lnTo>
                  <a:lnTo>
                    <a:pt x="427736" y="581926"/>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47"/>
                  </a:lnTo>
                  <a:lnTo>
                    <a:pt x="45859" y="613664"/>
                  </a:lnTo>
                  <a:lnTo>
                    <a:pt x="18770" y="650773"/>
                  </a:lnTo>
                  <a:lnTo>
                    <a:pt x="0" y="688454"/>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59"/>
                  </a:lnTo>
                  <a:lnTo>
                    <a:pt x="274777" y="621042"/>
                  </a:lnTo>
                  <a:lnTo>
                    <a:pt x="296037" y="660831"/>
                  </a:lnTo>
                  <a:lnTo>
                    <a:pt x="323329" y="696366"/>
                  </a:lnTo>
                  <a:lnTo>
                    <a:pt x="355968" y="726960"/>
                  </a:lnTo>
                  <a:lnTo>
                    <a:pt x="393293" y="751941"/>
                  </a:lnTo>
                  <a:lnTo>
                    <a:pt x="434594" y="770623"/>
                  </a:lnTo>
                  <a:lnTo>
                    <a:pt x="479209" y="782332"/>
                  </a:lnTo>
                  <a:lnTo>
                    <a:pt x="527126" y="786384"/>
                  </a:lnTo>
                  <a:close/>
                </a:path>
                <a:path w="527684" h="786764">
                  <a:moveTo>
                    <a:pt x="527126" y="520865"/>
                  </a:moveTo>
                  <a:lnTo>
                    <a:pt x="521677" y="472694"/>
                  </a:lnTo>
                  <a:lnTo>
                    <a:pt x="508279" y="427431"/>
                  </a:lnTo>
                  <a:lnTo>
                    <a:pt x="487667" y="385813"/>
                  </a:lnTo>
                  <a:lnTo>
                    <a:pt x="460578" y="348551"/>
                  </a:lnTo>
                  <a:lnTo>
                    <a:pt x="427736" y="316407"/>
                  </a:lnTo>
                  <a:lnTo>
                    <a:pt x="389877" y="290093"/>
                  </a:lnTo>
                  <a:lnTo>
                    <a:pt x="347751" y="270357"/>
                  </a:lnTo>
                  <a:lnTo>
                    <a:pt x="302082" y="257937"/>
                  </a:lnTo>
                  <a:lnTo>
                    <a:pt x="253606" y="253555"/>
                  </a:lnTo>
                  <a:lnTo>
                    <a:pt x="252387" y="253555"/>
                  </a:lnTo>
                  <a:lnTo>
                    <a:pt x="204038" y="257911"/>
                  </a:lnTo>
                  <a:lnTo>
                    <a:pt x="158483" y="270281"/>
                  </a:lnTo>
                  <a:lnTo>
                    <a:pt x="116446" y="289928"/>
                  </a:lnTo>
                  <a:lnTo>
                    <a:pt x="78663" y="316115"/>
                  </a:lnTo>
                  <a:lnTo>
                    <a:pt x="45859" y="348132"/>
                  </a:lnTo>
                  <a:lnTo>
                    <a:pt x="18770" y="385241"/>
                  </a:lnTo>
                  <a:lnTo>
                    <a:pt x="0" y="422935"/>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40"/>
                  </a:lnTo>
                  <a:lnTo>
                    <a:pt x="274777" y="355511"/>
                  </a:lnTo>
                  <a:lnTo>
                    <a:pt x="296037" y="395300"/>
                  </a:lnTo>
                  <a:lnTo>
                    <a:pt x="323329" y="430834"/>
                  </a:lnTo>
                  <a:lnTo>
                    <a:pt x="355968" y="461429"/>
                  </a:lnTo>
                  <a:lnTo>
                    <a:pt x="393293" y="486410"/>
                  </a:lnTo>
                  <a:lnTo>
                    <a:pt x="434594" y="505091"/>
                  </a:lnTo>
                  <a:lnTo>
                    <a:pt x="479209" y="516801"/>
                  </a:lnTo>
                  <a:lnTo>
                    <a:pt x="527126" y="520865"/>
                  </a:lnTo>
                  <a:close/>
                </a:path>
                <a:path w="527684" h="786764">
                  <a:moveTo>
                    <a:pt x="527138" y="267322"/>
                  </a:moveTo>
                  <a:lnTo>
                    <a:pt x="521690" y="219151"/>
                  </a:lnTo>
                  <a:lnTo>
                    <a:pt x="508292" y="173888"/>
                  </a:lnTo>
                  <a:lnTo>
                    <a:pt x="487680" y="132257"/>
                  </a:lnTo>
                  <a:lnTo>
                    <a:pt x="460578" y="94996"/>
                  </a:lnTo>
                  <a:lnTo>
                    <a:pt x="427736" y="62852"/>
                  </a:lnTo>
                  <a:lnTo>
                    <a:pt x="389890" y="36550"/>
                  </a:lnTo>
                  <a:lnTo>
                    <a:pt x="347764" y="16814"/>
                  </a:lnTo>
                  <a:lnTo>
                    <a:pt x="302082" y="4368"/>
                  </a:lnTo>
                  <a:lnTo>
                    <a:pt x="253606" y="0"/>
                  </a:lnTo>
                  <a:lnTo>
                    <a:pt x="252387" y="0"/>
                  </a:lnTo>
                  <a:lnTo>
                    <a:pt x="204038" y="4356"/>
                  </a:lnTo>
                  <a:lnTo>
                    <a:pt x="158483" y="16725"/>
                  </a:lnTo>
                  <a:lnTo>
                    <a:pt x="116446" y="36360"/>
                  </a:lnTo>
                  <a:lnTo>
                    <a:pt x="78663" y="62560"/>
                  </a:lnTo>
                  <a:lnTo>
                    <a:pt x="45859" y="94576"/>
                  </a:lnTo>
                  <a:lnTo>
                    <a:pt x="18745" y="131686"/>
                  </a:lnTo>
                  <a:lnTo>
                    <a:pt x="0" y="169291"/>
                  </a:lnTo>
                  <a:lnTo>
                    <a:pt x="0" y="264452"/>
                  </a:lnTo>
                  <a:lnTo>
                    <a:pt x="26758" y="262191"/>
                  </a:lnTo>
                  <a:lnTo>
                    <a:pt x="71285" y="250532"/>
                  </a:lnTo>
                  <a:lnTo>
                    <a:pt x="112522" y="231927"/>
                  </a:lnTo>
                  <a:lnTo>
                    <a:pt x="149783" y="207060"/>
                  </a:lnTo>
                  <a:lnTo>
                    <a:pt x="182410" y="176593"/>
                  </a:lnTo>
                  <a:lnTo>
                    <a:pt x="209727" y="141224"/>
                  </a:lnTo>
                  <a:lnTo>
                    <a:pt x="231051" y="101600"/>
                  </a:lnTo>
                  <a:lnTo>
                    <a:pt x="245719" y="58407"/>
                  </a:lnTo>
                  <a:lnTo>
                    <a:pt x="253034" y="12369"/>
                  </a:lnTo>
                  <a:lnTo>
                    <a:pt x="260210" y="58572"/>
                  </a:lnTo>
                  <a:lnTo>
                    <a:pt x="269887" y="87388"/>
                  </a:lnTo>
                  <a:lnTo>
                    <a:pt x="274777" y="101955"/>
                  </a:lnTo>
                  <a:lnTo>
                    <a:pt x="296037" y="141744"/>
                  </a:lnTo>
                  <a:lnTo>
                    <a:pt x="323329" y="177279"/>
                  </a:lnTo>
                  <a:lnTo>
                    <a:pt x="355968" y="207873"/>
                  </a:lnTo>
                  <a:lnTo>
                    <a:pt x="393293" y="232867"/>
                  </a:lnTo>
                  <a:lnTo>
                    <a:pt x="434606" y="251548"/>
                  </a:lnTo>
                  <a:lnTo>
                    <a:pt x="479221" y="263271"/>
                  </a:lnTo>
                  <a:lnTo>
                    <a:pt x="527138" y="267322"/>
                  </a:lnTo>
                  <a:close/>
                </a:path>
              </a:pathLst>
            </a:custGeom>
            <a:solidFill>
              <a:srgbClr val="7ED3F1"/>
            </a:solidFill>
          </p:spPr>
          <p:txBody>
            <a:bodyPr wrap="square" lIns="0" tIns="0" rIns="0" bIns="0" rtlCol="0"/>
            <a:lstStyle/>
            <a:p>
              <a:endParaRPr dirty="0"/>
            </a:p>
          </p:txBody>
        </p:sp>
        <p:pic>
          <p:nvPicPr>
            <p:cNvPr id="503" name="object 264">
              <a:extLst>
                <a:ext uri="{FF2B5EF4-FFF2-40B4-BE49-F238E27FC236}">
                  <a16:creationId xmlns:a16="http://schemas.microsoft.com/office/drawing/2014/main" id="{492970EB-A972-DD21-72F9-17D6615E8F8C}"/>
                </a:ext>
              </a:extLst>
            </p:cNvPr>
            <p:cNvPicPr/>
            <p:nvPr/>
          </p:nvPicPr>
          <p:blipFill>
            <a:blip r:embed="rId17" cstate="print"/>
            <a:stretch>
              <a:fillRect/>
            </a:stretch>
          </p:blipFill>
          <p:spPr>
            <a:xfrm>
              <a:off x="7326865" y="3664400"/>
              <a:ext cx="106445" cy="107156"/>
            </a:xfrm>
            <a:prstGeom prst="rect">
              <a:avLst/>
            </a:prstGeom>
          </p:spPr>
        </p:pic>
        <p:sp>
          <p:nvSpPr>
            <p:cNvPr id="504" name="object 265">
              <a:extLst>
                <a:ext uri="{FF2B5EF4-FFF2-40B4-BE49-F238E27FC236}">
                  <a16:creationId xmlns:a16="http://schemas.microsoft.com/office/drawing/2014/main" id="{FC52833D-79A6-6352-714D-A1DFBBAE3D40}"/>
                </a:ext>
              </a:extLst>
            </p:cNvPr>
            <p:cNvSpPr/>
            <p:nvPr/>
          </p:nvSpPr>
          <p:spPr>
            <a:xfrm>
              <a:off x="7226300" y="1246203"/>
              <a:ext cx="319992" cy="477101"/>
            </a:xfrm>
            <a:custGeom>
              <a:avLst/>
              <a:gdLst/>
              <a:ahLst/>
              <a:cxnLst/>
              <a:rect l="l" t="t" r="r" b="b"/>
              <a:pathLst>
                <a:path w="527684" h="786764">
                  <a:moveTo>
                    <a:pt x="527126" y="786384"/>
                  </a:moveTo>
                  <a:lnTo>
                    <a:pt x="521677" y="738225"/>
                  </a:lnTo>
                  <a:lnTo>
                    <a:pt x="508279" y="692962"/>
                  </a:lnTo>
                  <a:lnTo>
                    <a:pt x="487667" y="651332"/>
                  </a:lnTo>
                  <a:lnTo>
                    <a:pt x="460578" y="614083"/>
                  </a:lnTo>
                  <a:lnTo>
                    <a:pt x="427736" y="581926"/>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47"/>
                  </a:lnTo>
                  <a:lnTo>
                    <a:pt x="45859" y="613664"/>
                  </a:lnTo>
                  <a:lnTo>
                    <a:pt x="18770" y="650760"/>
                  </a:lnTo>
                  <a:lnTo>
                    <a:pt x="0" y="688454"/>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59"/>
                  </a:lnTo>
                  <a:lnTo>
                    <a:pt x="274777" y="621030"/>
                  </a:lnTo>
                  <a:lnTo>
                    <a:pt x="296037" y="660831"/>
                  </a:lnTo>
                  <a:lnTo>
                    <a:pt x="323329" y="696366"/>
                  </a:lnTo>
                  <a:lnTo>
                    <a:pt x="355968" y="726960"/>
                  </a:lnTo>
                  <a:lnTo>
                    <a:pt x="393293" y="751941"/>
                  </a:lnTo>
                  <a:lnTo>
                    <a:pt x="434594" y="770623"/>
                  </a:lnTo>
                  <a:lnTo>
                    <a:pt x="479209" y="782332"/>
                  </a:lnTo>
                  <a:lnTo>
                    <a:pt x="527126" y="786384"/>
                  </a:lnTo>
                  <a:close/>
                </a:path>
                <a:path w="527684" h="786764">
                  <a:moveTo>
                    <a:pt x="527126" y="520852"/>
                  </a:moveTo>
                  <a:lnTo>
                    <a:pt x="521677" y="472694"/>
                  </a:lnTo>
                  <a:lnTo>
                    <a:pt x="508279" y="427431"/>
                  </a:lnTo>
                  <a:lnTo>
                    <a:pt x="487667" y="385813"/>
                  </a:lnTo>
                  <a:lnTo>
                    <a:pt x="460578" y="348551"/>
                  </a:lnTo>
                  <a:lnTo>
                    <a:pt x="427736" y="316395"/>
                  </a:lnTo>
                  <a:lnTo>
                    <a:pt x="389877" y="290093"/>
                  </a:lnTo>
                  <a:lnTo>
                    <a:pt x="347751" y="270357"/>
                  </a:lnTo>
                  <a:lnTo>
                    <a:pt x="302082" y="257937"/>
                  </a:lnTo>
                  <a:lnTo>
                    <a:pt x="253606" y="253555"/>
                  </a:lnTo>
                  <a:lnTo>
                    <a:pt x="252387" y="253555"/>
                  </a:lnTo>
                  <a:lnTo>
                    <a:pt x="204038" y="257911"/>
                  </a:lnTo>
                  <a:lnTo>
                    <a:pt x="158483" y="270281"/>
                  </a:lnTo>
                  <a:lnTo>
                    <a:pt x="116446" y="289928"/>
                  </a:lnTo>
                  <a:lnTo>
                    <a:pt x="78663" y="316115"/>
                  </a:lnTo>
                  <a:lnTo>
                    <a:pt x="45859" y="348132"/>
                  </a:lnTo>
                  <a:lnTo>
                    <a:pt x="18770" y="385241"/>
                  </a:lnTo>
                  <a:lnTo>
                    <a:pt x="0" y="422935"/>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27"/>
                  </a:lnTo>
                  <a:lnTo>
                    <a:pt x="274777" y="355511"/>
                  </a:lnTo>
                  <a:lnTo>
                    <a:pt x="296037" y="395300"/>
                  </a:lnTo>
                  <a:lnTo>
                    <a:pt x="323329" y="430834"/>
                  </a:lnTo>
                  <a:lnTo>
                    <a:pt x="355968" y="461429"/>
                  </a:lnTo>
                  <a:lnTo>
                    <a:pt x="393293" y="486410"/>
                  </a:lnTo>
                  <a:lnTo>
                    <a:pt x="434594" y="505091"/>
                  </a:lnTo>
                  <a:lnTo>
                    <a:pt x="479209" y="516801"/>
                  </a:lnTo>
                  <a:lnTo>
                    <a:pt x="527126" y="520852"/>
                  </a:lnTo>
                  <a:close/>
                </a:path>
                <a:path w="527684" h="786764">
                  <a:moveTo>
                    <a:pt x="527138" y="267322"/>
                  </a:moveTo>
                  <a:lnTo>
                    <a:pt x="521690" y="219151"/>
                  </a:lnTo>
                  <a:lnTo>
                    <a:pt x="508292" y="173875"/>
                  </a:lnTo>
                  <a:lnTo>
                    <a:pt x="487680" y="132257"/>
                  </a:lnTo>
                  <a:lnTo>
                    <a:pt x="460578" y="94996"/>
                  </a:lnTo>
                  <a:lnTo>
                    <a:pt x="427736" y="62852"/>
                  </a:lnTo>
                  <a:lnTo>
                    <a:pt x="389890" y="36550"/>
                  </a:lnTo>
                  <a:lnTo>
                    <a:pt x="347751" y="16789"/>
                  </a:lnTo>
                  <a:lnTo>
                    <a:pt x="302082" y="4368"/>
                  </a:lnTo>
                  <a:lnTo>
                    <a:pt x="253606" y="0"/>
                  </a:lnTo>
                  <a:lnTo>
                    <a:pt x="252387" y="0"/>
                  </a:lnTo>
                  <a:lnTo>
                    <a:pt x="204038" y="4356"/>
                  </a:lnTo>
                  <a:lnTo>
                    <a:pt x="158483" y="16713"/>
                  </a:lnTo>
                  <a:lnTo>
                    <a:pt x="116446" y="36360"/>
                  </a:lnTo>
                  <a:lnTo>
                    <a:pt x="78663" y="62560"/>
                  </a:lnTo>
                  <a:lnTo>
                    <a:pt x="45859" y="94576"/>
                  </a:lnTo>
                  <a:lnTo>
                    <a:pt x="18745" y="131686"/>
                  </a:lnTo>
                  <a:lnTo>
                    <a:pt x="0" y="169291"/>
                  </a:lnTo>
                  <a:lnTo>
                    <a:pt x="0" y="264452"/>
                  </a:lnTo>
                  <a:lnTo>
                    <a:pt x="26758" y="262178"/>
                  </a:lnTo>
                  <a:lnTo>
                    <a:pt x="71285" y="250520"/>
                  </a:lnTo>
                  <a:lnTo>
                    <a:pt x="112522" y="231927"/>
                  </a:lnTo>
                  <a:lnTo>
                    <a:pt x="149783" y="207060"/>
                  </a:lnTo>
                  <a:lnTo>
                    <a:pt x="182410" y="176593"/>
                  </a:lnTo>
                  <a:lnTo>
                    <a:pt x="209727" y="141224"/>
                  </a:lnTo>
                  <a:lnTo>
                    <a:pt x="231051" y="101600"/>
                  </a:lnTo>
                  <a:lnTo>
                    <a:pt x="245719" y="58407"/>
                  </a:lnTo>
                  <a:lnTo>
                    <a:pt x="253034" y="12357"/>
                  </a:lnTo>
                  <a:lnTo>
                    <a:pt x="260210" y="58572"/>
                  </a:lnTo>
                  <a:lnTo>
                    <a:pt x="274777" y="101942"/>
                  </a:lnTo>
                  <a:lnTo>
                    <a:pt x="296037" y="141744"/>
                  </a:lnTo>
                  <a:lnTo>
                    <a:pt x="323329" y="177279"/>
                  </a:lnTo>
                  <a:lnTo>
                    <a:pt x="355968" y="207873"/>
                  </a:lnTo>
                  <a:lnTo>
                    <a:pt x="393293" y="232867"/>
                  </a:lnTo>
                  <a:lnTo>
                    <a:pt x="434606" y="251548"/>
                  </a:lnTo>
                  <a:lnTo>
                    <a:pt x="479221" y="263271"/>
                  </a:lnTo>
                  <a:lnTo>
                    <a:pt x="527138" y="267322"/>
                  </a:lnTo>
                  <a:close/>
                </a:path>
              </a:pathLst>
            </a:custGeom>
            <a:solidFill>
              <a:srgbClr val="2DB7EA"/>
            </a:solidFill>
          </p:spPr>
          <p:txBody>
            <a:bodyPr wrap="square" lIns="0" tIns="0" rIns="0" bIns="0" rtlCol="0"/>
            <a:lstStyle/>
            <a:p>
              <a:endParaRPr dirty="0"/>
            </a:p>
          </p:txBody>
        </p:sp>
        <p:pic>
          <p:nvPicPr>
            <p:cNvPr id="505" name="object 266">
              <a:extLst>
                <a:ext uri="{FF2B5EF4-FFF2-40B4-BE49-F238E27FC236}">
                  <a16:creationId xmlns:a16="http://schemas.microsoft.com/office/drawing/2014/main" id="{302D5C57-5011-DBA6-B70C-9DCC62AC581B}"/>
                </a:ext>
              </a:extLst>
            </p:cNvPr>
            <p:cNvPicPr/>
            <p:nvPr/>
          </p:nvPicPr>
          <p:blipFill>
            <a:blip r:embed="rId16" cstate="print"/>
            <a:stretch>
              <a:fillRect/>
            </a:stretch>
          </p:blipFill>
          <p:spPr>
            <a:xfrm>
              <a:off x="7326865" y="1701903"/>
              <a:ext cx="106445" cy="107156"/>
            </a:xfrm>
            <a:prstGeom prst="rect">
              <a:avLst/>
            </a:prstGeom>
          </p:spPr>
        </p:pic>
        <p:sp>
          <p:nvSpPr>
            <p:cNvPr id="506" name="object 267">
              <a:extLst>
                <a:ext uri="{FF2B5EF4-FFF2-40B4-BE49-F238E27FC236}">
                  <a16:creationId xmlns:a16="http://schemas.microsoft.com/office/drawing/2014/main" id="{935114CD-E4D3-ECE2-8B8A-686862DB5926}"/>
                </a:ext>
              </a:extLst>
            </p:cNvPr>
            <p:cNvSpPr/>
            <p:nvPr/>
          </p:nvSpPr>
          <p:spPr>
            <a:xfrm>
              <a:off x="7226300" y="1900365"/>
              <a:ext cx="319992" cy="477101"/>
            </a:xfrm>
            <a:custGeom>
              <a:avLst/>
              <a:gdLst/>
              <a:ahLst/>
              <a:cxnLst/>
              <a:rect l="l" t="t" r="r" b="b"/>
              <a:pathLst>
                <a:path w="527684" h="786764">
                  <a:moveTo>
                    <a:pt x="527126" y="786396"/>
                  </a:moveTo>
                  <a:lnTo>
                    <a:pt x="521677" y="738225"/>
                  </a:lnTo>
                  <a:lnTo>
                    <a:pt x="508279" y="692962"/>
                  </a:lnTo>
                  <a:lnTo>
                    <a:pt x="487667" y="651344"/>
                  </a:lnTo>
                  <a:lnTo>
                    <a:pt x="460578" y="614083"/>
                  </a:lnTo>
                  <a:lnTo>
                    <a:pt x="427736" y="581939"/>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60"/>
                  </a:lnTo>
                  <a:lnTo>
                    <a:pt x="45859" y="613664"/>
                  </a:lnTo>
                  <a:lnTo>
                    <a:pt x="18770" y="650773"/>
                  </a:lnTo>
                  <a:lnTo>
                    <a:pt x="0" y="688467"/>
                  </a:lnTo>
                  <a:lnTo>
                    <a:pt x="0" y="783564"/>
                  </a:lnTo>
                  <a:lnTo>
                    <a:pt x="71285" y="769620"/>
                  </a:lnTo>
                  <a:lnTo>
                    <a:pt x="112522" y="751027"/>
                  </a:lnTo>
                  <a:lnTo>
                    <a:pt x="149783" y="726147"/>
                  </a:lnTo>
                  <a:lnTo>
                    <a:pt x="182410" y="695680"/>
                  </a:lnTo>
                  <a:lnTo>
                    <a:pt x="209715" y="660298"/>
                  </a:lnTo>
                  <a:lnTo>
                    <a:pt x="231038" y="620674"/>
                  </a:lnTo>
                  <a:lnTo>
                    <a:pt x="245706" y="577481"/>
                  </a:lnTo>
                  <a:lnTo>
                    <a:pt x="253034" y="531393"/>
                  </a:lnTo>
                  <a:lnTo>
                    <a:pt x="260210" y="577672"/>
                  </a:lnTo>
                  <a:lnTo>
                    <a:pt x="274777" y="621042"/>
                  </a:lnTo>
                  <a:lnTo>
                    <a:pt x="296037" y="660831"/>
                  </a:lnTo>
                  <a:lnTo>
                    <a:pt x="323329" y="696366"/>
                  </a:lnTo>
                  <a:lnTo>
                    <a:pt x="355968" y="726960"/>
                  </a:lnTo>
                  <a:lnTo>
                    <a:pt x="393293" y="751941"/>
                  </a:lnTo>
                  <a:lnTo>
                    <a:pt x="434594" y="770636"/>
                  </a:lnTo>
                  <a:lnTo>
                    <a:pt x="479209" y="782332"/>
                  </a:lnTo>
                  <a:lnTo>
                    <a:pt x="527126" y="786396"/>
                  </a:lnTo>
                  <a:close/>
                </a:path>
                <a:path w="527684" h="786764">
                  <a:moveTo>
                    <a:pt x="527126" y="520865"/>
                  </a:moveTo>
                  <a:lnTo>
                    <a:pt x="521677" y="472706"/>
                  </a:lnTo>
                  <a:lnTo>
                    <a:pt x="508279" y="427443"/>
                  </a:lnTo>
                  <a:lnTo>
                    <a:pt x="487667" y="385813"/>
                  </a:lnTo>
                  <a:lnTo>
                    <a:pt x="460578" y="348551"/>
                  </a:lnTo>
                  <a:lnTo>
                    <a:pt x="427736" y="316407"/>
                  </a:lnTo>
                  <a:lnTo>
                    <a:pt x="389877" y="290093"/>
                  </a:lnTo>
                  <a:lnTo>
                    <a:pt x="347751" y="270357"/>
                  </a:lnTo>
                  <a:lnTo>
                    <a:pt x="302082" y="257937"/>
                  </a:lnTo>
                  <a:lnTo>
                    <a:pt x="253606" y="253555"/>
                  </a:lnTo>
                  <a:lnTo>
                    <a:pt x="252387" y="253555"/>
                  </a:lnTo>
                  <a:lnTo>
                    <a:pt x="204038" y="257911"/>
                  </a:lnTo>
                  <a:lnTo>
                    <a:pt x="158483" y="270281"/>
                  </a:lnTo>
                  <a:lnTo>
                    <a:pt x="116446" y="289928"/>
                  </a:lnTo>
                  <a:lnTo>
                    <a:pt x="78663" y="316128"/>
                  </a:lnTo>
                  <a:lnTo>
                    <a:pt x="45859" y="348132"/>
                  </a:lnTo>
                  <a:lnTo>
                    <a:pt x="18770" y="385241"/>
                  </a:lnTo>
                  <a:lnTo>
                    <a:pt x="0" y="422935"/>
                  </a:lnTo>
                  <a:lnTo>
                    <a:pt x="0" y="518033"/>
                  </a:lnTo>
                  <a:lnTo>
                    <a:pt x="71285" y="504088"/>
                  </a:lnTo>
                  <a:lnTo>
                    <a:pt x="112522" y="485495"/>
                  </a:lnTo>
                  <a:lnTo>
                    <a:pt x="149783" y="460616"/>
                  </a:lnTo>
                  <a:lnTo>
                    <a:pt x="182410" y="430161"/>
                  </a:lnTo>
                  <a:lnTo>
                    <a:pt x="209715" y="394766"/>
                  </a:lnTo>
                  <a:lnTo>
                    <a:pt x="231038" y="355142"/>
                  </a:lnTo>
                  <a:lnTo>
                    <a:pt x="245706" y="311950"/>
                  </a:lnTo>
                  <a:lnTo>
                    <a:pt x="253034" y="265861"/>
                  </a:lnTo>
                  <a:lnTo>
                    <a:pt x="260210" y="312140"/>
                  </a:lnTo>
                  <a:lnTo>
                    <a:pt x="274777" y="355511"/>
                  </a:lnTo>
                  <a:lnTo>
                    <a:pt x="296037" y="395300"/>
                  </a:lnTo>
                  <a:lnTo>
                    <a:pt x="323329" y="430834"/>
                  </a:lnTo>
                  <a:lnTo>
                    <a:pt x="355968" y="461441"/>
                  </a:lnTo>
                  <a:lnTo>
                    <a:pt x="393293" y="486410"/>
                  </a:lnTo>
                  <a:lnTo>
                    <a:pt x="434594" y="505104"/>
                  </a:lnTo>
                  <a:lnTo>
                    <a:pt x="479209" y="516813"/>
                  </a:lnTo>
                  <a:lnTo>
                    <a:pt x="527126" y="520865"/>
                  </a:lnTo>
                  <a:close/>
                </a:path>
                <a:path w="527684" h="786764">
                  <a:moveTo>
                    <a:pt x="527138" y="267322"/>
                  </a:moveTo>
                  <a:lnTo>
                    <a:pt x="521690" y="219151"/>
                  </a:lnTo>
                  <a:lnTo>
                    <a:pt x="508292" y="173888"/>
                  </a:lnTo>
                  <a:lnTo>
                    <a:pt x="487680" y="132257"/>
                  </a:lnTo>
                  <a:lnTo>
                    <a:pt x="480275" y="122097"/>
                  </a:lnTo>
                  <a:lnTo>
                    <a:pt x="460578" y="95008"/>
                  </a:lnTo>
                  <a:lnTo>
                    <a:pt x="427736" y="62852"/>
                  </a:lnTo>
                  <a:lnTo>
                    <a:pt x="389890" y="36550"/>
                  </a:lnTo>
                  <a:lnTo>
                    <a:pt x="347764" y="16814"/>
                  </a:lnTo>
                  <a:lnTo>
                    <a:pt x="302082" y="4381"/>
                  </a:lnTo>
                  <a:lnTo>
                    <a:pt x="253606" y="0"/>
                  </a:lnTo>
                  <a:lnTo>
                    <a:pt x="252387" y="0"/>
                  </a:lnTo>
                  <a:lnTo>
                    <a:pt x="204038" y="4356"/>
                  </a:lnTo>
                  <a:lnTo>
                    <a:pt x="158483" y="16725"/>
                  </a:lnTo>
                  <a:lnTo>
                    <a:pt x="116446" y="36372"/>
                  </a:lnTo>
                  <a:lnTo>
                    <a:pt x="78663" y="62560"/>
                  </a:lnTo>
                  <a:lnTo>
                    <a:pt x="45859" y="94576"/>
                  </a:lnTo>
                  <a:lnTo>
                    <a:pt x="18745" y="131686"/>
                  </a:lnTo>
                  <a:lnTo>
                    <a:pt x="0" y="169303"/>
                  </a:lnTo>
                  <a:lnTo>
                    <a:pt x="0" y="264452"/>
                  </a:lnTo>
                  <a:lnTo>
                    <a:pt x="26758" y="262191"/>
                  </a:lnTo>
                  <a:lnTo>
                    <a:pt x="71285" y="250532"/>
                  </a:lnTo>
                  <a:lnTo>
                    <a:pt x="112522" y="231927"/>
                  </a:lnTo>
                  <a:lnTo>
                    <a:pt x="149783" y="207060"/>
                  </a:lnTo>
                  <a:lnTo>
                    <a:pt x="182410" y="176593"/>
                  </a:lnTo>
                  <a:lnTo>
                    <a:pt x="209727" y="141224"/>
                  </a:lnTo>
                  <a:lnTo>
                    <a:pt x="231051" y="101600"/>
                  </a:lnTo>
                  <a:lnTo>
                    <a:pt x="245719" y="58420"/>
                  </a:lnTo>
                  <a:lnTo>
                    <a:pt x="253034" y="12369"/>
                  </a:lnTo>
                  <a:lnTo>
                    <a:pt x="260210" y="58572"/>
                  </a:lnTo>
                  <a:lnTo>
                    <a:pt x="269887" y="87388"/>
                  </a:lnTo>
                  <a:lnTo>
                    <a:pt x="274777" y="101955"/>
                  </a:lnTo>
                  <a:lnTo>
                    <a:pt x="296037" y="141744"/>
                  </a:lnTo>
                  <a:lnTo>
                    <a:pt x="323329" y="177279"/>
                  </a:lnTo>
                  <a:lnTo>
                    <a:pt x="355981" y="207886"/>
                  </a:lnTo>
                  <a:lnTo>
                    <a:pt x="393293" y="232867"/>
                  </a:lnTo>
                  <a:lnTo>
                    <a:pt x="434606" y="251561"/>
                  </a:lnTo>
                  <a:lnTo>
                    <a:pt x="479221" y="263271"/>
                  </a:lnTo>
                  <a:lnTo>
                    <a:pt x="527138" y="267322"/>
                  </a:lnTo>
                  <a:close/>
                </a:path>
              </a:pathLst>
            </a:custGeom>
            <a:solidFill>
              <a:srgbClr val="7ED3F1"/>
            </a:solidFill>
          </p:spPr>
          <p:txBody>
            <a:bodyPr wrap="square" lIns="0" tIns="0" rIns="0" bIns="0" rtlCol="0"/>
            <a:lstStyle/>
            <a:p>
              <a:endParaRPr dirty="0"/>
            </a:p>
          </p:txBody>
        </p:sp>
        <p:pic>
          <p:nvPicPr>
            <p:cNvPr id="507" name="object 268">
              <a:extLst>
                <a:ext uri="{FF2B5EF4-FFF2-40B4-BE49-F238E27FC236}">
                  <a16:creationId xmlns:a16="http://schemas.microsoft.com/office/drawing/2014/main" id="{F304C6CE-F05F-84A0-3394-C86ECB3E48A2}"/>
                </a:ext>
              </a:extLst>
            </p:cNvPr>
            <p:cNvPicPr/>
            <p:nvPr/>
          </p:nvPicPr>
          <p:blipFill>
            <a:blip r:embed="rId17" cstate="print"/>
            <a:stretch>
              <a:fillRect/>
            </a:stretch>
          </p:blipFill>
          <p:spPr>
            <a:xfrm>
              <a:off x="7326865" y="2356067"/>
              <a:ext cx="106445" cy="107156"/>
            </a:xfrm>
            <a:prstGeom prst="rect">
              <a:avLst/>
            </a:prstGeom>
          </p:spPr>
        </p:pic>
        <p:sp>
          <p:nvSpPr>
            <p:cNvPr id="508" name="object 269">
              <a:extLst>
                <a:ext uri="{FF2B5EF4-FFF2-40B4-BE49-F238E27FC236}">
                  <a16:creationId xmlns:a16="http://schemas.microsoft.com/office/drawing/2014/main" id="{0AA31AA0-A043-B857-0472-98E8B00E2FF0}"/>
                </a:ext>
              </a:extLst>
            </p:cNvPr>
            <p:cNvSpPr/>
            <p:nvPr/>
          </p:nvSpPr>
          <p:spPr>
            <a:xfrm>
              <a:off x="7226307" y="123"/>
              <a:ext cx="319992" cy="100118"/>
            </a:xfrm>
            <a:custGeom>
              <a:avLst/>
              <a:gdLst/>
              <a:ahLst/>
              <a:cxnLst/>
              <a:rect l="l" t="t" r="r" b="b"/>
              <a:pathLst>
                <a:path w="527684" h="165100">
                  <a:moveTo>
                    <a:pt x="230473" y="0"/>
                  </a:moveTo>
                  <a:lnTo>
                    <a:pt x="39936" y="0"/>
                  </a:lnTo>
                  <a:lnTo>
                    <a:pt x="18738" y="29019"/>
                  </a:lnTo>
                  <a:lnTo>
                    <a:pt x="0" y="66629"/>
                  </a:lnTo>
                  <a:lnTo>
                    <a:pt x="0" y="161781"/>
                  </a:lnTo>
                  <a:lnTo>
                    <a:pt x="71285" y="147841"/>
                  </a:lnTo>
                  <a:lnTo>
                    <a:pt x="112519" y="129246"/>
                  </a:lnTo>
                  <a:lnTo>
                    <a:pt x="149785" y="104384"/>
                  </a:lnTo>
                  <a:lnTo>
                    <a:pt x="182410" y="73928"/>
                  </a:lnTo>
                  <a:lnTo>
                    <a:pt x="209722" y="38553"/>
                  </a:lnTo>
                  <a:lnTo>
                    <a:pt x="230473" y="0"/>
                  </a:lnTo>
                  <a:close/>
                </a:path>
                <a:path w="527684" h="165100">
                  <a:moveTo>
                    <a:pt x="466153" y="0"/>
                  </a:moveTo>
                  <a:lnTo>
                    <a:pt x="275154" y="0"/>
                  </a:lnTo>
                  <a:lnTo>
                    <a:pt x="296036" y="39074"/>
                  </a:lnTo>
                  <a:lnTo>
                    <a:pt x="323330" y="74611"/>
                  </a:lnTo>
                  <a:lnTo>
                    <a:pt x="355974" y="105212"/>
                  </a:lnTo>
                  <a:lnTo>
                    <a:pt x="393290" y="130198"/>
                  </a:lnTo>
                  <a:lnTo>
                    <a:pt x="434597" y="148888"/>
                  </a:lnTo>
                  <a:lnTo>
                    <a:pt x="479217" y="160601"/>
                  </a:lnTo>
                  <a:lnTo>
                    <a:pt x="526470" y="164656"/>
                  </a:lnTo>
                  <a:lnTo>
                    <a:pt x="527130" y="164656"/>
                  </a:lnTo>
                  <a:lnTo>
                    <a:pt x="521684" y="116483"/>
                  </a:lnTo>
                  <a:lnTo>
                    <a:pt x="508286" y="71216"/>
                  </a:lnTo>
                  <a:lnTo>
                    <a:pt x="487672" y="29587"/>
                  </a:lnTo>
                  <a:lnTo>
                    <a:pt x="466153" y="0"/>
                  </a:lnTo>
                  <a:close/>
                </a:path>
              </a:pathLst>
            </a:custGeom>
            <a:solidFill>
              <a:srgbClr val="2DB7EA"/>
            </a:solidFill>
          </p:spPr>
          <p:txBody>
            <a:bodyPr wrap="square" lIns="0" tIns="0" rIns="0" bIns="0" rtlCol="0"/>
            <a:lstStyle/>
            <a:p>
              <a:endParaRPr dirty="0"/>
            </a:p>
          </p:txBody>
        </p:sp>
        <p:pic>
          <p:nvPicPr>
            <p:cNvPr id="509" name="object 270">
              <a:extLst>
                <a:ext uri="{FF2B5EF4-FFF2-40B4-BE49-F238E27FC236}">
                  <a16:creationId xmlns:a16="http://schemas.microsoft.com/office/drawing/2014/main" id="{4255AF72-58EE-9CD7-91B6-AD2E8CBF9617}"/>
                </a:ext>
              </a:extLst>
            </p:cNvPr>
            <p:cNvPicPr/>
            <p:nvPr/>
          </p:nvPicPr>
          <p:blipFill>
            <a:blip r:embed="rId24" cstate="print"/>
            <a:stretch>
              <a:fillRect/>
            </a:stretch>
          </p:blipFill>
          <p:spPr>
            <a:xfrm>
              <a:off x="7226307" y="123"/>
              <a:ext cx="139752" cy="98125"/>
            </a:xfrm>
            <a:prstGeom prst="rect">
              <a:avLst/>
            </a:prstGeom>
          </p:spPr>
        </p:pic>
        <p:pic>
          <p:nvPicPr>
            <p:cNvPr id="510" name="object 271">
              <a:extLst>
                <a:ext uri="{FF2B5EF4-FFF2-40B4-BE49-F238E27FC236}">
                  <a16:creationId xmlns:a16="http://schemas.microsoft.com/office/drawing/2014/main" id="{859803EF-5CAC-7A2A-6169-E1F57CA2DF61}"/>
                </a:ext>
              </a:extLst>
            </p:cNvPr>
            <p:cNvPicPr/>
            <p:nvPr/>
          </p:nvPicPr>
          <p:blipFill>
            <a:blip r:embed="rId21" cstate="print"/>
            <a:stretch>
              <a:fillRect/>
            </a:stretch>
          </p:blipFill>
          <p:spPr>
            <a:xfrm>
              <a:off x="7393159" y="123"/>
              <a:ext cx="152798" cy="99837"/>
            </a:xfrm>
            <a:prstGeom prst="rect">
              <a:avLst/>
            </a:prstGeom>
          </p:spPr>
        </p:pic>
        <p:sp>
          <p:nvSpPr>
            <p:cNvPr id="511" name="object 272">
              <a:extLst>
                <a:ext uri="{FF2B5EF4-FFF2-40B4-BE49-F238E27FC236}">
                  <a16:creationId xmlns:a16="http://schemas.microsoft.com/office/drawing/2014/main" id="{98B37E3B-32B4-3FA3-A4E1-101BAB9B9E82}"/>
                </a:ext>
              </a:extLst>
            </p:cNvPr>
            <p:cNvSpPr/>
            <p:nvPr/>
          </p:nvSpPr>
          <p:spPr>
            <a:xfrm>
              <a:off x="7226300" y="91626"/>
              <a:ext cx="319992" cy="323458"/>
            </a:xfrm>
            <a:custGeom>
              <a:avLst/>
              <a:gdLst/>
              <a:ahLst/>
              <a:cxnLst/>
              <a:rect l="l" t="t" r="r" b="b"/>
              <a:pathLst>
                <a:path w="527684" h="533400">
                  <a:moveTo>
                    <a:pt x="527126" y="532841"/>
                  </a:moveTo>
                  <a:lnTo>
                    <a:pt x="521677" y="484682"/>
                  </a:lnTo>
                  <a:lnTo>
                    <a:pt x="508279" y="439420"/>
                  </a:lnTo>
                  <a:lnTo>
                    <a:pt x="487667" y="397789"/>
                  </a:lnTo>
                  <a:lnTo>
                    <a:pt x="460578" y="360527"/>
                  </a:lnTo>
                  <a:lnTo>
                    <a:pt x="427736" y="328383"/>
                  </a:lnTo>
                  <a:lnTo>
                    <a:pt x="389877" y="302069"/>
                  </a:lnTo>
                  <a:lnTo>
                    <a:pt x="347751" y="282333"/>
                  </a:lnTo>
                  <a:lnTo>
                    <a:pt x="302082" y="269913"/>
                  </a:lnTo>
                  <a:lnTo>
                    <a:pt x="253606" y="265544"/>
                  </a:lnTo>
                  <a:lnTo>
                    <a:pt x="252387" y="265544"/>
                  </a:lnTo>
                  <a:lnTo>
                    <a:pt x="204038" y="269900"/>
                  </a:lnTo>
                  <a:lnTo>
                    <a:pt x="158483" y="282257"/>
                  </a:lnTo>
                  <a:lnTo>
                    <a:pt x="116446" y="301904"/>
                  </a:lnTo>
                  <a:lnTo>
                    <a:pt x="78663" y="328104"/>
                  </a:lnTo>
                  <a:lnTo>
                    <a:pt x="45859" y="360121"/>
                  </a:lnTo>
                  <a:lnTo>
                    <a:pt x="18770" y="397217"/>
                  </a:lnTo>
                  <a:lnTo>
                    <a:pt x="0" y="434911"/>
                  </a:lnTo>
                  <a:lnTo>
                    <a:pt x="0" y="530021"/>
                  </a:lnTo>
                  <a:lnTo>
                    <a:pt x="71285" y="516064"/>
                  </a:lnTo>
                  <a:lnTo>
                    <a:pt x="112522" y="497471"/>
                  </a:lnTo>
                  <a:lnTo>
                    <a:pt x="149783" y="472592"/>
                  </a:lnTo>
                  <a:lnTo>
                    <a:pt x="182410" y="442137"/>
                  </a:lnTo>
                  <a:lnTo>
                    <a:pt x="209715" y="406755"/>
                  </a:lnTo>
                  <a:lnTo>
                    <a:pt x="231038" y="367118"/>
                  </a:lnTo>
                  <a:lnTo>
                    <a:pt x="245706" y="323926"/>
                  </a:lnTo>
                  <a:lnTo>
                    <a:pt x="253034" y="277837"/>
                  </a:lnTo>
                  <a:lnTo>
                    <a:pt x="260210" y="324116"/>
                  </a:lnTo>
                  <a:lnTo>
                    <a:pt x="274777" y="367487"/>
                  </a:lnTo>
                  <a:lnTo>
                    <a:pt x="296037" y="407276"/>
                  </a:lnTo>
                  <a:lnTo>
                    <a:pt x="323329" y="442810"/>
                  </a:lnTo>
                  <a:lnTo>
                    <a:pt x="355968" y="473417"/>
                  </a:lnTo>
                  <a:lnTo>
                    <a:pt x="393293" y="498398"/>
                  </a:lnTo>
                  <a:lnTo>
                    <a:pt x="434594" y="517080"/>
                  </a:lnTo>
                  <a:lnTo>
                    <a:pt x="479209" y="528789"/>
                  </a:lnTo>
                  <a:lnTo>
                    <a:pt x="527126" y="532841"/>
                  </a:lnTo>
                  <a:close/>
                </a:path>
                <a:path w="527684" h="533400">
                  <a:moveTo>
                    <a:pt x="527126" y="267309"/>
                  </a:moveTo>
                  <a:lnTo>
                    <a:pt x="521677" y="219138"/>
                  </a:lnTo>
                  <a:lnTo>
                    <a:pt x="508279" y="173888"/>
                  </a:lnTo>
                  <a:lnTo>
                    <a:pt x="487667" y="132257"/>
                  </a:lnTo>
                  <a:lnTo>
                    <a:pt x="460578" y="94996"/>
                  </a:lnTo>
                  <a:lnTo>
                    <a:pt x="427736" y="62852"/>
                  </a:lnTo>
                  <a:lnTo>
                    <a:pt x="389877" y="36537"/>
                  </a:lnTo>
                  <a:lnTo>
                    <a:pt x="347751" y="16802"/>
                  </a:lnTo>
                  <a:lnTo>
                    <a:pt x="302082" y="4381"/>
                  </a:lnTo>
                  <a:lnTo>
                    <a:pt x="253606" y="0"/>
                  </a:lnTo>
                  <a:lnTo>
                    <a:pt x="252387" y="0"/>
                  </a:lnTo>
                  <a:lnTo>
                    <a:pt x="204038" y="4356"/>
                  </a:lnTo>
                  <a:lnTo>
                    <a:pt x="158483" y="16725"/>
                  </a:lnTo>
                  <a:lnTo>
                    <a:pt x="116446" y="36372"/>
                  </a:lnTo>
                  <a:lnTo>
                    <a:pt x="78663" y="62572"/>
                  </a:lnTo>
                  <a:lnTo>
                    <a:pt x="45859" y="94576"/>
                  </a:lnTo>
                  <a:lnTo>
                    <a:pt x="18770" y="131686"/>
                  </a:lnTo>
                  <a:lnTo>
                    <a:pt x="0" y="169379"/>
                  </a:lnTo>
                  <a:lnTo>
                    <a:pt x="0" y="264477"/>
                  </a:lnTo>
                  <a:lnTo>
                    <a:pt x="71285" y="250532"/>
                  </a:lnTo>
                  <a:lnTo>
                    <a:pt x="112522" y="231940"/>
                  </a:lnTo>
                  <a:lnTo>
                    <a:pt x="149783" y="207060"/>
                  </a:lnTo>
                  <a:lnTo>
                    <a:pt x="182410" y="176593"/>
                  </a:lnTo>
                  <a:lnTo>
                    <a:pt x="209715" y="141211"/>
                  </a:lnTo>
                  <a:lnTo>
                    <a:pt x="231038" y="101587"/>
                  </a:lnTo>
                  <a:lnTo>
                    <a:pt x="245706" y="58394"/>
                  </a:lnTo>
                  <a:lnTo>
                    <a:pt x="253034" y="12306"/>
                  </a:lnTo>
                  <a:lnTo>
                    <a:pt x="260210" y="58585"/>
                  </a:lnTo>
                  <a:lnTo>
                    <a:pt x="274777" y="101955"/>
                  </a:lnTo>
                  <a:lnTo>
                    <a:pt x="296037" y="141744"/>
                  </a:lnTo>
                  <a:lnTo>
                    <a:pt x="323329" y="177279"/>
                  </a:lnTo>
                  <a:lnTo>
                    <a:pt x="355968" y="207873"/>
                  </a:lnTo>
                  <a:lnTo>
                    <a:pt x="393293" y="232854"/>
                  </a:lnTo>
                  <a:lnTo>
                    <a:pt x="434594" y="251548"/>
                  </a:lnTo>
                  <a:lnTo>
                    <a:pt x="479209" y="263258"/>
                  </a:lnTo>
                  <a:lnTo>
                    <a:pt x="527126" y="267309"/>
                  </a:lnTo>
                  <a:close/>
                </a:path>
              </a:pathLst>
            </a:custGeom>
            <a:solidFill>
              <a:srgbClr val="2DB7EA"/>
            </a:solidFill>
          </p:spPr>
          <p:txBody>
            <a:bodyPr wrap="square" lIns="0" tIns="0" rIns="0" bIns="0" rtlCol="0"/>
            <a:lstStyle/>
            <a:p>
              <a:endParaRPr dirty="0"/>
            </a:p>
          </p:txBody>
        </p:sp>
        <p:pic>
          <p:nvPicPr>
            <p:cNvPr id="512" name="object 273">
              <a:extLst>
                <a:ext uri="{FF2B5EF4-FFF2-40B4-BE49-F238E27FC236}">
                  <a16:creationId xmlns:a16="http://schemas.microsoft.com/office/drawing/2014/main" id="{62CF7553-588F-5DDC-1D95-246D6B13D64B}"/>
                </a:ext>
              </a:extLst>
            </p:cNvPr>
            <p:cNvPicPr/>
            <p:nvPr/>
          </p:nvPicPr>
          <p:blipFill>
            <a:blip r:embed="rId16" cstate="print"/>
            <a:stretch>
              <a:fillRect/>
            </a:stretch>
          </p:blipFill>
          <p:spPr>
            <a:xfrm>
              <a:off x="7326865" y="393572"/>
              <a:ext cx="106445" cy="107156"/>
            </a:xfrm>
            <a:prstGeom prst="rect">
              <a:avLst/>
            </a:prstGeom>
          </p:spPr>
        </p:pic>
        <p:sp>
          <p:nvSpPr>
            <p:cNvPr id="513" name="object 274">
              <a:extLst>
                <a:ext uri="{FF2B5EF4-FFF2-40B4-BE49-F238E27FC236}">
                  <a16:creationId xmlns:a16="http://schemas.microsoft.com/office/drawing/2014/main" id="{A66C4104-2B0B-47B0-A8C1-6D386995F221}"/>
                </a:ext>
              </a:extLst>
            </p:cNvPr>
            <p:cNvSpPr/>
            <p:nvPr/>
          </p:nvSpPr>
          <p:spPr>
            <a:xfrm>
              <a:off x="7226300" y="592039"/>
              <a:ext cx="319992" cy="477101"/>
            </a:xfrm>
            <a:custGeom>
              <a:avLst/>
              <a:gdLst/>
              <a:ahLst/>
              <a:cxnLst/>
              <a:rect l="l" t="t" r="r" b="b"/>
              <a:pathLst>
                <a:path w="527684" h="786764">
                  <a:moveTo>
                    <a:pt x="527126" y="786384"/>
                  </a:moveTo>
                  <a:lnTo>
                    <a:pt x="521677" y="738225"/>
                  </a:lnTo>
                  <a:lnTo>
                    <a:pt x="508279" y="692962"/>
                  </a:lnTo>
                  <a:lnTo>
                    <a:pt x="487667" y="651332"/>
                  </a:lnTo>
                  <a:lnTo>
                    <a:pt x="460578" y="614083"/>
                  </a:lnTo>
                  <a:lnTo>
                    <a:pt x="427736" y="581926"/>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47"/>
                  </a:lnTo>
                  <a:lnTo>
                    <a:pt x="45859" y="613664"/>
                  </a:lnTo>
                  <a:lnTo>
                    <a:pt x="18770" y="650760"/>
                  </a:lnTo>
                  <a:lnTo>
                    <a:pt x="0" y="688454"/>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59"/>
                  </a:lnTo>
                  <a:lnTo>
                    <a:pt x="274777" y="621030"/>
                  </a:lnTo>
                  <a:lnTo>
                    <a:pt x="296037" y="660831"/>
                  </a:lnTo>
                  <a:lnTo>
                    <a:pt x="323329" y="696366"/>
                  </a:lnTo>
                  <a:lnTo>
                    <a:pt x="355968" y="726960"/>
                  </a:lnTo>
                  <a:lnTo>
                    <a:pt x="393293" y="751941"/>
                  </a:lnTo>
                  <a:lnTo>
                    <a:pt x="434594" y="770623"/>
                  </a:lnTo>
                  <a:lnTo>
                    <a:pt x="479209" y="782332"/>
                  </a:lnTo>
                  <a:lnTo>
                    <a:pt x="527126" y="786384"/>
                  </a:lnTo>
                  <a:close/>
                </a:path>
                <a:path w="527684" h="786764">
                  <a:moveTo>
                    <a:pt x="527126" y="520852"/>
                  </a:moveTo>
                  <a:lnTo>
                    <a:pt x="521677" y="472694"/>
                  </a:lnTo>
                  <a:lnTo>
                    <a:pt x="508279" y="427431"/>
                  </a:lnTo>
                  <a:lnTo>
                    <a:pt x="487667" y="385800"/>
                  </a:lnTo>
                  <a:lnTo>
                    <a:pt x="460578" y="348551"/>
                  </a:lnTo>
                  <a:lnTo>
                    <a:pt x="427736" y="316395"/>
                  </a:lnTo>
                  <a:lnTo>
                    <a:pt x="389877" y="290080"/>
                  </a:lnTo>
                  <a:lnTo>
                    <a:pt x="347751" y="270357"/>
                  </a:lnTo>
                  <a:lnTo>
                    <a:pt x="302082" y="257924"/>
                  </a:lnTo>
                  <a:lnTo>
                    <a:pt x="253606" y="253555"/>
                  </a:lnTo>
                  <a:lnTo>
                    <a:pt x="252387" y="253555"/>
                  </a:lnTo>
                  <a:lnTo>
                    <a:pt x="204038" y="257911"/>
                  </a:lnTo>
                  <a:lnTo>
                    <a:pt x="158483" y="270281"/>
                  </a:lnTo>
                  <a:lnTo>
                    <a:pt x="116446" y="289915"/>
                  </a:lnTo>
                  <a:lnTo>
                    <a:pt x="78663" y="316115"/>
                  </a:lnTo>
                  <a:lnTo>
                    <a:pt x="45859" y="348132"/>
                  </a:lnTo>
                  <a:lnTo>
                    <a:pt x="18770" y="385229"/>
                  </a:lnTo>
                  <a:lnTo>
                    <a:pt x="0" y="422922"/>
                  </a:lnTo>
                  <a:lnTo>
                    <a:pt x="0" y="518033"/>
                  </a:lnTo>
                  <a:lnTo>
                    <a:pt x="71285" y="504088"/>
                  </a:lnTo>
                  <a:lnTo>
                    <a:pt x="112522" y="485482"/>
                  </a:lnTo>
                  <a:lnTo>
                    <a:pt x="149783" y="460616"/>
                  </a:lnTo>
                  <a:lnTo>
                    <a:pt x="182410" y="430149"/>
                  </a:lnTo>
                  <a:lnTo>
                    <a:pt x="209715" y="394766"/>
                  </a:lnTo>
                  <a:lnTo>
                    <a:pt x="231038" y="355142"/>
                  </a:lnTo>
                  <a:lnTo>
                    <a:pt x="245706" y="311937"/>
                  </a:lnTo>
                  <a:lnTo>
                    <a:pt x="253034" y="265861"/>
                  </a:lnTo>
                  <a:lnTo>
                    <a:pt x="260210" y="312127"/>
                  </a:lnTo>
                  <a:lnTo>
                    <a:pt x="274777" y="355498"/>
                  </a:lnTo>
                  <a:lnTo>
                    <a:pt x="296037" y="395300"/>
                  </a:lnTo>
                  <a:lnTo>
                    <a:pt x="323329" y="430834"/>
                  </a:lnTo>
                  <a:lnTo>
                    <a:pt x="355968" y="461429"/>
                  </a:lnTo>
                  <a:lnTo>
                    <a:pt x="393293" y="486410"/>
                  </a:lnTo>
                  <a:lnTo>
                    <a:pt x="434594" y="505091"/>
                  </a:lnTo>
                  <a:lnTo>
                    <a:pt x="479209" y="516801"/>
                  </a:lnTo>
                  <a:lnTo>
                    <a:pt x="527126" y="520852"/>
                  </a:lnTo>
                  <a:close/>
                </a:path>
                <a:path w="527684" h="786764">
                  <a:moveTo>
                    <a:pt x="527138" y="267322"/>
                  </a:moveTo>
                  <a:lnTo>
                    <a:pt x="521690" y="219138"/>
                  </a:lnTo>
                  <a:lnTo>
                    <a:pt x="508292" y="173875"/>
                  </a:lnTo>
                  <a:lnTo>
                    <a:pt x="487680" y="132245"/>
                  </a:lnTo>
                  <a:lnTo>
                    <a:pt x="471982" y="110680"/>
                  </a:lnTo>
                  <a:lnTo>
                    <a:pt x="460578" y="94996"/>
                  </a:lnTo>
                  <a:lnTo>
                    <a:pt x="427736" y="62839"/>
                  </a:lnTo>
                  <a:lnTo>
                    <a:pt x="389890" y="36537"/>
                  </a:lnTo>
                  <a:lnTo>
                    <a:pt x="347751" y="16789"/>
                  </a:lnTo>
                  <a:lnTo>
                    <a:pt x="302082" y="4368"/>
                  </a:lnTo>
                  <a:lnTo>
                    <a:pt x="253619" y="12"/>
                  </a:lnTo>
                  <a:lnTo>
                    <a:pt x="252387" y="0"/>
                  </a:lnTo>
                  <a:lnTo>
                    <a:pt x="204038" y="4356"/>
                  </a:lnTo>
                  <a:lnTo>
                    <a:pt x="158483" y="16713"/>
                  </a:lnTo>
                  <a:lnTo>
                    <a:pt x="116446" y="36360"/>
                  </a:lnTo>
                  <a:lnTo>
                    <a:pt x="78663" y="62560"/>
                  </a:lnTo>
                  <a:lnTo>
                    <a:pt x="45859" y="94576"/>
                  </a:lnTo>
                  <a:lnTo>
                    <a:pt x="18745" y="131686"/>
                  </a:lnTo>
                  <a:lnTo>
                    <a:pt x="0" y="169291"/>
                  </a:lnTo>
                  <a:lnTo>
                    <a:pt x="0" y="264439"/>
                  </a:lnTo>
                  <a:lnTo>
                    <a:pt x="26758" y="262178"/>
                  </a:lnTo>
                  <a:lnTo>
                    <a:pt x="71285" y="250520"/>
                  </a:lnTo>
                  <a:lnTo>
                    <a:pt x="112522" y="231927"/>
                  </a:lnTo>
                  <a:lnTo>
                    <a:pt x="149783" y="207048"/>
                  </a:lnTo>
                  <a:lnTo>
                    <a:pt x="182410" y="176593"/>
                  </a:lnTo>
                  <a:lnTo>
                    <a:pt x="209727" y="141211"/>
                  </a:lnTo>
                  <a:lnTo>
                    <a:pt x="231051" y="101600"/>
                  </a:lnTo>
                  <a:lnTo>
                    <a:pt x="245719" y="58407"/>
                  </a:lnTo>
                  <a:lnTo>
                    <a:pt x="253034" y="12357"/>
                  </a:lnTo>
                  <a:lnTo>
                    <a:pt x="260210" y="58572"/>
                  </a:lnTo>
                  <a:lnTo>
                    <a:pt x="274777" y="101942"/>
                  </a:lnTo>
                  <a:lnTo>
                    <a:pt x="296037" y="141732"/>
                  </a:lnTo>
                  <a:lnTo>
                    <a:pt x="323329" y="177266"/>
                  </a:lnTo>
                  <a:lnTo>
                    <a:pt x="355968" y="207873"/>
                  </a:lnTo>
                  <a:lnTo>
                    <a:pt x="393293" y="232854"/>
                  </a:lnTo>
                  <a:lnTo>
                    <a:pt x="434606" y="251548"/>
                  </a:lnTo>
                  <a:lnTo>
                    <a:pt x="479221" y="263258"/>
                  </a:lnTo>
                  <a:lnTo>
                    <a:pt x="527138" y="267322"/>
                  </a:lnTo>
                  <a:close/>
                </a:path>
              </a:pathLst>
            </a:custGeom>
            <a:solidFill>
              <a:srgbClr val="7ED3F1"/>
            </a:solidFill>
          </p:spPr>
          <p:txBody>
            <a:bodyPr wrap="square" lIns="0" tIns="0" rIns="0" bIns="0" rtlCol="0"/>
            <a:lstStyle/>
            <a:p>
              <a:endParaRPr dirty="0"/>
            </a:p>
          </p:txBody>
        </p:sp>
        <p:pic>
          <p:nvPicPr>
            <p:cNvPr id="514" name="object 275">
              <a:extLst>
                <a:ext uri="{FF2B5EF4-FFF2-40B4-BE49-F238E27FC236}">
                  <a16:creationId xmlns:a16="http://schemas.microsoft.com/office/drawing/2014/main" id="{D8F951C3-C0F8-FE50-015E-9336F22E7FAA}"/>
                </a:ext>
              </a:extLst>
            </p:cNvPr>
            <p:cNvPicPr/>
            <p:nvPr/>
          </p:nvPicPr>
          <p:blipFill>
            <a:blip r:embed="rId17" cstate="print"/>
            <a:stretch>
              <a:fillRect/>
            </a:stretch>
          </p:blipFill>
          <p:spPr>
            <a:xfrm>
              <a:off x="7326865" y="1047738"/>
              <a:ext cx="106445" cy="107156"/>
            </a:xfrm>
            <a:prstGeom prst="rect">
              <a:avLst/>
            </a:prstGeom>
          </p:spPr>
        </p:pic>
        <p:sp>
          <p:nvSpPr>
            <p:cNvPr id="515" name="object 276">
              <a:extLst>
                <a:ext uri="{FF2B5EF4-FFF2-40B4-BE49-F238E27FC236}">
                  <a16:creationId xmlns:a16="http://schemas.microsoft.com/office/drawing/2014/main" id="{C039F08D-5C80-BC8F-BEF5-F30B22EF3032}"/>
                </a:ext>
              </a:extLst>
            </p:cNvPr>
            <p:cNvSpPr/>
            <p:nvPr/>
          </p:nvSpPr>
          <p:spPr>
            <a:xfrm>
              <a:off x="8368808" y="804428"/>
              <a:ext cx="332700" cy="477101"/>
            </a:xfrm>
            <a:custGeom>
              <a:avLst/>
              <a:gdLst/>
              <a:ahLst/>
              <a:cxnLst/>
              <a:rect l="l" t="t" r="r" b="b"/>
              <a:pathLst>
                <a:path w="548640" h="786764">
                  <a:moveTo>
                    <a:pt x="548043" y="266598"/>
                  </a:moveTo>
                  <a:lnTo>
                    <a:pt x="500367" y="270637"/>
                  </a:lnTo>
                  <a:lnTo>
                    <a:pt x="455841" y="282295"/>
                  </a:lnTo>
                  <a:lnTo>
                    <a:pt x="414616" y="300901"/>
                  </a:lnTo>
                  <a:lnTo>
                    <a:pt x="377342" y="325767"/>
                  </a:lnTo>
                  <a:lnTo>
                    <a:pt x="344716" y="356235"/>
                  </a:lnTo>
                  <a:lnTo>
                    <a:pt x="317411" y="391617"/>
                  </a:lnTo>
                  <a:lnTo>
                    <a:pt x="296087" y="431241"/>
                  </a:lnTo>
                  <a:lnTo>
                    <a:pt x="281419" y="474433"/>
                  </a:lnTo>
                  <a:lnTo>
                    <a:pt x="274091" y="520522"/>
                  </a:lnTo>
                  <a:lnTo>
                    <a:pt x="266915" y="474256"/>
                  </a:lnTo>
                  <a:lnTo>
                    <a:pt x="252361" y="430872"/>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88"/>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42"/>
                  </a:lnTo>
                  <a:lnTo>
                    <a:pt x="529005" y="359689"/>
                  </a:lnTo>
                  <a:lnTo>
                    <a:pt x="542467" y="314591"/>
                  </a:lnTo>
                  <a:lnTo>
                    <a:pt x="548043" y="266598"/>
                  </a:lnTo>
                  <a:close/>
                </a:path>
                <a:path w="548640" h="786764">
                  <a:moveTo>
                    <a:pt x="548043" y="1079"/>
                  </a:moveTo>
                  <a:lnTo>
                    <a:pt x="500367" y="5105"/>
                  </a:lnTo>
                  <a:lnTo>
                    <a:pt x="455841" y="16764"/>
                  </a:lnTo>
                  <a:lnTo>
                    <a:pt x="414616" y="35369"/>
                  </a:lnTo>
                  <a:lnTo>
                    <a:pt x="377342" y="60236"/>
                  </a:lnTo>
                  <a:lnTo>
                    <a:pt x="344716"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67" y="49060"/>
                  </a:lnTo>
                  <a:lnTo>
                    <a:pt x="548043" y="1079"/>
                  </a:lnTo>
                  <a:close/>
                </a:path>
                <a:path w="548640" h="786764">
                  <a:moveTo>
                    <a:pt x="548093" y="520192"/>
                  </a:moveTo>
                  <a:lnTo>
                    <a:pt x="500367" y="524205"/>
                  </a:lnTo>
                  <a:lnTo>
                    <a:pt x="455841" y="535851"/>
                  </a:lnTo>
                  <a:lnTo>
                    <a:pt x="414616" y="554456"/>
                  </a:lnTo>
                  <a:lnTo>
                    <a:pt x="377342" y="579323"/>
                  </a:lnTo>
                  <a:lnTo>
                    <a:pt x="344716" y="609790"/>
                  </a:lnTo>
                  <a:lnTo>
                    <a:pt x="317411" y="645160"/>
                  </a:lnTo>
                  <a:lnTo>
                    <a:pt x="296087" y="684784"/>
                  </a:lnTo>
                  <a:lnTo>
                    <a:pt x="281419" y="727976"/>
                  </a:lnTo>
                  <a:lnTo>
                    <a:pt x="274091" y="774065"/>
                  </a:lnTo>
                  <a:lnTo>
                    <a:pt x="266915" y="727811"/>
                  </a:lnTo>
                  <a:lnTo>
                    <a:pt x="252361" y="684441"/>
                  </a:lnTo>
                  <a:lnTo>
                    <a:pt x="231089" y="644652"/>
                  </a:lnTo>
                  <a:lnTo>
                    <a:pt x="203796" y="609117"/>
                  </a:lnTo>
                  <a:lnTo>
                    <a:pt x="171157" y="578510"/>
                  </a:lnTo>
                  <a:lnTo>
                    <a:pt x="133845" y="553529"/>
                  </a:lnTo>
                  <a:lnTo>
                    <a:pt x="92532" y="534847"/>
                  </a:lnTo>
                  <a:lnTo>
                    <a:pt x="47917" y="523113"/>
                  </a:lnTo>
                  <a:lnTo>
                    <a:pt x="0" y="519061"/>
                  </a:lnTo>
                  <a:lnTo>
                    <a:pt x="5448" y="567245"/>
                  </a:lnTo>
                  <a:lnTo>
                    <a:pt x="18846" y="612508"/>
                  </a:lnTo>
                  <a:lnTo>
                    <a:pt x="39458" y="654138"/>
                  </a:lnTo>
                  <a:lnTo>
                    <a:pt x="66548" y="691388"/>
                  </a:lnTo>
                  <a:lnTo>
                    <a:pt x="98704" y="722871"/>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81266" y="691807"/>
                  </a:lnTo>
                  <a:lnTo>
                    <a:pt x="508393" y="654697"/>
                  </a:lnTo>
                  <a:lnTo>
                    <a:pt x="529043" y="613244"/>
                  </a:lnTo>
                  <a:lnTo>
                    <a:pt x="542518" y="568172"/>
                  </a:lnTo>
                  <a:lnTo>
                    <a:pt x="548093" y="520192"/>
                  </a:lnTo>
                  <a:close/>
                </a:path>
              </a:pathLst>
            </a:custGeom>
            <a:solidFill>
              <a:srgbClr val="2DB7EA"/>
            </a:solidFill>
          </p:spPr>
          <p:txBody>
            <a:bodyPr wrap="square" lIns="0" tIns="0" rIns="0" bIns="0" rtlCol="0"/>
            <a:lstStyle/>
            <a:p>
              <a:endParaRPr dirty="0"/>
            </a:p>
          </p:txBody>
        </p:sp>
        <p:pic>
          <p:nvPicPr>
            <p:cNvPr id="516" name="object 277">
              <a:extLst>
                <a:ext uri="{FF2B5EF4-FFF2-40B4-BE49-F238E27FC236}">
                  <a16:creationId xmlns:a16="http://schemas.microsoft.com/office/drawing/2014/main" id="{3C6C03F2-F62D-CD4F-E53A-E36EAC42D132}"/>
                </a:ext>
              </a:extLst>
            </p:cNvPr>
            <p:cNvPicPr/>
            <p:nvPr/>
          </p:nvPicPr>
          <p:blipFill>
            <a:blip r:embed="rId5" cstate="print"/>
            <a:stretch>
              <a:fillRect/>
            </a:stretch>
          </p:blipFill>
          <p:spPr>
            <a:xfrm>
              <a:off x="8481461" y="718433"/>
              <a:ext cx="106445" cy="107156"/>
            </a:xfrm>
            <a:prstGeom prst="rect">
              <a:avLst/>
            </a:prstGeom>
          </p:spPr>
        </p:pic>
        <p:sp>
          <p:nvSpPr>
            <p:cNvPr id="517" name="object 278">
              <a:extLst>
                <a:ext uri="{FF2B5EF4-FFF2-40B4-BE49-F238E27FC236}">
                  <a16:creationId xmlns:a16="http://schemas.microsoft.com/office/drawing/2014/main" id="{DC715EB8-8601-25A1-9E47-CD1177381800}"/>
                </a:ext>
              </a:extLst>
            </p:cNvPr>
            <p:cNvSpPr/>
            <p:nvPr/>
          </p:nvSpPr>
          <p:spPr>
            <a:xfrm>
              <a:off x="8368808" y="150257"/>
              <a:ext cx="332700" cy="477101"/>
            </a:xfrm>
            <a:custGeom>
              <a:avLst/>
              <a:gdLst/>
              <a:ahLst/>
              <a:cxnLst/>
              <a:rect l="l" t="t" r="r" b="b"/>
              <a:pathLst>
                <a:path w="548640" h="786765">
                  <a:moveTo>
                    <a:pt x="548043" y="266611"/>
                  </a:moveTo>
                  <a:lnTo>
                    <a:pt x="500367" y="270649"/>
                  </a:lnTo>
                  <a:lnTo>
                    <a:pt x="455841" y="282308"/>
                  </a:lnTo>
                  <a:lnTo>
                    <a:pt x="414616" y="300901"/>
                  </a:lnTo>
                  <a:lnTo>
                    <a:pt x="377342" y="325767"/>
                  </a:lnTo>
                  <a:lnTo>
                    <a:pt x="344716" y="356235"/>
                  </a:lnTo>
                  <a:lnTo>
                    <a:pt x="317411" y="391617"/>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39"/>
                  </a:lnTo>
                  <a:lnTo>
                    <a:pt x="225044" y="528459"/>
                  </a:lnTo>
                  <a:lnTo>
                    <a:pt x="273519" y="532828"/>
                  </a:lnTo>
                  <a:lnTo>
                    <a:pt x="274751" y="532828"/>
                  </a:lnTo>
                  <a:lnTo>
                    <a:pt x="323088" y="528472"/>
                  </a:lnTo>
                  <a:lnTo>
                    <a:pt x="368642" y="516115"/>
                  </a:lnTo>
                  <a:lnTo>
                    <a:pt x="410679" y="496468"/>
                  </a:lnTo>
                  <a:lnTo>
                    <a:pt x="448462" y="470268"/>
                  </a:lnTo>
                  <a:lnTo>
                    <a:pt x="481266" y="438251"/>
                  </a:lnTo>
                  <a:lnTo>
                    <a:pt x="508355" y="401154"/>
                  </a:lnTo>
                  <a:lnTo>
                    <a:pt x="529005" y="359689"/>
                  </a:lnTo>
                  <a:lnTo>
                    <a:pt x="542467" y="314604"/>
                  </a:lnTo>
                  <a:lnTo>
                    <a:pt x="548043" y="266611"/>
                  </a:lnTo>
                  <a:close/>
                </a:path>
                <a:path w="548640" h="786765">
                  <a:moveTo>
                    <a:pt x="548043" y="1079"/>
                  </a:moveTo>
                  <a:lnTo>
                    <a:pt x="500367" y="5118"/>
                  </a:lnTo>
                  <a:lnTo>
                    <a:pt x="455841" y="16776"/>
                  </a:lnTo>
                  <a:lnTo>
                    <a:pt x="414616" y="35369"/>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60"/>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36"/>
                  </a:lnTo>
                  <a:lnTo>
                    <a:pt x="481266" y="172732"/>
                  </a:lnTo>
                  <a:lnTo>
                    <a:pt x="508355" y="135623"/>
                  </a:lnTo>
                  <a:lnTo>
                    <a:pt x="529005" y="94157"/>
                  </a:lnTo>
                  <a:lnTo>
                    <a:pt x="542467" y="49072"/>
                  </a:lnTo>
                  <a:lnTo>
                    <a:pt x="548043" y="1079"/>
                  </a:lnTo>
                  <a:close/>
                </a:path>
                <a:path w="548640" h="786765">
                  <a:moveTo>
                    <a:pt x="548093" y="520204"/>
                  </a:moveTo>
                  <a:lnTo>
                    <a:pt x="500367" y="524205"/>
                  </a:lnTo>
                  <a:lnTo>
                    <a:pt x="455841" y="535863"/>
                  </a:lnTo>
                  <a:lnTo>
                    <a:pt x="414616" y="554469"/>
                  </a:lnTo>
                  <a:lnTo>
                    <a:pt x="377342" y="579335"/>
                  </a:lnTo>
                  <a:lnTo>
                    <a:pt x="344716" y="609803"/>
                  </a:lnTo>
                  <a:lnTo>
                    <a:pt x="317411" y="645172"/>
                  </a:lnTo>
                  <a:lnTo>
                    <a:pt x="296087" y="684796"/>
                  </a:lnTo>
                  <a:lnTo>
                    <a:pt x="281419" y="727976"/>
                  </a:lnTo>
                  <a:lnTo>
                    <a:pt x="274091" y="774065"/>
                  </a:lnTo>
                  <a:lnTo>
                    <a:pt x="266915" y="727824"/>
                  </a:lnTo>
                  <a:lnTo>
                    <a:pt x="252361" y="684453"/>
                  </a:lnTo>
                  <a:lnTo>
                    <a:pt x="231089"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51"/>
                  </a:lnTo>
                  <a:lnTo>
                    <a:pt x="66548" y="691388"/>
                  </a:lnTo>
                  <a:lnTo>
                    <a:pt x="99402" y="723557"/>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7ED3F1"/>
            </a:solidFill>
          </p:spPr>
          <p:txBody>
            <a:bodyPr wrap="square" lIns="0" tIns="0" rIns="0" bIns="0" rtlCol="0"/>
            <a:lstStyle/>
            <a:p>
              <a:endParaRPr dirty="0"/>
            </a:p>
          </p:txBody>
        </p:sp>
        <p:pic>
          <p:nvPicPr>
            <p:cNvPr id="518" name="object 279">
              <a:extLst>
                <a:ext uri="{FF2B5EF4-FFF2-40B4-BE49-F238E27FC236}">
                  <a16:creationId xmlns:a16="http://schemas.microsoft.com/office/drawing/2014/main" id="{B1A2E943-E400-8352-1EF9-D1A2546615FD}"/>
                </a:ext>
              </a:extLst>
            </p:cNvPr>
            <p:cNvPicPr/>
            <p:nvPr/>
          </p:nvPicPr>
          <p:blipFill>
            <a:blip r:embed="rId6" cstate="print"/>
            <a:stretch>
              <a:fillRect/>
            </a:stretch>
          </p:blipFill>
          <p:spPr>
            <a:xfrm>
              <a:off x="8481461" y="64269"/>
              <a:ext cx="106445" cy="107156"/>
            </a:xfrm>
            <a:prstGeom prst="rect">
              <a:avLst/>
            </a:prstGeom>
          </p:spPr>
        </p:pic>
        <p:sp>
          <p:nvSpPr>
            <p:cNvPr id="519" name="object 280">
              <a:extLst>
                <a:ext uri="{FF2B5EF4-FFF2-40B4-BE49-F238E27FC236}">
                  <a16:creationId xmlns:a16="http://schemas.microsoft.com/office/drawing/2014/main" id="{0E1CF17A-D384-B638-A4FF-975747358E68}"/>
                </a:ext>
              </a:extLst>
            </p:cNvPr>
            <p:cNvSpPr/>
            <p:nvPr/>
          </p:nvSpPr>
          <p:spPr>
            <a:xfrm>
              <a:off x="8368808" y="2112754"/>
              <a:ext cx="332700" cy="477101"/>
            </a:xfrm>
            <a:custGeom>
              <a:avLst/>
              <a:gdLst/>
              <a:ahLst/>
              <a:cxnLst/>
              <a:rect l="l" t="t" r="r" b="b"/>
              <a:pathLst>
                <a:path w="548640" h="786764">
                  <a:moveTo>
                    <a:pt x="548043" y="266611"/>
                  </a:moveTo>
                  <a:lnTo>
                    <a:pt x="500367" y="270649"/>
                  </a:lnTo>
                  <a:lnTo>
                    <a:pt x="455841" y="282308"/>
                  </a:lnTo>
                  <a:lnTo>
                    <a:pt x="414616" y="300901"/>
                  </a:lnTo>
                  <a:lnTo>
                    <a:pt x="377342" y="325780"/>
                  </a:lnTo>
                  <a:lnTo>
                    <a:pt x="344716"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74" y="516039"/>
                  </a:lnTo>
                  <a:lnTo>
                    <a:pt x="225044" y="528459"/>
                  </a:lnTo>
                  <a:lnTo>
                    <a:pt x="273519" y="532841"/>
                  </a:lnTo>
                  <a:lnTo>
                    <a:pt x="274751" y="532841"/>
                  </a:lnTo>
                  <a:lnTo>
                    <a:pt x="323088" y="528485"/>
                  </a:lnTo>
                  <a:lnTo>
                    <a:pt x="368642" y="516115"/>
                  </a:lnTo>
                  <a:lnTo>
                    <a:pt x="410679" y="496468"/>
                  </a:lnTo>
                  <a:lnTo>
                    <a:pt x="448462" y="470268"/>
                  </a:lnTo>
                  <a:lnTo>
                    <a:pt x="481266" y="438264"/>
                  </a:lnTo>
                  <a:lnTo>
                    <a:pt x="508355" y="401154"/>
                  </a:lnTo>
                  <a:lnTo>
                    <a:pt x="529005" y="359689"/>
                  </a:lnTo>
                  <a:lnTo>
                    <a:pt x="542467" y="314604"/>
                  </a:lnTo>
                  <a:lnTo>
                    <a:pt x="548043" y="266611"/>
                  </a:lnTo>
                  <a:close/>
                </a:path>
                <a:path w="548640" h="786764">
                  <a:moveTo>
                    <a:pt x="548043" y="1079"/>
                  </a:moveTo>
                  <a:lnTo>
                    <a:pt x="500367" y="5118"/>
                  </a:lnTo>
                  <a:lnTo>
                    <a:pt x="455841" y="16776"/>
                  </a:lnTo>
                  <a:lnTo>
                    <a:pt x="414616" y="35369"/>
                  </a:lnTo>
                  <a:lnTo>
                    <a:pt x="377342" y="60248"/>
                  </a:lnTo>
                  <a:lnTo>
                    <a:pt x="344716" y="90703"/>
                  </a:lnTo>
                  <a:lnTo>
                    <a:pt x="317411" y="126085"/>
                  </a:lnTo>
                  <a:lnTo>
                    <a:pt x="296087" y="165722"/>
                  </a:lnTo>
                  <a:lnTo>
                    <a:pt x="281419" y="208915"/>
                  </a:lnTo>
                  <a:lnTo>
                    <a:pt x="274091" y="255003"/>
                  </a:lnTo>
                  <a:lnTo>
                    <a:pt x="266915" y="208724"/>
                  </a:lnTo>
                  <a:lnTo>
                    <a:pt x="252361" y="165354"/>
                  </a:lnTo>
                  <a:lnTo>
                    <a:pt x="231089"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13"/>
                  </a:lnTo>
                  <a:lnTo>
                    <a:pt x="99402" y="204457"/>
                  </a:lnTo>
                  <a:lnTo>
                    <a:pt x="137248" y="230771"/>
                  </a:lnTo>
                  <a:lnTo>
                    <a:pt x="179374" y="250507"/>
                  </a:lnTo>
                  <a:lnTo>
                    <a:pt x="225044" y="262928"/>
                  </a:lnTo>
                  <a:lnTo>
                    <a:pt x="273519" y="267296"/>
                  </a:lnTo>
                  <a:lnTo>
                    <a:pt x="274751" y="267296"/>
                  </a:lnTo>
                  <a:lnTo>
                    <a:pt x="323088" y="262940"/>
                  </a:lnTo>
                  <a:lnTo>
                    <a:pt x="368642" y="250583"/>
                  </a:lnTo>
                  <a:lnTo>
                    <a:pt x="410679" y="230936"/>
                  </a:lnTo>
                  <a:lnTo>
                    <a:pt x="448462" y="204736"/>
                  </a:lnTo>
                  <a:lnTo>
                    <a:pt x="481266" y="172720"/>
                  </a:lnTo>
                  <a:lnTo>
                    <a:pt x="508355" y="135623"/>
                  </a:lnTo>
                  <a:lnTo>
                    <a:pt x="529005" y="94157"/>
                  </a:lnTo>
                  <a:lnTo>
                    <a:pt x="542467" y="49072"/>
                  </a:lnTo>
                  <a:lnTo>
                    <a:pt x="548043" y="1079"/>
                  </a:lnTo>
                  <a:close/>
                </a:path>
                <a:path w="548640" h="786764">
                  <a:moveTo>
                    <a:pt x="548093" y="520204"/>
                  </a:moveTo>
                  <a:lnTo>
                    <a:pt x="500367" y="524205"/>
                  </a:lnTo>
                  <a:lnTo>
                    <a:pt x="455841" y="535863"/>
                  </a:lnTo>
                  <a:lnTo>
                    <a:pt x="414616" y="554456"/>
                  </a:lnTo>
                  <a:lnTo>
                    <a:pt x="377342" y="579335"/>
                  </a:lnTo>
                  <a:lnTo>
                    <a:pt x="344716" y="609803"/>
                  </a:lnTo>
                  <a:lnTo>
                    <a:pt x="317411" y="645172"/>
                  </a:lnTo>
                  <a:lnTo>
                    <a:pt x="296087" y="684796"/>
                  </a:lnTo>
                  <a:lnTo>
                    <a:pt x="281419" y="727989"/>
                  </a:lnTo>
                  <a:lnTo>
                    <a:pt x="274091" y="774065"/>
                  </a:lnTo>
                  <a:lnTo>
                    <a:pt x="266915" y="727811"/>
                  </a:lnTo>
                  <a:lnTo>
                    <a:pt x="252361" y="684441"/>
                  </a:lnTo>
                  <a:lnTo>
                    <a:pt x="231089" y="644652"/>
                  </a:lnTo>
                  <a:lnTo>
                    <a:pt x="203796" y="609117"/>
                  </a:lnTo>
                  <a:lnTo>
                    <a:pt x="171157" y="578523"/>
                  </a:lnTo>
                  <a:lnTo>
                    <a:pt x="133845" y="553542"/>
                  </a:lnTo>
                  <a:lnTo>
                    <a:pt x="92532" y="534860"/>
                  </a:lnTo>
                  <a:lnTo>
                    <a:pt x="47917" y="523125"/>
                  </a:lnTo>
                  <a:lnTo>
                    <a:pt x="0" y="519099"/>
                  </a:lnTo>
                  <a:lnTo>
                    <a:pt x="5448" y="567258"/>
                  </a:lnTo>
                  <a:lnTo>
                    <a:pt x="18846" y="612521"/>
                  </a:lnTo>
                  <a:lnTo>
                    <a:pt x="39458" y="654138"/>
                  </a:lnTo>
                  <a:lnTo>
                    <a:pt x="66548" y="691400"/>
                  </a:lnTo>
                  <a:lnTo>
                    <a:pt x="99390" y="72354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2DB7EA"/>
            </a:solidFill>
          </p:spPr>
          <p:txBody>
            <a:bodyPr wrap="square" lIns="0" tIns="0" rIns="0" bIns="0" rtlCol="0"/>
            <a:lstStyle/>
            <a:p>
              <a:endParaRPr dirty="0"/>
            </a:p>
          </p:txBody>
        </p:sp>
        <p:pic>
          <p:nvPicPr>
            <p:cNvPr id="520" name="object 281">
              <a:extLst>
                <a:ext uri="{FF2B5EF4-FFF2-40B4-BE49-F238E27FC236}">
                  <a16:creationId xmlns:a16="http://schemas.microsoft.com/office/drawing/2014/main" id="{EF30E878-DE31-5D7A-C957-A3E19BB14309}"/>
                </a:ext>
              </a:extLst>
            </p:cNvPr>
            <p:cNvPicPr/>
            <p:nvPr/>
          </p:nvPicPr>
          <p:blipFill>
            <a:blip r:embed="rId5" cstate="print"/>
            <a:stretch>
              <a:fillRect/>
            </a:stretch>
          </p:blipFill>
          <p:spPr>
            <a:xfrm>
              <a:off x="8481461" y="2026765"/>
              <a:ext cx="106445" cy="107156"/>
            </a:xfrm>
            <a:prstGeom prst="rect">
              <a:avLst/>
            </a:prstGeom>
          </p:spPr>
        </p:pic>
        <p:sp>
          <p:nvSpPr>
            <p:cNvPr id="521" name="object 282">
              <a:extLst>
                <a:ext uri="{FF2B5EF4-FFF2-40B4-BE49-F238E27FC236}">
                  <a16:creationId xmlns:a16="http://schemas.microsoft.com/office/drawing/2014/main" id="{92E61334-ED15-0A55-8131-3B8C6EFE679F}"/>
                </a:ext>
              </a:extLst>
            </p:cNvPr>
            <p:cNvSpPr/>
            <p:nvPr/>
          </p:nvSpPr>
          <p:spPr>
            <a:xfrm>
              <a:off x="8368808" y="1458591"/>
              <a:ext cx="332700" cy="477101"/>
            </a:xfrm>
            <a:custGeom>
              <a:avLst/>
              <a:gdLst/>
              <a:ahLst/>
              <a:cxnLst/>
              <a:rect l="l" t="t" r="r" b="b"/>
              <a:pathLst>
                <a:path w="548640" h="786764">
                  <a:moveTo>
                    <a:pt x="548043" y="266611"/>
                  </a:moveTo>
                  <a:lnTo>
                    <a:pt x="500367" y="270649"/>
                  </a:lnTo>
                  <a:lnTo>
                    <a:pt x="455841" y="282295"/>
                  </a:lnTo>
                  <a:lnTo>
                    <a:pt x="414616" y="300901"/>
                  </a:lnTo>
                  <a:lnTo>
                    <a:pt x="377342" y="325767"/>
                  </a:lnTo>
                  <a:lnTo>
                    <a:pt x="344716" y="356235"/>
                  </a:lnTo>
                  <a:lnTo>
                    <a:pt x="317411" y="391617"/>
                  </a:lnTo>
                  <a:lnTo>
                    <a:pt x="296087" y="431241"/>
                  </a:lnTo>
                  <a:lnTo>
                    <a:pt x="281419" y="474446"/>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26"/>
                  </a:lnTo>
                  <a:lnTo>
                    <a:pt x="225044" y="528459"/>
                  </a:lnTo>
                  <a:lnTo>
                    <a:pt x="273519" y="532828"/>
                  </a:lnTo>
                  <a:lnTo>
                    <a:pt x="274751" y="532828"/>
                  </a:lnTo>
                  <a:lnTo>
                    <a:pt x="323088" y="528472"/>
                  </a:lnTo>
                  <a:lnTo>
                    <a:pt x="368642" y="516102"/>
                  </a:lnTo>
                  <a:lnTo>
                    <a:pt x="410679" y="496468"/>
                  </a:lnTo>
                  <a:lnTo>
                    <a:pt x="448462" y="470268"/>
                  </a:lnTo>
                  <a:lnTo>
                    <a:pt x="481266" y="438251"/>
                  </a:lnTo>
                  <a:lnTo>
                    <a:pt x="508355" y="401154"/>
                  </a:lnTo>
                  <a:lnTo>
                    <a:pt x="529005" y="359689"/>
                  </a:lnTo>
                  <a:lnTo>
                    <a:pt x="542467" y="314604"/>
                  </a:lnTo>
                  <a:lnTo>
                    <a:pt x="548043" y="266611"/>
                  </a:lnTo>
                  <a:close/>
                </a:path>
                <a:path w="548640" h="786764">
                  <a:moveTo>
                    <a:pt x="548043" y="1079"/>
                  </a:moveTo>
                  <a:lnTo>
                    <a:pt x="500367" y="5105"/>
                  </a:lnTo>
                  <a:lnTo>
                    <a:pt x="455841" y="16764"/>
                  </a:lnTo>
                  <a:lnTo>
                    <a:pt x="414616" y="35369"/>
                  </a:lnTo>
                  <a:lnTo>
                    <a:pt x="377342" y="60236"/>
                  </a:lnTo>
                  <a:lnTo>
                    <a:pt x="344716"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67" y="49060"/>
                  </a:lnTo>
                  <a:lnTo>
                    <a:pt x="548043" y="1079"/>
                  </a:lnTo>
                  <a:close/>
                </a:path>
                <a:path w="548640" h="786764">
                  <a:moveTo>
                    <a:pt x="548093" y="520192"/>
                  </a:moveTo>
                  <a:lnTo>
                    <a:pt x="500367" y="524205"/>
                  </a:lnTo>
                  <a:lnTo>
                    <a:pt x="455841" y="535863"/>
                  </a:lnTo>
                  <a:lnTo>
                    <a:pt x="414616" y="554456"/>
                  </a:lnTo>
                  <a:lnTo>
                    <a:pt x="377342" y="579335"/>
                  </a:lnTo>
                  <a:lnTo>
                    <a:pt x="344716" y="609790"/>
                  </a:lnTo>
                  <a:lnTo>
                    <a:pt x="317411" y="645172"/>
                  </a:lnTo>
                  <a:lnTo>
                    <a:pt x="296087" y="684784"/>
                  </a:lnTo>
                  <a:lnTo>
                    <a:pt x="281419" y="727976"/>
                  </a:lnTo>
                  <a:lnTo>
                    <a:pt x="274091" y="774065"/>
                  </a:lnTo>
                  <a:lnTo>
                    <a:pt x="266915" y="727811"/>
                  </a:lnTo>
                  <a:lnTo>
                    <a:pt x="252361" y="684441"/>
                  </a:lnTo>
                  <a:lnTo>
                    <a:pt x="231089" y="644652"/>
                  </a:lnTo>
                  <a:lnTo>
                    <a:pt x="203796" y="609117"/>
                  </a:lnTo>
                  <a:lnTo>
                    <a:pt x="171157" y="578510"/>
                  </a:lnTo>
                  <a:lnTo>
                    <a:pt x="133845" y="553529"/>
                  </a:lnTo>
                  <a:lnTo>
                    <a:pt x="92532" y="534847"/>
                  </a:lnTo>
                  <a:lnTo>
                    <a:pt x="47917" y="523138"/>
                  </a:lnTo>
                  <a:lnTo>
                    <a:pt x="0" y="519061"/>
                  </a:lnTo>
                  <a:lnTo>
                    <a:pt x="5448" y="567245"/>
                  </a:lnTo>
                  <a:lnTo>
                    <a:pt x="18846" y="612508"/>
                  </a:lnTo>
                  <a:lnTo>
                    <a:pt x="39458" y="654138"/>
                  </a:lnTo>
                  <a:lnTo>
                    <a:pt x="66548" y="691388"/>
                  </a:lnTo>
                  <a:lnTo>
                    <a:pt x="67246" y="692073"/>
                  </a:lnTo>
                  <a:lnTo>
                    <a:pt x="99390" y="723544"/>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81266" y="691807"/>
                  </a:lnTo>
                  <a:lnTo>
                    <a:pt x="508393" y="654697"/>
                  </a:lnTo>
                  <a:lnTo>
                    <a:pt x="529043" y="613244"/>
                  </a:lnTo>
                  <a:lnTo>
                    <a:pt x="542518" y="568172"/>
                  </a:lnTo>
                  <a:lnTo>
                    <a:pt x="548093" y="520192"/>
                  </a:lnTo>
                  <a:close/>
                </a:path>
              </a:pathLst>
            </a:custGeom>
            <a:solidFill>
              <a:srgbClr val="7ED3F1"/>
            </a:solidFill>
          </p:spPr>
          <p:txBody>
            <a:bodyPr wrap="square" lIns="0" tIns="0" rIns="0" bIns="0" rtlCol="0"/>
            <a:lstStyle/>
            <a:p>
              <a:endParaRPr dirty="0"/>
            </a:p>
          </p:txBody>
        </p:sp>
        <p:pic>
          <p:nvPicPr>
            <p:cNvPr id="522" name="object 283">
              <a:extLst>
                <a:ext uri="{FF2B5EF4-FFF2-40B4-BE49-F238E27FC236}">
                  <a16:creationId xmlns:a16="http://schemas.microsoft.com/office/drawing/2014/main" id="{F10DAD71-CBA4-67A4-E457-5585631BFE0F}"/>
                </a:ext>
              </a:extLst>
            </p:cNvPr>
            <p:cNvPicPr/>
            <p:nvPr/>
          </p:nvPicPr>
          <p:blipFill>
            <a:blip r:embed="rId6" cstate="print"/>
            <a:stretch>
              <a:fillRect/>
            </a:stretch>
          </p:blipFill>
          <p:spPr>
            <a:xfrm>
              <a:off x="8481461" y="1372599"/>
              <a:ext cx="106445" cy="107156"/>
            </a:xfrm>
            <a:prstGeom prst="rect">
              <a:avLst/>
            </a:prstGeom>
          </p:spPr>
        </p:pic>
        <p:sp>
          <p:nvSpPr>
            <p:cNvPr id="523" name="object 284">
              <a:extLst>
                <a:ext uri="{FF2B5EF4-FFF2-40B4-BE49-F238E27FC236}">
                  <a16:creationId xmlns:a16="http://schemas.microsoft.com/office/drawing/2014/main" id="{496E3962-8F0A-1E8E-CB97-058BB652B032}"/>
                </a:ext>
              </a:extLst>
            </p:cNvPr>
            <p:cNvSpPr/>
            <p:nvPr/>
          </p:nvSpPr>
          <p:spPr>
            <a:xfrm>
              <a:off x="8368808" y="3421088"/>
              <a:ext cx="332700" cy="477101"/>
            </a:xfrm>
            <a:custGeom>
              <a:avLst/>
              <a:gdLst/>
              <a:ahLst/>
              <a:cxnLst/>
              <a:rect l="l" t="t" r="r" b="b"/>
              <a:pathLst>
                <a:path w="548640" h="786764">
                  <a:moveTo>
                    <a:pt x="548043" y="266611"/>
                  </a:moveTo>
                  <a:lnTo>
                    <a:pt x="500367" y="270637"/>
                  </a:lnTo>
                  <a:lnTo>
                    <a:pt x="455841" y="282295"/>
                  </a:lnTo>
                  <a:lnTo>
                    <a:pt x="414616" y="300901"/>
                  </a:lnTo>
                  <a:lnTo>
                    <a:pt x="377342" y="325767"/>
                  </a:lnTo>
                  <a:lnTo>
                    <a:pt x="344716" y="356235"/>
                  </a:lnTo>
                  <a:lnTo>
                    <a:pt x="317411" y="391617"/>
                  </a:lnTo>
                  <a:lnTo>
                    <a:pt x="296087" y="431241"/>
                  </a:lnTo>
                  <a:lnTo>
                    <a:pt x="281419" y="474433"/>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55"/>
                  </a:lnTo>
                  <a:lnTo>
                    <a:pt x="481266" y="438251"/>
                  </a:lnTo>
                  <a:lnTo>
                    <a:pt x="508355" y="401142"/>
                  </a:lnTo>
                  <a:lnTo>
                    <a:pt x="529005" y="359689"/>
                  </a:lnTo>
                  <a:lnTo>
                    <a:pt x="542467" y="314591"/>
                  </a:lnTo>
                  <a:lnTo>
                    <a:pt x="548043" y="266611"/>
                  </a:lnTo>
                  <a:close/>
                </a:path>
                <a:path w="548640" h="786764">
                  <a:moveTo>
                    <a:pt x="548043" y="1079"/>
                  </a:moveTo>
                  <a:lnTo>
                    <a:pt x="500367" y="5118"/>
                  </a:lnTo>
                  <a:lnTo>
                    <a:pt x="455841" y="16764"/>
                  </a:lnTo>
                  <a:lnTo>
                    <a:pt x="414616" y="35369"/>
                  </a:lnTo>
                  <a:lnTo>
                    <a:pt x="377342" y="60236"/>
                  </a:lnTo>
                  <a:lnTo>
                    <a:pt x="344716" y="90703"/>
                  </a:lnTo>
                  <a:lnTo>
                    <a:pt x="317411" y="126085"/>
                  </a:lnTo>
                  <a:lnTo>
                    <a:pt x="296087" y="165709"/>
                  </a:lnTo>
                  <a:lnTo>
                    <a:pt x="281419" y="208915"/>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67" y="49072"/>
                  </a:lnTo>
                  <a:lnTo>
                    <a:pt x="548043" y="1079"/>
                  </a:lnTo>
                  <a:close/>
                </a:path>
                <a:path w="548640" h="786764">
                  <a:moveTo>
                    <a:pt x="548093" y="520192"/>
                  </a:moveTo>
                  <a:lnTo>
                    <a:pt x="500367" y="524217"/>
                  </a:lnTo>
                  <a:lnTo>
                    <a:pt x="455841" y="535863"/>
                  </a:lnTo>
                  <a:lnTo>
                    <a:pt x="414616" y="554469"/>
                  </a:lnTo>
                  <a:lnTo>
                    <a:pt x="377342" y="579335"/>
                  </a:lnTo>
                  <a:lnTo>
                    <a:pt x="344716" y="609790"/>
                  </a:lnTo>
                  <a:lnTo>
                    <a:pt x="317411" y="645172"/>
                  </a:lnTo>
                  <a:lnTo>
                    <a:pt x="296087" y="684784"/>
                  </a:lnTo>
                  <a:lnTo>
                    <a:pt x="281419" y="727976"/>
                  </a:lnTo>
                  <a:lnTo>
                    <a:pt x="274091" y="774065"/>
                  </a:lnTo>
                  <a:lnTo>
                    <a:pt x="266915" y="727811"/>
                  </a:lnTo>
                  <a:lnTo>
                    <a:pt x="252361" y="684441"/>
                  </a:lnTo>
                  <a:lnTo>
                    <a:pt x="231089" y="644652"/>
                  </a:lnTo>
                  <a:lnTo>
                    <a:pt x="203796" y="609117"/>
                  </a:lnTo>
                  <a:lnTo>
                    <a:pt x="171157" y="578510"/>
                  </a:lnTo>
                  <a:lnTo>
                    <a:pt x="133845" y="553529"/>
                  </a:lnTo>
                  <a:lnTo>
                    <a:pt x="92532" y="534847"/>
                  </a:lnTo>
                  <a:lnTo>
                    <a:pt x="47917" y="523138"/>
                  </a:lnTo>
                  <a:lnTo>
                    <a:pt x="0" y="519061"/>
                  </a:lnTo>
                  <a:lnTo>
                    <a:pt x="5448" y="567245"/>
                  </a:lnTo>
                  <a:lnTo>
                    <a:pt x="18846" y="612508"/>
                  </a:lnTo>
                  <a:lnTo>
                    <a:pt x="39458" y="654138"/>
                  </a:lnTo>
                  <a:lnTo>
                    <a:pt x="66548" y="691388"/>
                  </a:lnTo>
                  <a:lnTo>
                    <a:pt x="99402" y="723544"/>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79691" y="693356"/>
                  </a:lnTo>
                  <a:lnTo>
                    <a:pt x="481266" y="691819"/>
                  </a:lnTo>
                  <a:lnTo>
                    <a:pt x="508393" y="654697"/>
                  </a:lnTo>
                  <a:lnTo>
                    <a:pt x="529043" y="613244"/>
                  </a:lnTo>
                  <a:lnTo>
                    <a:pt x="542518" y="568172"/>
                  </a:lnTo>
                  <a:lnTo>
                    <a:pt x="548093" y="520192"/>
                  </a:lnTo>
                  <a:close/>
                </a:path>
              </a:pathLst>
            </a:custGeom>
            <a:solidFill>
              <a:srgbClr val="2DB7EA"/>
            </a:solidFill>
          </p:spPr>
          <p:txBody>
            <a:bodyPr wrap="square" lIns="0" tIns="0" rIns="0" bIns="0" rtlCol="0"/>
            <a:lstStyle/>
            <a:p>
              <a:endParaRPr dirty="0"/>
            </a:p>
          </p:txBody>
        </p:sp>
        <p:pic>
          <p:nvPicPr>
            <p:cNvPr id="524" name="object 285">
              <a:extLst>
                <a:ext uri="{FF2B5EF4-FFF2-40B4-BE49-F238E27FC236}">
                  <a16:creationId xmlns:a16="http://schemas.microsoft.com/office/drawing/2014/main" id="{8A4AAAF5-608F-9276-B586-00A02E7E6A45}"/>
                </a:ext>
              </a:extLst>
            </p:cNvPr>
            <p:cNvPicPr/>
            <p:nvPr/>
          </p:nvPicPr>
          <p:blipFill>
            <a:blip r:embed="rId5" cstate="print"/>
            <a:stretch>
              <a:fillRect/>
            </a:stretch>
          </p:blipFill>
          <p:spPr>
            <a:xfrm>
              <a:off x="8481461" y="3335097"/>
              <a:ext cx="106445" cy="107156"/>
            </a:xfrm>
            <a:prstGeom prst="rect">
              <a:avLst/>
            </a:prstGeom>
          </p:spPr>
        </p:pic>
        <p:sp>
          <p:nvSpPr>
            <p:cNvPr id="525" name="object 286">
              <a:extLst>
                <a:ext uri="{FF2B5EF4-FFF2-40B4-BE49-F238E27FC236}">
                  <a16:creationId xmlns:a16="http://schemas.microsoft.com/office/drawing/2014/main" id="{50AE9F3A-345C-0F98-27D5-11F1DB6A833B}"/>
                </a:ext>
              </a:extLst>
            </p:cNvPr>
            <p:cNvSpPr/>
            <p:nvPr/>
          </p:nvSpPr>
          <p:spPr>
            <a:xfrm>
              <a:off x="8368808" y="2766918"/>
              <a:ext cx="332700" cy="477101"/>
            </a:xfrm>
            <a:custGeom>
              <a:avLst/>
              <a:gdLst/>
              <a:ahLst/>
              <a:cxnLst/>
              <a:rect l="l" t="t" r="r" b="b"/>
              <a:pathLst>
                <a:path w="548640" h="786764">
                  <a:moveTo>
                    <a:pt x="548043" y="266611"/>
                  </a:moveTo>
                  <a:lnTo>
                    <a:pt x="500367" y="270649"/>
                  </a:lnTo>
                  <a:lnTo>
                    <a:pt x="455841" y="282308"/>
                  </a:lnTo>
                  <a:lnTo>
                    <a:pt x="414616" y="300901"/>
                  </a:lnTo>
                  <a:lnTo>
                    <a:pt x="377342" y="325780"/>
                  </a:lnTo>
                  <a:lnTo>
                    <a:pt x="344716"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74" y="516039"/>
                  </a:lnTo>
                  <a:lnTo>
                    <a:pt x="225044" y="528459"/>
                  </a:lnTo>
                  <a:lnTo>
                    <a:pt x="273519" y="532841"/>
                  </a:lnTo>
                  <a:lnTo>
                    <a:pt x="274751" y="532841"/>
                  </a:lnTo>
                  <a:lnTo>
                    <a:pt x="323088" y="528485"/>
                  </a:lnTo>
                  <a:lnTo>
                    <a:pt x="368642" y="516115"/>
                  </a:lnTo>
                  <a:lnTo>
                    <a:pt x="410679" y="496468"/>
                  </a:lnTo>
                  <a:lnTo>
                    <a:pt x="448462" y="470268"/>
                  </a:lnTo>
                  <a:lnTo>
                    <a:pt x="481266" y="438264"/>
                  </a:lnTo>
                  <a:lnTo>
                    <a:pt x="508355" y="401154"/>
                  </a:lnTo>
                  <a:lnTo>
                    <a:pt x="529005" y="359689"/>
                  </a:lnTo>
                  <a:lnTo>
                    <a:pt x="542467" y="314604"/>
                  </a:lnTo>
                  <a:lnTo>
                    <a:pt x="548043" y="266611"/>
                  </a:lnTo>
                  <a:close/>
                </a:path>
                <a:path w="548640" h="786764">
                  <a:moveTo>
                    <a:pt x="548043" y="1079"/>
                  </a:moveTo>
                  <a:lnTo>
                    <a:pt x="500367" y="5118"/>
                  </a:lnTo>
                  <a:lnTo>
                    <a:pt x="455841" y="16776"/>
                  </a:lnTo>
                  <a:lnTo>
                    <a:pt x="414616" y="35369"/>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49"/>
                  </a:lnTo>
                  <a:lnTo>
                    <a:pt x="481266" y="172732"/>
                  </a:lnTo>
                  <a:lnTo>
                    <a:pt x="508355" y="135623"/>
                  </a:lnTo>
                  <a:lnTo>
                    <a:pt x="529005" y="94157"/>
                  </a:lnTo>
                  <a:lnTo>
                    <a:pt x="542467" y="49072"/>
                  </a:lnTo>
                  <a:lnTo>
                    <a:pt x="548043" y="1079"/>
                  </a:lnTo>
                  <a:close/>
                </a:path>
                <a:path w="548640" h="786764">
                  <a:moveTo>
                    <a:pt x="548093" y="520204"/>
                  </a:moveTo>
                  <a:lnTo>
                    <a:pt x="500367" y="524205"/>
                  </a:lnTo>
                  <a:lnTo>
                    <a:pt x="455841" y="535863"/>
                  </a:lnTo>
                  <a:lnTo>
                    <a:pt x="414616" y="554469"/>
                  </a:lnTo>
                  <a:lnTo>
                    <a:pt x="377342" y="579335"/>
                  </a:lnTo>
                  <a:lnTo>
                    <a:pt x="344716" y="609803"/>
                  </a:lnTo>
                  <a:lnTo>
                    <a:pt x="317411" y="645172"/>
                  </a:lnTo>
                  <a:lnTo>
                    <a:pt x="296087" y="684796"/>
                  </a:lnTo>
                  <a:lnTo>
                    <a:pt x="281419" y="727989"/>
                  </a:lnTo>
                  <a:lnTo>
                    <a:pt x="274091" y="774065"/>
                  </a:lnTo>
                  <a:lnTo>
                    <a:pt x="266915" y="727824"/>
                  </a:lnTo>
                  <a:lnTo>
                    <a:pt x="252361" y="684453"/>
                  </a:lnTo>
                  <a:lnTo>
                    <a:pt x="231089"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51"/>
                  </a:lnTo>
                  <a:lnTo>
                    <a:pt x="66548" y="691400"/>
                  </a:lnTo>
                  <a:lnTo>
                    <a:pt x="98704" y="72288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7ED3F1"/>
            </a:solidFill>
          </p:spPr>
          <p:txBody>
            <a:bodyPr wrap="square" lIns="0" tIns="0" rIns="0" bIns="0" rtlCol="0"/>
            <a:lstStyle/>
            <a:p>
              <a:endParaRPr dirty="0"/>
            </a:p>
          </p:txBody>
        </p:sp>
        <p:pic>
          <p:nvPicPr>
            <p:cNvPr id="526" name="object 287">
              <a:extLst>
                <a:ext uri="{FF2B5EF4-FFF2-40B4-BE49-F238E27FC236}">
                  <a16:creationId xmlns:a16="http://schemas.microsoft.com/office/drawing/2014/main" id="{D16E6EE1-ACF3-27D4-2B17-A4D024538C7E}"/>
                </a:ext>
              </a:extLst>
            </p:cNvPr>
            <p:cNvPicPr/>
            <p:nvPr/>
          </p:nvPicPr>
          <p:blipFill>
            <a:blip r:embed="rId6" cstate="print"/>
            <a:stretch>
              <a:fillRect/>
            </a:stretch>
          </p:blipFill>
          <p:spPr>
            <a:xfrm>
              <a:off x="8481461" y="2680931"/>
              <a:ext cx="106445" cy="107156"/>
            </a:xfrm>
            <a:prstGeom prst="rect">
              <a:avLst/>
            </a:prstGeom>
          </p:spPr>
        </p:pic>
        <p:sp>
          <p:nvSpPr>
            <p:cNvPr id="527" name="object 288">
              <a:extLst>
                <a:ext uri="{FF2B5EF4-FFF2-40B4-BE49-F238E27FC236}">
                  <a16:creationId xmlns:a16="http://schemas.microsoft.com/office/drawing/2014/main" id="{BECF8840-23CE-8B73-DF66-AEDCF8CD52F4}"/>
                </a:ext>
              </a:extLst>
            </p:cNvPr>
            <p:cNvSpPr/>
            <p:nvPr/>
          </p:nvSpPr>
          <p:spPr>
            <a:xfrm>
              <a:off x="8368808" y="4729423"/>
              <a:ext cx="332700" cy="477101"/>
            </a:xfrm>
            <a:custGeom>
              <a:avLst/>
              <a:gdLst/>
              <a:ahLst/>
              <a:cxnLst/>
              <a:rect l="l" t="t" r="r" b="b"/>
              <a:pathLst>
                <a:path w="548640" h="786765">
                  <a:moveTo>
                    <a:pt x="548043" y="266611"/>
                  </a:moveTo>
                  <a:lnTo>
                    <a:pt x="500367" y="270649"/>
                  </a:lnTo>
                  <a:lnTo>
                    <a:pt x="455841" y="282308"/>
                  </a:lnTo>
                  <a:lnTo>
                    <a:pt x="414616" y="300901"/>
                  </a:lnTo>
                  <a:lnTo>
                    <a:pt x="377342" y="325767"/>
                  </a:lnTo>
                  <a:lnTo>
                    <a:pt x="344716" y="356235"/>
                  </a:lnTo>
                  <a:lnTo>
                    <a:pt x="317411" y="391617"/>
                  </a:lnTo>
                  <a:lnTo>
                    <a:pt x="296087" y="431241"/>
                  </a:lnTo>
                  <a:lnTo>
                    <a:pt x="281419" y="474433"/>
                  </a:lnTo>
                  <a:lnTo>
                    <a:pt x="274091" y="520522"/>
                  </a:lnTo>
                  <a:lnTo>
                    <a:pt x="266915" y="474243"/>
                  </a:lnTo>
                  <a:lnTo>
                    <a:pt x="252361" y="430872"/>
                  </a:lnTo>
                  <a:lnTo>
                    <a:pt x="231089" y="391083"/>
                  </a:lnTo>
                  <a:lnTo>
                    <a:pt x="203796" y="355549"/>
                  </a:lnTo>
                  <a:lnTo>
                    <a:pt x="171157" y="324954"/>
                  </a:lnTo>
                  <a:lnTo>
                    <a:pt x="133845" y="299974"/>
                  </a:lnTo>
                  <a:lnTo>
                    <a:pt x="92532" y="281292"/>
                  </a:lnTo>
                  <a:lnTo>
                    <a:pt x="47917" y="269582"/>
                  </a:lnTo>
                  <a:lnTo>
                    <a:pt x="0" y="265518"/>
                  </a:lnTo>
                  <a:lnTo>
                    <a:pt x="5448" y="313690"/>
                  </a:lnTo>
                  <a:lnTo>
                    <a:pt x="18846" y="358952"/>
                  </a:lnTo>
                  <a:lnTo>
                    <a:pt x="39458" y="400570"/>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54"/>
                  </a:lnTo>
                  <a:lnTo>
                    <a:pt x="529005" y="359689"/>
                  </a:lnTo>
                  <a:lnTo>
                    <a:pt x="542467" y="314604"/>
                  </a:lnTo>
                  <a:lnTo>
                    <a:pt x="548043" y="266611"/>
                  </a:lnTo>
                  <a:close/>
                </a:path>
                <a:path w="548640" h="786765">
                  <a:moveTo>
                    <a:pt x="548043" y="1079"/>
                  </a:moveTo>
                  <a:lnTo>
                    <a:pt x="500367" y="5105"/>
                  </a:lnTo>
                  <a:lnTo>
                    <a:pt x="455841" y="16764"/>
                  </a:lnTo>
                  <a:lnTo>
                    <a:pt x="414616" y="35369"/>
                  </a:lnTo>
                  <a:lnTo>
                    <a:pt x="377342" y="60236"/>
                  </a:lnTo>
                  <a:lnTo>
                    <a:pt x="344716"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39"/>
                  </a:lnTo>
                  <a:lnTo>
                    <a:pt x="66560" y="172300"/>
                  </a:lnTo>
                  <a:lnTo>
                    <a:pt x="99402" y="204444"/>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24"/>
                  </a:lnTo>
                  <a:lnTo>
                    <a:pt x="481266" y="172720"/>
                  </a:lnTo>
                  <a:lnTo>
                    <a:pt x="508355" y="135610"/>
                  </a:lnTo>
                  <a:lnTo>
                    <a:pt x="529005" y="94157"/>
                  </a:lnTo>
                  <a:lnTo>
                    <a:pt x="542467" y="49060"/>
                  </a:lnTo>
                  <a:lnTo>
                    <a:pt x="548043" y="1079"/>
                  </a:lnTo>
                  <a:close/>
                </a:path>
                <a:path w="548640" h="786765">
                  <a:moveTo>
                    <a:pt x="548093" y="520192"/>
                  </a:moveTo>
                  <a:lnTo>
                    <a:pt x="500367" y="524205"/>
                  </a:lnTo>
                  <a:lnTo>
                    <a:pt x="455841" y="535863"/>
                  </a:lnTo>
                  <a:lnTo>
                    <a:pt x="414616" y="554469"/>
                  </a:lnTo>
                  <a:lnTo>
                    <a:pt x="377342" y="579335"/>
                  </a:lnTo>
                  <a:lnTo>
                    <a:pt x="344716" y="609790"/>
                  </a:lnTo>
                  <a:lnTo>
                    <a:pt x="317411" y="645160"/>
                  </a:lnTo>
                  <a:lnTo>
                    <a:pt x="296087" y="684784"/>
                  </a:lnTo>
                  <a:lnTo>
                    <a:pt x="281419" y="727976"/>
                  </a:lnTo>
                  <a:lnTo>
                    <a:pt x="274091" y="774065"/>
                  </a:lnTo>
                  <a:lnTo>
                    <a:pt x="266915" y="727811"/>
                  </a:lnTo>
                  <a:lnTo>
                    <a:pt x="252361" y="684441"/>
                  </a:lnTo>
                  <a:lnTo>
                    <a:pt x="231089" y="644639"/>
                  </a:lnTo>
                  <a:lnTo>
                    <a:pt x="203796" y="609104"/>
                  </a:lnTo>
                  <a:lnTo>
                    <a:pt x="171157" y="578510"/>
                  </a:lnTo>
                  <a:lnTo>
                    <a:pt x="133845" y="553529"/>
                  </a:lnTo>
                  <a:lnTo>
                    <a:pt x="92532" y="534847"/>
                  </a:lnTo>
                  <a:lnTo>
                    <a:pt x="47917" y="523113"/>
                  </a:lnTo>
                  <a:lnTo>
                    <a:pt x="0" y="519061"/>
                  </a:lnTo>
                  <a:lnTo>
                    <a:pt x="5448" y="567245"/>
                  </a:lnTo>
                  <a:lnTo>
                    <a:pt x="18846" y="612508"/>
                  </a:lnTo>
                  <a:lnTo>
                    <a:pt x="39458" y="654138"/>
                  </a:lnTo>
                  <a:lnTo>
                    <a:pt x="66548" y="691388"/>
                  </a:lnTo>
                  <a:lnTo>
                    <a:pt x="98704" y="722871"/>
                  </a:lnTo>
                  <a:lnTo>
                    <a:pt x="137248" y="749858"/>
                  </a:lnTo>
                  <a:lnTo>
                    <a:pt x="179374" y="769581"/>
                  </a:lnTo>
                  <a:lnTo>
                    <a:pt x="225044" y="782015"/>
                  </a:lnTo>
                  <a:lnTo>
                    <a:pt x="273519" y="786384"/>
                  </a:lnTo>
                  <a:lnTo>
                    <a:pt x="274751" y="786384"/>
                  </a:lnTo>
                  <a:lnTo>
                    <a:pt x="323088" y="782027"/>
                  </a:lnTo>
                  <a:lnTo>
                    <a:pt x="368642" y="769670"/>
                  </a:lnTo>
                  <a:lnTo>
                    <a:pt x="410679" y="750023"/>
                  </a:lnTo>
                  <a:lnTo>
                    <a:pt x="448462" y="723823"/>
                  </a:lnTo>
                  <a:lnTo>
                    <a:pt x="481266" y="691807"/>
                  </a:lnTo>
                  <a:lnTo>
                    <a:pt x="508393" y="654697"/>
                  </a:lnTo>
                  <a:lnTo>
                    <a:pt x="529043" y="613244"/>
                  </a:lnTo>
                  <a:lnTo>
                    <a:pt x="542518" y="568172"/>
                  </a:lnTo>
                  <a:lnTo>
                    <a:pt x="548093" y="520192"/>
                  </a:lnTo>
                  <a:close/>
                </a:path>
              </a:pathLst>
            </a:custGeom>
            <a:solidFill>
              <a:srgbClr val="2DB7EA"/>
            </a:solidFill>
          </p:spPr>
          <p:txBody>
            <a:bodyPr wrap="square" lIns="0" tIns="0" rIns="0" bIns="0" rtlCol="0"/>
            <a:lstStyle/>
            <a:p>
              <a:endParaRPr dirty="0"/>
            </a:p>
          </p:txBody>
        </p:sp>
        <p:pic>
          <p:nvPicPr>
            <p:cNvPr id="528" name="object 289">
              <a:extLst>
                <a:ext uri="{FF2B5EF4-FFF2-40B4-BE49-F238E27FC236}">
                  <a16:creationId xmlns:a16="http://schemas.microsoft.com/office/drawing/2014/main" id="{05FBB54E-3172-9F79-9CC4-53D2F69F1B54}"/>
                </a:ext>
              </a:extLst>
            </p:cNvPr>
            <p:cNvPicPr/>
            <p:nvPr/>
          </p:nvPicPr>
          <p:blipFill>
            <a:blip r:embed="rId5" cstate="print"/>
            <a:stretch>
              <a:fillRect/>
            </a:stretch>
          </p:blipFill>
          <p:spPr>
            <a:xfrm>
              <a:off x="8481461" y="4643430"/>
              <a:ext cx="106445" cy="107156"/>
            </a:xfrm>
            <a:prstGeom prst="rect">
              <a:avLst/>
            </a:prstGeom>
          </p:spPr>
        </p:pic>
        <p:sp>
          <p:nvSpPr>
            <p:cNvPr id="529" name="object 290">
              <a:extLst>
                <a:ext uri="{FF2B5EF4-FFF2-40B4-BE49-F238E27FC236}">
                  <a16:creationId xmlns:a16="http://schemas.microsoft.com/office/drawing/2014/main" id="{DAC6C5AF-7C3F-43FE-C784-C8176E31DD25}"/>
                </a:ext>
              </a:extLst>
            </p:cNvPr>
            <p:cNvSpPr/>
            <p:nvPr/>
          </p:nvSpPr>
          <p:spPr>
            <a:xfrm>
              <a:off x="8368808" y="4075252"/>
              <a:ext cx="332700" cy="477101"/>
            </a:xfrm>
            <a:custGeom>
              <a:avLst/>
              <a:gdLst/>
              <a:ahLst/>
              <a:cxnLst/>
              <a:rect l="l" t="t" r="r" b="b"/>
              <a:pathLst>
                <a:path w="548640" h="786765">
                  <a:moveTo>
                    <a:pt x="548043" y="266623"/>
                  </a:moveTo>
                  <a:lnTo>
                    <a:pt x="500367" y="270662"/>
                  </a:lnTo>
                  <a:lnTo>
                    <a:pt x="455841" y="282308"/>
                  </a:lnTo>
                  <a:lnTo>
                    <a:pt x="414616" y="300913"/>
                  </a:lnTo>
                  <a:lnTo>
                    <a:pt x="377342" y="325780"/>
                  </a:lnTo>
                  <a:lnTo>
                    <a:pt x="344716"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39"/>
                  </a:lnTo>
                  <a:lnTo>
                    <a:pt x="225044" y="528459"/>
                  </a:lnTo>
                  <a:lnTo>
                    <a:pt x="273519" y="532828"/>
                  </a:lnTo>
                  <a:lnTo>
                    <a:pt x="274751" y="532828"/>
                  </a:lnTo>
                  <a:lnTo>
                    <a:pt x="323088" y="528472"/>
                  </a:lnTo>
                  <a:lnTo>
                    <a:pt x="368642" y="516115"/>
                  </a:lnTo>
                  <a:lnTo>
                    <a:pt x="410679" y="496468"/>
                  </a:lnTo>
                  <a:lnTo>
                    <a:pt x="448462" y="470268"/>
                  </a:lnTo>
                  <a:lnTo>
                    <a:pt x="481266" y="438264"/>
                  </a:lnTo>
                  <a:lnTo>
                    <a:pt x="508355" y="401154"/>
                  </a:lnTo>
                  <a:lnTo>
                    <a:pt x="529005" y="359702"/>
                  </a:lnTo>
                  <a:lnTo>
                    <a:pt x="542467" y="314604"/>
                  </a:lnTo>
                  <a:lnTo>
                    <a:pt x="548043" y="266623"/>
                  </a:lnTo>
                  <a:close/>
                </a:path>
                <a:path w="548640" h="786765">
                  <a:moveTo>
                    <a:pt x="548043" y="1092"/>
                  </a:moveTo>
                  <a:lnTo>
                    <a:pt x="500367" y="5130"/>
                  </a:lnTo>
                  <a:lnTo>
                    <a:pt x="455841" y="16776"/>
                  </a:lnTo>
                  <a:lnTo>
                    <a:pt x="414616" y="35382"/>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60"/>
                  </a:lnTo>
                  <a:lnTo>
                    <a:pt x="47917" y="4051"/>
                  </a:lnTo>
                  <a:lnTo>
                    <a:pt x="0" y="0"/>
                  </a:lnTo>
                  <a:lnTo>
                    <a:pt x="5448" y="48158"/>
                  </a:lnTo>
                  <a:lnTo>
                    <a:pt x="18846" y="93421"/>
                  </a:lnTo>
                  <a:lnTo>
                    <a:pt x="39458" y="135051"/>
                  </a:lnTo>
                  <a:lnTo>
                    <a:pt x="66560" y="172300"/>
                  </a:lnTo>
                  <a:lnTo>
                    <a:pt x="99402" y="204457"/>
                  </a:lnTo>
                  <a:lnTo>
                    <a:pt x="137248" y="230771"/>
                  </a:lnTo>
                  <a:lnTo>
                    <a:pt x="179374" y="250494"/>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70"/>
                  </a:lnTo>
                  <a:lnTo>
                    <a:pt x="542467" y="49072"/>
                  </a:lnTo>
                  <a:lnTo>
                    <a:pt x="548043" y="1092"/>
                  </a:lnTo>
                  <a:close/>
                </a:path>
                <a:path w="548640" h="786765">
                  <a:moveTo>
                    <a:pt x="548093" y="520204"/>
                  </a:moveTo>
                  <a:lnTo>
                    <a:pt x="500367" y="524217"/>
                  </a:lnTo>
                  <a:lnTo>
                    <a:pt x="455841" y="535876"/>
                  </a:lnTo>
                  <a:lnTo>
                    <a:pt x="414616" y="554469"/>
                  </a:lnTo>
                  <a:lnTo>
                    <a:pt x="377342" y="579335"/>
                  </a:lnTo>
                  <a:lnTo>
                    <a:pt x="344716" y="609803"/>
                  </a:lnTo>
                  <a:lnTo>
                    <a:pt x="317411" y="645172"/>
                  </a:lnTo>
                  <a:lnTo>
                    <a:pt x="296087" y="684796"/>
                  </a:lnTo>
                  <a:lnTo>
                    <a:pt x="281419" y="727976"/>
                  </a:lnTo>
                  <a:lnTo>
                    <a:pt x="274091" y="774065"/>
                  </a:lnTo>
                  <a:lnTo>
                    <a:pt x="266915" y="727824"/>
                  </a:lnTo>
                  <a:lnTo>
                    <a:pt x="252361" y="684441"/>
                  </a:lnTo>
                  <a:lnTo>
                    <a:pt x="231089"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38"/>
                  </a:lnTo>
                  <a:lnTo>
                    <a:pt x="66548" y="691388"/>
                  </a:lnTo>
                  <a:lnTo>
                    <a:pt x="99402" y="723557"/>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7ED3F1"/>
            </a:solidFill>
          </p:spPr>
          <p:txBody>
            <a:bodyPr wrap="square" lIns="0" tIns="0" rIns="0" bIns="0" rtlCol="0"/>
            <a:lstStyle/>
            <a:p>
              <a:endParaRPr dirty="0"/>
            </a:p>
          </p:txBody>
        </p:sp>
        <p:pic>
          <p:nvPicPr>
            <p:cNvPr id="530" name="object 291">
              <a:extLst>
                <a:ext uri="{FF2B5EF4-FFF2-40B4-BE49-F238E27FC236}">
                  <a16:creationId xmlns:a16="http://schemas.microsoft.com/office/drawing/2014/main" id="{8232D96C-36F8-1CF3-1906-D90D588DB8E6}"/>
                </a:ext>
              </a:extLst>
            </p:cNvPr>
            <p:cNvPicPr/>
            <p:nvPr/>
          </p:nvPicPr>
          <p:blipFill>
            <a:blip r:embed="rId6" cstate="print"/>
            <a:stretch>
              <a:fillRect/>
            </a:stretch>
          </p:blipFill>
          <p:spPr>
            <a:xfrm>
              <a:off x="8481461" y="3989263"/>
              <a:ext cx="106445" cy="107156"/>
            </a:xfrm>
            <a:prstGeom prst="rect">
              <a:avLst/>
            </a:prstGeom>
          </p:spPr>
        </p:pic>
        <p:sp>
          <p:nvSpPr>
            <p:cNvPr id="531" name="object 292">
              <a:extLst>
                <a:ext uri="{FF2B5EF4-FFF2-40B4-BE49-F238E27FC236}">
                  <a16:creationId xmlns:a16="http://schemas.microsoft.com/office/drawing/2014/main" id="{60CA0659-1408-3178-2A2A-AA72334D3A6A}"/>
                </a:ext>
              </a:extLst>
            </p:cNvPr>
            <p:cNvSpPr/>
            <p:nvPr/>
          </p:nvSpPr>
          <p:spPr>
            <a:xfrm>
              <a:off x="7983731" y="3862863"/>
              <a:ext cx="332700" cy="477101"/>
            </a:xfrm>
            <a:custGeom>
              <a:avLst/>
              <a:gdLst/>
              <a:ahLst/>
              <a:cxnLst/>
              <a:rect l="l" t="t" r="r" b="b"/>
              <a:pathLst>
                <a:path w="548640" h="786765">
                  <a:moveTo>
                    <a:pt x="548068" y="786396"/>
                  </a:moveTo>
                  <a:lnTo>
                    <a:pt x="542632" y="738238"/>
                  </a:lnTo>
                  <a:lnTo>
                    <a:pt x="529234" y="692975"/>
                  </a:lnTo>
                  <a:lnTo>
                    <a:pt x="508609" y="651344"/>
                  </a:lnTo>
                  <a:lnTo>
                    <a:pt x="481520" y="614083"/>
                  </a:lnTo>
                  <a:lnTo>
                    <a:pt x="448678" y="581939"/>
                  </a:lnTo>
                  <a:lnTo>
                    <a:pt x="410819" y="555625"/>
                  </a:lnTo>
                  <a:lnTo>
                    <a:pt x="368693" y="535889"/>
                  </a:lnTo>
                  <a:lnTo>
                    <a:pt x="323024" y="523468"/>
                  </a:lnTo>
                  <a:lnTo>
                    <a:pt x="274548" y="519099"/>
                  </a:lnTo>
                  <a:lnTo>
                    <a:pt x="273329" y="519099"/>
                  </a:lnTo>
                  <a:lnTo>
                    <a:pt x="224980" y="523455"/>
                  </a:lnTo>
                  <a:lnTo>
                    <a:pt x="179438" y="535813"/>
                  </a:lnTo>
                  <a:lnTo>
                    <a:pt x="137401" y="555459"/>
                  </a:lnTo>
                  <a:lnTo>
                    <a:pt x="99618" y="581660"/>
                  </a:lnTo>
                  <a:lnTo>
                    <a:pt x="66814" y="613664"/>
                  </a:lnTo>
                  <a:lnTo>
                    <a:pt x="39725" y="650773"/>
                  </a:lnTo>
                  <a:lnTo>
                    <a:pt x="19075" y="692226"/>
                  </a:lnTo>
                  <a:lnTo>
                    <a:pt x="5600" y="737323"/>
                  </a:lnTo>
                  <a:lnTo>
                    <a:pt x="38" y="785304"/>
                  </a:lnTo>
                  <a:lnTo>
                    <a:pt x="47713" y="781265"/>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72"/>
                  </a:lnTo>
                  <a:lnTo>
                    <a:pt x="295719" y="621042"/>
                  </a:lnTo>
                  <a:lnTo>
                    <a:pt x="316979" y="660831"/>
                  </a:lnTo>
                  <a:lnTo>
                    <a:pt x="344271" y="696366"/>
                  </a:lnTo>
                  <a:lnTo>
                    <a:pt x="376923" y="726973"/>
                  </a:lnTo>
                  <a:lnTo>
                    <a:pt x="414235" y="751954"/>
                  </a:lnTo>
                  <a:lnTo>
                    <a:pt x="455536" y="770636"/>
                  </a:lnTo>
                  <a:lnTo>
                    <a:pt x="500164" y="782345"/>
                  </a:lnTo>
                  <a:lnTo>
                    <a:pt x="548068" y="786396"/>
                  </a:lnTo>
                  <a:close/>
                </a:path>
                <a:path w="548640" h="786765">
                  <a:moveTo>
                    <a:pt x="548068" y="520865"/>
                  </a:moveTo>
                  <a:lnTo>
                    <a:pt x="542632" y="472706"/>
                  </a:lnTo>
                  <a:lnTo>
                    <a:pt x="529234" y="427443"/>
                  </a:lnTo>
                  <a:lnTo>
                    <a:pt x="508609" y="385813"/>
                  </a:lnTo>
                  <a:lnTo>
                    <a:pt x="481520" y="348564"/>
                  </a:lnTo>
                  <a:lnTo>
                    <a:pt x="448678" y="316407"/>
                  </a:lnTo>
                  <a:lnTo>
                    <a:pt x="410819" y="290106"/>
                  </a:lnTo>
                  <a:lnTo>
                    <a:pt x="368693" y="270370"/>
                  </a:lnTo>
                  <a:lnTo>
                    <a:pt x="323024" y="257949"/>
                  </a:lnTo>
                  <a:lnTo>
                    <a:pt x="274548" y="253568"/>
                  </a:lnTo>
                  <a:lnTo>
                    <a:pt x="273329" y="253568"/>
                  </a:lnTo>
                  <a:lnTo>
                    <a:pt x="224980" y="257924"/>
                  </a:lnTo>
                  <a:lnTo>
                    <a:pt x="179438" y="270294"/>
                  </a:lnTo>
                  <a:lnTo>
                    <a:pt x="137401" y="289941"/>
                  </a:lnTo>
                  <a:lnTo>
                    <a:pt x="99618" y="316128"/>
                  </a:lnTo>
                  <a:lnTo>
                    <a:pt x="66814" y="348145"/>
                  </a:lnTo>
                  <a:lnTo>
                    <a:pt x="39725" y="385241"/>
                  </a:lnTo>
                  <a:lnTo>
                    <a:pt x="19075" y="426707"/>
                  </a:lnTo>
                  <a:lnTo>
                    <a:pt x="5600" y="471792"/>
                  </a:lnTo>
                  <a:lnTo>
                    <a:pt x="38" y="519785"/>
                  </a:lnTo>
                  <a:lnTo>
                    <a:pt x="47713" y="515747"/>
                  </a:lnTo>
                  <a:lnTo>
                    <a:pt x="92227" y="504101"/>
                  </a:lnTo>
                  <a:lnTo>
                    <a:pt x="133464" y="485495"/>
                  </a:lnTo>
                  <a:lnTo>
                    <a:pt x="170726" y="460629"/>
                  </a:lnTo>
                  <a:lnTo>
                    <a:pt x="203352" y="430161"/>
                  </a:lnTo>
                  <a:lnTo>
                    <a:pt x="230670" y="394779"/>
                  </a:lnTo>
                  <a:lnTo>
                    <a:pt x="251993" y="355142"/>
                  </a:lnTo>
                  <a:lnTo>
                    <a:pt x="266649" y="311950"/>
                  </a:lnTo>
                  <a:lnTo>
                    <a:pt x="273989" y="265874"/>
                  </a:lnTo>
                  <a:lnTo>
                    <a:pt x="281165" y="312140"/>
                  </a:lnTo>
                  <a:lnTo>
                    <a:pt x="295719" y="355511"/>
                  </a:lnTo>
                  <a:lnTo>
                    <a:pt x="316979" y="395300"/>
                  </a:lnTo>
                  <a:lnTo>
                    <a:pt x="344271" y="430847"/>
                  </a:lnTo>
                  <a:lnTo>
                    <a:pt x="376923" y="461441"/>
                  </a:lnTo>
                  <a:lnTo>
                    <a:pt x="414235" y="486422"/>
                  </a:lnTo>
                  <a:lnTo>
                    <a:pt x="455536" y="505104"/>
                  </a:lnTo>
                  <a:lnTo>
                    <a:pt x="500164" y="516813"/>
                  </a:lnTo>
                  <a:lnTo>
                    <a:pt x="548068" y="520865"/>
                  </a:lnTo>
                  <a:close/>
                </a:path>
                <a:path w="548640" h="786765">
                  <a:moveTo>
                    <a:pt x="548081" y="267322"/>
                  </a:moveTo>
                  <a:lnTo>
                    <a:pt x="543242" y="224586"/>
                  </a:lnTo>
                  <a:lnTo>
                    <a:pt x="542632" y="219151"/>
                  </a:lnTo>
                  <a:lnTo>
                    <a:pt x="529234" y="173888"/>
                  </a:lnTo>
                  <a:lnTo>
                    <a:pt x="522401" y="160096"/>
                  </a:lnTo>
                  <a:lnTo>
                    <a:pt x="508622" y="132257"/>
                  </a:lnTo>
                  <a:lnTo>
                    <a:pt x="481533" y="95008"/>
                  </a:lnTo>
                  <a:lnTo>
                    <a:pt x="480834" y="94335"/>
                  </a:lnTo>
                  <a:lnTo>
                    <a:pt x="448691" y="62852"/>
                  </a:lnTo>
                  <a:lnTo>
                    <a:pt x="422376" y="44577"/>
                  </a:lnTo>
                  <a:lnTo>
                    <a:pt x="410832" y="36550"/>
                  </a:lnTo>
                  <a:lnTo>
                    <a:pt x="368693" y="16802"/>
                  </a:lnTo>
                  <a:lnTo>
                    <a:pt x="323024" y="4381"/>
                  </a:lnTo>
                  <a:lnTo>
                    <a:pt x="274548" y="0"/>
                  </a:lnTo>
                  <a:lnTo>
                    <a:pt x="273329" y="0"/>
                  </a:lnTo>
                  <a:lnTo>
                    <a:pt x="224980" y="4356"/>
                  </a:lnTo>
                  <a:lnTo>
                    <a:pt x="179438" y="16725"/>
                  </a:lnTo>
                  <a:lnTo>
                    <a:pt x="137401" y="36372"/>
                  </a:lnTo>
                  <a:lnTo>
                    <a:pt x="99618" y="62560"/>
                  </a:lnTo>
                  <a:lnTo>
                    <a:pt x="98018" y="64122"/>
                  </a:lnTo>
                  <a:lnTo>
                    <a:pt x="66814" y="94576"/>
                  </a:lnTo>
                  <a:lnTo>
                    <a:pt x="39687" y="131686"/>
                  </a:lnTo>
                  <a:lnTo>
                    <a:pt x="19037" y="173139"/>
                  </a:lnTo>
                  <a:lnTo>
                    <a:pt x="5562" y="218224"/>
                  </a:lnTo>
                  <a:lnTo>
                    <a:pt x="0" y="266192"/>
                  </a:lnTo>
                  <a:lnTo>
                    <a:pt x="47713" y="262178"/>
                  </a:lnTo>
                  <a:lnTo>
                    <a:pt x="92227" y="250520"/>
                  </a:lnTo>
                  <a:lnTo>
                    <a:pt x="133464" y="231927"/>
                  </a:lnTo>
                  <a:lnTo>
                    <a:pt x="170738" y="207060"/>
                  </a:lnTo>
                  <a:lnTo>
                    <a:pt x="203365" y="176593"/>
                  </a:lnTo>
                  <a:lnTo>
                    <a:pt x="230670" y="141224"/>
                  </a:lnTo>
                  <a:lnTo>
                    <a:pt x="251993" y="101600"/>
                  </a:lnTo>
                  <a:lnTo>
                    <a:pt x="266661" y="58420"/>
                  </a:lnTo>
                  <a:lnTo>
                    <a:pt x="273989" y="12331"/>
                  </a:lnTo>
                  <a:lnTo>
                    <a:pt x="281165" y="58585"/>
                  </a:lnTo>
                  <a:lnTo>
                    <a:pt x="295719" y="101955"/>
                  </a:lnTo>
                  <a:lnTo>
                    <a:pt x="316979" y="141744"/>
                  </a:lnTo>
                  <a:lnTo>
                    <a:pt x="344271" y="177279"/>
                  </a:lnTo>
                  <a:lnTo>
                    <a:pt x="360070" y="192087"/>
                  </a:lnTo>
                  <a:lnTo>
                    <a:pt x="376923" y="207886"/>
                  </a:lnTo>
                  <a:lnTo>
                    <a:pt x="414235" y="232867"/>
                  </a:lnTo>
                  <a:lnTo>
                    <a:pt x="455549" y="251561"/>
                  </a:lnTo>
                  <a:lnTo>
                    <a:pt x="500164" y="263271"/>
                  </a:lnTo>
                  <a:lnTo>
                    <a:pt x="548081" y="267322"/>
                  </a:lnTo>
                  <a:close/>
                </a:path>
              </a:pathLst>
            </a:custGeom>
            <a:solidFill>
              <a:srgbClr val="2DB7EA"/>
            </a:solidFill>
          </p:spPr>
          <p:txBody>
            <a:bodyPr wrap="square" lIns="0" tIns="0" rIns="0" bIns="0" rtlCol="0"/>
            <a:lstStyle/>
            <a:p>
              <a:endParaRPr dirty="0"/>
            </a:p>
          </p:txBody>
        </p:sp>
        <p:pic>
          <p:nvPicPr>
            <p:cNvPr id="532" name="object 293">
              <a:extLst>
                <a:ext uri="{FF2B5EF4-FFF2-40B4-BE49-F238E27FC236}">
                  <a16:creationId xmlns:a16="http://schemas.microsoft.com/office/drawing/2014/main" id="{EABD97FD-8916-9E3C-7364-0FB8BC69EEE1}"/>
                </a:ext>
              </a:extLst>
            </p:cNvPr>
            <p:cNvPicPr/>
            <p:nvPr/>
          </p:nvPicPr>
          <p:blipFill>
            <a:blip r:embed="rId16" cstate="print"/>
            <a:stretch>
              <a:fillRect/>
            </a:stretch>
          </p:blipFill>
          <p:spPr>
            <a:xfrm>
              <a:off x="8096998" y="4318566"/>
              <a:ext cx="106445" cy="107156"/>
            </a:xfrm>
            <a:prstGeom prst="rect">
              <a:avLst/>
            </a:prstGeom>
          </p:spPr>
        </p:pic>
        <p:sp>
          <p:nvSpPr>
            <p:cNvPr id="533" name="object 294">
              <a:extLst>
                <a:ext uri="{FF2B5EF4-FFF2-40B4-BE49-F238E27FC236}">
                  <a16:creationId xmlns:a16="http://schemas.microsoft.com/office/drawing/2014/main" id="{603F58BF-ACFD-F2F9-C5A7-1A2CD5AF08A3}"/>
                </a:ext>
              </a:extLst>
            </p:cNvPr>
            <p:cNvSpPr/>
            <p:nvPr/>
          </p:nvSpPr>
          <p:spPr>
            <a:xfrm>
              <a:off x="7983731" y="4517034"/>
              <a:ext cx="332700" cy="477101"/>
            </a:xfrm>
            <a:custGeom>
              <a:avLst/>
              <a:gdLst/>
              <a:ahLst/>
              <a:cxnLst/>
              <a:rect l="l" t="t" r="r" b="b"/>
              <a:pathLst>
                <a:path w="548640" h="786765">
                  <a:moveTo>
                    <a:pt x="548068" y="786384"/>
                  </a:moveTo>
                  <a:lnTo>
                    <a:pt x="542632" y="738225"/>
                  </a:lnTo>
                  <a:lnTo>
                    <a:pt x="529234" y="692962"/>
                  </a:lnTo>
                  <a:lnTo>
                    <a:pt x="508609" y="651332"/>
                  </a:lnTo>
                  <a:lnTo>
                    <a:pt x="481520" y="614083"/>
                  </a:lnTo>
                  <a:lnTo>
                    <a:pt x="448678" y="581926"/>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47"/>
                  </a:lnTo>
                  <a:lnTo>
                    <a:pt x="66814" y="613664"/>
                  </a:lnTo>
                  <a:lnTo>
                    <a:pt x="39725" y="650760"/>
                  </a:lnTo>
                  <a:lnTo>
                    <a:pt x="19075" y="692226"/>
                  </a:lnTo>
                  <a:lnTo>
                    <a:pt x="5600" y="737323"/>
                  </a:lnTo>
                  <a:lnTo>
                    <a:pt x="38" y="785304"/>
                  </a:lnTo>
                  <a:lnTo>
                    <a:pt x="47713" y="781265"/>
                  </a:lnTo>
                  <a:lnTo>
                    <a:pt x="92227" y="769620"/>
                  </a:lnTo>
                  <a:lnTo>
                    <a:pt x="133464" y="751014"/>
                  </a:lnTo>
                  <a:lnTo>
                    <a:pt x="170726" y="726147"/>
                  </a:lnTo>
                  <a:lnTo>
                    <a:pt x="203352" y="695680"/>
                  </a:lnTo>
                  <a:lnTo>
                    <a:pt x="230670" y="660298"/>
                  </a:lnTo>
                  <a:lnTo>
                    <a:pt x="251993" y="620674"/>
                  </a:lnTo>
                  <a:lnTo>
                    <a:pt x="266649" y="577469"/>
                  </a:lnTo>
                  <a:lnTo>
                    <a:pt x="273989" y="531393"/>
                  </a:lnTo>
                  <a:lnTo>
                    <a:pt x="281165" y="577659"/>
                  </a:lnTo>
                  <a:lnTo>
                    <a:pt x="295719" y="621030"/>
                  </a:lnTo>
                  <a:lnTo>
                    <a:pt x="316979" y="660831"/>
                  </a:lnTo>
                  <a:lnTo>
                    <a:pt x="344271" y="696366"/>
                  </a:lnTo>
                  <a:lnTo>
                    <a:pt x="376923" y="726960"/>
                  </a:lnTo>
                  <a:lnTo>
                    <a:pt x="414235" y="751941"/>
                  </a:lnTo>
                  <a:lnTo>
                    <a:pt x="455536" y="770623"/>
                  </a:lnTo>
                  <a:lnTo>
                    <a:pt x="500164" y="782332"/>
                  </a:lnTo>
                  <a:lnTo>
                    <a:pt x="548068" y="786384"/>
                  </a:lnTo>
                  <a:close/>
                </a:path>
                <a:path w="548640" h="786765">
                  <a:moveTo>
                    <a:pt x="548068" y="520852"/>
                  </a:moveTo>
                  <a:lnTo>
                    <a:pt x="542632" y="472694"/>
                  </a:lnTo>
                  <a:lnTo>
                    <a:pt x="529234" y="427431"/>
                  </a:lnTo>
                  <a:lnTo>
                    <a:pt x="508609" y="385813"/>
                  </a:lnTo>
                  <a:lnTo>
                    <a:pt x="481520" y="348551"/>
                  </a:lnTo>
                  <a:lnTo>
                    <a:pt x="448678" y="316407"/>
                  </a:lnTo>
                  <a:lnTo>
                    <a:pt x="410819" y="290093"/>
                  </a:lnTo>
                  <a:lnTo>
                    <a:pt x="368693" y="270357"/>
                  </a:lnTo>
                  <a:lnTo>
                    <a:pt x="323024" y="257937"/>
                  </a:lnTo>
                  <a:lnTo>
                    <a:pt x="274548" y="253555"/>
                  </a:lnTo>
                  <a:lnTo>
                    <a:pt x="273329" y="253555"/>
                  </a:lnTo>
                  <a:lnTo>
                    <a:pt x="224980" y="257911"/>
                  </a:lnTo>
                  <a:lnTo>
                    <a:pt x="179438" y="270281"/>
                  </a:lnTo>
                  <a:lnTo>
                    <a:pt x="137401" y="289928"/>
                  </a:lnTo>
                  <a:lnTo>
                    <a:pt x="99618" y="316128"/>
                  </a:lnTo>
                  <a:lnTo>
                    <a:pt x="66814" y="348132"/>
                  </a:lnTo>
                  <a:lnTo>
                    <a:pt x="39725" y="385241"/>
                  </a:lnTo>
                  <a:lnTo>
                    <a:pt x="19075" y="426694"/>
                  </a:lnTo>
                  <a:lnTo>
                    <a:pt x="5600" y="471779"/>
                  </a:lnTo>
                  <a:lnTo>
                    <a:pt x="38" y="519772"/>
                  </a:lnTo>
                  <a:lnTo>
                    <a:pt x="47713" y="515734"/>
                  </a:lnTo>
                  <a:lnTo>
                    <a:pt x="92227" y="504075"/>
                  </a:lnTo>
                  <a:lnTo>
                    <a:pt x="133464" y="485482"/>
                  </a:lnTo>
                  <a:lnTo>
                    <a:pt x="170726" y="460616"/>
                  </a:lnTo>
                  <a:lnTo>
                    <a:pt x="203352" y="430149"/>
                  </a:lnTo>
                  <a:lnTo>
                    <a:pt x="230670" y="394766"/>
                  </a:lnTo>
                  <a:lnTo>
                    <a:pt x="251993" y="355142"/>
                  </a:lnTo>
                  <a:lnTo>
                    <a:pt x="266649" y="311950"/>
                  </a:lnTo>
                  <a:lnTo>
                    <a:pt x="273989" y="265861"/>
                  </a:lnTo>
                  <a:lnTo>
                    <a:pt x="281165" y="312127"/>
                  </a:lnTo>
                  <a:lnTo>
                    <a:pt x="295719" y="355511"/>
                  </a:lnTo>
                  <a:lnTo>
                    <a:pt x="316979" y="395300"/>
                  </a:lnTo>
                  <a:lnTo>
                    <a:pt x="344271" y="430834"/>
                  </a:lnTo>
                  <a:lnTo>
                    <a:pt x="376923" y="461429"/>
                  </a:lnTo>
                  <a:lnTo>
                    <a:pt x="414235" y="486410"/>
                  </a:lnTo>
                  <a:lnTo>
                    <a:pt x="455536" y="505091"/>
                  </a:lnTo>
                  <a:lnTo>
                    <a:pt x="500164" y="516801"/>
                  </a:lnTo>
                  <a:lnTo>
                    <a:pt x="548068" y="520852"/>
                  </a:lnTo>
                  <a:close/>
                </a:path>
                <a:path w="548640" h="786765">
                  <a:moveTo>
                    <a:pt x="548081" y="267322"/>
                  </a:moveTo>
                  <a:lnTo>
                    <a:pt x="543318" y="225285"/>
                  </a:lnTo>
                  <a:lnTo>
                    <a:pt x="542632" y="219151"/>
                  </a:lnTo>
                  <a:lnTo>
                    <a:pt x="529234" y="173875"/>
                  </a:lnTo>
                  <a:lnTo>
                    <a:pt x="508622" y="132245"/>
                  </a:lnTo>
                  <a:lnTo>
                    <a:pt x="481533" y="94996"/>
                  </a:lnTo>
                  <a:lnTo>
                    <a:pt x="449376" y="63525"/>
                  </a:lnTo>
                  <a:lnTo>
                    <a:pt x="448691" y="62852"/>
                  </a:lnTo>
                  <a:lnTo>
                    <a:pt x="437134" y="54825"/>
                  </a:lnTo>
                  <a:lnTo>
                    <a:pt x="410832" y="36537"/>
                  </a:lnTo>
                  <a:lnTo>
                    <a:pt x="391096" y="27305"/>
                  </a:lnTo>
                  <a:lnTo>
                    <a:pt x="368706" y="16814"/>
                  </a:lnTo>
                  <a:lnTo>
                    <a:pt x="323024" y="4368"/>
                  </a:lnTo>
                  <a:lnTo>
                    <a:pt x="274548" y="0"/>
                  </a:lnTo>
                  <a:lnTo>
                    <a:pt x="273329" y="0"/>
                  </a:lnTo>
                  <a:lnTo>
                    <a:pt x="224980" y="4356"/>
                  </a:lnTo>
                  <a:lnTo>
                    <a:pt x="179438" y="16725"/>
                  </a:lnTo>
                  <a:lnTo>
                    <a:pt x="137401" y="36372"/>
                  </a:lnTo>
                  <a:lnTo>
                    <a:pt x="120650" y="47980"/>
                  </a:lnTo>
                  <a:lnTo>
                    <a:pt x="99618" y="62560"/>
                  </a:lnTo>
                  <a:lnTo>
                    <a:pt x="66814" y="94576"/>
                  </a:lnTo>
                  <a:lnTo>
                    <a:pt x="39687" y="131686"/>
                  </a:lnTo>
                  <a:lnTo>
                    <a:pt x="19037" y="173139"/>
                  </a:lnTo>
                  <a:lnTo>
                    <a:pt x="5562" y="218211"/>
                  </a:lnTo>
                  <a:lnTo>
                    <a:pt x="0" y="266192"/>
                  </a:lnTo>
                  <a:lnTo>
                    <a:pt x="47713" y="262166"/>
                  </a:lnTo>
                  <a:lnTo>
                    <a:pt x="92227" y="250520"/>
                  </a:lnTo>
                  <a:lnTo>
                    <a:pt x="133464" y="231914"/>
                  </a:lnTo>
                  <a:lnTo>
                    <a:pt x="170738" y="207048"/>
                  </a:lnTo>
                  <a:lnTo>
                    <a:pt x="203365" y="176593"/>
                  </a:lnTo>
                  <a:lnTo>
                    <a:pt x="230670" y="141211"/>
                  </a:lnTo>
                  <a:lnTo>
                    <a:pt x="251993" y="101600"/>
                  </a:lnTo>
                  <a:lnTo>
                    <a:pt x="266661" y="58407"/>
                  </a:lnTo>
                  <a:lnTo>
                    <a:pt x="273989" y="12319"/>
                  </a:lnTo>
                  <a:lnTo>
                    <a:pt x="281165" y="58585"/>
                  </a:lnTo>
                  <a:lnTo>
                    <a:pt x="295719" y="101942"/>
                  </a:lnTo>
                  <a:lnTo>
                    <a:pt x="316979" y="141732"/>
                  </a:lnTo>
                  <a:lnTo>
                    <a:pt x="344271" y="177266"/>
                  </a:lnTo>
                  <a:lnTo>
                    <a:pt x="376923" y="207873"/>
                  </a:lnTo>
                  <a:lnTo>
                    <a:pt x="414235" y="232867"/>
                  </a:lnTo>
                  <a:lnTo>
                    <a:pt x="455549" y="251548"/>
                  </a:lnTo>
                  <a:lnTo>
                    <a:pt x="500164" y="263258"/>
                  </a:lnTo>
                  <a:lnTo>
                    <a:pt x="548081" y="267322"/>
                  </a:lnTo>
                  <a:close/>
                </a:path>
              </a:pathLst>
            </a:custGeom>
            <a:solidFill>
              <a:srgbClr val="7ED3F1"/>
            </a:solidFill>
          </p:spPr>
          <p:txBody>
            <a:bodyPr wrap="square" lIns="0" tIns="0" rIns="0" bIns="0" rtlCol="0"/>
            <a:lstStyle/>
            <a:p>
              <a:endParaRPr dirty="0"/>
            </a:p>
          </p:txBody>
        </p:sp>
        <p:pic>
          <p:nvPicPr>
            <p:cNvPr id="534" name="object 295">
              <a:extLst>
                <a:ext uri="{FF2B5EF4-FFF2-40B4-BE49-F238E27FC236}">
                  <a16:creationId xmlns:a16="http://schemas.microsoft.com/office/drawing/2014/main" id="{AE1DE182-DFF7-67F1-46DC-40D082132AB3}"/>
                </a:ext>
              </a:extLst>
            </p:cNvPr>
            <p:cNvPicPr/>
            <p:nvPr/>
          </p:nvPicPr>
          <p:blipFill>
            <a:blip r:embed="rId17" cstate="print"/>
            <a:stretch>
              <a:fillRect/>
            </a:stretch>
          </p:blipFill>
          <p:spPr>
            <a:xfrm>
              <a:off x="8096998" y="4972731"/>
              <a:ext cx="106445" cy="107156"/>
            </a:xfrm>
            <a:prstGeom prst="rect">
              <a:avLst/>
            </a:prstGeom>
          </p:spPr>
        </p:pic>
        <p:sp>
          <p:nvSpPr>
            <p:cNvPr id="535" name="object 296">
              <a:extLst>
                <a:ext uri="{FF2B5EF4-FFF2-40B4-BE49-F238E27FC236}">
                  <a16:creationId xmlns:a16="http://schemas.microsoft.com/office/drawing/2014/main" id="{66991E52-862B-5CFC-4AFD-1947FE94D512}"/>
                </a:ext>
              </a:extLst>
            </p:cNvPr>
            <p:cNvSpPr/>
            <p:nvPr/>
          </p:nvSpPr>
          <p:spPr>
            <a:xfrm>
              <a:off x="7983731" y="2554529"/>
              <a:ext cx="332700" cy="477101"/>
            </a:xfrm>
            <a:custGeom>
              <a:avLst/>
              <a:gdLst/>
              <a:ahLst/>
              <a:cxnLst/>
              <a:rect l="l" t="t" r="r" b="b"/>
              <a:pathLst>
                <a:path w="548640" h="786764">
                  <a:moveTo>
                    <a:pt x="548068" y="786396"/>
                  </a:moveTo>
                  <a:lnTo>
                    <a:pt x="542632" y="738238"/>
                  </a:lnTo>
                  <a:lnTo>
                    <a:pt x="529234" y="692975"/>
                  </a:lnTo>
                  <a:lnTo>
                    <a:pt x="508609" y="651344"/>
                  </a:lnTo>
                  <a:lnTo>
                    <a:pt x="481520" y="614095"/>
                  </a:lnTo>
                  <a:lnTo>
                    <a:pt x="448678" y="581939"/>
                  </a:lnTo>
                  <a:lnTo>
                    <a:pt x="410819" y="555625"/>
                  </a:lnTo>
                  <a:lnTo>
                    <a:pt x="368693" y="535901"/>
                  </a:lnTo>
                  <a:lnTo>
                    <a:pt x="323024" y="523468"/>
                  </a:lnTo>
                  <a:lnTo>
                    <a:pt x="274548" y="519099"/>
                  </a:lnTo>
                  <a:lnTo>
                    <a:pt x="273329" y="519099"/>
                  </a:lnTo>
                  <a:lnTo>
                    <a:pt x="224980" y="523455"/>
                  </a:lnTo>
                  <a:lnTo>
                    <a:pt x="179438" y="535813"/>
                  </a:lnTo>
                  <a:lnTo>
                    <a:pt x="137401" y="555459"/>
                  </a:lnTo>
                  <a:lnTo>
                    <a:pt x="99618" y="581660"/>
                  </a:lnTo>
                  <a:lnTo>
                    <a:pt x="66814" y="613676"/>
                  </a:lnTo>
                  <a:lnTo>
                    <a:pt x="39725" y="650773"/>
                  </a:lnTo>
                  <a:lnTo>
                    <a:pt x="19075" y="692238"/>
                  </a:lnTo>
                  <a:lnTo>
                    <a:pt x="5600" y="737323"/>
                  </a:lnTo>
                  <a:lnTo>
                    <a:pt x="38" y="785317"/>
                  </a:lnTo>
                  <a:lnTo>
                    <a:pt x="47713" y="781278"/>
                  </a:lnTo>
                  <a:lnTo>
                    <a:pt x="92227" y="769632"/>
                  </a:lnTo>
                  <a:lnTo>
                    <a:pt x="133464" y="751027"/>
                  </a:lnTo>
                  <a:lnTo>
                    <a:pt x="170726" y="726160"/>
                  </a:lnTo>
                  <a:lnTo>
                    <a:pt x="203352" y="695693"/>
                  </a:lnTo>
                  <a:lnTo>
                    <a:pt x="230670" y="660311"/>
                  </a:lnTo>
                  <a:lnTo>
                    <a:pt x="251993" y="620687"/>
                  </a:lnTo>
                  <a:lnTo>
                    <a:pt x="266649" y="577481"/>
                  </a:lnTo>
                  <a:lnTo>
                    <a:pt x="273989" y="531406"/>
                  </a:lnTo>
                  <a:lnTo>
                    <a:pt x="281165" y="577672"/>
                  </a:lnTo>
                  <a:lnTo>
                    <a:pt x="295719" y="621042"/>
                  </a:lnTo>
                  <a:lnTo>
                    <a:pt x="316979" y="660844"/>
                  </a:lnTo>
                  <a:lnTo>
                    <a:pt x="344271" y="696379"/>
                  </a:lnTo>
                  <a:lnTo>
                    <a:pt x="376923" y="726973"/>
                  </a:lnTo>
                  <a:lnTo>
                    <a:pt x="414235" y="751954"/>
                  </a:lnTo>
                  <a:lnTo>
                    <a:pt x="455536" y="770636"/>
                  </a:lnTo>
                  <a:lnTo>
                    <a:pt x="500164" y="782345"/>
                  </a:lnTo>
                  <a:lnTo>
                    <a:pt x="548068" y="786396"/>
                  </a:lnTo>
                  <a:close/>
                </a:path>
                <a:path w="548640" h="786764">
                  <a:moveTo>
                    <a:pt x="548068" y="520865"/>
                  </a:moveTo>
                  <a:lnTo>
                    <a:pt x="542632" y="472706"/>
                  </a:lnTo>
                  <a:lnTo>
                    <a:pt x="529234" y="427443"/>
                  </a:lnTo>
                  <a:lnTo>
                    <a:pt x="508609" y="385813"/>
                  </a:lnTo>
                  <a:lnTo>
                    <a:pt x="481520" y="348564"/>
                  </a:lnTo>
                  <a:lnTo>
                    <a:pt x="448678" y="316407"/>
                  </a:lnTo>
                  <a:lnTo>
                    <a:pt x="410819" y="290106"/>
                  </a:lnTo>
                  <a:lnTo>
                    <a:pt x="368693" y="270370"/>
                  </a:lnTo>
                  <a:lnTo>
                    <a:pt x="323024" y="257949"/>
                  </a:lnTo>
                  <a:lnTo>
                    <a:pt x="274548" y="253568"/>
                  </a:lnTo>
                  <a:lnTo>
                    <a:pt x="273329" y="253568"/>
                  </a:lnTo>
                  <a:lnTo>
                    <a:pt x="224980" y="257924"/>
                  </a:lnTo>
                  <a:lnTo>
                    <a:pt x="179438" y="270294"/>
                  </a:lnTo>
                  <a:lnTo>
                    <a:pt x="137401" y="289941"/>
                  </a:lnTo>
                  <a:lnTo>
                    <a:pt x="99618" y="316128"/>
                  </a:lnTo>
                  <a:lnTo>
                    <a:pt x="66814" y="348145"/>
                  </a:lnTo>
                  <a:lnTo>
                    <a:pt x="39725" y="385254"/>
                  </a:lnTo>
                  <a:lnTo>
                    <a:pt x="19075" y="426707"/>
                  </a:lnTo>
                  <a:lnTo>
                    <a:pt x="5600" y="471805"/>
                  </a:lnTo>
                  <a:lnTo>
                    <a:pt x="38" y="519785"/>
                  </a:lnTo>
                  <a:lnTo>
                    <a:pt x="47713" y="515759"/>
                  </a:lnTo>
                  <a:lnTo>
                    <a:pt x="92227" y="504101"/>
                  </a:lnTo>
                  <a:lnTo>
                    <a:pt x="133464" y="485495"/>
                  </a:lnTo>
                  <a:lnTo>
                    <a:pt x="170726" y="460629"/>
                  </a:lnTo>
                  <a:lnTo>
                    <a:pt x="203352" y="430161"/>
                  </a:lnTo>
                  <a:lnTo>
                    <a:pt x="230670" y="394779"/>
                  </a:lnTo>
                  <a:lnTo>
                    <a:pt x="251993" y="355155"/>
                  </a:lnTo>
                  <a:lnTo>
                    <a:pt x="266649" y="311962"/>
                  </a:lnTo>
                  <a:lnTo>
                    <a:pt x="273989" y="265874"/>
                  </a:lnTo>
                  <a:lnTo>
                    <a:pt x="281165" y="312140"/>
                  </a:lnTo>
                  <a:lnTo>
                    <a:pt x="295719" y="355511"/>
                  </a:lnTo>
                  <a:lnTo>
                    <a:pt x="316979" y="395312"/>
                  </a:lnTo>
                  <a:lnTo>
                    <a:pt x="344271" y="430847"/>
                  </a:lnTo>
                  <a:lnTo>
                    <a:pt x="376923" y="461441"/>
                  </a:lnTo>
                  <a:lnTo>
                    <a:pt x="414235" y="486422"/>
                  </a:lnTo>
                  <a:lnTo>
                    <a:pt x="455536" y="505104"/>
                  </a:lnTo>
                  <a:lnTo>
                    <a:pt x="500164" y="516813"/>
                  </a:lnTo>
                  <a:lnTo>
                    <a:pt x="548068" y="520865"/>
                  </a:lnTo>
                  <a:close/>
                </a:path>
                <a:path w="548640" h="786764">
                  <a:moveTo>
                    <a:pt x="548081" y="267335"/>
                  </a:moveTo>
                  <a:lnTo>
                    <a:pt x="543852" y="230035"/>
                  </a:lnTo>
                  <a:lnTo>
                    <a:pt x="542632" y="219163"/>
                  </a:lnTo>
                  <a:lnTo>
                    <a:pt x="529234" y="173888"/>
                  </a:lnTo>
                  <a:lnTo>
                    <a:pt x="508622" y="132257"/>
                  </a:lnTo>
                  <a:lnTo>
                    <a:pt x="481533" y="95008"/>
                  </a:lnTo>
                  <a:lnTo>
                    <a:pt x="448691" y="62865"/>
                  </a:lnTo>
                  <a:lnTo>
                    <a:pt x="410832" y="36563"/>
                  </a:lnTo>
                  <a:lnTo>
                    <a:pt x="368693" y="16802"/>
                  </a:lnTo>
                  <a:lnTo>
                    <a:pt x="323024" y="4381"/>
                  </a:lnTo>
                  <a:lnTo>
                    <a:pt x="274548" y="0"/>
                  </a:lnTo>
                  <a:lnTo>
                    <a:pt x="273329" y="0"/>
                  </a:lnTo>
                  <a:lnTo>
                    <a:pt x="224980" y="4356"/>
                  </a:lnTo>
                  <a:lnTo>
                    <a:pt x="179438" y="16725"/>
                  </a:lnTo>
                  <a:lnTo>
                    <a:pt x="137401" y="36372"/>
                  </a:lnTo>
                  <a:lnTo>
                    <a:pt x="99618" y="62572"/>
                  </a:lnTo>
                  <a:lnTo>
                    <a:pt x="66814" y="94576"/>
                  </a:lnTo>
                  <a:lnTo>
                    <a:pt x="39687" y="131699"/>
                  </a:lnTo>
                  <a:lnTo>
                    <a:pt x="19037" y="173151"/>
                  </a:lnTo>
                  <a:lnTo>
                    <a:pt x="5562" y="218224"/>
                  </a:lnTo>
                  <a:lnTo>
                    <a:pt x="0" y="266204"/>
                  </a:lnTo>
                  <a:lnTo>
                    <a:pt x="47713" y="262191"/>
                  </a:lnTo>
                  <a:lnTo>
                    <a:pt x="92227" y="250532"/>
                  </a:lnTo>
                  <a:lnTo>
                    <a:pt x="133464" y="231940"/>
                  </a:lnTo>
                  <a:lnTo>
                    <a:pt x="161404" y="213283"/>
                  </a:lnTo>
                  <a:lnTo>
                    <a:pt x="170738" y="207060"/>
                  </a:lnTo>
                  <a:lnTo>
                    <a:pt x="203365" y="176606"/>
                  </a:lnTo>
                  <a:lnTo>
                    <a:pt x="230670" y="141224"/>
                  </a:lnTo>
                  <a:lnTo>
                    <a:pt x="251993" y="101612"/>
                  </a:lnTo>
                  <a:lnTo>
                    <a:pt x="266661" y="58420"/>
                  </a:lnTo>
                  <a:lnTo>
                    <a:pt x="273989" y="12331"/>
                  </a:lnTo>
                  <a:lnTo>
                    <a:pt x="281165" y="58597"/>
                  </a:lnTo>
                  <a:lnTo>
                    <a:pt x="295719" y="101955"/>
                  </a:lnTo>
                  <a:lnTo>
                    <a:pt x="316979" y="141744"/>
                  </a:lnTo>
                  <a:lnTo>
                    <a:pt x="344271" y="177279"/>
                  </a:lnTo>
                  <a:lnTo>
                    <a:pt x="360070" y="192087"/>
                  </a:lnTo>
                  <a:lnTo>
                    <a:pt x="376923" y="207886"/>
                  </a:lnTo>
                  <a:lnTo>
                    <a:pt x="414235" y="232867"/>
                  </a:lnTo>
                  <a:lnTo>
                    <a:pt x="455549" y="251561"/>
                  </a:lnTo>
                  <a:lnTo>
                    <a:pt x="500164" y="263271"/>
                  </a:lnTo>
                  <a:lnTo>
                    <a:pt x="548081" y="267335"/>
                  </a:lnTo>
                  <a:close/>
                </a:path>
              </a:pathLst>
            </a:custGeom>
            <a:solidFill>
              <a:srgbClr val="2DB7EA"/>
            </a:solidFill>
          </p:spPr>
          <p:txBody>
            <a:bodyPr wrap="square" lIns="0" tIns="0" rIns="0" bIns="0" rtlCol="0"/>
            <a:lstStyle/>
            <a:p>
              <a:endParaRPr dirty="0"/>
            </a:p>
          </p:txBody>
        </p:sp>
        <p:pic>
          <p:nvPicPr>
            <p:cNvPr id="536" name="object 297">
              <a:extLst>
                <a:ext uri="{FF2B5EF4-FFF2-40B4-BE49-F238E27FC236}">
                  <a16:creationId xmlns:a16="http://schemas.microsoft.com/office/drawing/2014/main" id="{7C4DF7C8-1341-7124-C770-891254CEAB98}"/>
                </a:ext>
              </a:extLst>
            </p:cNvPr>
            <p:cNvPicPr/>
            <p:nvPr/>
          </p:nvPicPr>
          <p:blipFill>
            <a:blip r:embed="rId16" cstate="print"/>
            <a:stretch>
              <a:fillRect/>
            </a:stretch>
          </p:blipFill>
          <p:spPr>
            <a:xfrm>
              <a:off x="8096998" y="3010234"/>
              <a:ext cx="106445" cy="107156"/>
            </a:xfrm>
            <a:prstGeom prst="rect">
              <a:avLst/>
            </a:prstGeom>
          </p:spPr>
        </p:pic>
        <p:sp>
          <p:nvSpPr>
            <p:cNvPr id="537" name="object 298">
              <a:extLst>
                <a:ext uri="{FF2B5EF4-FFF2-40B4-BE49-F238E27FC236}">
                  <a16:creationId xmlns:a16="http://schemas.microsoft.com/office/drawing/2014/main" id="{D5D65F74-F280-EC5C-B375-A432AC142C19}"/>
                </a:ext>
              </a:extLst>
            </p:cNvPr>
            <p:cNvSpPr/>
            <p:nvPr/>
          </p:nvSpPr>
          <p:spPr>
            <a:xfrm>
              <a:off x="7983731" y="3208700"/>
              <a:ext cx="332700" cy="477101"/>
            </a:xfrm>
            <a:custGeom>
              <a:avLst/>
              <a:gdLst/>
              <a:ahLst/>
              <a:cxnLst/>
              <a:rect l="l" t="t" r="r" b="b"/>
              <a:pathLst>
                <a:path w="548640" h="786764">
                  <a:moveTo>
                    <a:pt x="548068" y="786384"/>
                  </a:moveTo>
                  <a:lnTo>
                    <a:pt x="542632" y="738225"/>
                  </a:lnTo>
                  <a:lnTo>
                    <a:pt x="529234" y="692962"/>
                  </a:lnTo>
                  <a:lnTo>
                    <a:pt x="508609" y="651344"/>
                  </a:lnTo>
                  <a:lnTo>
                    <a:pt x="481520" y="614083"/>
                  </a:lnTo>
                  <a:lnTo>
                    <a:pt x="448678" y="581926"/>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47"/>
                  </a:lnTo>
                  <a:lnTo>
                    <a:pt x="66814" y="613664"/>
                  </a:lnTo>
                  <a:lnTo>
                    <a:pt x="39725" y="650773"/>
                  </a:lnTo>
                  <a:lnTo>
                    <a:pt x="19075" y="692226"/>
                  </a:lnTo>
                  <a:lnTo>
                    <a:pt x="5600" y="737323"/>
                  </a:lnTo>
                  <a:lnTo>
                    <a:pt x="38" y="785317"/>
                  </a:lnTo>
                  <a:lnTo>
                    <a:pt x="47713" y="781278"/>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59"/>
                  </a:lnTo>
                  <a:lnTo>
                    <a:pt x="295719" y="621042"/>
                  </a:lnTo>
                  <a:lnTo>
                    <a:pt x="316979" y="660831"/>
                  </a:lnTo>
                  <a:lnTo>
                    <a:pt x="344271" y="696366"/>
                  </a:lnTo>
                  <a:lnTo>
                    <a:pt x="376923" y="726960"/>
                  </a:lnTo>
                  <a:lnTo>
                    <a:pt x="414235" y="751941"/>
                  </a:lnTo>
                  <a:lnTo>
                    <a:pt x="455536" y="770623"/>
                  </a:lnTo>
                  <a:lnTo>
                    <a:pt x="500164" y="782332"/>
                  </a:lnTo>
                  <a:lnTo>
                    <a:pt x="548068" y="786384"/>
                  </a:lnTo>
                  <a:close/>
                </a:path>
                <a:path w="548640" h="786764">
                  <a:moveTo>
                    <a:pt x="548068" y="520865"/>
                  </a:moveTo>
                  <a:lnTo>
                    <a:pt x="542632" y="472694"/>
                  </a:lnTo>
                  <a:lnTo>
                    <a:pt x="529234" y="427431"/>
                  </a:lnTo>
                  <a:lnTo>
                    <a:pt x="508609" y="385813"/>
                  </a:lnTo>
                  <a:lnTo>
                    <a:pt x="481520" y="348551"/>
                  </a:lnTo>
                  <a:lnTo>
                    <a:pt x="448678" y="316407"/>
                  </a:lnTo>
                  <a:lnTo>
                    <a:pt x="410819" y="290093"/>
                  </a:lnTo>
                  <a:lnTo>
                    <a:pt x="368693" y="270357"/>
                  </a:lnTo>
                  <a:lnTo>
                    <a:pt x="323024" y="257937"/>
                  </a:lnTo>
                  <a:lnTo>
                    <a:pt x="274548" y="253555"/>
                  </a:lnTo>
                  <a:lnTo>
                    <a:pt x="273329" y="253555"/>
                  </a:lnTo>
                  <a:lnTo>
                    <a:pt x="224980" y="257911"/>
                  </a:lnTo>
                  <a:lnTo>
                    <a:pt x="179438" y="270281"/>
                  </a:lnTo>
                  <a:lnTo>
                    <a:pt x="137401" y="289928"/>
                  </a:lnTo>
                  <a:lnTo>
                    <a:pt x="99618" y="316115"/>
                  </a:lnTo>
                  <a:lnTo>
                    <a:pt x="66814" y="348132"/>
                  </a:lnTo>
                  <a:lnTo>
                    <a:pt x="39725" y="385241"/>
                  </a:lnTo>
                  <a:lnTo>
                    <a:pt x="19075" y="426694"/>
                  </a:lnTo>
                  <a:lnTo>
                    <a:pt x="5600" y="471792"/>
                  </a:lnTo>
                  <a:lnTo>
                    <a:pt x="38" y="519785"/>
                  </a:lnTo>
                  <a:lnTo>
                    <a:pt x="47713" y="515747"/>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40"/>
                  </a:lnTo>
                  <a:lnTo>
                    <a:pt x="295719" y="355511"/>
                  </a:lnTo>
                  <a:lnTo>
                    <a:pt x="316979" y="395300"/>
                  </a:lnTo>
                  <a:lnTo>
                    <a:pt x="344271" y="430834"/>
                  </a:lnTo>
                  <a:lnTo>
                    <a:pt x="376923" y="461429"/>
                  </a:lnTo>
                  <a:lnTo>
                    <a:pt x="414235" y="486410"/>
                  </a:lnTo>
                  <a:lnTo>
                    <a:pt x="455536" y="505091"/>
                  </a:lnTo>
                  <a:lnTo>
                    <a:pt x="500164" y="516801"/>
                  </a:lnTo>
                  <a:lnTo>
                    <a:pt x="548068" y="520865"/>
                  </a:lnTo>
                  <a:close/>
                </a:path>
                <a:path w="548640" h="786764">
                  <a:moveTo>
                    <a:pt x="548081" y="267322"/>
                  </a:moveTo>
                  <a:lnTo>
                    <a:pt x="543318" y="225285"/>
                  </a:lnTo>
                  <a:lnTo>
                    <a:pt x="542632" y="219151"/>
                  </a:lnTo>
                  <a:lnTo>
                    <a:pt x="529234" y="173888"/>
                  </a:lnTo>
                  <a:lnTo>
                    <a:pt x="519010" y="153263"/>
                  </a:lnTo>
                  <a:lnTo>
                    <a:pt x="508622" y="132257"/>
                  </a:lnTo>
                  <a:lnTo>
                    <a:pt x="481533" y="94996"/>
                  </a:lnTo>
                  <a:lnTo>
                    <a:pt x="449376" y="63525"/>
                  </a:lnTo>
                  <a:lnTo>
                    <a:pt x="448691" y="62852"/>
                  </a:lnTo>
                  <a:lnTo>
                    <a:pt x="410832" y="36550"/>
                  </a:lnTo>
                  <a:lnTo>
                    <a:pt x="368706" y="16814"/>
                  </a:lnTo>
                  <a:lnTo>
                    <a:pt x="323024" y="4368"/>
                  </a:lnTo>
                  <a:lnTo>
                    <a:pt x="274548" y="0"/>
                  </a:lnTo>
                  <a:lnTo>
                    <a:pt x="273329" y="0"/>
                  </a:lnTo>
                  <a:lnTo>
                    <a:pt x="224980" y="4356"/>
                  </a:lnTo>
                  <a:lnTo>
                    <a:pt x="179438" y="16725"/>
                  </a:lnTo>
                  <a:lnTo>
                    <a:pt x="137401" y="36360"/>
                  </a:lnTo>
                  <a:lnTo>
                    <a:pt x="99618" y="62560"/>
                  </a:lnTo>
                  <a:lnTo>
                    <a:pt x="98018" y="64122"/>
                  </a:lnTo>
                  <a:lnTo>
                    <a:pt x="66814" y="94576"/>
                  </a:lnTo>
                  <a:lnTo>
                    <a:pt x="39687" y="131686"/>
                  </a:lnTo>
                  <a:lnTo>
                    <a:pt x="19037" y="173139"/>
                  </a:lnTo>
                  <a:lnTo>
                    <a:pt x="5562" y="218224"/>
                  </a:lnTo>
                  <a:lnTo>
                    <a:pt x="0" y="266192"/>
                  </a:lnTo>
                  <a:lnTo>
                    <a:pt x="47713" y="262178"/>
                  </a:lnTo>
                  <a:lnTo>
                    <a:pt x="92227" y="250532"/>
                  </a:lnTo>
                  <a:lnTo>
                    <a:pt x="133464" y="231927"/>
                  </a:lnTo>
                  <a:lnTo>
                    <a:pt x="170726" y="207060"/>
                  </a:lnTo>
                  <a:lnTo>
                    <a:pt x="172897" y="205041"/>
                  </a:lnTo>
                  <a:lnTo>
                    <a:pt x="203365" y="176593"/>
                  </a:lnTo>
                  <a:lnTo>
                    <a:pt x="230670" y="141224"/>
                  </a:lnTo>
                  <a:lnTo>
                    <a:pt x="251993" y="101600"/>
                  </a:lnTo>
                  <a:lnTo>
                    <a:pt x="266661" y="58407"/>
                  </a:lnTo>
                  <a:lnTo>
                    <a:pt x="273989" y="12331"/>
                  </a:lnTo>
                  <a:lnTo>
                    <a:pt x="281165" y="58585"/>
                  </a:lnTo>
                  <a:lnTo>
                    <a:pt x="295719" y="101942"/>
                  </a:lnTo>
                  <a:lnTo>
                    <a:pt x="316979" y="141744"/>
                  </a:lnTo>
                  <a:lnTo>
                    <a:pt x="344271" y="177279"/>
                  </a:lnTo>
                  <a:lnTo>
                    <a:pt x="376923" y="207873"/>
                  </a:lnTo>
                  <a:lnTo>
                    <a:pt x="414235" y="232867"/>
                  </a:lnTo>
                  <a:lnTo>
                    <a:pt x="455549" y="251548"/>
                  </a:lnTo>
                  <a:lnTo>
                    <a:pt x="500164" y="263271"/>
                  </a:lnTo>
                  <a:lnTo>
                    <a:pt x="548081" y="267322"/>
                  </a:lnTo>
                  <a:close/>
                </a:path>
              </a:pathLst>
            </a:custGeom>
            <a:solidFill>
              <a:srgbClr val="7ED3F1"/>
            </a:solidFill>
          </p:spPr>
          <p:txBody>
            <a:bodyPr wrap="square" lIns="0" tIns="0" rIns="0" bIns="0" rtlCol="0"/>
            <a:lstStyle/>
            <a:p>
              <a:endParaRPr dirty="0"/>
            </a:p>
          </p:txBody>
        </p:sp>
        <p:pic>
          <p:nvPicPr>
            <p:cNvPr id="538" name="object 299">
              <a:extLst>
                <a:ext uri="{FF2B5EF4-FFF2-40B4-BE49-F238E27FC236}">
                  <a16:creationId xmlns:a16="http://schemas.microsoft.com/office/drawing/2014/main" id="{BBB1BD4E-9D4A-1F54-82CF-B9DDD0914A57}"/>
                </a:ext>
              </a:extLst>
            </p:cNvPr>
            <p:cNvPicPr/>
            <p:nvPr/>
          </p:nvPicPr>
          <p:blipFill>
            <a:blip r:embed="rId17" cstate="print"/>
            <a:stretch>
              <a:fillRect/>
            </a:stretch>
          </p:blipFill>
          <p:spPr>
            <a:xfrm>
              <a:off x="8096998" y="3664400"/>
              <a:ext cx="106445" cy="107156"/>
            </a:xfrm>
            <a:prstGeom prst="rect">
              <a:avLst/>
            </a:prstGeom>
          </p:spPr>
        </p:pic>
        <p:sp>
          <p:nvSpPr>
            <p:cNvPr id="539" name="object 300">
              <a:extLst>
                <a:ext uri="{FF2B5EF4-FFF2-40B4-BE49-F238E27FC236}">
                  <a16:creationId xmlns:a16="http://schemas.microsoft.com/office/drawing/2014/main" id="{292661B2-7BC0-BF3C-4D7D-B297B4C63B3E}"/>
                </a:ext>
              </a:extLst>
            </p:cNvPr>
            <p:cNvSpPr/>
            <p:nvPr/>
          </p:nvSpPr>
          <p:spPr>
            <a:xfrm>
              <a:off x="7983731" y="1246203"/>
              <a:ext cx="332700" cy="477101"/>
            </a:xfrm>
            <a:custGeom>
              <a:avLst/>
              <a:gdLst/>
              <a:ahLst/>
              <a:cxnLst/>
              <a:rect l="l" t="t" r="r" b="b"/>
              <a:pathLst>
                <a:path w="548640" h="786764">
                  <a:moveTo>
                    <a:pt x="548068" y="786384"/>
                  </a:moveTo>
                  <a:lnTo>
                    <a:pt x="542632" y="738225"/>
                  </a:lnTo>
                  <a:lnTo>
                    <a:pt x="529234" y="692962"/>
                  </a:lnTo>
                  <a:lnTo>
                    <a:pt x="508609" y="651332"/>
                  </a:lnTo>
                  <a:lnTo>
                    <a:pt x="481520" y="614083"/>
                  </a:lnTo>
                  <a:lnTo>
                    <a:pt x="448678" y="581926"/>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47"/>
                  </a:lnTo>
                  <a:lnTo>
                    <a:pt x="66814" y="613664"/>
                  </a:lnTo>
                  <a:lnTo>
                    <a:pt x="39725" y="650760"/>
                  </a:lnTo>
                  <a:lnTo>
                    <a:pt x="19075" y="692226"/>
                  </a:lnTo>
                  <a:lnTo>
                    <a:pt x="5600" y="737323"/>
                  </a:lnTo>
                  <a:lnTo>
                    <a:pt x="38" y="785304"/>
                  </a:lnTo>
                  <a:lnTo>
                    <a:pt x="47713" y="781278"/>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59"/>
                  </a:lnTo>
                  <a:lnTo>
                    <a:pt x="295719" y="621030"/>
                  </a:lnTo>
                  <a:lnTo>
                    <a:pt x="316979" y="660831"/>
                  </a:lnTo>
                  <a:lnTo>
                    <a:pt x="344271" y="696366"/>
                  </a:lnTo>
                  <a:lnTo>
                    <a:pt x="376923" y="726960"/>
                  </a:lnTo>
                  <a:lnTo>
                    <a:pt x="414235" y="751941"/>
                  </a:lnTo>
                  <a:lnTo>
                    <a:pt x="455536" y="770623"/>
                  </a:lnTo>
                  <a:lnTo>
                    <a:pt x="500164" y="782332"/>
                  </a:lnTo>
                  <a:lnTo>
                    <a:pt x="548068" y="786384"/>
                  </a:lnTo>
                  <a:close/>
                </a:path>
                <a:path w="548640" h="786764">
                  <a:moveTo>
                    <a:pt x="548068" y="520852"/>
                  </a:moveTo>
                  <a:lnTo>
                    <a:pt x="542632" y="472694"/>
                  </a:lnTo>
                  <a:lnTo>
                    <a:pt x="529234" y="427431"/>
                  </a:lnTo>
                  <a:lnTo>
                    <a:pt x="508609" y="385813"/>
                  </a:lnTo>
                  <a:lnTo>
                    <a:pt x="481520" y="348551"/>
                  </a:lnTo>
                  <a:lnTo>
                    <a:pt x="448678" y="316395"/>
                  </a:lnTo>
                  <a:lnTo>
                    <a:pt x="410819" y="290093"/>
                  </a:lnTo>
                  <a:lnTo>
                    <a:pt x="368693" y="270357"/>
                  </a:lnTo>
                  <a:lnTo>
                    <a:pt x="323024" y="257937"/>
                  </a:lnTo>
                  <a:lnTo>
                    <a:pt x="274548" y="253555"/>
                  </a:lnTo>
                  <a:lnTo>
                    <a:pt x="273329" y="253555"/>
                  </a:lnTo>
                  <a:lnTo>
                    <a:pt x="224980" y="257911"/>
                  </a:lnTo>
                  <a:lnTo>
                    <a:pt x="179438" y="270281"/>
                  </a:lnTo>
                  <a:lnTo>
                    <a:pt x="137401" y="289928"/>
                  </a:lnTo>
                  <a:lnTo>
                    <a:pt x="99618" y="316115"/>
                  </a:lnTo>
                  <a:lnTo>
                    <a:pt x="66814" y="348132"/>
                  </a:lnTo>
                  <a:lnTo>
                    <a:pt x="39725" y="385241"/>
                  </a:lnTo>
                  <a:lnTo>
                    <a:pt x="19075" y="426694"/>
                  </a:lnTo>
                  <a:lnTo>
                    <a:pt x="5600" y="471792"/>
                  </a:lnTo>
                  <a:lnTo>
                    <a:pt x="38" y="519785"/>
                  </a:lnTo>
                  <a:lnTo>
                    <a:pt x="47713" y="515747"/>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27"/>
                  </a:lnTo>
                  <a:lnTo>
                    <a:pt x="295719" y="355511"/>
                  </a:lnTo>
                  <a:lnTo>
                    <a:pt x="316979" y="395300"/>
                  </a:lnTo>
                  <a:lnTo>
                    <a:pt x="344271" y="430834"/>
                  </a:lnTo>
                  <a:lnTo>
                    <a:pt x="376923" y="461429"/>
                  </a:lnTo>
                  <a:lnTo>
                    <a:pt x="414235" y="486410"/>
                  </a:lnTo>
                  <a:lnTo>
                    <a:pt x="455536" y="505091"/>
                  </a:lnTo>
                  <a:lnTo>
                    <a:pt x="500164" y="516801"/>
                  </a:lnTo>
                  <a:lnTo>
                    <a:pt x="548068" y="520852"/>
                  </a:lnTo>
                  <a:close/>
                </a:path>
                <a:path w="548640" h="786764">
                  <a:moveTo>
                    <a:pt x="548081" y="267322"/>
                  </a:moveTo>
                  <a:lnTo>
                    <a:pt x="543318" y="225285"/>
                  </a:lnTo>
                  <a:lnTo>
                    <a:pt x="542632" y="219151"/>
                  </a:lnTo>
                  <a:lnTo>
                    <a:pt x="529234" y="173875"/>
                  </a:lnTo>
                  <a:lnTo>
                    <a:pt x="508622" y="132257"/>
                  </a:lnTo>
                  <a:lnTo>
                    <a:pt x="481533" y="94996"/>
                  </a:lnTo>
                  <a:lnTo>
                    <a:pt x="449376" y="63525"/>
                  </a:lnTo>
                  <a:lnTo>
                    <a:pt x="448691" y="62852"/>
                  </a:lnTo>
                  <a:lnTo>
                    <a:pt x="410832" y="36550"/>
                  </a:lnTo>
                  <a:lnTo>
                    <a:pt x="368693" y="16789"/>
                  </a:lnTo>
                  <a:lnTo>
                    <a:pt x="323024" y="4368"/>
                  </a:lnTo>
                  <a:lnTo>
                    <a:pt x="274548" y="0"/>
                  </a:lnTo>
                  <a:lnTo>
                    <a:pt x="273329" y="0"/>
                  </a:lnTo>
                  <a:lnTo>
                    <a:pt x="224980" y="4356"/>
                  </a:lnTo>
                  <a:lnTo>
                    <a:pt x="179438" y="16713"/>
                  </a:lnTo>
                  <a:lnTo>
                    <a:pt x="137401" y="36360"/>
                  </a:lnTo>
                  <a:lnTo>
                    <a:pt x="99618" y="62560"/>
                  </a:lnTo>
                  <a:lnTo>
                    <a:pt x="66814" y="94576"/>
                  </a:lnTo>
                  <a:lnTo>
                    <a:pt x="39687" y="131686"/>
                  </a:lnTo>
                  <a:lnTo>
                    <a:pt x="19037" y="173139"/>
                  </a:lnTo>
                  <a:lnTo>
                    <a:pt x="5562" y="218211"/>
                  </a:lnTo>
                  <a:lnTo>
                    <a:pt x="0" y="266192"/>
                  </a:lnTo>
                  <a:lnTo>
                    <a:pt x="47713" y="262178"/>
                  </a:lnTo>
                  <a:lnTo>
                    <a:pt x="92227" y="250532"/>
                  </a:lnTo>
                  <a:lnTo>
                    <a:pt x="133464" y="231927"/>
                  </a:lnTo>
                  <a:lnTo>
                    <a:pt x="170726" y="207060"/>
                  </a:lnTo>
                  <a:lnTo>
                    <a:pt x="172897" y="205041"/>
                  </a:lnTo>
                  <a:lnTo>
                    <a:pt x="203365" y="176593"/>
                  </a:lnTo>
                  <a:lnTo>
                    <a:pt x="230670" y="141224"/>
                  </a:lnTo>
                  <a:lnTo>
                    <a:pt x="251993" y="101600"/>
                  </a:lnTo>
                  <a:lnTo>
                    <a:pt x="266661" y="58407"/>
                  </a:lnTo>
                  <a:lnTo>
                    <a:pt x="273989" y="12319"/>
                  </a:lnTo>
                  <a:lnTo>
                    <a:pt x="281165" y="58585"/>
                  </a:lnTo>
                  <a:lnTo>
                    <a:pt x="295719" y="101942"/>
                  </a:lnTo>
                  <a:lnTo>
                    <a:pt x="316979" y="141732"/>
                  </a:lnTo>
                  <a:lnTo>
                    <a:pt x="344271" y="177266"/>
                  </a:lnTo>
                  <a:lnTo>
                    <a:pt x="376923" y="207873"/>
                  </a:lnTo>
                  <a:lnTo>
                    <a:pt x="414235" y="232867"/>
                  </a:lnTo>
                  <a:lnTo>
                    <a:pt x="455549" y="251548"/>
                  </a:lnTo>
                  <a:lnTo>
                    <a:pt x="500164" y="263271"/>
                  </a:lnTo>
                  <a:lnTo>
                    <a:pt x="548081" y="267322"/>
                  </a:lnTo>
                  <a:close/>
                </a:path>
              </a:pathLst>
            </a:custGeom>
            <a:solidFill>
              <a:srgbClr val="2DB7EA"/>
            </a:solidFill>
          </p:spPr>
          <p:txBody>
            <a:bodyPr wrap="square" lIns="0" tIns="0" rIns="0" bIns="0" rtlCol="0"/>
            <a:lstStyle/>
            <a:p>
              <a:endParaRPr dirty="0"/>
            </a:p>
          </p:txBody>
        </p:sp>
        <p:pic>
          <p:nvPicPr>
            <p:cNvPr id="540" name="object 301">
              <a:extLst>
                <a:ext uri="{FF2B5EF4-FFF2-40B4-BE49-F238E27FC236}">
                  <a16:creationId xmlns:a16="http://schemas.microsoft.com/office/drawing/2014/main" id="{2F86094E-0130-E391-93DC-14D66C6944BB}"/>
                </a:ext>
              </a:extLst>
            </p:cNvPr>
            <p:cNvPicPr/>
            <p:nvPr/>
          </p:nvPicPr>
          <p:blipFill>
            <a:blip r:embed="rId16" cstate="print"/>
            <a:stretch>
              <a:fillRect/>
            </a:stretch>
          </p:blipFill>
          <p:spPr>
            <a:xfrm>
              <a:off x="8096998" y="1701903"/>
              <a:ext cx="106445" cy="107156"/>
            </a:xfrm>
            <a:prstGeom prst="rect">
              <a:avLst/>
            </a:prstGeom>
          </p:spPr>
        </p:pic>
        <p:sp>
          <p:nvSpPr>
            <p:cNvPr id="541" name="object 302">
              <a:extLst>
                <a:ext uri="{FF2B5EF4-FFF2-40B4-BE49-F238E27FC236}">
                  <a16:creationId xmlns:a16="http://schemas.microsoft.com/office/drawing/2014/main" id="{BD39A18D-5CC5-8917-FE48-E10D274512DF}"/>
                </a:ext>
              </a:extLst>
            </p:cNvPr>
            <p:cNvSpPr/>
            <p:nvPr/>
          </p:nvSpPr>
          <p:spPr>
            <a:xfrm>
              <a:off x="7983731" y="1900365"/>
              <a:ext cx="332700" cy="477101"/>
            </a:xfrm>
            <a:custGeom>
              <a:avLst/>
              <a:gdLst/>
              <a:ahLst/>
              <a:cxnLst/>
              <a:rect l="l" t="t" r="r" b="b"/>
              <a:pathLst>
                <a:path w="548640" h="786764">
                  <a:moveTo>
                    <a:pt x="548068" y="786396"/>
                  </a:moveTo>
                  <a:lnTo>
                    <a:pt x="542632" y="738225"/>
                  </a:lnTo>
                  <a:lnTo>
                    <a:pt x="529234" y="692962"/>
                  </a:lnTo>
                  <a:lnTo>
                    <a:pt x="508609" y="651344"/>
                  </a:lnTo>
                  <a:lnTo>
                    <a:pt x="481520" y="614083"/>
                  </a:lnTo>
                  <a:lnTo>
                    <a:pt x="448678" y="581939"/>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60"/>
                  </a:lnTo>
                  <a:lnTo>
                    <a:pt x="66814" y="613664"/>
                  </a:lnTo>
                  <a:lnTo>
                    <a:pt x="39725" y="650773"/>
                  </a:lnTo>
                  <a:lnTo>
                    <a:pt x="19075" y="692238"/>
                  </a:lnTo>
                  <a:lnTo>
                    <a:pt x="5600" y="737323"/>
                  </a:lnTo>
                  <a:lnTo>
                    <a:pt x="38" y="785317"/>
                  </a:lnTo>
                  <a:lnTo>
                    <a:pt x="47713" y="781278"/>
                  </a:lnTo>
                  <a:lnTo>
                    <a:pt x="92227" y="769620"/>
                  </a:lnTo>
                  <a:lnTo>
                    <a:pt x="133464" y="751027"/>
                  </a:lnTo>
                  <a:lnTo>
                    <a:pt x="170726" y="726147"/>
                  </a:lnTo>
                  <a:lnTo>
                    <a:pt x="203352" y="695680"/>
                  </a:lnTo>
                  <a:lnTo>
                    <a:pt x="230670" y="660298"/>
                  </a:lnTo>
                  <a:lnTo>
                    <a:pt x="251993" y="620674"/>
                  </a:lnTo>
                  <a:lnTo>
                    <a:pt x="266649" y="577481"/>
                  </a:lnTo>
                  <a:lnTo>
                    <a:pt x="273989" y="531393"/>
                  </a:lnTo>
                  <a:lnTo>
                    <a:pt x="281165" y="577672"/>
                  </a:lnTo>
                  <a:lnTo>
                    <a:pt x="295719" y="621042"/>
                  </a:lnTo>
                  <a:lnTo>
                    <a:pt x="316979" y="660831"/>
                  </a:lnTo>
                  <a:lnTo>
                    <a:pt x="344271" y="696366"/>
                  </a:lnTo>
                  <a:lnTo>
                    <a:pt x="376923" y="726960"/>
                  </a:lnTo>
                  <a:lnTo>
                    <a:pt x="414235" y="751941"/>
                  </a:lnTo>
                  <a:lnTo>
                    <a:pt x="455536" y="770636"/>
                  </a:lnTo>
                  <a:lnTo>
                    <a:pt x="500164" y="782332"/>
                  </a:lnTo>
                  <a:lnTo>
                    <a:pt x="548068" y="786396"/>
                  </a:lnTo>
                  <a:close/>
                </a:path>
                <a:path w="548640" h="786764">
                  <a:moveTo>
                    <a:pt x="548068" y="520865"/>
                  </a:moveTo>
                  <a:lnTo>
                    <a:pt x="542632" y="472706"/>
                  </a:lnTo>
                  <a:lnTo>
                    <a:pt x="529234" y="427443"/>
                  </a:lnTo>
                  <a:lnTo>
                    <a:pt x="508609" y="385813"/>
                  </a:lnTo>
                  <a:lnTo>
                    <a:pt x="481520" y="348551"/>
                  </a:lnTo>
                  <a:lnTo>
                    <a:pt x="448678" y="316407"/>
                  </a:lnTo>
                  <a:lnTo>
                    <a:pt x="410819" y="290093"/>
                  </a:lnTo>
                  <a:lnTo>
                    <a:pt x="368693" y="270357"/>
                  </a:lnTo>
                  <a:lnTo>
                    <a:pt x="323024" y="257937"/>
                  </a:lnTo>
                  <a:lnTo>
                    <a:pt x="274548" y="253555"/>
                  </a:lnTo>
                  <a:lnTo>
                    <a:pt x="273329" y="253555"/>
                  </a:lnTo>
                  <a:lnTo>
                    <a:pt x="224980" y="257924"/>
                  </a:lnTo>
                  <a:lnTo>
                    <a:pt x="179438" y="270281"/>
                  </a:lnTo>
                  <a:lnTo>
                    <a:pt x="137401" y="289928"/>
                  </a:lnTo>
                  <a:lnTo>
                    <a:pt x="99618" y="316128"/>
                  </a:lnTo>
                  <a:lnTo>
                    <a:pt x="66814" y="348132"/>
                  </a:lnTo>
                  <a:lnTo>
                    <a:pt x="39725" y="385241"/>
                  </a:lnTo>
                  <a:lnTo>
                    <a:pt x="19075" y="426707"/>
                  </a:lnTo>
                  <a:lnTo>
                    <a:pt x="5600" y="471792"/>
                  </a:lnTo>
                  <a:lnTo>
                    <a:pt x="38" y="519785"/>
                  </a:lnTo>
                  <a:lnTo>
                    <a:pt x="47713" y="515747"/>
                  </a:lnTo>
                  <a:lnTo>
                    <a:pt x="92227" y="504088"/>
                  </a:lnTo>
                  <a:lnTo>
                    <a:pt x="133464" y="485495"/>
                  </a:lnTo>
                  <a:lnTo>
                    <a:pt x="170726" y="460616"/>
                  </a:lnTo>
                  <a:lnTo>
                    <a:pt x="203352" y="430161"/>
                  </a:lnTo>
                  <a:lnTo>
                    <a:pt x="230670" y="394766"/>
                  </a:lnTo>
                  <a:lnTo>
                    <a:pt x="251993" y="355142"/>
                  </a:lnTo>
                  <a:lnTo>
                    <a:pt x="266649" y="311950"/>
                  </a:lnTo>
                  <a:lnTo>
                    <a:pt x="273989" y="265861"/>
                  </a:lnTo>
                  <a:lnTo>
                    <a:pt x="281165" y="312140"/>
                  </a:lnTo>
                  <a:lnTo>
                    <a:pt x="295719" y="355511"/>
                  </a:lnTo>
                  <a:lnTo>
                    <a:pt x="316979" y="395300"/>
                  </a:lnTo>
                  <a:lnTo>
                    <a:pt x="344271" y="430834"/>
                  </a:lnTo>
                  <a:lnTo>
                    <a:pt x="376923" y="461441"/>
                  </a:lnTo>
                  <a:lnTo>
                    <a:pt x="414235" y="486410"/>
                  </a:lnTo>
                  <a:lnTo>
                    <a:pt x="455536" y="505104"/>
                  </a:lnTo>
                  <a:lnTo>
                    <a:pt x="500164" y="516813"/>
                  </a:lnTo>
                  <a:lnTo>
                    <a:pt x="548068" y="520865"/>
                  </a:lnTo>
                  <a:close/>
                </a:path>
                <a:path w="548640" h="786764">
                  <a:moveTo>
                    <a:pt x="548081" y="267322"/>
                  </a:moveTo>
                  <a:lnTo>
                    <a:pt x="543318" y="225285"/>
                  </a:lnTo>
                  <a:lnTo>
                    <a:pt x="542632" y="219151"/>
                  </a:lnTo>
                  <a:lnTo>
                    <a:pt x="529234" y="173888"/>
                  </a:lnTo>
                  <a:lnTo>
                    <a:pt x="519010" y="153263"/>
                  </a:lnTo>
                  <a:lnTo>
                    <a:pt x="508622" y="132257"/>
                  </a:lnTo>
                  <a:lnTo>
                    <a:pt x="481533" y="95008"/>
                  </a:lnTo>
                  <a:lnTo>
                    <a:pt x="448691" y="62852"/>
                  </a:lnTo>
                  <a:lnTo>
                    <a:pt x="410832" y="36550"/>
                  </a:lnTo>
                  <a:lnTo>
                    <a:pt x="368706" y="16814"/>
                  </a:lnTo>
                  <a:lnTo>
                    <a:pt x="323024" y="4381"/>
                  </a:lnTo>
                  <a:lnTo>
                    <a:pt x="274548" y="0"/>
                  </a:lnTo>
                  <a:lnTo>
                    <a:pt x="273329" y="0"/>
                  </a:lnTo>
                  <a:lnTo>
                    <a:pt x="224980" y="4356"/>
                  </a:lnTo>
                  <a:lnTo>
                    <a:pt x="179438" y="16725"/>
                  </a:lnTo>
                  <a:lnTo>
                    <a:pt x="137401" y="36372"/>
                  </a:lnTo>
                  <a:lnTo>
                    <a:pt x="99618" y="62560"/>
                  </a:lnTo>
                  <a:lnTo>
                    <a:pt x="98018" y="64122"/>
                  </a:lnTo>
                  <a:lnTo>
                    <a:pt x="66814" y="94576"/>
                  </a:lnTo>
                  <a:lnTo>
                    <a:pt x="39687" y="131686"/>
                  </a:lnTo>
                  <a:lnTo>
                    <a:pt x="19037" y="173139"/>
                  </a:lnTo>
                  <a:lnTo>
                    <a:pt x="5562" y="218224"/>
                  </a:lnTo>
                  <a:lnTo>
                    <a:pt x="0" y="266192"/>
                  </a:lnTo>
                  <a:lnTo>
                    <a:pt x="47713" y="262191"/>
                  </a:lnTo>
                  <a:lnTo>
                    <a:pt x="92227" y="250532"/>
                  </a:lnTo>
                  <a:lnTo>
                    <a:pt x="133464" y="231927"/>
                  </a:lnTo>
                  <a:lnTo>
                    <a:pt x="170738" y="207060"/>
                  </a:lnTo>
                  <a:lnTo>
                    <a:pt x="203365" y="176593"/>
                  </a:lnTo>
                  <a:lnTo>
                    <a:pt x="230670" y="141224"/>
                  </a:lnTo>
                  <a:lnTo>
                    <a:pt x="251993" y="101600"/>
                  </a:lnTo>
                  <a:lnTo>
                    <a:pt x="266661" y="58420"/>
                  </a:lnTo>
                  <a:lnTo>
                    <a:pt x="273989" y="12331"/>
                  </a:lnTo>
                  <a:lnTo>
                    <a:pt x="281165" y="58585"/>
                  </a:lnTo>
                  <a:lnTo>
                    <a:pt x="295719" y="101955"/>
                  </a:lnTo>
                  <a:lnTo>
                    <a:pt x="303123" y="115811"/>
                  </a:lnTo>
                  <a:lnTo>
                    <a:pt x="316979" y="141744"/>
                  </a:lnTo>
                  <a:lnTo>
                    <a:pt x="344271" y="177279"/>
                  </a:lnTo>
                  <a:lnTo>
                    <a:pt x="360070" y="192087"/>
                  </a:lnTo>
                  <a:lnTo>
                    <a:pt x="376923" y="207886"/>
                  </a:lnTo>
                  <a:lnTo>
                    <a:pt x="414235" y="232867"/>
                  </a:lnTo>
                  <a:lnTo>
                    <a:pt x="455549" y="251561"/>
                  </a:lnTo>
                  <a:lnTo>
                    <a:pt x="500164" y="263271"/>
                  </a:lnTo>
                  <a:lnTo>
                    <a:pt x="548081" y="267322"/>
                  </a:lnTo>
                  <a:close/>
                </a:path>
              </a:pathLst>
            </a:custGeom>
            <a:solidFill>
              <a:srgbClr val="7ED3F1"/>
            </a:solidFill>
          </p:spPr>
          <p:txBody>
            <a:bodyPr wrap="square" lIns="0" tIns="0" rIns="0" bIns="0" rtlCol="0"/>
            <a:lstStyle/>
            <a:p>
              <a:endParaRPr dirty="0"/>
            </a:p>
          </p:txBody>
        </p:sp>
        <p:pic>
          <p:nvPicPr>
            <p:cNvPr id="542" name="object 303">
              <a:extLst>
                <a:ext uri="{FF2B5EF4-FFF2-40B4-BE49-F238E27FC236}">
                  <a16:creationId xmlns:a16="http://schemas.microsoft.com/office/drawing/2014/main" id="{CEBE2136-A349-484A-0DC6-FEAE2F488EB7}"/>
                </a:ext>
              </a:extLst>
            </p:cNvPr>
            <p:cNvPicPr/>
            <p:nvPr/>
          </p:nvPicPr>
          <p:blipFill>
            <a:blip r:embed="rId17" cstate="print"/>
            <a:stretch>
              <a:fillRect/>
            </a:stretch>
          </p:blipFill>
          <p:spPr>
            <a:xfrm>
              <a:off x="8096998" y="2356067"/>
              <a:ext cx="106445" cy="107156"/>
            </a:xfrm>
            <a:prstGeom prst="rect">
              <a:avLst/>
            </a:prstGeom>
          </p:spPr>
        </p:pic>
        <p:sp>
          <p:nvSpPr>
            <p:cNvPr id="543" name="object 304">
              <a:extLst>
                <a:ext uri="{FF2B5EF4-FFF2-40B4-BE49-F238E27FC236}">
                  <a16:creationId xmlns:a16="http://schemas.microsoft.com/office/drawing/2014/main" id="{30A2FB28-A1D2-E01F-4402-4DF22311B65F}"/>
                </a:ext>
              </a:extLst>
            </p:cNvPr>
            <p:cNvSpPr/>
            <p:nvPr/>
          </p:nvSpPr>
          <p:spPr>
            <a:xfrm>
              <a:off x="7983731"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544" name="object 305">
              <a:extLst>
                <a:ext uri="{FF2B5EF4-FFF2-40B4-BE49-F238E27FC236}">
                  <a16:creationId xmlns:a16="http://schemas.microsoft.com/office/drawing/2014/main" id="{96E581F3-5427-BE13-2A44-D5F644971F1B}"/>
                </a:ext>
              </a:extLst>
            </p:cNvPr>
            <p:cNvPicPr/>
            <p:nvPr/>
          </p:nvPicPr>
          <p:blipFill>
            <a:blip r:embed="rId20" cstate="print"/>
            <a:stretch>
              <a:fillRect/>
            </a:stretch>
          </p:blipFill>
          <p:spPr>
            <a:xfrm>
              <a:off x="7983758" y="123"/>
              <a:ext cx="152433" cy="99184"/>
            </a:xfrm>
            <a:prstGeom prst="rect">
              <a:avLst/>
            </a:prstGeom>
          </p:spPr>
        </p:pic>
        <p:pic>
          <p:nvPicPr>
            <p:cNvPr id="545" name="object 306">
              <a:extLst>
                <a:ext uri="{FF2B5EF4-FFF2-40B4-BE49-F238E27FC236}">
                  <a16:creationId xmlns:a16="http://schemas.microsoft.com/office/drawing/2014/main" id="{13302AF0-FABE-E098-950C-967052F3E502}"/>
                </a:ext>
              </a:extLst>
            </p:cNvPr>
            <p:cNvPicPr/>
            <p:nvPr/>
          </p:nvPicPr>
          <p:blipFill>
            <a:blip r:embed="rId21" cstate="print"/>
            <a:stretch>
              <a:fillRect/>
            </a:stretch>
          </p:blipFill>
          <p:spPr>
            <a:xfrm>
              <a:off x="8163292" y="123"/>
              <a:ext cx="152798" cy="99837"/>
            </a:xfrm>
            <a:prstGeom prst="rect">
              <a:avLst/>
            </a:prstGeom>
          </p:spPr>
        </p:pic>
        <p:sp>
          <p:nvSpPr>
            <p:cNvPr id="546" name="object 307">
              <a:extLst>
                <a:ext uri="{FF2B5EF4-FFF2-40B4-BE49-F238E27FC236}">
                  <a16:creationId xmlns:a16="http://schemas.microsoft.com/office/drawing/2014/main" id="{DE84E4A0-1AF8-D194-C5C1-7C2D1D88B71A}"/>
                </a:ext>
              </a:extLst>
            </p:cNvPr>
            <p:cNvSpPr/>
            <p:nvPr/>
          </p:nvSpPr>
          <p:spPr>
            <a:xfrm>
              <a:off x="7983754" y="91626"/>
              <a:ext cx="332700" cy="323458"/>
            </a:xfrm>
            <a:custGeom>
              <a:avLst/>
              <a:gdLst/>
              <a:ahLst/>
              <a:cxnLst/>
              <a:rect l="l" t="t" r="r" b="b"/>
              <a:pathLst>
                <a:path w="548640" h="533400">
                  <a:moveTo>
                    <a:pt x="548030" y="532841"/>
                  </a:moveTo>
                  <a:lnTo>
                    <a:pt x="542594" y="484682"/>
                  </a:lnTo>
                  <a:lnTo>
                    <a:pt x="529196" y="439420"/>
                  </a:lnTo>
                  <a:lnTo>
                    <a:pt x="508571" y="397789"/>
                  </a:lnTo>
                  <a:lnTo>
                    <a:pt x="481482" y="360527"/>
                  </a:lnTo>
                  <a:lnTo>
                    <a:pt x="448640" y="328383"/>
                  </a:lnTo>
                  <a:lnTo>
                    <a:pt x="410781" y="302069"/>
                  </a:lnTo>
                  <a:lnTo>
                    <a:pt x="368655" y="282333"/>
                  </a:lnTo>
                  <a:lnTo>
                    <a:pt x="322986" y="269913"/>
                  </a:lnTo>
                  <a:lnTo>
                    <a:pt x="274510" y="265544"/>
                  </a:lnTo>
                  <a:lnTo>
                    <a:pt x="273291" y="265544"/>
                  </a:lnTo>
                  <a:lnTo>
                    <a:pt x="224942" y="269900"/>
                  </a:lnTo>
                  <a:lnTo>
                    <a:pt x="179400" y="282257"/>
                  </a:lnTo>
                  <a:lnTo>
                    <a:pt x="137363" y="301904"/>
                  </a:lnTo>
                  <a:lnTo>
                    <a:pt x="99580" y="328104"/>
                  </a:lnTo>
                  <a:lnTo>
                    <a:pt x="66776" y="360121"/>
                  </a:lnTo>
                  <a:lnTo>
                    <a:pt x="39687" y="397217"/>
                  </a:lnTo>
                  <a:lnTo>
                    <a:pt x="19037" y="438683"/>
                  </a:lnTo>
                  <a:lnTo>
                    <a:pt x="5562" y="483768"/>
                  </a:lnTo>
                  <a:lnTo>
                    <a:pt x="0" y="531761"/>
                  </a:lnTo>
                  <a:lnTo>
                    <a:pt x="47675" y="527723"/>
                  </a:lnTo>
                  <a:lnTo>
                    <a:pt x="92189" y="516064"/>
                  </a:lnTo>
                  <a:lnTo>
                    <a:pt x="133426" y="497471"/>
                  </a:lnTo>
                  <a:lnTo>
                    <a:pt x="170688" y="472592"/>
                  </a:lnTo>
                  <a:lnTo>
                    <a:pt x="203314" y="442137"/>
                  </a:lnTo>
                  <a:lnTo>
                    <a:pt x="230632" y="406755"/>
                  </a:lnTo>
                  <a:lnTo>
                    <a:pt x="251955" y="367118"/>
                  </a:lnTo>
                  <a:lnTo>
                    <a:pt x="266611" y="323926"/>
                  </a:lnTo>
                  <a:lnTo>
                    <a:pt x="273951" y="277837"/>
                  </a:lnTo>
                  <a:lnTo>
                    <a:pt x="281127" y="324116"/>
                  </a:lnTo>
                  <a:lnTo>
                    <a:pt x="295681" y="367487"/>
                  </a:lnTo>
                  <a:lnTo>
                    <a:pt x="316941" y="407276"/>
                  </a:lnTo>
                  <a:lnTo>
                    <a:pt x="344233" y="442810"/>
                  </a:lnTo>
                  <a:lnTo>
                    <a:pt x="376885" y="473417"/>
                  </a:lnTo>
                  <a:lnTo>
                    <a:pt x="414197" y="498398"/>
                  </a:lnTo>
                  <a:lnTo>
                    <a:pt x="455498" y="517080"/>
                  </a:lnTo>
                  <a:lnTo>
                    <a:pt x="500126" y="528789"/>
                  </a:lnTo>
                  <a:lnTo>
                    <a:pt x="548030" y="532841"/>
                  </a:lnTo>
                  <a:close/>
                </a:path>
                <a:path w="548640" h="533400">
                  <a:moveTo>
                    <a:pt x="548030" y="267309"/>
                  </a:moveTo>
                  <a:lnTo>
                    <a:pt x="542594" y="219138"/>
                  </a:lnTo>
                  <a:lnTo>
                    <a:pt x="529196" y="173888"/>
                  </a:lnTo>
                  <a:lnTo>
                    <a:pt x="508571" y="132257"/>
                  </a:lnTo>
                  <a:lnTo>
                    <a:pt x="481482" y="94996"/>
                  </a:lnTo>
                  <a:lnTo>
                    <a:pt x="448640" y="62852"/>
                  </a:lnTo>
                  <a:lnTo>
                    <a:pt x="410781" y="36537"/>
                  </a:lnTo>
                  <a:lnTo>
                    <a:pt x="368655" y="16802"/>
                  </a:lnTo>
                  <a:lnTo>
                    <a:pt x="322986" y="4381"/>
                  </a:lnTo>
                  <a:lnTo>
                    <a:pt x="274510" y="0"/>
                  </a:lnTo>
                  <a:lnTo>
                    <a:pt x="273291" y="0"/>
                  </a:lnTo>
                  <a:lnTo>
                    <a:pt x="224942" y="4356"/>
                  </a:lnTo>
                  <a:lnTo>
                    <a:pt x="179400" y="16725"/>
                  </a:lnTo>
                  <a:lnTo>
                    <a:pt x="137363" y="36372"/>
                  </a:lnTo>
                  <a:lnTo>
                    <a:pt x="99580" y="62572"/>
                  </a:lnTo>
                  <a:lnTo>
                    <a:pt x="66776" y="94576"/>
                  </a:lnTo>
                  <a:lnTo>
                    <a:pt x="39687" y="131686"/>
                  </a:lnTo>
                  <a:lnTo>
                    <a:pt x="19037" y="173151"/>
                  </a:lnTo>
                  <a:lnTo>
                    <a:pt x="5562" y="218236"/>
                  </a:lnTo>
                  <a:lnTo>
                    <a:pt x="0" y="266230"/>
                  </a:lnTo>
                  <a:lnTo>
                    <a:pt x="47675" y="262191"/>
                  </a:lnTo>
                  <a:lnTo>
                    <a:pt x="92189" y="250532"/>
                  </a:lnTo>
                  <a:lnTo>
                    <a:pt x="133426" y="231940"/>
                  </a:lnTo>
                  <a:lnTo>
                    <a:pt x="170688" y="207060"/>
                  </a:lnTo>
                  <a:lnTo>
                    <a:pt x="203314" y="176593"/>
                  </a:lnTo>
                  <a:lnTo>
                    <a:pt x="230632" y="141211"/>
                  </a:lnTo>
                  <a:lnTo>
                    <a:pt x="251955" y="101587"/>
                  </a:lnTo>
                  <a:lnTo>
                    <a:pt x="266611" y="58394"/>
                  </a:lnTo>
                  <a:lnTo>
                    <a:pt x="273951" y="12306"/>
                  </a:lnTo>
                  <a:lnTo>
                    <a:pt x="281127" y="58585"/>
                  </a:lnTo>
                  <a:lnTo>
                    <a:pt x="295681" y="101955"/>
                  </a:lnTo>
                  <a:lnTo>
                    <a:pt x="316941" y="141744"/>
                  </a:lnTo>
                  <a:lnTo>
                    <a:pt x="344233" y="177279"/>
                  </a:lnTo>
                  <a:lnTo>
                    <a:pt x="376885" y="207873"/>
                  </a:lnTo>
                  <a:lnTo>
                    <a:pt x="414197" y="232854"/>
                  </a:lnTo>
                  <a:lnTo>
                    <a:pt x="455498" y="251548"/>
                  </a:lnTo>
                  <a:lnTo>
                    <a:pt x="500126" y="263258"/>
                  </a:lnTo>
                  <a:lnTo>
                    <a:pt x="548030" y="267309"/>
                  </a:lnTo>
                  <a:close/>
                </a:path>
              </a:pathLst>
            </a:custGeom>
            <a:solidFill>
              <a:srgbClr val="2DB7EA"/>
            </a:solidFill>
          </p:spPr>
          <p:txBody>
            <a:bodyPr wrap="square" lIns="0" tIns="0" rIns="0" bIns="0" rtlCol="0"/>
            <a:lstStyle/>
            <a:p>
              <a:endParaRPr dirty="0"/>
            </a:p>
          </p:txBody>
        </p:sp>
        <p:pic>
          <p:nvPicPr>
            <p:cNvPr id="547" name="object 308">
              <a:extLst>
                <a:ext uri="{FF2B5EF4-FFF2-40B4-BE49-F238E27FC236}">
                  <a16:creationId xmlns:a16="http://schemas.microsoft.com/office/drawing/2014/main" id="{396D4132-FE1A-033A-9CDE-87069E605000}"/>
                </a:ext>
              </a:extLst>
            </p:cNvPr>
            <p:cNvPicPr/>
            <p:nvPr/>
          </p:nvPicPr>
          <p:blipFill>
            <a:blip r:embed="rId16" cstate="print"/>
            <a:stretch>
              <a:fillRect/>
            </a:stretch>
          </p:blipFill>
          <p:spPr>
            <a:xfrm>
              <a:off x="8096998" y="393572"/>
              <a:ext cx="106445" cy="107156"/>
            </a:xfrm>
            <a:prstGeom prst="rect">
              <a:avLst/>
            </a:prstGeom>
          </p:spPr>
        </p:pic>
        <p:sp>
          <p:nvSpPr>
            <p:cNvPr id="548" name="object 309">
              <a:extLst>
                <a:ext uri="{FF2B5EF4-FFF2-40B4-BE49-F238E27FC236}">
                  <a16:creationId xmlns:a16="http://schemas.microsoft.com/office/drawing/2014/main" id="{2733D509-CA6F-C937-FE53-C72F4688D442}"/>
                </a:ext>
              </a:extLst>
            </p:cNvPr>
            <p:cNvSpPr/>
            <p:nvPr/>
          </p:nvSpPr>
          <p:spPr>
            <a:xfrm>
              <a:off x="7983731" y="592039"/>
              <a:ext cx="332700" cy="477101"/>
            </a:xfrm>
            <a:custGeom>
              <a:avLst/>
              <a:gdLst/>
              <a:ahLst/>
              <a:cxnLst/>
              <a:rect l="l" t="t" r="r" b="b"/>
              <a:pathLst>
                <a:path w="548640" h="786764">
                  <a:moveTo>
                    <a:pt x="548068" y="786384"/>
                  </a:moveTo>
                  <a:lnTo>
                    <a:pt x="542632" y="738225"/>
                  </a:lnTo>
                  <a:lnTo>
                    <a:pt x="529234" y="692962"/>
                  </a:lnTo>
                  <a:lnTo>
                    <a:pt x="508609" y="651332"/>
                  </a:lnTo>
                  <a:lnTo>
                    <a:pt x="481520" y="614083"/>
                  </a:lnTo>
                  <a:lnTo>
                    <a:pt x="448678" y="581926"/>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47"/>
                  </a:lnTo>
                  <a:lnTo>
                    <a:pt x="66814" y="613664"/>
                  </a:lnTo>
                  <a:lnTo>
                    <a:pt x="39725" y="650760"/>
                  </a:lnTo>
                  <a:lnTo>
                    <a:pt x="19075" y="692226"/>
                  </a:lnTo>
                  <a:lnTo>
                    <a:pt x="5600" y="737323"/>
                  </a:lnTo>
                  <a:lnTo>
                    <a:pt x="38" y="785304"/>
                  </a:lnTo>
                  <a:lnTo>
                    <a:pt x="47713" y="781278"/>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59"/>
                  </a:lnTo>
                  <a:lnTo>
                    <a:pt x="295719" y="621030"/>
                  </a:lnTo>
                  <a:lnTo>
                    <a:pt x="316979" y="660831"/>
                  </a:lnTo>
                  <a:lnTo>
                    <a:pt x="344271" y="696366"/>
                  </a:lnTo>
                  <a:lnTo>
                    <a:pt x="376923" y="726960"/>
                  </a:lnTo>
                  <a:lnTo>
                    <a:pt x="414235" y="751941"/>
                  </a:lnTo>
                  <a:lnTo>
                    <a:pt x="455536" y="770623"/>
                  </a:lnTo>
                  <a:lnTo>
                    <a:pt x="500164" y="782332"/>
                  </a:lnTo>
                  <a:lnTo>
                    <a:pt x="548068" y="786384"/>
                  </a:lnTo>
                  <a:close/>
                </a:path>
                <a:path w="548640" h="786764">
                  <a:moveTo>
                    <a:pt x="548068" y="520852"/>
                  </a:moveTo>
                  <a:lnTo>
                    <a:pt x="542632" y="472694"/>
                  </a:lnTo>
                  <a:lnTo>
                    <a:pt x="529234" y="427431"/>
                  </a:lnTo>
                  <a:lnTo>
                    <a:pt x="508609" y="385800"/>
                  </a:lnTo>
                  <a:lnTo>
                    <a:pt x="481520" y="348551"/>
                  </a:lnTo>
                  <a:lnTo>
                    <a:pt x="448678" y="316395"/>
                  </a:lnTo>
                  <a:lnTo>
                    <a:pt x="410819" y="290080"/>
                  </a:lnTo>
                  <a:lnTo>
                    <a:pt x="368693" y="270357"/>
                  </a:lnTo>
                  <a:lnTo>
                    <a:pt x="323024" y="257924"/>
                  </a:lnTo>
                  <a:lnTo>
                    <a:pt x="274548" y="253555"/>
                  </a:lnTo>
                  <a:lnTo>
                    <a:pt x="273329" y="253555"/>
                  </a:lnTo>
                  <a:lnTo>
                    <a:pt x="224980" y="257911"/>
                  </a:lnTo>
                  <a:lnTo>
                    <a:pt x="179438" y="270281"/>
                  </a:lnTo>
                  <a:lnTo>
                    <a:pt x="137401" y="289915"/>
                  </a:lnTo>
                  <a:lnTo>
                    <a:pt x="99618" y="316115"/>
                  </a:lnTo>
                  <a:lnTo>
                    <a:pt x="66814" y="348132"/>
                  </a:lnTo>
                  <a:lnTo>
                    <a:pt x="39725" y="385229"/>
                  </a:lnTo>
                  <a:lnTo>
                    <a:pt x="19075" y="426694"/>
                  </a:lnTo>
                  <a:lnTo>
                    <a:pt x="5600" y="471779"/>
                  </a:lnTo>
                  <a:lnTo>
                    <a:pt x="38" y="519772"/>
                  </a:lnTo>
                  <a:lnTo>
                    <a:pt x="47713" y="515734"/>
                  </a:lnTo>
                  <a:lnTo>
                    <a:pt x="92227" y="504088"/>
                  </a:lnTo>
                  <a:lnTo>
                    <a:pt x="133464" y="485482"/>
                  </a:lnTo>
                  <a:lnTo>
                    <a:pt x="170726" y="460616"/>
                  </a:lnTo>
                  <a:lnTo>
                    <a:pt x="203352" y="430149"/>
                  </a:lnTo>
                  <a:lnTo>
                    <a:pt x="230670" y="394766"/>
                  </a:lnTo>
                  <a:lnTo>
                    <a:pt x="251993" y="355142"/>
                  </a:lnTo>
                  <a:lnTo>
                    <a:pt x="266649" y="311937"/>
                  </a:lnTo>
                  <a:lnTo>
                    <a:pt x="273989" y="265861"/>
                  </a:lnTo>
                  <a:lnTo>
                    <a:pt x="281165" y="312127"/>
                  </a:lnTo>
                  <a:lnTo>
                    <a:pt x="295719" y="355498"/>
                  </a:lnTo>
                  <a:lnTo>
                    <a:pt x="316979" y="395300"/>
                  </a:lnTo>
                  <a:lnTo>
                    <a:pt x="344271" y="430834"/>
                  </a:lnTo>
                  <a:lnTo>
                    <a:pt x="376923" y="461429"/>
                  </a:lnTo>
                  <a:lnTo>
                    <a:pt x="414235" y="486410"/>
                  </a:lnTo>
                  <a:lnTo>
                    <a:pt x="455536" y="505091"/>
                  </a:lnTo>
                  <a:lnTo>
                    <a:pt x="500164" y="516801"/>
                  </a:lnTo>
                  <a:lnTo>
                    <a:pt x="548068" y="520852"/>
                  </a:lnTo>
                  <a:close/>
                </a:path>
                <a:path w="548640" h="786764">
                  <a:moveTo>
                    <a:pt x="548081" y="267322"/>
                  </a:moveTo>
                  <a:lnTo>
                    <a:pt x="542632" y="219138"/>
                  </a:lnTo>
                  <a:lnTo>
                    <a:pt x="529234" y="173875"/>
                  </a:lnTo>
                  <a:lnTo>
                    <a:pt x="508622" y="132245"/>
                  </a:lnTo>
                  <a:lnTo>
                    <a:pt x="481533" y="94996"/>
                  </a:lnTo>
                  <a:lnTo>
                    <a:pt x="480834" y="94322"/>
                  </a:lnTo>
                  <a:lnTo>
                    <a:pt x="448691" y="62839"/>
                  </a:lnTo>
                  <a:lnTo>
                    <a:pt x="422376" y="44564"/>
                  </a:lnTo>
                  <a:lnTo>
                    <a:pt x="410832" y="36537"/>
                  </a:lnTo>
                  <a:lnTo>
                    <a:pt x="368693" y="16789"/>
                  </a:lnTo>
                  <a:lnTo>
                    <a:pt x="323024" y="4368"/>
                  </a:lnTo>
                  <a:lnTo>
                    <a:pt x="274561" y="12"/>
                  </a:lnTo>
                  <a:lnTo>
                    <a:pt x="273329" y="0"/>
                  </a:lnTo>
                  <a:lnTo>
                    <a:pt x="224980" y="4356"/>
                  </a:lnTo>
                  <a:lnTo>
                    <a:pt x="179438" y="16713"/>
                  </a:lnTo>
                  <a:lnTo>
                    <a:pt x="137401" y="36360"/>
                  </a:lnTo>
                  <a:lnTo>
                    <a:pt x="108216" y="56591"/>
                  </a:lnTo>
                  <a:lnTo>
                    <a:pt x="99618" y="62560"/>
                  </a:lnTo>
                  <a:lnTo>
                    <a:pt x="66814" y="94576"/>
                  </a:lnTo>
                  <a:lnTo>
                    <a:pt x="39687" y="131686"/>
                  </a:lnTo>
                  <a:lnTo>
                    <a:pt x="19037" y="173139"/>
                  </a:lnTo>
                  <a:lnTo>
                    <a:pt x="5562" y="218211"/>
                  </a:lnTo>
                  <a:lnTo>
                    <a:pt x="0" y="266192"/>
                  </a:lnTo>
                  <a:lnTo>
                    <a:pt x="47713" y="262178"/>
                  </a:lnTo>
                  <a:lnTo>
                    <a:pt x="92227" y="250520"/>
                  </a:lnTo>
                  <a:lnTo>
                    <a:pt x="133464" y="231927"/>
                  </a:lnTo>
                  <a:lnTo>
                    <a:pt x="161404" y="213271"/>
                  </a:lnTo>
                  <a:lnTo>
                    <a:pt x="170738" y="207048"/>
                  </a:lnTo>
                  <a:lnTo>
                    <a:pt x="203365" y="176593"/>
                  </a:lnTo>
                  <a:lnTo>
                    <a:pt x="230670" y="141211"/>
                  </a:lnTo>
                  <a:lnTo>
                    <a:pt x="251993" y="101587"/>
                  </a:lnTo>
                  <a:lnTo>
                    <a:pt x="266661" y="58407"/>
                  </a:lnTo>
                  <a:lnTo>
                    <a:pt x="273989" y="12319"/>
                  </a:lnTo>
                  <a:lnTo>
                    <a:pt x="281165" y="58572"/>
                  </a:lnTo>
                  <a:lnTo>
                    <a:pt x="295719" y="101942"/>
                  </a:lnTo>
                  <a:lnTo>
                    <a:pt x="316979" y="141732"/>
                  </a:lnTo>
                  <a:lnTo>
                    <a:pt x="344271" y="177266"/>
                  </a:lnTo>
                  <a:lnTo>
                    <a:pt x="376923" y="207873"/>
                  </a:lnTo>
                  <a:lnTo>
                    <a:pt x="414235" y="232854"/>
                  </a:lnTo>
                  <a:lnTo>
                    <a:pt x="455549" y="251548"/>
                  </a:lnTo>
                  <a:lnTo>
                    <a:pt x="500164" y="263258"/>
                  </a:lnTo>
                  <a:lnTo>
                    <a:pt x="548081" y="267322"/>
                  </a:lnTo>
                  <a:close/>
                </a:path>
              </a:pathLst>
            </a:custGeom>
            <a:solidFill>
              <a:srgbClr val="7ED3F1"/>
            </a:solidFill>
          </p:spPr>
          <p:txBody>
            <a:bodyPr wrap="square" lIns="0" tIns="0" rIns="0" bIns="0" rtlCol="0"/>
            <a:lstStyle/>
            <a:p>
              <a:endParaRPr dirty="0"/>
            </a:p>
          </p:txBody>
        </p:sp>
        <p:pic>
          <p:nvPicPr>
            <p:cNvPr id="549" name="object 310">
              <a:extLst>
                <a:ext uri="{FF2B5EF4-FFF2-40B4-BE49-F238E27FC236}">
                  <a16:creationId xmlns:a16="http://schemas.microsoft.com/office/drawing/2014/main" id="{9837F0D7-7560-827F-143A-519F84075874}"/>
                </a:ext>
              </a:extLst>
            </p:cNvPr>
            <p:cNvPicPr/>
            <p:nvPr/>
          </p:nvPicPr>
          <p:blipFill>
            <a:blip r:embed="rId17" cstate="print"/>
            <a:stretch>
              <a:fillRect/>
            </a:stretch>
          </p:blipFill>
          <p:spPr>
            <a:xfrm>
              <a:off x="8096998" y="1047738"/>
              <a:ext cx="106445" cy="107156"/>
            </a:xfrm>
            <a:prstGeom prst="rect">
              <a:avLst/>
            </a:prstGeom>
          </p:spPr>
        </p:pic>
        <p:sp>
          <p:nvSpPr>
            <p:cNvPr id="550" name="object 311">
              <a:extLst>
                <a:ext uri="{FF2B5EF4-FFF2-40B4-BE49-F238E27FC236}">
                  <a16:creationId xmlns:a16="http://schemas.microsoft.com/office/drawing/2014/main" id="{8CCEA0DE-562C-C385-FC50-A9D694232C8C}"/>
                </a:ext>
              </a:extLst>
            </p:cNvPr>
            <p:cNvSpPr/>
            <p:nvPr/>
          </p:nvSpPr>
          <p:spPr>
            <a:xfrm>
              <a:off x="9138939" y="804428"/>
              <a:ext cx="332700" cy="477101"/>
            </a:xfrm>
            <a:custGeom>
              <a:avLst/>
              <a:gdLst/>
              <a:ahLst/>
              <a:cxnLst/>
              <a:rect l="l" t="t" r="r" b="b"/>
              <a:pathLst>
                <a:path w="548640" h="786764">
                  <a:moveTo>
                    <a:pt x="548081" y="520166"/>
                  </a:moveTo>
                  <a:lnTo>
                    <a:pt x="500367" y="524205"/>
                  </a:lnTo>
                  <a:lnTo>
                    <a:pt x="455841" y="535851"/>
                  </a:lnTo>
                  <a:lnTo>
                    <a:pt x="414616" y="554456"/>
                  </a:lnTo>
                  <a:lnTo>
                    <a:pt x="377355" y="579323"/>
                  </a:lnTo>
                  <a:lnTo>
                    <a:pt x="375183" y="581355"/>
                  </a:lnTo>
                  <a:lnTo>
                    <a:pt x="344728" y="609790"/>
                  </a:lnTo>
                  <a:lnTo>
                    <a:pt x="317411" y="645160"/>
                  </a:lnTo>
                  <a:lnTo>
                    <a:pt x="296087" y="684784"/>
                  </a:lnTo>
                  <a:lnTo>
                    <a:pt x="281419" y="727976"/>
                  </a:lnTo>
                  <a:lnTo>
                    <a:pt x="274078" y="774039"/>
                  </a:lnTo>
                  <a:lnTo>
                    <a:pt x="268224" y="736295"/>
                  </a:lnTo>
                  <a:lnTo>
                    <a:pt x="266915" y="727811"/>
                  </a:lnTo>
                  <a:lnTo>
                    <a:pt x="252361" y="684441"/>
                  </a:lnTo>
                  <a:lnTo>
                    <a:pt x="231101" y="644652"/>
                  </a:lnTo>
                  <a:lnTo>
                    <a:pt x="224764" y="636409"/>
                  </a:lnTo>
                  <a:lnTo>
                    <a:pt x="203796" y="609117"/>
                  </a:lnTo>
                  <a:lnTo>
                    <a:pt x="171157" y="578510"/>
                  </a:lnTo>
                  <a:lnTo>
                    <a:pt x="133845" y="553529"/>
                  </a:lnTo>
                  <a:lnTo>
                    <a:pt x="92532" y="534847"/>
                  </a:lnTo>
                  <a:lnTo>
                    <a:pt x="47917" y="523113"/>
                  </a:lnTo>
                  <a:lnTo>
                    <a:pt x="0" y="519061"/>
                  </a:lnTo>
                  <a:lnTo>
                    <a:pt x="5448" y="567245"/>
                  </a:lnTo>
                  <a:lnTo>
                    <a:pt x="18846" y="612508"/>
                  </a:lnTo>
                  <a:lnTo>
                    <a:pt x="39458" y="654138"/>
                  </a:lnTo>
                  <a:lnTo>
                    <a:pt x="66548" y="691388"/>
                  </a:lnTo>
                  <a:lnTo>
                    <a:pt x="98704" y="722871"/>
                  </a:lnTo>
                  <a:lnTo>
                    <a:pt x="137248" y="749858"/>
                  </a:lnTo>
                  <a:lnTo>
                    <a:pt x="179387" y="769594"/>
                  </a:lnTo>
                  <a:lnTo>
                    <a:pt x="225056" y="782015"/>
                  </a:lnTo>
                  <a:lnTo>
                    <a:pt x="273532" y="786384"/>
                  </a:lnTo>
                  <a:lnTo>
                    <a:pt x="274751" y="786384"/>
                  </a:lnTo>
                  <a:lnTo>
                    <a:pt x="323088" y="782027"/>
                  </a:lnTo>
                  <a:lnTo>
                    <a:pt x="368642" y="769670"/>
                  </a:lnTo>
                  <a:lnTo>
                    <a:pt x="410679" y="750023"/>
                  </a:lnTo>
                  <a:lnTo>
                    <a:pt x="448475" y="723823"/>
                  </a:lnTo>
                  <a:lnTo>
                    <a:pt x="481279" y="691807"/>
                  </a:lnTo>
                  <a:lnTo>
                    <a:pt x="508393" y="654697"/>
                  </a:lnTo>
                  <a:lnTo>
                    <a:pt x="529043" y="613244"/>
                  </a:lnTo>
                  <a:lnTo>
                    <a:pt x="542518" y="568172"/>
                  </a:lnTo>
                  <a:lnTo>
                    <a:pt x="548068" y="520204"/>
                  </a:lnTo>
                  <a:close/>
                </a:path>
                <a:path w="548640" h="786764">
                  <a:moveTo>
                    <a:pt x="548081" y="266598"/>
                  </a:moveTo>
                  <a:lnTo>
                    <a:pt x="500367" y="270637"/>
                  </a:lnTo>
                  <a:lnTo>
                    <a:pt x="455841" y="282295"/>
                  </a:lnTo>
                  <a:lnTo>
                    <a:pt x="414616" y="300901"/>
                  </a:lnTo>
                  <a:lnTo>
                    <a:pt x="377355" y="325767"/>
                  </a:lnTo>
                  <a:lnTo>
                    <a:pt x="344728" y="356235"/>
                  </a:lnTo>
                  <a:lnTo>
                    <a:pt x="317411" y="391617"/>
                  </a:lnTo>
                  <a:lnTo>
                    <a:pt x="296087" y="431241"/>
                  </a:lnTo>
                  <a:lnTo>
                    <a:pt x="281419" y="474433"/>
                  </a:lnTo>
                  <a:lnTo>
                    <a:pt x="274091" y="520522"/>
                  </a:lnTo>
                  <a:lnTo>
                    <a:pt x="266915" y="474256"/>
                  </a:lnTo>
                  <a:lnTo>
                    <a:pt x="252361" y="430872"/>
                  </a:lnTo>
                  <a:lnTo>
                    <a:pt x="231101"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88"/>
                  </a:lnTo>
                  <a:lnTo>
                    <a:pt x="137248" y="496290"/>
                  </a:lnTo>
                  <a:lnTo>
                    <a:pt x="179387" y="516026"/>
                  </a:lnTo>
                  <a:lnTo>
                    <a:pt x="225056" y="528447"/>
                  </a:lnTo>
                  <a:lnTo>
                    <a:pt x="273532" y="532828"/>
                  </a:lnTo>
                  <a:lnTo>
                    <a:pt x="274751" y="532828"/>
                  </a:lnTo>
                  <a:lnTo>
                    <a:pt x="323088" y="528472"/>
                  </a:lnTo>
                  <a:lnTo>
                    <a:pt x="368642" y="516102"/>
                  </a:lnTo>
                  <a:lnTo>
                    <a:pt x="410679" y="496455"/>
                  </a:lnTo>
                  <a:lnTo>
                    <a:pt x="448475" y="470268"/>
                  </a:lnTo>
                  <a:lnTo>
                    <a:pt x="481279" y="438251"/>
                  </a:lnTo>
                  <a:lnTo>
                    <a:pt x="508368" y="401142"/>
                  </a:lnTo>
                  <a:lnTo>
                    <a:pt x="529031" y="359689"/>
                  </a:lnTo>
                  <a:lnTo>
                    <a:pt x="542505" y="314591"/>
                  </a:lnTo>
                  <a:lnTo>
                    <a:pt x="548081" y="266598"/>
                  </a:lnTo>
                  <a:close/>
                </a:path>
                <a:path w="548640" h="786764">
                  <a:moveTo>
                    <a:pt x="548081" y="1079"/>
                  </a:moveTo>
                  <a:lnTo>
                    <a:pt x="500367" y="5105"/>
                  </a:lnTo>
                  <a:lnTo>
                    <a:pt x="455841" y="16764"/>
                  </a:lnTo>
                  <a:lnTo>
                    <a:pt x="414616" y="35369"/>
                  </a:lnTo>
                  <a:lnTo>
                    <a:pt x="377355" y="60236"/>
                  </a:lnTo>
                  <a:lnTo>
                    <a:pt x="344728" y="90703"/>
                  </a:lnTo>
                  <a:lnTo>
                    <a:pt x="317411" y="126085"/>
                  </a:lnTo>
                  <a:lnTo>
                    <a:pt x="296087" y="165709"/>
                  </a:lnTo>
                  <a:lnTo>
                    <a:pt x="281419" y="208902"/>
                  </a:lnTo>
                  <a:lnTo>
                    <a:pt x="274091" y="254990"/>
                  </a:lnTo>
                  <a:lnTo>
                    <a:pt x="266915" y="208724"/>
                  </a:lnTo>
                  <a:lnTo>
                    <a:pt x="252361" y="165354"/>
                  </a:lnTo>
                  <a:lnTo>
                    <a:pt x="231101"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36"/>
                  </a:lnTo>
                  <a:lnTo>
                    <a:pt x="481279" y="172720"/>
                  </a:lnTo>
                  <a:lnTo>
                    <a:pt x="508368" y="135623"/>
                  </a:lnTo>
                  <a:lnTo>
                    <a:pt x="529031" y="94157"/>
                  </a:lnTo>
                  <a:lnTo>
                    <a:pt x="542505" y="49060"/>
                  </a:lnTo>
                  <a:lnTo>
                    <a:pt x="548081" y="1079"/>
                  </a:lnTo>
                  <a:close/>
                </a:path>
              </a:pathLst>
            </a:custGeom>
            <a:solidFill>
              <a:srgbClr val="2DB7EA"/>
            </a:solidFill>
          </p:spPr>
          <p:txBody>
            <a:bodyPr wrap="square" lIns="0" tIns="0" rIns="0" bIns="0" rtlCol="0"/>
            <a:lstStyle/>
            <a:p>
              <a:endParaRPr dirty="0"/>
            </a:p>
          </p:txBody>
        </p:sp>
        <p:pic>
          <p:nvPicPr>
            <p:cNvPr id="551" name="object 312">
              <a:extLst>
                <a:ext uri="{FF2B5EF4-FFF2-40B4-BE49-F238E27FC236}">
                  <a16:creationId xmlns:a16="http://schemas.microsoft.com/office/drawing/2014/main" id="{CB7EE108-01F9-96BE-9F73-44C048445720}"/>
                </a:ext>
              </a:extLst>
            </p:cNvPr>
            <p:cNvPicPr/>
            <p:nvPr/>
          </p:nvPicPr>
          <p:blipFill>
            <a:blip r:embed="rId10" cstate="print"/>
            <a:stretch>
              <a:fillRect/>
            </a:stretch>
          </p:blipFill>
          <p:spPr>
            <a:xfrm>
              <a:off x="9251594" y="718433"/>
              <a:ext cx="106445" cy="107156"/>
            </a:xfrm>
            <a:prstGeom prst="rect">
              <a:avLst/>
            </a:prstGeom>
          </p:spPr>
        </p:pic>
        <p:sp>
          <p:nvSpPr>
            <p:cNvPr id="552" name="object 313">
              <a:extLst>
                <a:ext uri="{FF2B5EF4-FFF2-40B4-BE49-F238E27FC236}">
                  <a16:creationId xmlns:a16="http://schemas.microsoft.com/office/drawing/2014/main" id="{14BD61CE-65F5-7584-0718-6708A0340713}"/>
                </a:ext>
              </a:extLst>
            </p:cNvPr>
            <p:cNvSpPr/>
            <p:nvPr/>
          </p:nvSpPr>
          <p:spPr>
            <a:xfrm>
              <a:off x="9138939" y="150257"/>
              <a:ext cx="332700" cy="477101"/>
            </a:xfrm>
            <a:custGeom>
              <a:avLst/>
              <a:gdLst/>
              <a:ahLst/>
              <a:cxnLst/>
              <a:rect l="l" t="t" r="r" b="b"/>
              <a:pathLst>
                <a:path w="548640" h="786765">
                  <a:moveTo>
                    <a:pt x="548081" y="520179"/>
                  </a:moveTo>
                  <a:lnTo>
                    <a:pt x="500367" y="524205"/>
                  </a:lnTo>
                  <a:lnTo>
                    <a:pt x="455841" y="535863"/>
                  </a:lnTo>
                  <a:lnTo>
                    <a:pt x="414616" y="554469"/>
                  </a:lnTo>
                  <a:lnTo>
                    <a:pt x="402209" y="562749"/>
                  </a:lnTo>
                  <a:lnTo>
                    <a:pt x="377355" y="579335"/>
                  </a:lnTo>
                  <a:lnTo>
                    <a:pt x="344728" y="609803"/>
                  </a:lnTo>
                  <a:lnTo>
                    <a:pt x="317411" y="645172"/>
                  </a:lnTo>
                  <a:lnTo>
                    <a:pt x="296087" y="684796"/>
                  </a:lnTo>
                  <a:lnTo>
                    <a:pt x="281419" y="727976"/>
                  </a:lnTo>
                  <a:lnTo>
                    <a:pt x="274078" y="774039"/>
                  </a:lnTo>
                  <a:lnTo>
                    <a:pt x="268224" y="736307"/>
                  </a:lnTo>
                  <a:lnTo>
                    <a:pt x="266915" y="727824"/>
                  </a:lnTo>
                  <a:lnTo>
                    <a:pt x="252361" y="684453"/>
                  </a:lnTo>
                  <a:lnTo>
                    <a:pt x="244944" y="670598"/>
                  </a:lnTo>
                  <a:lnTo>
                    <a:pt x="231101"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51"/>
                  </a:lnTo>
                  <a:lnTo>
                    <a:pt x="66548" y="691388"/>
                  </a:lnTo>
                  <a:lnTo>
                    <a:pt x="99402" y="723557"/>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5">
                  <a:moveTo>
                    <a:pt x="548081" y="266611"/>
                  </a:moveTo>
                  <a:lnTo>
                    <a:pt x="500367" y="270649"/>
                  </a:lnTo>
                  <a:lnTo>
                    <a:pt x="455841" y="282308"/>
                  </a:lnTo>
                  <a:lnTo>
                    <a:pt x="414616" y="300901"/>
                  </a:lnTo>
                  <a:lnTo>
                    <a:pt x="377355" y="325767"/>
                  </a:lnTo>
                  <a:lnTo>
                    <a:pt x="344728" y="356235"/>
                  </a:lnTo>
                  <a:lnTo>
                    <a:pt x="317411" y="391617"/>
                  </a:lnTo>
                  <a:lnTo>
                    <a:pt x="296087" y="431253"/>
                  </a:lnTo>
                  <a:lnTo>
                    <a:pt x="281419" y="474446"/>
                  </a:lnTo>
                  <a:lnTo>
                    <a:pt x="274091" y="520534"/>
                  </a:lnTo>
                  <a:lnTo>
                    <a:pt x="266915" y="474256"/>
                  </a:lnTo>
                  <a:lnTo>
                    <a:pt x="252361" y="430885"/>
                  </a:lnTo>
                  <a:lnTo>
                    <a:pt x="231101"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87" y="516039"/>
                  </a:lnTo>
                  <a:lnTo>
                    <a:pt x="225056" y="528459"/>
                  </a:lnTo>
                  <a:lnTo>
                    <a:pt x="273532" y="532828"/>
                  </a:lnTo>
                  <a:lnTo>
                    <a:pt x="274751" y="532828"/>
                  </a:lnTo>
                  <a:lnTo>
                    <a:pt x="323088" y="528472"/>
                  </a:lnTo>
                  <a:lnTo>
                    <a:pt x="368642" y="516115"/>
                  </a:lnTo>
                  <a:lnTo>
                    <a:pt x="410679" y="496468"/>
                  </a:lnTo>
                  <a:lnTo>
                    <a:pt x="448475" y="470268"/>
                  </a:lnTo>
                  <a:lnTo>
                    <a:pt x="481279" y="438251"/>
                  </a:lnTo>
                  <a:lnTo>
                    <a:pt x="508368" y="401154"/>
                  </a:lnTo>
                  <a:lnTo>
                    <a:pt x="529031" y="359689"/>
                  </a:lnTo>
                  <a:lnTo>
                    <a:pt x="542505" y="314604"/>
                  </a:lnTo>
                  <a:lnTo>
                    <a:pt x="548081" y="266611"/>
                  </a:lnTo>
                  <a:close/>
                </a:path>
                <a:path w="548640" h="786765">
                  <a:moveTo>
                    <a:pt x="548081" y="1079"/>
                  </a:moveTo>
                  <a:lnTo>
                    <a:pt x="500367" y="5118"/>
                  </a:lnTo>
                  <a:lnTo>
                    <a:pt x="455841" y="16776"/>
                  </a:lnTo>
                  <a:lnTo>
                    <a:pt x="414616" y="35369"/>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60"/>
                  </a:lnTo>
                  <a:lnTo>
                    <a:pt x="47917" y="4064"/>
                  </a:lnTo>
                  <a:lnTo>
                    <a:pt x="0" y="0"/>
                  </a:lnTo>
                  <a:lnTo>
                    <a:pt x="5448" y="48171"/>
                  </a:lnTo>
                  <a:lnTo>
                    <a:pt x="18846" y="93433"/>
                  </a:lnTo>
                  <a:lnTo>
                    <a:pt x="39458" y="135051"/>
                  </a:lnTo>
                  <a:lnTo>
                    <a:pt x="66560" y="172313"/>
                  </a:lnTo>
                  <a:lnTo>
                    <a:pt x="99402" y="204457"/>
                  </a:lnTo>
                  <a:lnTo>
                    <a:pt x="137248" y="230771"/>
                  </a:lnTo>
                  <a:lnTo>
                    <a:pt x="179387" y="250507"/>
                  </a:lnTo>
                  <a:lnTo>
                    <a:pt x="225056" y="262928"/>
                  </a:lnTo>
                  <a:lnTo>
                    <a:pt x="273532" y="267309"/>
                  </a:lnTo>
                  <a:lnTo>
                    <a:pt x="274751" y="267309"/>
                  </a:lnTo>
                  <a:lnTo>
                    <a:pt x="323088" y="262953"/>
                  </a:lnTo>
                  <a:lnTo>
                    <a:pt x="368642" y="250583"/>
                  </a:lnTo>
                  <a:lnTo>
                    <a:pt x="410679" y="230936"/>
                  </a:lnTo>
                  <a:lnTo>
                    <a:pt x="448475" y="204736"/>
                  </a:lnTo>
                  <a:lnTo>
                    <a:pt x="481279" y="172732"/>
                  </a:lnTo>
                  <a:lnTo>
                    <a:pt x="508368" y="135623"/>
                  </a:lnTo>
                  <a:lnTo>
                    <a:pt x="529031" y="94157"/>
                  </a:lnTo>
                  <a:lnTo>
                    <a:pt x="542505" y="49072"/>
                  </a:lnTo>
                  <a:lnTo>
                    <a:pt x="548081" y="1079"/>
                  </a:lnTo>
                  <a:close/>
                </a:path>
              </a:pathLst>
            </a:custGeom>
            <a:solidFill>
              <a:srgbClr val="7ED3F1"/>
            </a:solidFill>
          </p:spPr>
          <p:txBody>
            <a:bodyPr wrap="square" lIns="0" tIns="0" rIns="0" bIns="0" rtlCol="0"/>
            <a:lstStyle/>
            <a:p>
              <a:endParaRPr dirty="0"/>
            </a:p>
          </p:txBody>
        </p:sp>
        <p:pic>
          <p:nvPicPr>
            <p:cNvPr id="553" name="object 314">
              <a:extLst>
                <a:ext uri="{FF2B5EF4-FFF2-40B4-BE49-F238E27FC236}">
                  <a16:creationId xmlns:a16="http://schemas.microsoft.com/office/drawing/2014/main" id="{03001CF2-1E1F-D570-EDF6-8263BE3CE896}"/>
                </a:ext>
              </a:extLst>
            </p:cNvPr>
            <p:cNvPicPr/>
            <p:nvPr/>
          </p:nvPicPr>
          <p:blipFill>
            <a:blip r:embed="rId11" cstate="print"/>
            <a:stretch>
              <a:fillRect/>
            </a:stretch>
          </p:blipFill>
          <p:spPr>
            <a:xfrm>
              <a:off x="9251594" y="64269"/>
              <a:ext cx="106445" cy="107156"/>
            </a:xfrm>
            <a:prstGeom prst="rect">
              <a:avLst/>
            </a:prstGeom>
          </p:spPr>
        </p:pic>
        <p:sp>
          <p:nvSpPr>
            <p:cNvPr id="554" name="object 315">
              <a:extLst>
                <a:ext uri="{FF2B5EF4-FFF2-40B4-BE49-F238E27FC236}">
                  <a16:creationId xmlns:a16="http://schemas.microsoft.com/office/drawing/2014/main" id="{C35879A7-CA6C-958F-C887-BA8496255ED2}"/>
                </a:ext>
              </a:extLst>
            </p:cNvPr>
            <p:cNvSpPr/>
            <p:nvPr/>
          </p:nvSpPr>
          <p:spPr>
            <a:xfrm>
              <a:off x="9138939" y="2112754"/>
              <a:ext cx="332700" cy="477101"/>
            </a:xfrm>
            <a:custGeom>
              <a:avLst/>
              <a:gdLst/>
              <a:ahLst/>
              <a:cxnLst/>
              <a:rect l="l" t="t" r="r" b="b"/>
              <a:pathLst>
                <a:path w="548640" h="786764">
                  <a:moveTo>
                    <a:pt x="548081" y="520166"/>
                  </a:moveTo>
                  <a:lnTo>
                    <a:pt x="500367" y="524205"/>
                  </a:lnTo>
                  <a:lnTo>
                    <a:pt x="455841" y="535863"/>
                  </a:lnTo>
                  <a:lnTo>
                    <a:pt x="414616" y="554456"/>
                  </a:lnTo>
                  <a:lnTo>
                    <a:pt x="377355" y="579335"/>
                  </a:lnTo>
                  <a:lnTo>
                    <a:pt x="375183" y="581367"/>
                  </a:lnTo>
                  <a:lnTo>
                    <a:pt x="344728" y="609803"/>
                  </a:lnTo>
                  <a:lnTo>
                    <a:pt x="317411" y="645172"/>
                  </a:lnTo>
                  <a:lnTo>
                    <a:pt x="296087" y="684796"/>
                  </a:lnTo>
                  <a:lnTo>
                    <a:pt x="281419" y="727989"/>
                  </a:lnTo>
                  <a:lnTo>
                    <a:pt x="274078" y="774039"/>
                  </a:lnTo>
                  <a:lnTo>
                    <a:pt x="266915" y="727811"/>
                  </a:lnTo>
                  <a:lnTo>
                    <a:pt x="252361" y="684441"/>
                  </a:lnTo>
                  <a:lnTo>
                    <a:pt x="231101" y="644652"/>
                  </a:lnTo>
                  <a:lnTo>
                    <a:pt x="203796" y="609117"/>
                  </a:lnTo>
                  <a:lnTo>
                    <a:pt x="171157" y="578523"/>
                  </a:lnTo>
                  <a:lnTo>
                    <a:pt x="133845" y="553542"/>
                  </a:lnTo>
                  <a:lnTo>
                    <a:pt x="92532" y="534860"/>
                  </a:lnTo>
                  <a:lnTo>
                    <a:pt x="47917" y="523125"/>
                  </a:lnTo>
                  <a:lnTo>
                    <a:pt x="0" y="519099"/>
                  </a:lnTo>
                  <a:lnTo>
                    <a:pt x="5448" y="567258"/>
                  </a:lnTo>
                  <a:lnTo>
                    <a:pt x="18846" y="612521"/>
                  </a:lnTo>
                  <a:lnTo>
                    <a:pt x="39458" y="654138"/>
                  </a:lnTo>
                  <a:lnTo>
                    <a:pt x="66548" y="691400"/>
                  </a:lnTo>
                  <a:lnTo>
                    <a:pt x="99390" y="723544"/>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4">
                  <a:moveTo>
                    <a:pt x="548081" y="266611"/>
                  </a:moveTo>
                  <a:lnTo>
                    <a:pt x="500367" y="270649"/>
                  </a:lnTo>
                  <a:lnTo>
                    <a:pt x="455841" y="282308"/>
                  </a:lnTo>
                  <a:lnTo>
                    <a:pt x="414616" y="300901"/>
                  </a:lnTo>
                  <a:lnTo>
                    <a:pt x="377355" y="325780"/>
                  </a:lnTo>
                  <a:lnTo>
                    <a:pt x="344728" y="356247"/>
                  </a:lnTo>
                  <a:lnTo>
                    <a:pt x="317411" y="391629"/>
                  </a:lnTo>
                  <a:lnTo>
                    <a:pt x="296087" y="431253"/>
                  </a:lnTo>
                  <a:lnTo>
                    <a:pt x="281419" y="474446"/>
                  </a:lnTo>
                  <a:lnTo>
                    <a:pt x="274091" y="520534"/>
                  </a:lnTo>
                  <a:lnTo>
                    <a:pt x="266915" y="474256"/>
                  </a:lnTo>
                  <a:lnTo>
                    <a:pt x="252361" y="430885"/>
                  </a:lnTo>
                  <a:lnTo>
                    <a:pt x="231101"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87" y="516039"/>
                  </a:lnTo>
                  <a:lnTo>
                    <a:pt x="225056" y="528459"/>
                  </a:lnTo>
                  <a:lnTo>
                    <a:pt x="273532" y="532841"/>
                  </a:lnTo>
                  <a:lnTo>
                    <a:pt x="274751" y="532841"/>
                  </a:lnTo>
                  <a:lnTo>
                    <a:pt x="323088" y="528485"/>
                  </a:lnTo>
                  <a:lnTo>
                    <a:pt x="368642" y="516115"/>
                  </a:lnTo>
                  <a:lnTo>
                    <a:pt x="410679" y="496468"/>
                  </a:lnTo>
                  <a:lnTo>
                    <a:pt x="448475" y="470268"/>
                  </a:lnTo>
                  <a:lnTo>
                    <a:pt x="481279" y="438264"/>
                  </a:lnTo>
                  <a:lnTo>
                    <a:pt x="508368" y="401154"/>
                  </a:lnTo>
                  <a:lnTo>
                    <a:pt x="529031" y="359689"/>
                  </a:lnTo>
                  <a:lnTo>
                    <a:pt x="542505" y="314604"/>
                  </a:lnTo>
                  <a:lnTo>
                    <a:pt x="548081" y="266611"/>
                  </a:lnTo>
                  <a:close/>
                </a:path>
                <a:path w="548640" h="786764">
                  <a:moveTo>
                    <a:pt x="548081" y="1079"/>
                  </a:moveTo>
                  <a:lnTo>
                    <a:pt x="500367" y="5118"/>
                  </a:lnTo>
                  <a:lnTo>
                    <a:pt x="455841" y="16776"/>
                  </a:lnTo>
                  <a:lnTo>
                    <a:pt x="414616" y="35369"/>
                  </a:lnTo>
                  <a:lnTo>
                    <a:pt x="377355" y="60248"/>
                  </a:lnTo>
                  <a:lnTo>
                    <a:pt x="344728" y="90703"/>
                  </a:lnTo>
                  <a:lnTo>
                    <a:pt x="317411" y="126085"/>
                  </a:lnTo>
                  <a:lnTo>
                    <a:pt x="296087" y="165722"/>
                  </a:lnTo>
                  <a:lnTo>
                    <a:pt x="281419" y="208915"/>
                  </a:lnTo>
                  <a:lnTo>
                    <a:pt x="274091" y="255003"/>
                  </a:lnTo>
                  <a:lnTo>
                    <a:pt x="266915" y="208724"/>
                  </a:lnTo>
                  <a:lnTo>
                    <a:pt x="252361" y="165354"/>
                  </a:lnTo>
                  <a:lnTo>
                    <a:pt x="231101"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13"/>
                  </a:lnTo>
                  <a:lnTo>
                    <a:pt x="99402" y="204457"/>
                  </a:lnTo>
                  <a:lnTo>
                    <a:pt x="137248" y="230771"/>
                  </a:lnTo>
                  <a:lnTo>
                    <a:pt x="179387" y="250507"/>
                  </a:lnTo>
                  <a:lnTo>
                    <a:pt x="225056" y="262928"/>
                  </a:lnTo>
                  <a:lnTo>
                    <a:pt x="273532" y="267296"/>
                  </a:lnTo>
                  <a:lnTo>
                    <a:pt x="274751" y="267296"/>
                  </a:lnTo>
                  <a:lnTo>
                    <a:pt x="323088" y="262940"/>
                  </a:lnTo>
                  <a:lnTo>
                    <a:pt x="368642" y="250583"/>
                  </a:lnTo>
                  <a:lnTo>
                    <a:pt x="410679" y="230936"/>
                  </a:lnTo>
                  <a:lnTo>
                    <a:pt x="448475" y="204736"/>
                  </a:lnTo>
                  <a:lnTo>
                    <a:pt x="481279" y="172720"/>
                  </a:lnTo>
                  <a:lnTo>
                    <a:pt x="508368" y="135623"/>
                  </a:lnTo>
                  <a:lnTo>
                    <a:pt x="529031" y="94157"/>
                  </a:lnTo>
                  <a:lnTo>
                    <a:pt x="542505" y="49072"/>
                  </a:lnTo>
                  <a:lnTo>
                    <a:pt x="548081" y="1079"/>
                  </a:lnTo>
                  <a:close/>
                </a:path>
              </a:pathLst>
            </a:custGeom>
            <a:solidFill>
              <a:srgbClr val="2DB7EA"/>
            </a:solidFill>
          </p:spPr>
          <p:txBody>
            <a:bodyPr wrap="square" lIns="0" tIns="0" rIns="0" bIns="0" rtlCol="0"/>
            <a:lstStyle/>
            <a:p>
              <a:endParaRPr dirty="0"/>
            </a:p>
          </p:txBody>
        </p:sp>
        <p:pic>
          <p:nvPicPr>
            <p:cNvPr id="555" name="object 316">
              <a:extLst>
                <a:ext uri="{FF2B5EF4-FFF2-40B4-BE49-F238E27FC236}">
                  <a16:creationId xmlns:a16="http://schemas.microsoft.com/office/drawing/2014/main" id="{A1D18BE6-5FC7-AF59-9F61-64F7672F49D9}"/>
                </a:ext>
              </a:extLst>
            </p:cNvPr>
            <p:cNvPicPr/>
            <p:nvPr/>
          </p:nvPicPr>
          <p:blipFill>
            <a:blip r:embed="rId10" cstate="print"/>
            <a:stretch>
              <a:fillRect/>
            </a:stretch>
          </p:blipFill>
          <p:spPr>
            <a:xfrm>
              <a:off x="9251594" y="2026765"/>
              <a:ext cx="106445" cy="107156"/>
            </a:xfrm>
            <a:prstGeom prst="rect">
              <a:avLst/>
            </a:prstGeom>
          </p:spPr>
        </p:pic>
        <p:sp>
          <p:nvSpPr>
            <p:cNvPr id="556" name="object 317">
              <a:extLst>
                <a:ext uri="{FF2B5EF4-FFF2-40B4-BE49-F238E27FC236}">
                  <a16:creationId xmlns:a16="http://schemas.microsoft.com/office/drawing/2014/main" id="{DB687490-1005-B428-BDB5-7F29BAE0B05A}"/>
                </a:ext>
              </a:extLst>
            </p:cNvPr>
            <p:cNvSpPr/>
            <p:nvPr/>
          </p:nvSpPr>
          <p:spPr>
            <a:xfrm>
              <a:off x="9138939" y="1458591"/>
              <a:ext cx="332700" cy="477101"/>
            </a:xfrm>
            <a:custGeom>
              <a:avLst/>
              <a:gdLst/>
              <a:ahLst/>
              <a:cxnLst/>
              <a:rect l="l" t="t" r="r" b="b"/>
              <a:pathLst>
                <a:path w="548640" h="786764">
                  <a:moveTo>
                    <a:pt x="548081" y="520166"/>
                  </a:moveTo>
                  <a:lnTo>
                    <a:pt x="500367" y="524205"/>
                  </a:lnTo>
                  <a:lnTo>
                    <a:pt x="455841" y="535863"/>
                  </a:lnTo>
                  <a:lnTo>
                    <a:pt x="414616" y="554456"/>
                  </a:lnTo>
                  <a:lnTo>
                    <a:pt x="389775" y="571042"/>
                  </a:lnTo>
                  <a:lnTo>
                    <a:pt x="377355" y="579335"/>
                  </a:lnTo>
                  <a:lnTo>
                    <a:pt x="344728" y="609790"/>
                  </a:lnTo>
                  <a:lnTo>
                    <a:pt x="317411" y="645172"/>
                  </a:lnTo>
                  <a:lnTo>
                    <a:pt x="296087" y="684784"/>
                  </a:lnTo>
                  <a:lnTo>
                    <a:pt x="281419" y="727976"/>
                  </a:lnTo>
                  <a:lnTo>
                    <a:pt x="274078" y="774039"/>
                  </a:lnTo>
                  <a:lnTo>
                    <a:pt x="266915" y="727811"/>
                  </a:lnTo>
                  <a:lnTo>
                    <a:pt x="252361" y="684441"/>
                  </a:lnTo>
                  <a:lnTo>
                    <a:pt x="231101" y="644652"/>
                  </a:lnTo>
                  <a:lnTo>
                    <a:pt x="203796" y="609117"/>
                  </a:lnTo>
                  <a:lnTo>
                    <a:pt x="171157" y="578510"/>
                  </a:lnTo>
                  <a:lnTo>
                    <a:pt x="133845" y="553529"/>
                  </a:lnTo>
                  <a:lnTo>
                    <a:pt x="92532" y="534847"/>
                  </a:lnTo>
                  <a:lnTo>
                    <a:pt x="47917" y="523138"/>
                  </a:lnTo>
                  <a:lnTo>
                    <a:pt x="0" y="519061"/>
                  </a:lnTo>
                  <a:lnTo>
                    <a:pt x="5448" y="567245"/>
                  </a:lnTo>
                  <a:lnTo>
                    <a:pt x="18846" y="612508"/>
                  </a:lnTo>
                  <a:lnTo>
                    <a:pt x="39458" y="654138"/>
                  </a:lnTo>
                  <a:lnTo>
                    <a:pt x="66548" y="691388"/>
                  </a:lnTo>
                  <a:lnTo>
                    <a:pt x="67246" y="692073"/>
                  </a:lnTo>
                  <a:lnTo>
                    <a:pt x="99390" y="723544"/>
                  </a:lnTo>
                  <a:lnTo>
                    <a:pt x="137248" y="749858"/>
                  </a:lnTo>
                  <a:lnTo>
                    <a:pt x="179387" y="769594"/>
                  </a:lnTo>
                  <a:lnTo>
                    <a:pt x="225056" y="782015"/>
                  </a:lnTo>
                  <a:lnTo>
                    <a:pt x="273532" y="786384"/>
                  </a:lnTo>
                  <a:lnTo>
                    <a:pt x="274751" y="786384"/>
                  </a:lnTo>
                  <a:lnTo>
                    <a:pt x="323088" y="782027"/>
                  </a:lnTo>
                  <a:lnTo>
                    <a:pt x="368642" y="769670"/>
                  </a:lnTo>
                  <a:lnTo>
                    <a:pt x="410679" y="750023"/>
                  </a:lnTo>
                  <a:lnTo>
                    <a:pt x="448475" y="723823"/>
                  </a:lnTo>
                  <a:lnTo>
                    <a:pt x="481279" y="691807"/>
                  </a:lnTo>
                  <a:lnTo>
                    <a:pt x="508393" y="654697"/>
                  </a:lnTo>
                  <a:lnTo>
                    <a:pt x="529043" y="613244"/>
                  </a:lnTo>
                  <a:lnTo>
                    <a:pt x="542518" y="568172"/>
                  </a:lnTo>
                  <a:lnTo>
                    <a:pt x="548068" y="520204"/>
                  </a:lnTo>
                  <a:close/>
                </a:path>
                <a:path w="548640" h="786764">
                  <a:moveTo>
                    <a:pt x="548081" y="266611"/>
                  </a:moveTo>
                  <a:lnTo>
                    <a:pt x="500367" y="270649"/>
                  </a:lnTo>
                  <a:lnTo>
                    <a:pt x="455841" y="282295"/>
                  </a:lnTo>
                  <a:lnTo>
                    <a:pt x="414616" y="300901"/>
                  </a:lnTo>
                  <a:lnTo>
                    <a:pt x="377355" y="325767"/>
                  </a:lnTo>
                  <a:lnTo>
                    <a:pt x="344728" y="356235"/>
                  </a:lnTo>
                  <a:lnTo>
                    <a:pt x="317411" y="391617"/>
                  </a:lnTo>
                  <a:lnTo>
                    <a:pt x="296087" y="431241"/>
                  </a:lnTo>
                  <a:lnTo>
                    <a:pt x="281419" y="474446"/>
                  </a:lnTo>
                  <a:lnTo>
                    <a:pt x="274091" y="520522"/>
                  </a:lnTo>
                  <a:lnTo>
                    <a:pt x="266915" y="474256"/>
                  </a:lnTo>
                  <a:lnTo>
                    <a:pt x="252361" y="430885"/>
                  </a:lnTo>
                  <a:lnTo>
                    <a:pt x="231101"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87" y="516026"/>
                  </a:lnTo>
                  <a:lnTo>
                    <a:pt x="225056" y="528459"/>
                  </a:lnTo>
                  <a:lnTo>
                    <a:pt x="273532" y="532828"/>
                  </a:lnTo>
                  <a:lnTo>
                    <a:pt x="274751" y="532828"/>
                  </a:lnTo>
                  <a:lnTo>
                    <a:pt x="323088" y="528472"/>
                  </a:lnTo>
                  <a:lnTo>
                    <a:pt x="368642" y="516102"/>
                  </a:lnTo>
                  <a:lnTo>
                    <a:pt x="410679" y="496468"/>
                  </a:lnTo>
                  <a:lnTo>
                    <a:pt x="448475" y="470268"/>
                  </a:lnTo>
                  <a:lnTo>
                    <a:pt x="481279" y="438251"/>
                  </a:lnTo>
                  <a:lnTo>
                    <a:pt x="508368" y="401154"/>
                  </a:lnTo>
                  <a:lnTo>
                    <a:pt x="529031" y="359689"/>
                  </a:lnTo>
                  <a:lnTo>
                    <a:pt x="542505" y="314604"/>
                  </a:lnTo>
                  <a:lnTo>
                    <a:pt x="548081" y="266611"/>
                  </a:lnTo>
                  <a:close/>
                </a:path>
                <a:path w="548640" h="786764">
                  <a:moveTo>
                    <a:pt x="548081" y="1079"/>
                  </a:moveTo>
                  <a:lnTo>
                    <a:pt x="500367" y="5105"/>
                  </a:lnTo>
                  <a:lnTo>
                    <a:pt x="455841" y="16764"/>
                  </a:lnTo>
                  <a:lnTo>
                    <a:pt x="414616" y="35369"/>
                  </a:lnTo>
                  <a:lnTo>
                    <a:pt x="377355" y="60236"/>
                  </a:lnTo>
                  <a:lnTo>
                    <a:pt x="344728" y="90703"/>
                  </a:lnTo>
                  <a:lnTo>
                    <a:pt x="317411" y="126085"/>
                  </a:lnTo>
                  <a:lnTo>
                    <a:pt x="296087" y="165709"/>
                  </a:lnTo>
                  <a:lnTo>
                    <a:pt x="281419" y="208902"/>
                  </a:lnTo>
                  <a:lnTo>
                    <a:pt x="274091" y="254990"/>
                  </a:lnTo>
                  <a:lnTo>
                    <a:pt x="266915" y="208724"/>
                  </a:lnTo>
                  <a:lnTo>
                    <a:pt x="252361" y="165354"/>
                  </a:lnTo>
                  <a:lnTo>
                    <a:pt x="231101"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36"/>
                  </a:lnTo>
                  <a:lnTo>
                    <a:pt x="481279" y="172720"/>
                  </a:lnTo>
                  <a:lnTo>
                    <a:pt x="508368" y="135623"/>
                  </a:lnTo>
                  <a:lnTo>
                    <a:pt x="529031" y="94157"/>
                  </a:lnTo>
                  <a:lnTo>
                    <a:pt x="542505" y="49060"/>
                  </a:lnTo>
                  <a:lnTo>
                    <a:pt x="548081" y="1079"/>
                  </a:lnTo>
                  <a:close/>
                </a:path>
              </a:pathLst>
            </a:custGeom>
            <a:solidFill>
              <a:srgbClr val="7ED3F1"/>
            </a:solidFill>
          </p:spPr>
          <p:txBody>
            <a:bodyPr wrap="square" lIns="0" tIns="0" rIns="0" bIns="0" rtlCol="0"/>
            <a:lstStyle/>
            <a:p>
              <a:endParaRPr dirty="0"/>
            </a:p>
          </p:txBody>
        </p:sp>
        <p:pic>
          <p:nvPicPr>
            <p:cNvPr id="557" name="object 318">
              <a:extLst>
                <a:ext uri="{FF2B5EF4-FFF2-40B4-BE49-F238E27FC236}">
                  <a16:creationId xmlns:a16="http://schemas.microsoft.com/office/drawing/2014/main" id="{A4C6B498-0029-0963-0883-D67A9C575AE6}"/>
                </a:ext>
              </a:extLst>
            </p:cNvPr>
            <p:cNvPicPr/>
            <p:nvPr/>
          </p:nvPicPr>
          <p:blipFill>
            <a:blip r:embed="rId11" cstate="print"/>
            <a:stretch>
              <a:fillRect/>
            </a:stretch>
          </p:blipFill>
          <p:spPr>
            <a:xfrm>
              <a:off x="9251594" y="1372599"/>
              <a:ext cx="106445" cy="107156"/>
            </a:xfrm>
            <a:prstGeom prst="rect">
              <a:avLst/>
            </a:prstGeom>
          </p:spPr>
        </p:pic>
        <p:sp>
          <p:nvSpPr>
            <p:cNvPr id="558" name="object 319">
              <a:extLst>
                <a:ext uri="{FF2B5EF4-FFF2-40B4-BE49-F238E27FC236}">
                  <a16:creationId xmlns:a16="http://schemas.microsoft.com/office/drawing/2014/main" id="{C8682E30-5106-198F-8F84-3F1C9CB0F0E5}"/>
                </a:ext>
              </a:extLst>
            </p:cNvPr>
            <p:cNvSpPr/>
            <p:nvPr/>
          </p:nvSpPr>
          <p:spPr>
            <a:xfrm>
              <a:off x="9138939" y="3421088"/>
              <a:ext cx="332700" cy="477101"/>
            </a:xfrm>
            <a:custGeom>
              <a:avLst/>
              <a:gdLst/>
              <a:ahLst/>
              <a:cxnLst/>
              <a:rect l="l" t="t" r="r" b="b"/>
              <a:pathLst>
                <a:path w="548640" h="786764">
                  <a:moveTo>
                    <a:pt x="548081" y="520179"/>
                  </a:moveTo>
                  <a:lnTo>
                    <a:pt x="500367" y="524217"/>
                  </a:lnTo>
                  <a:lnTo>
                    <a:pt x="455841" y="535863"/>
                  </a:lnTo>
                  <a:lnTo>
                    <a:pt x="427418" y="548690"/>
                  </a:lnTo>
                  <a:lnTo>
                    <a:pt x="414616" y="554469"/>
                  </a:lnTo>
                  <a:lnTo>
                    <a:pt x="377355" y="579335"/>
                  </a:lnTo>
                  <a:lnTo>
                    <a:pt x="344716" y="609790"/>
                  </a:lnTo>
                  <a:lnTo>
                    <a:pt x="317411" y="645172"/>
                  </a:lnTo>
                  <a:lnTo>
                    <a:pt x="296087" y="684784"/>
                  </a:lnTo>
                  <a:lnTo>
                    <a:pt x="281419" y="727976"/>
                  </a:lnTo>
                  <a:lnTo>
                    <a:pt x="274078" y="774039"/>
                  </a:lnTo>
                  <a:lnTo>
                    <a:pt x="268224" y="736295"/>
                  </a:lnTo>
                  <a:lnTo>
                    <a:pt x="266915" y="727811"/>
                  </a:lnTo>
                  <a:lnTo>
                    <a:pt x="252361" y="684441"/>
                  </a:lnTo>
                  <a:lnTo>
                    <a:pt x="231101" y="644652"/>
                  </a:lnTo>
                  <a:lnTo>
                    <a:pt x="215646" y="624560"/>
                  </a:lnTo>
                  <a:lnTo>
                    <a:pt x="203796" y="609117"/>
                  </a:lnTo>
                  <a:lnTo>
                    <a:pt x="171157" y="578510"/>
                  </a:lnTo>
                  <a:lnTo>
                    <a:pt x="133845" y="553529"/>
                  </a:lnTo>
                  <a:lnTo>
                    <a:pt x="92532" y="534847"/>
                  </a:lnTo>
                  <a:lnTo>
                    <a:pt x="47917" y="523138"/>
                  </a:lnTo>
                  <a:lnTo>
                    <a:pt x="0" y="519061"/>
                  </a:lnTo>
                  <a:lnTo>
                    <a:pt x="5448" y="567245"/>
                  </a:lnTo>
                  <a:lnTo>
                    <a:pt x="18846" y="612508"/>
                  </a:lnTo>
                  <a:lnTo>
                    <a:pt x="39458" y="654138"/>
                  </a:lnTo>
                  <a:lnTo>
                    <a:pt x="66548" y="691388"/>
                  </a:lnTo>
                  <a:lnTo>
                    <a:pt x="99402" y="723544"/>
                  </a:lnTo>
                  <a:lnTo>
                    <a:pt x="137248" y="749858"/>
                  </a:lnTo>
                  <a:lnTo>
                    <a:pt x="179387" y="769594"/>
                  </a:lnTo>
                  <a:lnTo>
                    <a:pt x="225056" y="782015"/>
                  </a:lnTo>
                  <a:lnTo>
                    <a:pt x="273532" y="786384"/>
                  </a:lnTo>
                  <a:lnTo>
                    <a:pt x="274751" y="786384"/>
                  </a:lnTo>
                  <a:lnTo>
                    <a:pt x="323088" y="782027"/>
                  </a:lnTo>
                  <a:lnTo>
                    <a:pt x="368642" y="769670"/>
                  </a:lnTo>
                  <a:lnTo>
                    <a:pt x="410679" y="750023"/>
                  </a:lnTo>
                  <a:lnTo>
                    <a:pt x="448475" y="723823"/>
                  </a:lnTo>
                  <a:lnTo>
                    <a:pt x="481279" y="691819"/>
                  </a:lnTo>
                  <a:lnTo>
                    <a:pt x="488492" y="681939"/>
                  </a:lnTo>
                  <a:lnTo>
                    <a:pt x="508393" y="654697"/>
                  </a:lnTo>
                  <a:lnTo>
                    <a:pt x="529031" y="613257"/>
                  </a:lnTo>
                  <a:lnTo>
                    <a:pt x="542518" y="568172"/>
                  </a:lnTo>
                  <a:lnTo>
                    <a:pt x="548068" y="520204"/>
                  </a:lnTo>
                  <a:close/>
                </a:path>
                <a:path w="548640" h="786764">
                  <a:moveTo>
                    <a:pt x="548081" y="266611"/>
                  </a:moveTo>
                  <a:lnTo>
                    <a:pt x="500367" y="270637"/>
                  </a:lnTo>
                  <a:lnTo>
                    <a:pt x="455841" y="282295"/>
                  </a:lnTo>
                  <a:lnTo>
                    <a:pt x="414616" y="300901"/>
                  </a:lnTo>
                  <a:lnTo>
                    <a:pt x="377355" y="325767"/>
                  </a:lnTo>
                  <a:lnTo>
                    <a:pt x="344728" y="356235"/>
                  </a:lnTo>
                  <a:lnTo>
                    <a:pt x="317411" y="391617"/>
                  </a:lnTo>
                  <a:lnTo>
                    <a:pt x="296087" y="431241"/>
                  </a:lnTo>
                  <a:lnTo>
                    <a:pt x="281419" y="474433"/>
                  </a:lnTo>
                  <a:lnTo>
                    <a:pt x="274091" y="520522"/>
                  </a:lnTo>
                  <a:lnTo>
                    <a:pt x="266915" y="474256"/>
                  </a:lnTo>
                  <a:lnTo>
                    <a:pt x="252361" y="430885"/>
                  </a:lnTo>
                  <a:lnTo>
                    <a:pt x="231101"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76"/>
                  </a:lnTo>
                  <a:lnTo>
                    <a:pt x="137248" y="496290"/>
                  </a:lnTo>
                  <a:lnTo>
                    <a:pt x="179387" y="516026"/>
                  </a:lnTo>
                  <a:lnTo>
                    <a:pt x="225056" y="528447"/>
                  </a:lnTo>
                  <a:lnTo>
                    <a:pt x="273532" y="532828"/>
                  </a:lnTo>
                  <a:lnTo>
                    <a:pt x="274751" y="532828"/>
                  </a:lnTo>
                  <a:lnTo>
                    <a:pt x="323088" y="528472"/>
                  </a:lnTo>
                  <a:lnTo>
                    <a:pt x="368642" y="516102"/>
                  </a:lnTo>
                  <a:lnTo>
                    <a:pt x="410679" y="496455"/>
                  </a:lnTo>
                  <a:lnTo>
                    <a:pt x="448475" y="470255"/>
                  </a:lnTo>
                  <a:lnTo>
                    <a:pt x="481279" y="438251"/>
                  </a:lnTo>
                  <a:lnTo>
                    <a:pt x="508368" y="401142"/>
                  </a:lnTo>
                  <a:lnTo>
                    <a:pt x="529031" y="359689"/>
                  </a:lnTo>
                  <a:lnTo>
                    <a:pt x="542505" y="314591"/>
                  </a:lnTo>
                  <a:lnTo>
                    <a:pt x="548081" y="266611"/>
                  </a:lnTo>
                  <a:close/>
                </a:path>
                <a:path w="548640" h="786764">
                  <a:moveTo>
                    <a:pt x="548081" y="1079"/>
                  </a:moveTo>
                  <a:lnTo>
                    <a:pt x="500367" y="5118"/>
                  </a:lnTo>
                  <a:lnTo>
                    <a:pt x="455841" y="16764"/>
                  </a:lnTo>
                  <a:lnTo>
                    <a:pt x="414616" y="35369"/>
                  </a:lnTo>
                  <a:lnTo>
                    <a:pt x="377355" y="60236"/>
                  </a:lnTo>
                  <a:lnTo>
                    <a:pt x="344728" y="90703"/>
                  </a:lnTo>
                  <a:lnTo>
                    <a:pt x="317411" y="126085"/>
                  </a:lnTo>
                  <a:lnTo>
                    <a:pt x="296087" y="165709"/>
                  </a:lnTo>
                  <a:lnTo>
                    <a:pt x="281419" y="208915"/>
                  </a:lnTo>
                  <a:lnTo>
                    <a:pt x="274091" y="254990"/>
                  </a:lnTo>
                  <a:lnTo>
                    <a:pt x="266915" y="208724"/>
                  </a:lnTo>
                  <a:lnTo>
                    <a:pt x="252361" y="165354"/>
                  </a:lnTo>
                  <a:lnTo>
                    <a:pt x="231101"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36"/>
                  </a:lnTo>
                  <a:lnTo>
                    <a:pt x="481279" y="172720"/>
                  </a:lnTo>
                  <a:lnTo>
                    <a:pt x="508368" y="135623"/>
                  </a:lnTo>
                  <a:lnTo>
                    <a:pt x="529031" y="94157"/>
                  </a:lnTo>
                  <a:lnTo>
                    <a:pt x="542505" y="49072"/>
                  </a:lnTo>
                  <a:lnTo>
                    <a:pt x="548081" y="1079"/>
                  </a:lnTo>
                  <a:close/>
                </a:path>
              </a:pathLst>
            </a:custGeom>
            <a:solidFill>
              <a:srgbClr val="2DB7EA"/>
            </a:solidFill>
          </p:spPr>
          <p:txBody>
            <a:bodyPr wrap="square" lIns="0" tIns="0" rIns="0" bIns="0" rtlCol="0"/>
            <a:lstStyle/>
            <a:p>
              <a:endParaRPr dirty="0"/>
            </a:p>
          </p:txBody>
        </p:sp>
        <p:pic>
          <p:nvPicPr>
            <p:cNvPr id="559" name="object 320">
              <a:extLst>
                <a:ext uri="{FF2B5EF4-FFF2-40B4-BE49-F238E27FC236}">
                  <a16:creationId xmlns:a16="http://schemas.microsoft.com/office/drawing/2014/main" id="{67B39346-0BB1-931F-979E-E8E8BC2745B2}"/>
                </a:ext>
              </a:extLst>
            </p:cNvPr>
            <p:cNvPicPr/>
            <p:nvPr/>
          </p:nvPicPr>
          <p:blipFill>
            <a:blip r:embed="rId10" cstate="print"/>
            <a:stretch>
              <a:fillRect/>
            </a:stretch>
          </p:blipFill>
          <p:spPr>
            <a:xfrm>
              <a:off x="9251594" y="3335097"/>
              <a:ext cx="106445" cy="107156"/>
            </a:xfrm>
            <a:prstGeom prst="rect">
              <a:avLst/>
            </a:prstGeom>
          </p:spPr>
        </p:pic>
        <p:sp>
          <p:nvSpPr>
            <p:cNvPr id="560" name="object 321">
              <a:extLst>
                <a:ext uri="{FF2B5EF4-FFF2-40B4-BE49-F238E27FC236}">
                  <a16:creationId xmlns:a16="http://schemas.microsoft.com/office/drawing/2014/main" id="{FCE92EC5-436F-F00C-7072-2CC8BBDBAC99}"/>
                </a:ext>
              </a:extLst>
            </p:cNvPr>
            <p:cNvSpPr/>
            <p:nvPr/>
          </p:nvSpPr>
          <p:spPr>
            <a:xfrm>
              <a:off x="9138939" y="2766918"/>
              <a:ext cx="332700" cy="477101"/>
            </a:xfrm>
            <a:custGeom>
              <a:avLst/>
              <a:gdLst/>
              <a:ahLst/>
              <a:cxnLst/>
              <a:rect l="l" t="t" r="r" b="b"/>
              <a:pathLst>
                <a:path w="548640" h="786764">
                  <a:moveTo>
                    <a:pt x="548081" y="520179"/>
                  </a:moveTo>
                  <a:lnTo>
                    <a:pt x="500367" y="524205"/>
                  </a:lnTo>
                  <a:lnTo>
                    <a:pt x="455841" y="535863"/>
                  </a:lnTo>
                  <a:lnTo>
                    <a:pt x="414616" y="554469"/>
                  </a:lnTo>
                  <a:lnTo>
                    <a:pt x="377355" y="579335"/>
                  </a:lnTo>
                  <a:lnTo>
                    <a:pt x="375183" y="581367"/>
                  </a:lnTo>
                  <a:lnTo>
                    <a:pt x="344728" y="609803"/>
                  </a:lnTo>
                  <a:lnTo>
                    <a:pt x="317411" y="645172"/>
                  </a:lnTo>
                  <a:lnTo>
                    <a:pt x="296087" y="684796"/>
                  </a:lnTo>
                  <a:lnTo>
                    <a:pt x="281419" y="727989"/>
                  </a:lnTo>
                  <a:lnTo>
                    <a:pt x="274078" y="774039"/>
                  </a:lnTo>
                  <a:lnTo>
                    <a:pt x="268224" y="736307"/>
                  </a:lnTo>
                  <a:lnTo>
                    <a:pt x="266915" y="727824"/>
                  </a:lnTo>
                  <a:lnTo>
                    <a:pt x="252361" y="684453"/>
                  </a:lnTo>
                  <a:lnTo>
                    <a:pt x="244944" y="670598"/>
                  </a:lnTo>
                  <a:lnTo>
                    <a:pt x="231101"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51"/>
                  </a:lnTo>
                  <a:lnTo>
                    <a:pt x="66548" y="691400"/>
                  </a:lnTo>
                  <a:lnTo>
                    <a:pt x="98704" y="722884"/>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4">
                  <a:moveTo>
                    <a:pt x="548081" y="266611"/>
                  </a:moveTo>
                  <a:lnTo>
                    <a:pt x="500367" y="270649"/>
                  </a:lnTo>
                  <a:lnTo>
                    <a:pt x="455841" y="282308"/>
                  </a:lnTo>
                  <a:lnTo>
                    <a:pt x="414616" y="300901"/>
                  </a:lnTo>
                  <a:lnTo>
                    <a:pt x="377355" y="325780"/>
                  </a:lnTo>
                  <a:lnTo>
                    <a:pt x="344728" y="356247"/>
                  </a:lnTo>
                  <a:lnTo>
                    <a:pt x="317411" y="391629"/>
                  </a:lnTo>
                  <a:lnTo>
                    <a:pt x="296087" y="431253"/>
                  </a:lnTo>
                  <a:lnTo>
                    <a:pt x="281419" y="474446"/>
                  </a:lnTo>
                  <a:lnTo>
                    <a:pt x="274091" y="520534"/>
                  </a:lnTo>
                  <a:lnTo>
                    <a:pt x="266915" y="474256"/>
                  </a:lnTo>
                  <a:lnTo>
                    <a:pt x="252361" y="430885"/>
                  </a:lnTo>
                  <a:lnTo>
                    <a:pt x="231101"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87" y="516039"/>
                  </a:lnTo>
                  <a:lnTo>
                    <a:pt x="225056" y="528459"/>
                  </a:lnTo>
                  <a:lnTo>
                    <a:pt x="273532" y="532841"/>
                  </a:lnTo>
                  <a:lnTo>
                    <a:pt x="274751" y="532841"/>
                  </a:lnTo>
                  <a:lnTo>
                    <a:pt x="323088" y="528485"/>
                  </a:lnTo>
                  <a:lnTo>
                    <a:pt x="368642" y="516115"/>
                  </a:lnTo>
                  <a:lnTo>
                    <a:pt x="410679" y="496468"/>
                  </a:lnTo>
                  <a:lnTo>
                    <a:pt x="448475" y="470268"/>
                  </a:lnTo>
                  <a:lnTo>
                    <a:pt x="481279" y="438264"/>
                  </a:lnTo>
                  <a:lnTo>
                    <a:pt x="508368" y="401154"/>
                  </a:lnTo>
                  <a:lnTo>
                    <a:pt x="529031" y="359689"/>
                  </a:lnTo>
                  <a:lnTo>
                    <a:pt x="542505" y="314604"/>
                  </a:lnTo>
                  <a:lnTo>
                    <a:pt x="548081" y="266611"/>
                  </a:lnTo>
                  <a:close/>
                </a:path>
                <a:path w="548640" h="786764">
                  <a:moveTo>
                    <a:pt x="548081" y="1079"/>
                  </a:moveTo>
                  <a:lnTo>
                    <a:pt x="500367" y="5118"/>
                  </a:lnTo>
                  <a:lnTo>
                    <a:pt x="455841" y="16776"/>
                  </a:lnTo>
                  <a:lnTo>
                    <a:pt x="414616" y="35369"/>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87" y="250507"/>
                  </a:lnTo>
                  <a:lnTo>
                    <a:pt x="225056" y="262928"/>
                  </a:lnTo>
                  <a:lnTo>
                    <a:pt x="273532" y="267309"/>
                  </a:lnTo>
                  <a:lnTo>
                    <a:pt x="274751" y="267309"/>
                  </a:lnTo>
                  <a:lnTo>
                    <a:pt x="323088" y="262953"/>
                  </a:lnTo>
                  <a:lnTo>
                    <a:pt x="368642" y="250583"/>
                  </a:lnTo>
                  <a:lnTo>
                    <a:pt x="410679" y="230936"/>
                  </a:lnTo>
                  <a:lnTo>
                    <a:pt x="448475" y="204749"/>
                  </a:lnTo>
                  <a:lnTo>
                    <a:pt x="481279" y="172732"/>
                  </a:lnTo>
                  <a:lnTo>
                    <a:pt x="508368" y="135623"/>
                  </a:lnTo>
                  <a:lnTo>
                    <a:pt x="529031" y="94157"/>
                  </a:lnTo>
                  <a:lnTo>
                    <a:pt x="542505" y="49072"/>
                  </a:lnTo>
                  <a:lnTo>
                    <a:pt x="548081" y="1079"/>
                  </a:lnTo>
                  <a:close/>
                </a:path>
              </a:pathLst>
            </a:custGeom>
            <a:solidFill>
              <a:srgbClr val="7ED3F1"/>
            </a:solidFill>
          </p:spPr>
          <p:txBody>
            <a:bodyPr wrap="square" lIns="0" tIns="0" rIns="0" bIns="0" rtlCol="0"/>
            <a:lstStyle/>
            <a:p>
              <a:endParaRPr dirty="0"/>
            </a:p>
          </p:txBody>
        </p:sp>
        <p:pic>
          <p:nvPicPr>
            <p:cNvPr id="561" name="object 322">
              <a:extLst>
                <a:ext uri="{FF2B5EF4-FFF2-40B4-BE49-F238E27FC236}">
                  <a16:creationId xmlns:a16="http://schemas.microsoft.com/office/drawing/2014/main" id="{12B7805F-C145-CBAC-CA59-E02C753BCAEE}"/>
                </a:ext>
              </a:extLst>
            </p:cNvPr>
            <p:cNvPicPr/>
            <p:nvPr/>
          </p:nvPicPr>
          <p:blipFill>
            <a:blip r:embed="rId11" cstate="print"/>
            <a:stretch>
              <a:fillRect/>
            </a:stretch>
          </p:blipFill>
          <p:spPr>
            <a:xfrm>
              <a:off x="9251594" y="2680931"/>
              <a:ext cx="106445" cy="107156"/>
            </a:xfrm>
            <a:prstGeom prst="rect">
              <a:avLst/>
            </a:prstGeom>
          </p:spPr>
        </p:pic>
        <p:sp>
          <p:nvSpPr>
            <p:cNvPr id="562" name="object 323">
              <a:extLst>
                <a:ext uri="{FF2B5EF4-FFF2-40B4-BE49-F238E27FC236}">
                  <a16:creationId xmlns:a16="http://schemas.microsoft.com/office/drawing/2014/main" id="{CDC275F5-66BA-C00E-F487-5BE6048A3B2D}"/>
                </a:ext>
              </a:extLst>
            </p:cNvPr>
            <p:cNvSpPr/>
            <p:nvPr/>
          </p:nvSpPr>
          <p:spPr>
            <a:xfrm>
              <a:off x="9138939" y="4729423"/>
              <a:ext cx="332700" cy="477101"/>
            </a:xfrm>
            <a:custGeom>
              <a:avLst/>
              <a:gdLst/>
              <a:ahLst/>
              <a:cxnLst/>
              <a:rect l="l" t="t" r="r" b="b"/>
              <a:pathLst>
                <a:path w="548640" h="786765">
                  <a:moveTo>
                    <a:pt x="548081" y="520179"/>
                  </a:moveTo>
                  <a:lnTo>
                    <a:pt x="500367" y="524205"/>
                  </a:lnTo>
                  <a:lnTo>
                    <a:pt x="455841" y="535863"/>
                  </a:lnTo>
                  <a:lnTo>
                    <a:pt x="427418" y="548690"/>
                  </a:lnTo>
                  <a:lnTo>
                    <a:pt x="414616" y="554469"/>
                  </a:lnTo>
                  <a:lnTo>
                    <a:pt x="377355" y="579335"/>
                  </a:lnTo>
                  <a:lnTo>
                    <a:pt x="344716" y="609790"/>
                  </a:lnTo>
                  <a:lnTo>
                    <a:pt x="317411" y="645160"/>
                  </a:lnTo>
                  <a:lnTo>
                    <a:pt x="296087" y="684784"/>
                  </a:lnTo>
                  <a:lnTo>
                    <a:pt x="281419" y="727976"/>
                  </a:lnTo>
                  <a:lnTo>
                    <a:pt x="274078" y="774039"/>
                  </a:lnTo>
                  <a:lnTo>
                    <a:pt x="268020" y="734974"/>
                  </a:lnTo>
                  <a:lnTo>
                    <a:pt x="266915" y="727811"/>
                  </a:lnTo>
                  <a:lnTo>
                    <a:pt x="252361" y="684441"/>
                  </a:lnTo>
                  <a:lnTo>
                    <a:pt x="231101" y="644639"/>
                  </a:lnTo>
                  <a:lnTo>
                    <a:pt x="203796" y="609104"/>
                  </a:lnTo>
                  <a:lnTo>
                    <a:pt x="171157" y="578510"/>
                  </a:lnTo>
                  <a:lnTo>
                    <a:pt x="133845" y="553529"/>
                  </a:lnTo>
                  <a:lnTo>
                    <a:pt x="92532" y="534847"/>
                  </a:lnTo>
                  <a:lnTo>
                    <a:pt x="47917" y="523113"/>
                  </a:lnTo>
                  <a:lnTo>
                    <a:pt x="0" y="519061"/>
                  </a:lnTo>
                  <a:lnTo>
                    <a:pt x="5448" y="567245"/>
                  </a:lnTo>
                  <a:lnTo>
                    <a:pt x="18846" y="612508"/>
                  </a:lnTo>
                  <a:lnTo>
                    <a:pt x="39458" y="654138"/>
                  </a:lnTo>
                  <a:lnTo>
                    <a:pt x="66548" y="691388"/>
                  </a:lnTo>
                  <a:lnTo>
                    <a:pt x="98704" y="722871"/>
                  </a:lnTo>
                  <a:lnTo>
                    <a:pt x="137248" y="749858"/>
                  </a:lnTo>
                  <a:lnTo>
                    <a:pt x="179387" y="769581"/>
                  </a:lnTo>
                  <a:lnTo>
                    <a:pt x="225056" y="782015"/>
                  </a:lnTo>
                  <a:lnTo>
                    <a:pt x="273532" y="786384"/>
                  </a:lnTo>
                  <a:lnTo>
                    <a:pt x="274751" y="786384"/>
                  </a:lnTo>
                  <a:lnTo>
                    <a:pt x="323088" y="782027"/>
                  </a:lnTo>
                  <a:lnTo>
                    <a:pt x="368642" y="769670"/>
                  </a:lnTo>
                  <a:lnTo>
                    <a:pt x="410679" y="750023"/>
                  </a:lnTo>
                  <a:lnTo>
                    <a:pt x="448475" y="723823"/>
                  </a:lnTo>
                  <a:lnTo>
                    <a:pt x="481279" y="691807"/>
                  </a:lnTo>
                  <a:lnTo>
                    <a:pt x="508393" y="654697"/>
                  </a:lnTo>
                  <a:lnTo>
                    <a:pt x="529043" y="613244"/>
                  </a:lnTo>
                  <a:lnTo>
                    <a:pt x="542518" y="568172"/>
                  </a:lnTo>
                  <a:lnTo>
                    <a:pt x="548068" y="520204"/>
                  </a:lnTo>
                  <a:close/>
                </a:path>
                <a:path w="548640" h="786765">
                  <a:moveTo>
                    <a:pt x="548081" y="266611"/>
                  </a:moveTo>
                  <a:lnTo>
                    <a:pt x="500367" y="270649"/>
                  </a:lnTo>
                  <a:lnTo>
                    <a:pt x="455841" y="282308"/>
                  </a:lnTo>
                  <a:lnTo>
                    <a:pt x="414616" y="300901"/>
                  </a:lnTo>
                  <a:lnTo>
                    <a:pt x="377355" y="325767"/>
                  </a:lnTo>
                  <a:lnTo>
                    <a:pt x="344728" y="356235"/>
                  </a:lnTo>
                  <a:lnTo>
                    <a:pt x="317411" y="391617"/>
                  </a:lnTo>
                  <a:lnTo>
                    <a:pt x="296087" y="431241"/>
                  </a:lnTo>
                  <a:lnTo>
                    <a:pt x="281419" y="474433"/>
                  </a:lnTo>
                  <a:lnTo>
                    <a:pt x="274091" y="520522"/>
                  </a:lnTo>
                  <a:lnTo>
                    <a:pt x="266915" y="474243"/>
                  </a:lnTo>
                  <a:lnTo>
                    <a:pt x="252361" y="430872"/>
                  </a:lnTo>
                  <a:lnTo>
                    <a:pt x="231101" y="391083"/>
                  </a:lnTo>
                  <a:lnTo>
                    <a:pt x="203796" y="355549"/>
                  </a:lnTo>
                  <a:lnTo>
                    <a:pt x="171157" y="324954"/>
                  </a:lnTo>
                  <a:lnTo>
                    <a:pt x="133845" y="299974"/>
                  </a:lnTo>
                  <a:lnTo>
                    <a:pt x="92532" y="281292"/>
                  </a:lnTo>
                  <a:lnTo>
                    <a:pt x="47917" y="269582"/>
                  </a:lnTo>
                  <a:lnTo>
                    <a:pt x="0" y="265518"/>
                  </a:lnTo>
                  <a:lnTo>
                    <a:pt x="5448" y="313690"/>
                  </a:lnTo>
                  <a:lnTo>
                    <a:pt x="18846" y="358952"/>
                  </a:lnTo>
                  <a:lnTo>
                    <a:pt x="39458" y="400570"/>
                  </a:lnTo>
                  <a:lnTo>
                    <a:pt x="66560" y="437832"/>
                  </a:lnTo>
                  <a:lnTo>
                    <a:pt x="99402" y="469976"/>
                  </a:lnTo>
                  <a:lnTo>
                    <a:pt x="137248" y="496290"/>
                  </a:lnTo>
                  <a:lnTo>
                    <a:pt x="179387" y="516026"/>
                  </a:lnTo>
                  <a:lnTo>
                    <a:pt x="225056" y="528447"/>
                  </a:lnTo>
                  <a:lnTo>
                    <a:pt x="273532" y="532828"/>
                  </a:lnTo>
                  <a:lnTo>
                    <a:pt x="274751" y="532828"/>
                  </a:lnTo>
                  <a:lnTo>
                    <a:pt x="323088" y="528472"/>
                  </a:lnTo>
                  <a:lnTo>
                    <a:pt x="368642" y="516102"/>
                  </a:lnTo>
                  <a:lnTo>
                    <a:pt x="410679" y="496455"/>
                  </a:lnTo>
                  <a:lnTo>
                    <a:pt x="448475" y="470268"/>
                  </a:lnTo>
                  <a:lnTo>
                    <a:pt x="481279" y="438251"/>
                  </a:lnTo>
                  <a:lnTo>
                    <a:pt x="508368" y="401154"/>
                  </a:lnTo>
                  <a:lnTo>
                    <a:pt x="529031" y="359689"/>
                  </a:lnTo>
                  <a:lnTo>
                    <a:pt x="542505" y="314604"/>
                  </a:lnTo>
                  <a:lnTo>
                    <a:pt x="548081" y="266611"/>
                  </a:lnTo>
                  <a:close/>
                </a:path>
                <a:path w="548640" h="786765">
                  <a:moveTo>
                    <a:pt x="548081" y="1079"/>
                  </a:moveTo>
                  <a:lnTo>
                    <a:pt x="500367" y="5105"/>
                  </a:lnTo>
                  <a:lnTo>
                    <a:pt x="455841" y="16764"/>
                  </a:lnTo>
                  <a:lnTo>
                    <a:pt x="414616" y="35369"/>
                  </a:lnTo>
                  <a:lnTo>
                    <a:pt x="377355" y="60236"/>
                  </a:lnTo>
                  <a:lnTo>
                    <a:pt x="344728" y="90703"/>
                  </a:lnTo>
                  <a:lnTo>
                    <a:pt x="317411" y="126085"/>
                  </a:lnTo>
                  <a:lnTo>
                    <a:pt x="296087" y="165709"/>
                  </a:lnTo>
                  <a:lnTo>
                    <a:pt x="281419" y="208902"/>
                  </a:lnTo>
                  <a:lnTo>
                    <a:pt x="274091" y="254990"/>
                  </a:lnTo>
                  <a:lnTo>
                    <a:pt x="266915" y="208724"/>
                  </a:lnTo>
                  <a:lnTo>
                    <a:pt x="252361" y="165354"/>
                  </a:lnTo>
                  <a:lnTo>
                    <a:pt x="231101" y="125552"/>
                  </a:lnTo>
                  <a:lnTo>
                    <a:pt x="203796" y="90017"/>
                  </a:lnTo>
                  <a:lnTo>
                    <a:pt x="171157" y="59423"/>
                  </a:lnTo>
                  <a:lnTo>
                    <a:pt x="133845" y="34442"/>
                  </a:lnTo>
                  <a:lnTo>
                    <a:pt x="92532" y="15760"/>
                  </a:lnTo>
                  <a:lnTo>
                    <a:pt x="47917" y="4051"/>
                  </a:lnTo>
                  <a:lnTo>
                    <a:pt x="0" y="0"/>
                  </a:lnTo>
                  <a:lnTo>
                    <a:pt x="5448" y="48158"/>
                  </a:lnTo>
                  <a:lnTo>
                    <a:pt x="18846" y="93421"/>
                  </a:lnTo>
                  <a:lnTo>
                    <a:pt x="39458" y="135039"/>
                  </a:lnTo>
                  <a:lnTo>
                    <a:pt x="66560" y="172300"/>
                  </a:lnTo>
                  <a:lnTo>
                    <a:pt x="99402" y="204444"/>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24"/>
                  </a:lnTo>
                  <a:lnTo>
                    <a:pt x="481279" y="172720"/>
                  </a:lnTo>
                  <a:lnTo>
                    <a:pt x="508368" y="135610"/>
                  </a:lnTo>
                  <a:lnTo>
                    <a:pt x="529031" y="94157"/>
                  </a:lnTo>
                  <a:lnTo>
                    <a:pt x="542505" y="49060"/>
                  </a:lnTo>
                  <a:lnTo>
                    <a:pt x="548081" y="1079"/>
                  </a:lnTo>
                  <a:close/>
                </a:path>
              </a:pathLst>
            </a:custGeom>
            <a:solidFill>
              <a:srgbClr val="2DB7EA"/>
            </a:solidFill>
          </p:spPr>
          <p:txBody>
            <a:bodyPr wrap="square" lIns="0" tIns="0" rIns="0" bIns="0" rtlCol="0"/>
            <a:lstStyle/>
            <a:p>
              <a:endParaRPr dirty="0"/>
            </a:p>
          </p:txBody>
        </p:sp>
        <p:pic>
          <p:nvPicPr>
            <p:cNvPr id="563" name="object 324">
              <a:extLst>
                <a:ext uri="{FF2B5EF4-FFF2-40B4-BE49-F238E27FC236}">
                  <a16:creationId xmlns:a16="http://schemas.microsoft.com/office/drawing/2014/main" id="{CF975A73-389A-897C-168E-AB8A9CE0E779}"/>
                </a:ext>
              </a:extLst>
            </p:cNvPr>
            <p:cNvPicPr/>
            <p:nvPr/>
          </p:nvPicPr>
          <p:blipFill>
            <a:blip r:embed="rId10" cstate="print"/>
            <a:stretch>
              <a:fillRect/>
            </a:stretch>
          </p:blipFill>
          <p:spPr>
            <a:xfrm>
              <a:off x="9251594" y="4643430"/>
              <a:ext cx="106445" cy="107156"/>
            </a:xfrm>
            <a:prstGeom prst="rect">
              <a:avLst/>
            </a:prstGeom>
          </p:spPr>
        </p:pic>
        <p:sp>
          <p:nvSpPr>
            <p:cNvPr id="564" name="object 325">
              <a:extLst>
                <a:ext uri="{FF2B5EF4-FFF2-40B4-BE49-F238E27FC236}">
                  <a16:creationId xmlns:a16="http://schemas.microsoft.com/office/drawing/2014/main" id="{0BC6A614-9C43-FB41-B8C2-CEC937F37FBF}"/>
                </a:ext>
              </a:extLst>
            </p:cNvPr>
            <p:cNvSpPr/>
            <p:nvPr/>
          </p:nvSpPr>
          <p:spPr>
            <a:xfrm>
              <a:off x="9138939" y="4075252"/>
              <a:ext cx="332700" cy="477101"/>
            </a:xfrm>
            <a:custGeom>
              <a:avLst/>
              <a:gdLst/>
              <a:ahLst/>
              <a:cxnLst/>
              <a:rect l="l" t="t" r="r" b="b"/>
              <a:pathLst>
                <a:path w="548640" h="786765">
                  <a:moveTo>
                    <a:pt x="548081" y="520179"/>
                  </a:moveTo>
                  <a:lnTo>
                    <a:pt x="500367" y="524217"/>
                  </a:lnTo>
                  <a:lnTo>
                    <a:pt x="455841" y="535876"/>
                  </a:lnTo>
                  <a:lnTo>
                    <a:pt x="414616" y="554469"/>
                  </a:lnTo>
                  <a:lnTo>
                    <a:pt x="402209" y="562749"/>
                  </a:lnTo>
                  <a:lnTo>
                    <a:pt x="377355" y="579335"/>
                  </a:lnTo>
                  <a:lnTo>
                    <a:pt x="344728" y="609803"/>
                  </a:lnTo>
                  <a:lnTo>
                    <a:pt x="317411" y="645172"/>
                  </a:lnTo>
                  <a:lnTo>
                    <a:pt x="296087" y="684796"/>
                  </a:lnTo>
                  <a:lnTo>
                    <a:pt x="281419" y="727976"/>
                  </a:lnTo>
                  <a:lnTo>
                    <a:pt x="274078" y="774039"/>
                  </a:lnTo>
                  <a:lnTo>
                    <a:pt x="268224" y="736307"/>
                  </a:lnTo>
                  <a:lnTo>
                    <a:pt x="266915" y="727824"/>
                  </a:lnTo>
                  <a:lnTo>
                    <a:pt x="252361" y="684441"/>
                  </a:lnTo>
                  <a:lnTo>
                    <a:pt x="231101"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38"/>
                  </a:lnTo>
                  <a:lnTo>
                    <a:pt x="66548" y="691388"/>
                  </a:lnTo>
                  <a:lnTo>
                    <a:pt x="99402" y="723557"/>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5">
                  <a:moveTo>
                    <a:pt x="548081" y="266623"/>
                  </a:moveTo>
                  <a:lnTo>
                    <a:pt x="500367" y="270662"/>
                  </a:lnTo>
                  <a:lnTo>
                    <a:pt x="455841" y="282308"/>
                  </a:lnTo>
                  <a:lnTo>
                    <a:pt x="414616" y="300913"/>
                  </a:lnTo>
                  <a:lnTo>
                    <a:pt x="377355" y="325780"/>
                  </a:lnTo>
                  <a:lnTo>
                    <a:pt x="344728" y="356247"/>
                  </a:lnTo>
                  <a:lnTo>
                    <a:pt x="317411" y="391629"/>
                  </a:lnTo>
                  <a:lnTo>
                    <a:pt x="296087" y="431253"/>
                  </a:lnTo>
                  <a:lnTo>
                    <a:pt x="281419" y="474446"/>
                  </a:lnTo>
                  <a:lnTo>
                    <a:pt x="274091" y="520534"/>
                  </a:lnTo>
                  <a:lnTo>
                    <a:pt x="266915" y="474256"/>
                  </a:lnTo>
                  <a:lnTo>
                    <a:pt x="252361" y="430885"/>
                  </a:lnTo>
                  <a:lnTo>
                    <a:pt x="231101"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87" y="516039"/>
                  </a:lnTo>
                  <a:lnTo>
                    <a:pt x="225056" y="528459"/>
                  </a:lnTo>
                  <a:lnTo>
                    <a:pt x="273532" y="532828"/>
                  </a:lnTo>
                  <a:lnTo>
                    <a:pt x="274751" y="532828"/>
                  </a:lnTo>
                  <a:lnTo>
                    <a:pt x="323088" y="528472"/>
                  </a:lnTo>
                  <a:lnTo>
                    <a:pt x="368642" y="516115"/>
                  </a:lnTo>
                  <a:lnTo>
                    <a:pt x="410679" y="496468"/>
                  </a:lnTo>
                  <a:lnTo>
                    <a:pt x="448475" y="470268"/>
                  </a:lnTo>
                  <a:lnTo>
                    <a:pt x="481279" y="438264"/>
                  </a:lnTo>
                  <a:lnTo>
                    <a:pt x="508368" y="401154"/>
                  </a:lnTo>
                  <a:lnTo>
                    <a:pt x="529031" y="359702"/>
                  </a:lnTo>
                  <a:lnTo>
                    <a:pt x="542505" y="314604"/>
                  </a:lnTo>
                  <a:lnTo>
                    <a:pt x="548081" y="266623"/>
                  </a:lnTo>
                  <a:close/>
                </a:path>
                <a:path w="548640" h="786765">
                  <a:moveTo>
                    <a:pt x="548081" y="1092"/>
                  </a:moveTo>
                  <a:lnTo>
                    <a:pt x="500367" y="5130"/>
                  </a:lnTo>
                  <a:lnTo>
                    <a:pt x="455841" y="16776"/>
                  </a:lnTo>
                  <a:lnTo>
                    <a:pt x="414616" y="35382"/>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60"/>
                  </a:lnTo>
                  <a:lnTo>
                    <a:pt x="47917" y="4051"/>
                  </a:lnTo>
                  <a:lnTo>
                    <a:pt x="0" y="0"/>
                  </a:lnTo>
                  <a:lnTo>
                    <a:pt x="5448" y="48158"/>
                  </a:lnTo>
                  <a:lnTo>
                    <a:pt x="18846" y="93421"/>
                  </a:lnTo>
                  <a:lnTo>
                    <a:pt x="39458" y="135051"/>
                  </a:lnTo>
                  <a:lnTo>
                    <a:pt x="66560" y="172300"/>
                  </a:lnTo>
                  <a:lnTo>
                    <a:pt x="99402" y="204457"/>
                  </a:lnTo>
                  <a:lnTo>
                    <a:pt x="137248" y="230771"/>
                  </a:lnTo>
                  <a:lnTo>
                    <a:pt x="179387" y="250494"/>
                  </a:lnTo>
                  <a:lnTo>
                    <a:pt x="225056" y="262928"/>
                  </a:lnTo>
                  <a:lnTo>
                    <a:pt x="273532" y="267309"/>
                  </a:lnTo>
                  <a:lnTo>
                    <a:pt x="274751" y="267309"/>
                  </a:lnTo>
                  <a:lnTo>
                    <a:pt x="323088" y="262940"/>
                  </a:lnTo>
                  <a:lnTo>
                    <a:pt x="368642" y="250583"/>
                  </a:lnTo>
                  <a:lnTo>
                    <a:pt x="410679" y="230936"/>
                  </a:lnTo>
                  <a:lnTo>
                    <a:pt x="448475" y="204736"/>
                  </a:lnTo>
                  <a:lnTo>
                    <a:pt x="481279" y="172720"/>
                  </a:lnTo>
                  <a:lnTo>
                    <a:pt x="508368" y="135623"/>
                  </a:lnTo>
                  <a:lnTo>
                    <a:pt x="529031" y="94170"/>
                  </a:lnTo>
                  <a:lnTo>
                    <a:pt x="542505" y="49072"/>
                  </a:lnTo>
                  <a:lnTo>
                    <a:pt x="548081" y="1092"/>
                  </a:lnTo>
                  <a:close/>
                </a:path>
              </a:pathLst>
            </a:custGeom>
            <a:solidFill>
              <a:srgbClr val="7ED3F1"/>
            </a:solidFill>
          </p:spPr>
          <p:txBody>
            <a:bodyPr wrap="square" lIns="0" tIns="0" rIns="0" bIns="0" rtlCol="0"/>
            <a:lstStyle/>
            <a:p>
              <a:endParaRPr dirty="0"/>
            </a:p>
          </p:txBody>
        </p:sp>
        <p:pic>
          <p:nvPicPr>
            <p:cNvPr id="565" name="object 326">
              <a:extLst>
                <a:ext uri="{FF2B5EF4-FFF2-40B4-BE49-F238E27FC236}">
                  <a16:creationId xmlns:a16="http://schemas.microsoft.com/office/drawing/2014/main" id="{6642D26C-1D1D-C62B-2F2B-ED7F501FFD7B}"/>
                </a:ext>
              </a:extLst>
            </p:cNvPr>
            <p:cNvPicPr/>
            <p:nvPr/>
          </p:nvPicPr>
          <p:blipFill>
            <a:blip r:embed="rId11" cstate="print"/>
            <a:stretch>
              <a:fillRect/>
            </a:stretch>
          </p:blipFill>
          <p:spPr>
            <a:xfrm>
              <a:off x="9251594" y="3989263"/>
              <a:ext cx="106445" cy="107156"/>
            </a:xfrm>
            <a:prstGeom prst="rect">
              <a:avLst/>
            </a:prstGeom>
          </p:spPr>
        </p:pic>
        <p:sp>
          <p:nvSpPr>
            <p:cNvPr id="566" name="object 327">
              <a:extLst>
                <a:ext uri="{FF2B5EF4-FFF2-40B4-BE49-F238E27FC236}">
                  <a16:creationId xmlns:a16="http://schemas.microsoft.com/office/drawing/2014/main" id="{23EDDD35-1D8F-1FC1-6153-B67750C8E77E}"/>
                </a:ext>
              </a:extLst>
            </p:cNvPr>
            <p:cNvSpPr/>
            <p:nvPr/>
          </p:nvSpPr>
          <p:spPr>
            <a:xfrm>
              <a:off x="8753854" y="3862863"/>
              <a:ext cx="332700" cy="477101"/>
            </a:xfrm>
            <a:custGeom>
              <a:avLst/>
              <a:gdLst/>
              <a:ahLst/>
              <a:cxnLst/>
              <a:rect l="l" t="t" r="r" b="b"/>
              <a:pathLst>
                <a:path w="548640" h="786765">
                  <a:moveTo>
                    <a:pt x="548081" y="786396"/>
                  </a:moveTo>
                  <a:lnTo>
                    <a:pt x="542645" y="738238"/>
                  </a:lnTo>
                  <a:lnTo>
                    <a:pt x="529247" y="692975"/>
                  </a:lnTo>
                  <a:lnTo>
                    <a:pt x="508622" y="651344"/>
                  </a:lnTo>
                  <a:lnTo>
                    <a:pt x="481533" y="614083"/>
                  </a:lnTo>
                  <a:lnTo>
                    <a:pt x="448691" y="581939"/>
                  </a:lnTo>
                  <a:lnTo>
                    <a:pt x="410832" y="555625"/>
                  </a:lnTo>
                  <a:lnTo>
                    <a:pt x="368706" y="535889"/>
                  </a:lnTo>
                  <a:lnTo>
                    <a:pt x="323037" y="523468"/>
                  </a:lnTo>
                  <a:lnTo>
                    <a:pt x="274561" y="519099"/>
                  </a:lnTo>
                  <a:lnTo>
                    <a:pt x="273342" y="519099"/>
                  </a:lnTo>
                  <a:lnTo>
                    <a:pt x="224993" y="523455"/>
                  </a:lnTo>
                  <a:lnTo>
                    <a:pt x="179438" y="535813"/>
                  </a:lnTo>
                  <a:lnTo>
                    <a:pt x="137414" y="555459"/>
                  </a:lnTo>
                  <a:lnTo>
                    <a:pt x="99618" y="581660"/>
                  </a:lnTo>
                  <a:lnTo>
                    <a:pt x="66827" y="613664"/>
                  </a:lnTo>
                  <a:lnTo>
                    <a:pt x="39738" y="650773"/>
                  </a:lnTo>
                  <a:lnTo>
                    <a:pt x="19088" y="692226"/>
                  </a:lnTo>
                  <a:lnTo>
                    <a:pt x="5613" y="737323"/>
                  </a:lnTo>
                  <a:lnTo>
                    <a:pt x="50" y="785304"/>
                  </a:lnTo>
                  <a:lnTo>
                    <a:pt x="47713" y="781265"/>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72"/>
                  </a:lnTo>
                  <a:lnTo>
                    <a:pt x="295732" y="621042"/>
                  </a:lnTo>
                  <a:lnTo>
                    <a:pt x="316992" y="660831"/>
                  </a:lnTo>
                  <a:lnTo>
                    <a:pt x="344284" y="696366"/>
                  </a:lnTo>
                  <a:lnTo>
                    <a:pt x="376936" y="726973"/>
                  </a:lnTo>
                  <a:lnTo>
                    <a:pt x="414248" y="751954"/>
                  </a:lnTo>
                  <a:lnTo>
                    <a:pt x="455549" y="770636"/>
                  </a:lnTo>
                  <a:lnTo>
                    <a:pt x="500176" y="782345"/>
                  </a:lnTo>
                  <a:lnTo>
                    <a:pt x="548081" y="786396"/>
                  </a:lnTo>
                  <a:close/>
                </a:path>
                <a:path w="548640" h="786765">
                  <a:moveTo>
                    <a:pt x="548081" y="520865"/>
                  </a:moveTo>
                  <a:lnTo>
                    <a:pt x="542645" y="472706"/>
                  </a:lnTo>
                  <a:lnTo>
                    <a:pt x="529247" y="427443"/>
                  </a:lnTo>
                  <a:lnTo>
                    <a:pt x="508622" y="385813"/>
                  </a:lnTo>
                  <a:lnTo>
                    <a:pt x="481533" y="348564"/>
                  </a:lnTo>
                  <a:lnTo>
                    <a:pt x="448691" y="316407"/>
                  </a:lnTo>
                  <a:lnTo>
                    <a:pt x="410832" y="290106"/>
                  </a:lnTo>
                  <a:lnTo>
                    <a:pt x="368706" y="270370"/>
                  </a:lnTo>
                  <a:lnTo>
                    <a:pt x="323037" y="257949"/>
                  </a:lnTo>
                  <a:lnTo>
                    <a:pt x="274561" y="253568"/>
                  </a:lnTo>
                  <a:lnTo>
                    <a:pt x="273342" y="253568"/>
                  </a:lnTo>
                  <a:lnTo>
                    <a:pt x="224993" y="257924"/>
                  </a:lnTo>
                  <a:lnTo>
                    <a:pt x="179438" y="270294"/>
                  </a:lnTo>
                  <a:lnTo>
                    <a:pt x="137414" y="289941"/>
                  </a:lnTo>
                  <a:lnTo>
                    <a:pt x="99618" y="316128"/>
                  </a:lnTo>
                  <a:lnTo>
                    <a:pt x="66827" y="348145"/>
                  </a:lnTo>
                  <a:lnTo>
                    <a:pt x="39738" y="385241"/>
                  </a:lnTo>
                  <a:lnTo>
                    <a:pt x="19088" y="426707"/>
                  </a:lnTo>
                  <a:lnTo>
                    <a:pt x="5613" y="471792"/>
                  </a:lnTo>
                  <a:lnTo>
                    <a:pt x="50" y="519785"/>
                  </a:lnTo>
                  <a:lnTo>
                    <a:pt x="47713" y="515747"/>
                  </a:lnTo>
                  <a:lnTo>
                    <a:pt x="92240" y="504101"/>
                  </a:lnTo>
                  <a:lnTo>
                    <a:pt x="133477" y="485495"/>
                  </a:lnTo>
                  <a:lnTo>
                    <a:pt x="170738" y="460629"/>
                  </a:lnTo>
                  <a:lnTo>
                    <a:pt x="203365" y="430161"/>
                  </a:lnTo>
                  <a:lnTo>
                    <a:pt x="230682" y="394779"/>
                  </a:lnTo>
                  <a:lnTo>
                    <a:pt x="252006" y="355142"/>
                  </a:lnTo>
                  <a:lnTo>
                    <a:pt x="266661" y="311950"/>
                  </a:lnTo>
                  <a:lnTo>
                    <a:pt x="274002" y="265874"/>
                  </a:lnTo>
                  <a:lnTo>
                    <a:pt x="281178" y="312140"/>
                  </a:lnTo>
                  <a:lnTo>
                    <a:pt x="295732" y="355511"/>
                  </a:lnTo>
                  <a:lnTo>
                    <a:pt x="316992" y="395300"/>
                  </a:lnTo>
                  <a:lnTo>
                    <a:pt x="344284" y="430847"/>
                  </a:lnTo>
                  <a:lnTo>
                    <a:pt x="376936" y="461441"/>
                  </a:lnTo>
                  <a:lnTo>
                    <a:pt x="414248" y="486422"/>
                  </a:lnTo>
                  <a:lnTo>
                    <a:pt x="455549" y="505104"/>
                  </a:lnTo>
                  <a:lnTo>
                    <a:pt x="500176" y="516813"/>
                  </a:lnTo>
                  <a:lnTo>
                    <a:pt x="548081" y="520865"/>
                  </a:lnTo>
                  <a:close/>
                </a:path>
                <a:path w="548640" h="786765">
                  <a:moveTo>
                    <a:pt x="548093" y="267322"/>
                  </a:moveTo>
                  <a:lnTo>
                    <a:pt x="543255" y="224586"/>
                  </a:lnTo>
                  <a:lnTo>
                    <a:pt x="542645" y="219151"/>
                  </a:lnTo>
                  <a:lnTo>
                    <a:pt x="529247" y="173888"/>
                  </a:lnTo>
                  <a:lnTo>
                    <a:pt x="522414" y="160096"/>
                  </a:lnTo>
                  <a:lnTo>
                    <a:pt x="508635" y="132257"/>
                  </a:lnTo>
                  <a:lnTo>
                    <a:pt x="492937" y="110693"/>
                  </a:lnTo>
                  <a:lnTo>
                    <a:pt x="481533" y="95008"/>
                  </a:lnTo>
                  <a:lnTo>
                    <a:pt x="448691" y="62852"/>
                  </a:lnTo>
                  <a:lnTo>
                    <a:pt x="410845" y="36550"/>
                  </a:lnTo>
                  <a:lnTo>
                    <a:pt x="368706" y="16802"/>
                  </a:lnTo>
                  <a:lnTo>
                    <a:pt x="323037" y="4381"/>
                  </a:lnTo>
                  <a:lnTo>
                    <a:pt x="274561" y="0"/>
                  </a:lnTo>
                  <a:lnTo>
                    <a:pt x="273342" y="0"/>
                  </a:lnTo>
                  <a:lnTo>
                    <a:pt x="224993" y="4356"/>
                  </a:lnTo>
                  <a:lnTo>
                    <a:pt x="179438" y="16725"/>
                  </a:lnTo>
                  <a:lnTo>
                    <a:pt x="137414" y="36372"/>
                  </a:lnTo>
                  <a:lnTo>
                    <a:pt x="99618" y="62560"/>
                  </a:lnTo>
                  <a:lnTo>
                    <a:pt x="82613" y="79171"/>
                  </a:lnTo>
                  <a:lnTo>
                    <a:pt x="66827" y="94576"/>
                  </a:lnTo>
                  <a:lnTo>
                    <a:pt x="39700" y="131686"/>
                  </a:lnTo>
                  <a:lnTo>
                    <a:pt x="19050" y="173139"/>
                  </a:lnTo>
                  <a:lnTo>
                    <a:pt x="5575" y="218224"/>
                  </a:lnTo>
                  <a:lnTo>
                    <a:pt x="0" y="266192"/>
                  </a:lnTo>
                  <a:lnTo>
                    <a:pt x="47713" y="262178"/>
                  </a:lnTo>
                  <a:lnTo>
                    <a:pt x="92240" y="250520"/>
                  </a:lnTo>
                  <a:lnTo>
                    <a:pt x="133477" y="231927"/>
                  </a:lnTo>
                  <a:lnTo>
                    <a:pt x="170751" y="207060"/>
                  </a:lnTo>
                  <a:lnTo>
                    <a:pt x="203377" y="176593"/>
                  </a:lnTo>
                  <a:lnTo>
                    <a:pt x="230682" y="141224"/>
                  </a:lnTo>
                  <a:lnTo>
                    <a:pt x="252006" y="101600"/>
                  </a:lnTo>
                  <a:lnTo>
                    <a:pt x="266674" y="58420"/>
                  </a:lnTo>
                  <a:lnTo>
                    <a:pt x="274002" y="12331"/>
                  </a:lnTo>
                  <a:lnTo>
                    <a:pt x="281178" y="58585"/>
                  </a:lnTo>
                  <a:lnTo>
                    <a:pt x="295732" y="101955"/>
                  </a:lnTo>
                  <a:lnTo>
                    <a:pt x="316992" y="141744"/>
                  </a:lnTo>
                  <a:lnTo>
                    <a:pt x="344284" y="177279"/>
                  </a:lnTo>
                  <a:lnTo>
                    <a:pt x="360083" y="192087"/>
                  </a:lnTo>
                  <a:lnTo>
                    <a:pt x="376936" y="207886"/>
                  </a:lnTo>
                  <a:lnTo>
                    <a:pt x="414248" y="232867"/>
                  </a:lnTo>
                  <a:lnTo>
                    <a:pt x="455561" y="251561"/>
                  </a:lnTo>
                  <a:lnTo>
                    <a:pt x="500176" y="263271"/>
                  </a:lnTo>
                  <a:lnTo>
                    <a:pt x="548093" y="267322"/>
                  </a:lnTo>
                  <a:close/>
                </a:path>
              </a:pathLst>
            </a:custGeom>
            <a:solidFill>
              <a:srgbClr val="2DB7EA"/>
            </a:solidFill>
          </p:spPr>
          <p:txBody>
            <a:bodyPr wrap="square" lIns="0" tIns="0" rIns="0" bIns="0" rtlCol="0"/>
            <a:lstStyle/>
            <a:p>
              <a:endParaRPr dirty="0"/>
            </a:p>
          </p:txBody>
        </p:sp>
        <p:pic>
          <p:nvPicPr>
            <p:cNvPr id="567" name="object 328">
              <a:extLst>
                <a:ext uri="{FF2B5EF4-FFF2-40B4-BE49-F238E27FC236}">
                  <a16:creationId xmlns:a16="http://schemas.microsoft.com/office/drawing/2014/main" id="{D1542F85-6E60-B6F3-387F-6B0B82764FAE}"/>
                </a:ext>
              </a:extLst>
            </p:cNvPr>
            <p:cNvPicPr/>
            <p:nvPr/>
          </p:nvPicPr>
          <p:blipFill>
            <a:blip r:embed="rId13" cstate="print"/>
            <a:stretch>
              <a:fillRect/>
            </a:stretch>
          </p:blipFill>
          <p:spPr>
            <a:xfrm>
              <a:off x="8867131" y="4318566"/>
              <a:ext cx="106445" cy="107156"/>
            </a:xfrm>
            <a:prstGeom prst="rect">
              <a:avLst/>
            </a:prstGeom>
          </p:spPr>
        </p:pic>
        <p:sp>
          <p:nvSpPr>
            <p:cNvPr id="568" name="object 329">
              <a:extLst>
                <a:ext uri="{FF2B5EF4-FFF2-40B4-BE49-F238E27FC236}">
                  <a16:creationId xmlns:a16="http://schemas.microsoft.com/office/drawing/2014/main" id="{7A2D2E47-502B-FCF6-06B5-CDB346B4068D}"/>
                </a:ext>
              </a:extLst>
            </p:cNvPr>
            <p:cNvSpPr/>
            <p:nvPr/>
          </p:nvSpPr>
          <p:spPr>
            <a:xfrm>
              <a:off x="8753854" y="4517034"/>
              <a:ext cx="332700" cy="477101"/>
            </a:xfrm>
            <a:custGeom>
              <a:avLst/>
              <a:gdLst/>
              <a:ahLst/>
              <a:cxnLst/>
              <a:rect l="l" t="t" r="r" b="b"/>
              <a:pathLst>
                <a:path w="548640" h="786765">
                  <a:moveTo>
                    <a:pt x="548081" y="786384"/>
                  </a:moveTo>
                  <a:lnTo>
                    <a:pt x="542645" y="738225"/>
                  </a:lnTo>
                  <a:lnTo>
                    <a:pt x="529247"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47"/>
                  </a:lnTo>
                  <a:lnTo>
                    <a:pt x="66827" y="613664"/>
                  </a:lnTo>
                  <a:lnTo>
                    <a:pt x="39738" y="650760"/>
                  </a:lnTo>
                  <a:lnTo>
                    <a:pt x="19088" y="692226"/>
                  </a:lnTo>
                  <a:lnTo>
                    <a:pt x="5613" y="737323"/>
                  </a:lnTo>
                  <a:lnTo>
                    <a:pt x="50" y="785304"/>
                  </a:lnTo>
                  <a:lnTo>
                    <a:pt x="47713" y="781265"/>
                  </a:lnTo>
                  <a:lnTo>
                    <a:pt x="92240" y="769620"/>
                  </a:lnTo>
                  <a:lnTo>
                    <a:pt x="133477" y="751014"/>
                  </a:lnTo>
                  <a:lnTo>
                    <a:pt x="170738" y="726147"/>
                  </a:lnTo>
                  <a:lnTo>
                    <a:pt x="203365" y="695680"/>
                  </a:lnTo>
                  <a:lnTo>
                    <a:pt x="230682" y="660298"/>
                  </a:lnTo>
                  <a:lnTo>
                    <a:pt x="252006" y="620674"/>
                  </a:lnTo>
                  <a:lnTo>
                    <a:pt x="266661" y="577469"/>
                  </a:lnTo>
                  <a:lnTo>
                    <a:pt x="274002" y="531393"/>
                  </a:lnTo>
                  <a:lnTo>
                    <a:pt x="281178" y="577659"/>
                  </a:lnTo>
                  <a:lnTo>
                    <a:pt x="295732" y="621030"/>
                  </a:lnTo>
                  <a:lnTo>
                    <a:pt x="316992" y="660831"/>
                  </a:lnTo>
                  <a:lnTo>
                    <a:pt x="344284" y="696366"/>
                  </a:lnTo>
                  <a:lnTo>
                    <a:pt x="376936" y="726960"/>
                  </a:lnTo>
                  <a:lnTo>
                    <a:pt x="414248" y="751941"/>
                  </a:lnTo>
                  <a:lnTo>
                    <a:pt x="455549" y="770623"/>
                  </a:lnTo>
                  <a:lnTo>
                    <a:pt x="500176" y="782332"/>
                  </a:lnTo>
                  <a:lnTo>
                    <a:pt x="548081" y="786384"/>
                  </a:lnTo>
                  <a:close/>
                </a:path>
                <a:path w="548640" h="786765">
                  <a:moveTo>
                    <a:pt x="548081" y="520852"/>
                  </a:moveTo>
                  <a:lnTo>
                    <a:pt x="542645" y="472694"/>
                  </a:lnTo>
                  <a:lnTo>
                    <a:pt x="529247" y="427431"/>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11"/>
                  </a:lnTo>
                  <a:lnTo>
                    <a:pt x="179438" y="270281"/>
                  </a:lnTo>
                  <a:lnTo>
                    <a:pt x="137414" y="289928"/>
                  </a:lnTo>
                  <a:lnTo>
                    <a:pt x="99618" y="316128"/>
                  </a:lnTo>
                  <a:lnTo>
                    <a:pt x="66827" y="348132"/>
                  </a:lnTo>
                  <a:lnTo>
                    <a:pt x="39738" y="385241"/>
                  </a:lnTo>
                  <a:lnTo>
                    <a:pt x="19088" y="426694"/>
                  </a:lnTo>
                  <a:lnTo>
                    <a:pt x="5613" y="471779"/>
                  </a:lnTo>
                  <a:lnTo>
                    <a:pt x="50" y="519772"/>
                  </a:lnTo>
                  <a:lnTo>
                    <a:pt x="47713" y="515734"/>
                  </a:lnTo>
                  <a:lnTo>
                    <a:pt x="92240" y="504075"/>
                  </a:lnTo>
                  <a:lnTo>
                    <a:pt x="133477" y="485482"/>
                  </a:lnTo>
                  <a:lnTo>
                    <a:pt x="170738" y="460616"/>
                  </a:lnTo>
                  <a:lnTo>
                    <a:pt x="203365" y="430149"/>
                  </a:lnTo>
                  <a:lnTo>
                    <a:pt x="230682" y="394766"/>
                  </a:lnTo>
                  <a:lnTo>
                    <a:pt x="252006" y="355142"/>
                  </a:lnTo>
                  <a:lnTo>
                    <a:pt x="266661" y="311950"/>
                  </a:lnTo>
                  <a:lnTo>
                    <a:pt x="274002" y="265861"/>
                  </a:lnTo>
                  <a:lnTo>
                    <a:pt x="281178" y="312127"/>
                  </a:lnTo>
                  <a:lnTo>
                    <a:pt x="295732" y="355511"/>
                  </a:lnTo>
                  <a:lnTo>
                    <a:pt x="316992" y="395300"/>
                  </a:lnTo>
                  <a:lnTo>
                    <a:pt x="344284" y="430834"/>
                  </a:lnTo>
                  <a:lnTo>
                    <a:pt x="376936" y="461429"/>
                  </a:lnTo>
                  <a:lnTo>
                    <a:pt x="414248" y="486410"/>
                  </a:lnTo>
                  <a:lnTo>
                    <a:pt x="455549" y="505091"/>
                  </a:lnTo>
                  <a:lnTo>
                    <a:pt x="500176" y="516801"/>
                  </a:lnTo>
                  <a:lnTo>
                    <a:pt x="548081" y="520852"/>
                  </a:lnTo>
                  <a:close/>
                </a:path>
                <a:path w="548640" h="786765">
                  <a:moveTo>
                    <a:pt x="548093" y="267322"/>
                  </a:moveTo>
                  <a:lnTo>
                    <a:pt x="543331" y="225285"/>
                  </a:lnTo>
                  <a:lnTo>
                    <a:pt x="542645" y="219151"/>
                  </a:lnTo>
                  <a:lnTo>
                    <a:pt x="529247" y="173875"/>
                  </a:lnTo>
                  <a:lnTo>
                    <a:pt x="508635" y="132245"/>
                  </a:lnTo>
                  <a:lnTo>
                    <a:pt x="481533" y="94996"/>
                  </a:lnTo>
                  <a:lnTo>
                    <a:pt x="448691" y="62852"/>
                  </a:lnTo>
                  <a:lnTo>
                    <a:pt x="426351" y="47332"/>
                  </a:lnTo>
                  <a:lnTo>
                    <a:pt x="410845" y="36537"/>
                  </a:lnTo>
                  <a:lnTo>
                    <a:pt x="391109" y="27305"/>
                  </a:lnTo>
                  <a:lnTo>
                    <a:pt x="368719" y="16814"/>
                  </a:lnTo>
                  <a:lnTo>
                    <a:pt x="323037" y="4368"/>
                  </a:lnTo>
                  <a:lnTo>
                    <a:pt x="274561" y="0"/>
                  </a:lnTo>
                  <a:lnTo>
                    <a:pt x="273342" y="0"/>
                  </a:lnTo>
                  <a:lnTo>
                    <a:pt x="224993" y="4356"/>
                  </a:lnTo>
                  <a:lnTo>
                    <a:pt x="179438" y="16725"/>
                  </a:lnTo>
                  <a:lnTo>
                    <a:pt x="137414" y="36372"/>
                  </a:lnTo>
                  <a:lnTo>
                    <a:pt x="99618" y="62560"/>
                  </a:lnTo>
                  <a:lnTo>
                    <a:pt x="98806" y="63347"/>
                  </a:lnTo>
                  <a:lnTo>
                    <a:pt x="66827" y="94576"/>
                  </a:lnTo>
                  <a:lnTo>
                    <a:pt x="39700" y="131686"/>
                  </a:lnTo>
                  <a:lnTo>
                    <a:pt x="19050" y="173139"/>
                  </a:lnTo>
                  <a:lnTo>
                    <a:pt x="5575" y="218211"/>
                  </a:lnTo>
                  <a:lnTo>
                    <a:pt x="0" y="266192"/>
                  </a:lnTo>
                  <a:lnTo>
                    <a:pt x="47713" y="262166"/>
                  </a:lnTo>
                  <a:lnTo>
                    <a:pt x="92240" y="250520"/>
                  </a:lnTo>
                  <a:lnTo>
                    <a:pt x="133477" y="231914"/>
                  </a:lnTo>
                  <a:lnTo>
                    <a:pt x="170751" y="207048"/>
                  </a:lnTo>
                  <a:lnTo>
                    <a:pt x="203377" y="176593"/>
                  </a:lnTo>
                  <a:lnTo>
                    <a:pt x="230682" y="141211"/>
                  </a:lnTo>
                  <a:lnTo>
                    <a:pt x="252006" y="101600"/>
                  </a:lnTo>
                  <a:lnTo>
                    <a:pt x="266674" y="58407"/>
                  </a:lnTo>
                  <a:lnTo>
                    <a:pt x="274002" y="12319"/>
                  </a:lnTo>
                  <a:lnTo>
                    <a:pt x="281178" y="58585"/>
                  </a:lnTo>
                  <a:lnTo>
                    <a:pt x="295732" y="101942"/>
                  </a:lnTo>
                  <a:lnTo>
                    <a:pt x="316992" y="141732"/>
                  </a:lnTo>
                  <a:lnTo>
                    <a:pt x="344284" y="177266"/>
                  </a:lnTo>
                  <a:lnTo>
                    <a:pt x="376936" y="207873"/>
                  </a:lnTo>
                  <a:lnTo>
                    <a:pt x="414248" y="232867"/>
                  </a:lnTo>
                  <a:lnTo>
                    <a:pt x="455561"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569" name="object 330">
              <a:extLst>
                <a:ext uri="{FF2B5EF4-FFF2-40B4-BE49-F238E27FC236}">
                  <a16:creationId xmlns:a16="http://schemas.microsoft.com/office/drawing/2014/main" id="{01C80AE8-8364-3021-33CA-43E966E0FE8D}"/>
                </a:ext>
              </a:extLst>
            </p:cNvPr>
            <p:cNvPicPr/>
            <p:nvPr/>
          </p:nvPicPr>
          <p:blipFill>
            <a:blip r:embed="rId14" cstate="print"/>
            <a:stretch>
              <a:fillRect/>
            </a:stretch>
          </p:blipFill>
          <p:spPr>
            <a:xfrm>
              <a:off x="8867131" y="4972731"/>
              <a:ext cx="106445" cy="107156"/>
            </a:xfrm>
            <a:prstGeom prst="rect">
              <a:avLst/>
            </a:prstGeom>
          </p:spPr>
        </p:pic>
        <p:sp>
          <p:nvSpPr>
            <p:cNvPr id="570" name="object 331">
              <a:extLst>
                <a:ext uri="{FF2B5EF4-FFF2-40B4-BE49-F238E27FC236}">
                  <a16:creationId xmlns:a16="http://schemas.microsoft.com/office/drawing/2014/main" id="{23C1B2CE-19FA-D837-FE22-27E6901AFD4A}"/>
                </a:ext>
              </a:extLst>
            </p:cNvPr>
            <p:cNvSpPr/>
            <p:nvPr/>
          </p:nvSpPr>
          <p:spPr>
            <a:xfrm>
              <a:off x="8753854" y="2554529"/>
              <a:ext cx="332700" cy="477101"/>
            </a:xfrm>
            <a:custGeom>
              <a:avLst/>
              <a:gdLst/>
              <a:ahLst/>
              <a:cxnLst/>
              <a:rect l="l" t="t" r="r" b="b"/>
              <a:pathLst>
                <a:path w="548640" h="786764">
                  <a:moveTo>
                    <a:pt x="548081" y="786396"/>
                  </a:moveTo>
                  <a:lnTo>
                    <a:pt x="542645" y="738238"/>
                  </a:lnTo>
                  <a:lnTo>
                    <a:pt x="529247" y="692975"/>
                  </a:lnTo>
                  <a:lnTo>
                    <a:pt x="508622" y="651344"/>
                  </a:lnTo>
                  <a:lnTo>
                    <a:pt x="481533" y="614095"/>
                  </a:lnTo>
                  <a:lnTo>
                    <a:pt x="448691" y="581939"/>
                  </a:lnTo>
                  <a:lnTo>
                    <a:pt x="410832" y="555625"/>
                  </a:lnTo>
                  <a:lnTo>
                    <a:pt x="368706" y="535901"/>
                  </a:lnTo>
                  <a:lnTo>
                    <a:pt x="323037" y="523468"/>
                  </a:lnTo>
                  <a:lnTo>
                    <a:pt x="274561" y="519099"/>
                  </a:lnTo>
                  <a:lnTo>
                    <a:pt x="273342" y="519099"/>
                  </a:lnTo>
                  <a:lnTo>
                    <a:pt x="224993" y="523455"/>
                  </a:lnTo>
                  <a:lnTo>
                    <a:pt x="179438" y="535813"/>
                  </a:lnTo>
                  <a:lnTo>
                    <a:pt x="137414" y="555459"/>
                  </a:lnTo>
                  <a:lnTo>
                    <a:pt x="99618" y="581660"/>
                  </a:lnTo>
                  <a:lnTo>
                    <a:pt x="66827" y="613676"/>
                  </a:lnTo>
                  <a:lnTo>
                    <a:pt x="39738" y="650773"/>
                  </a:lnTo>
                  <a:lnTo>
                    <a:pt x="19088" y="692238"/>
                  </a:lnTo>
                  <a:lnTo>
                    <a:pt x="5613" y="737323"/>
                  </a:lnTo>
                  <a:lnTo>
                    <a:pt x="50" y="785317"/>
                  </a:lnTo>
                  <a:lnTo>
                    <a:pt x="47713" y="781278"/>
                  </a:lnTo>
                  <a:lnTo>
                    <a:pt x="92240" y="769632"/>
                  </a:lnTo>
                  <a:lnTo>
                    <a:pt x="133477" y="751027"/>
                  </a:lnTo>
                  <a:lnTo>
                    <a:pt x="170738" y="726160"/>
                  </a:lnTo>
                  <a:lnTo>
                    <a:pt x="203365" y="695693"/>
                  </a:lnTo>
                  <a:lnTo>
                    <a:pt x="230682" y="660311"/>
                  </a:lnTo>
                  <a:lnTo>
                    <a:pt x="252006" y="620687"/>
                  </a:lnTo>
                  <a:lnTo>
                    <a:pt x="266661" y="577481"/>
                  </a:lnTo>
                  <a:lnTo>
                    <a:pt x="274002" y="531406"/>
                  </a:lnTo>
                  <a:lnTo>
                    <a:pt x="281178" y="577672"/>
                  </a:lnTo>
                  <a:lnTo>
                    <a:pt x="295732" y="621042"/>
                  </a:lnTo>
                  <a:lnTo>
                    <a:pt x="316992" y="660844"/>
                  </a:lnTo>
                  <a:lnTo>
                    <a:pt x="344284" y="696379"/>
                  </a:lnTo>
                  <a:lnTo>
                    <a:pt x="376936" y="726973"/>
                  </a:lnTo>
                  <a:lnTo>
                    <a:pt x="414248" y="751954"/>
                  </a:lnTo>
                  <a:lnTo>
                    <a:pt x="455549" y="770636"/>
                  </a:lnTo>
                  <a:lnTo>
                    <a:pt x="500176" y="782345"/>
                  </a:lnTo>
                  <a:lnTo>
                    <a:pt x="548081" y="786396"/>
                  </a:lnTo>
                  <a:close/>
                </a:path>
                <a:path w="548640" h="786764">
                  <a:moveTo>
                    <a:pt x="548081" y="520865"/>
                  </a:moveTo>
                  <a:lnTo>
                    <a:pt x="542645" y="472706"/>
                  </a:lnTo>
                  <a:lnTo>
                    <a:pt x="529247" y="427443"/>
                  </a:lnTo>
                  <a:lnTo>
                    <a:pt x="508622" y="385813"/>
                  </a:lnTo>
                  <a:lnTo>
                    <a:pt x="481533" y="348564"/>
                  </a:lnTo>
                  <a:lnTo>
                    <a:pt x="448691" y="316407"/>
                  </a:lnTo>
                  <a:lnTo>
                    <a:pt x="410832" y="290106"/>
                  </a:lnTo>
                  <a:lnTo>
                    <a:pt x="368706" y="270370"/>
                  </a:lnTo>
                  <a:lnTo>
                    <a:pt x="323037" y="257949"/>
                  </a:lnTo>
                  <a:lnTo>
                    <a:pt x="274561" y="253568"/>
                  </a:lnTo>
                  <a:lnTo>
                    <a:pt x="273342" y="253568"/>
                  </a:lnTo>
                  <a:lnTo>
                    <a:pt x="224993" y="257924"/>
                  </a:lnTo>
                  <a:lnTo>
                    <a:pt x="179438" y="270294"/>
                  </a:lnTo>
                  <a:lnTo>
                    <a:pt x="137414" y="289941"/>
                  </a:lnTo>
                  <a:lnTo>
                    <a:pt x="99618" y="316128"/>
                  </a:lnTo>
                  <a:lnTo>
                    <a:pt x="66827" y="348145"/>
                  </a:lnTo>
                  <a:lnTo>
                    <a:pt x="39738" y="385254"/>
                  </a:lnTo>
                  <a:lnTo>
                    <a:pt x="19088" y="426707"/>
                  </a:lnTo>
                  <a:lnTo>
                    <a:pt x="5613" y="471805"/>
                  </a:lnTo>
                  <a:lnTo>
                    <a:pt x="50" y="519785"/>
                  </a:lnTo>
                  <a:lnTo>
                    <a:pt x="47713" y="515759"/>
                  </a:lnTo>
                  <a:lnTo>
                    <a:pt x="92240" y="504101"/>
                  </a:lnTo>
                  <a:lnTo>
                    <a:pt x="133477" y="485495"/>
                  </a:lnTo>
                  <a:lnTo>
                    <a:pt x="170738" y="460629"/>
                  </a:lnTo>
                  <a:lnTo>
                    <a:pt x="203365" y="430161"/>
                  </a:lnTo>
                  <a:lnTo>
                    <a:pt x="230682" y="394779"/>
                  </a:lnTo>
                  <a:lnTo>
                    <a:pt x="252006" y="355155"/>
                  </a:lnTo>
                  <a:lnTo>
                    <a:pt x="266661" y="311962"/>
                  </a:lnTo>
                  <a:lnTo>
                    <a:pt x="274002" y="265874"/>
                  </a:lnTo>
                  <a:lnTo>
                    <a:pt x="281178" y="312140"/>
                  </a:lnTo>
                  <a:lnTo>
                    <a:pt x="295732" y="355511"/>
                  </a:lnTo>
                  <a:lnTo>
                    <a:pt x="316992" y="395312"/>
                  </a:lnTo>
                  <a:lnTo>
                    <a:pt x="344284" y="430847"/>
                  </a:lnTo>
                  <a:lnTo>
                    <a:pt x="376936" y="461441"/>
                  </a:lnTo>
                  <a:lnTo>
                    <a:pt x="414248" y="486422"/>
                  </a:lnTo>
                  <a:lnTo>
                    <a:pt x="455549" y="505104"/>
                  </a:lnTo>
                  <a:lnTo>
                    <a:pt x="500176" y="516813"/>
                  </a:lnTo>
                  <a:lnTo>
                    <a:pt x="548081" y="520865"/>
                  </a:lnTo>
                  <a:close/>
                </a:path>
                <a:path w="548640" h="786764">
                  <a:moveTo>
                    <a:pt x="548093" y="267335"/>
                  </a:moveTo>
                  <a:lnTo>
                    <a:pt x="543864" y="230035"/>
                  </a:lnTo>
                  <a:lnTo>
                    <a:pt x="542645" y="219163"/>
                  </a:lnTo>
                  <a:lnTo>
                    <a:pt x="529247" y="173888"/>
                  </a:lnTo>
                  <a:lnTo>
                    <a:pt x="508635" y="132257"/>
                  </a:lnTo>
                  <a:lnTo>
                    <a:pt x="492937" y="110693"/>
                  </a:lnTo>
                  <a:lnTo>
                    <a:pt x="481533" y="95008"/>
                  </a:lnTo>
                  <a:lnTo>
                    <a:pt x="448691" y="62865"/>
                  </a:lnTo>
                  <a:lnTo>
                    <a:pt x="410845" y="36563"/>
                  </a:lnTo>
                  <a:lnTo>
                    <a:pt x="368706" y="16802"/>
                  </a:lnTo>
                  <a:lnTo>
                    <a:pt x="323037" y="4381"/>
                  </a:lnTo>
                  <a:lnTo>
                    <a:pt x="274561" y="0"/>
                  </a:lnTo>
                  <a:lnTo>
                    <a:pt x="273342" y="0"/>
                  </a:lnTo>
                  <a:lnTo>
                    <a:pt x="224993" y="4356"/>
                  </a:lnTo>
                  <a:lnTo>
                    <a:pt x="179438" y="16725"/>
                  </a:lnTo>
                  <a:lnTo>
                    <a:pt x="137414" y="36372"/>
                  </a:lnTo>
                  <a:lnTo>
                    <a:pt x="99618" y="62572"/>
                  </a:lnTo>
                  <a:lnTo>
                    <a:pt x="66827" y="94576"/>
                  </a:lnTo>
                  <a:lnTo>
                    <a:pt x="39700" y="131699"/>
                  </a:lnTo>
                  <a:lnTo>
                    <a:pt x="19050" y="173151"/>
                  </a:lnTo>
                  <a:lnTo>
                    <a:pt x="5575" y="218224"/>
                  </a:lnTo>
                  <a:lnTo>
                    <a:pt x="0" y="266204"/>
                  </a:lnTo>
                  <a:lnTo>
                    <a:pt x="47713" y="262191"/>
                  </a:lnTo>
                  <a:lnTo>
                    <a:pt x="92240" y="250532"/>
                  </a:lnTo>
                  <a:lnTo>
                    <a:pt x="133477" y="231940"/>
                  </a:lnTo>
                  <a:lnTo>
                    <a:pt x="161417" y="213283"/>
                  </a:lnTo>
                  <a:lnTo>
                    <a:pt x="170751" y="207060"/>
                  </a:lnTo>
                  <a:lnTo>
                    <a:pt x="203377" y="176606"/>
                  </a:lnTo>
                  <a:lnTo>
                    <a:pt x="230682" y="141224"/>
                  </a:lnTo>
                  <a:lnTo>
                    <a:pt x="252006" y="101612"/>
                  </a:lnTo>
                  <a:lnTo>
                    <a:pt x="266674" y="58420"/>
                  </a:lnTo>
                  <a:lnTo>
                    <a:pt x="274002" y="12331"/>
                  </a:lnTo>
                  <a:lnTo>
                    <a:pt x="281178" y="58597"/>
                  </a:lnTo>
                  <a:lnTo>
                    <a:pt x="295732" y="101955"/>
                  </a:lnTo>
                  <a:lnTo>
                    <a:pt x="316992" y="141744"/>
                  </a:lnTo>
                  <a:lnTo>
                    <a:pt x="344284" y="177279"/>
                  </a:lnTo>
                  <a:lnTo>
                    <a:pt x="360083" y="192087"/>
                  </a:lnTo>
                  <a:lnTo>
                    <a:pt x="376936" y="207886"/>
                  </a:lnTo>
                  <a:lnTo>
                    <a:pt x="414248" y="232867"/>
                  </a:lnTo>
                  <a:lnTo>
                    <a:pt x="455561" y="251561"/>
                  </a:lnTo>
                  <a:lnTo>
                    <a:pt x="500176" y="263271"/>
                  </a:lnTo>
                  <a:lnTo>
                    <a:pt x="548093" y="267335"/>
                  </a:lnTo>
                  <a:close/>
                </a:path>
              </a:pathLst>
            </a:custGeom>
            <a:solidFill>
              <a:srgbClr val="2DB7EA"/>
            </a:solidFill>
          </p:spPr>
          <p:txBody>
            <a:bodyPr wrap="square" lIns="0" tIns="0" rIns="0" bIns="0" rtlCol="0"/>
            <a:lstStyle/>
            <a:p>
              <a:endParaRPr dirty="0"/>
            </a:p>
          </p:txBody>
        </p:sp>
        <p:pic>
          <p:nvPicPr>
            <p:cNvPr id="571" name="object 332">
              <a:extLst>
                <a:ext uri="{FF2B5EF4-FFF2-40B4-BE49-F238E27FC236}">
                  <a16:creationId xmlns:a16="http://schemas.microsoft.com/office/drawing/2014/main" id="{E1F30996-930E-1B18-AE06-9552655D2624}"/>
                </a:ext>
              </a:extLst>
            </p:cNvPr>
            <p:cNvPicPr/>
            <p:nvPr/>
          </p:nvPicPr>
          <p:blipFill>
            <a:blip r:embed="rId13" cstate="print"/>
            <a:stretch>
              <a:fillRect/>
            </a:stretch>
          </p:blipFill>
          <p:spPr>
            <a:xfrm>
              <a:off x="8867131" y="3010234"/>
              <a:ext cx="106445" cy="107156"/>
            </a:xfrm>
            <a:prstGeom prst="rect">
              <a:avLst/>
            </a:prstGeom>
          </p:spPr>
        </p:pic>
        <p:sp>
          <p:nvSpPr>
            <p:cNvPr id="572" name="object 333">
              <a:extLst>
                <a:ext uri="{FF2B5EF4-FFF2-40B4-BE49-F238E27FC236}">
                  <a16:creationId xmlns:a16="http://schemas.microsoft.com/office/drawing/2014/main" id="{E7B8E38E-3D40-142E-A7C6-D015435D5794}"/>
                </a:ext>
              </a:extLst>
            </p:cNvPr>
            <p:cNvSpPr/>
            <p:nvPr/>
          </p:nvSpPr>
          <p:spPr>
            <a:xfrm>
              <a:off x="8753854" y="3208700"/>
              <a:ext cx="332700" cy="477101"/>
            </a:xfrm>
            <a:custGeom>
              <a:avLst/>
              <a:gdLst/>
              <a:ahLst/>
              <a:cxnLst/>
              <a:rect l="l" t="t" r="r" b="b"/>
              <a:pathLst>
                <a:path w="548640" h="786764">
                  <a:moveTo>
                    <a:pt x="548081" y="786384"/>
                  </a:moveTo>
                  <a:lnTo>
                    <a:pt x="542645" y="738225"/>
                  </a:lnTo>
                  <a:lnTo>
                    <a:pt x="529247" y="692962"/>
                  </a:lnTo>
                  <a:lnTo>
                    <a:pt x="508622" y="651344"/>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47"/>
                  </a:lnTo>
                  <a:lnTo>
                    <a:pt x="66827" y="613664"/>
                  </a:lnTo>
                  <a:lnTo>
                    <a:pt x="39738" y="650773"/>
                  </a:lnTo>
                  <a:lnTo>
                    <a:pt x="19088" y="692226"/>
                  </a:lnTo>
                  <a:lnTo>
                    <a:pt x="5613" y="737323"/>
                  </a:lnTo>
                  <a:lnTo>
                    <a:pt x="50" y="785317"/>
                  </a:lnTo>
                  <a:lnTo>
                    <a:pt x="47713" y="781278"/>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59"/>
                  </a:lnTo>
                  <a:lnTo>
                    <a:pt x="295732" y="621042"/>
                  </a:lnTo>
                  <a:lnTo>
                    <a:pt x="316992" y="660831"/>
                  </a:lnTo>
                  <a:lnTo>
                    <a:pt x="344284" y="696366"/>
                  </a:lnTo>
                  <a:lnTo>
                    <a:pt x="376936" y="726960"/>
                  </a:lnTo>
                  <a:lnTo>
                    <a:pt x="414248" y="751941"/>
                  </a:lnTo>
                  <a:lnTo>
                    <a:pt x="455549" y="770623"/>
                  </a:lnTo>
                  <a:lnTo>
                    <a:pt x="500176" y="782332"/>
                  </a:lnTo>
                  <a:lnTo>
                    <a:pt x="548081" y="786384"/>
                  </a:lnTo>
                  <a:close/>
                </a:path>
                <a:path w="548640" h="786764">
                  <a:moveTo>
                    <a:pt x="548081" y="520865"/>
                  </a:moveTo>
                  <a:lnTo>
                    <a:pt x="542645" y="472694"/>
                  </a:lnTo>
                  <a:lnTo>
                    <a:pt x="529247" y="427431"/>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11"/>
                  </a:lnTo>
                  <a:lnTo>
                    <a:pt x="179438" y="270281"/>
                  </a:lnTo>
                  <a:lnTo>
                    <a:pt x="137414" y="289928"/>
                  </a:lnTo>
                  <a:lnTo>
                    <a:pt x="99618" y="316115"/>
                  </a:lnTo>
                  <a:lnTo>
                    <a:pt x="66827" y="348132"/>
                  </a:lnTo>
                  <a:lnTo>
                    <a:pt x="39738" y="385241"/>
                  </a:lnTo>
                  <a:lnTo>
                    <a:pt x="19088" y="426694"/>
                  </a:lnTo>
                  <a:lnTo>
                    <a:pt x="5613" y="471792"/>
                  </a:lnTo>
                  <a:lnTo>
                    <a:pt x="50" y="519785"/>
                  </a:lnTo>
                  <a:lnTo>
                    <a:pt x="47713" y="515747"/>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40"/>
                  </a:lnTo>
                  <a:lnTo>
                    <a:pt x="295732" y="355511"/>
                  </a:lnTo>
                  <a:lnTo>
                    <a:pt x="316992" y="395300"/>
                  </a:lnTo>
                  <a:lnTo>
                    <a:pt x="344284" y="430834"/>
                  </a:lnTo>
                  <a:lnTo>
                    <a:pt x="376936" y="461429"/>
                  </a:lnTo>
                  <a:lnTo>
                    <a:pt x="414248" y="486410"/>
                  </a:lnTo>
                  <a:lnTo>
                    <a:pt x="455549" y="505091"/>
                  </a:lnTo>
                  <a:lnTo>
                    <a:pt x="500176" y="516801"/>
                  </a:lnTo>
                  <a:lnTo>
                    <a:pt x="548081" y="520865"/>
                  </a:lnTo>
                  <a:close/>
                </a:path>
                <a:path w="548640" h="786764">
                  <a:moveTo>
                    <a:pt x="548093" y="267322"/>
                  </a:moveTo>
                  <a:lnTo>
                    <a:pt x="543331" y="225285"/>
                  </a:lnTo>
                  <a:lnTo>
                    <a:pt x="542645" y="219151"/>
                  </a:lnTo>
                  <a:lnTo>
                    <a:pt x="529247" y="173888"/>
                  </a:lnTo>
                  <a:lnTo>
                    <a:pt x="519023" y="153263"/>
                  </a:lnTo>
                  <a:lnTo>
                    <a:pt x="508635" y="132257"/>
                  </a:lnTo>
                  <a:lnTo>
                    <a:pt x="481533" y="94996"/>
                  </a:lnTo>
                  <a:lnTo>
                    <a:pt x="448691" y="62852"/>
                  </a:lnTo>
                  <a:lnTo>
                    <a:pt x="410845" y="36550"/>
                  </a:lnTo>
                  <a:lnTo>
                    <a:pt x="368719" y="16814"/>
                  </a:lnTo>
                  <a:lnTo>
                    <a:pt x="323037" y="4368"/>
                  </a:lnTo>
                  <a:lnTo>
                    <a:pt x="274561" y="0"/>
                  </a:lnTo>
                  <a:lnTo>
                    <a:pt x="273342" y="0"/>
                  </a:lnTo>
                  <a:lnTo>
                    <a:pt x="224993" y="4356"/>
                  </a:lnTo>
                  <a:lnTo>
                    <a:pt x="179438" y="16725"/>
                  </a:lnTo>
                  <a:lnTo>
                    <a:pt x="137414" y="36360"/>
                  </a:lnTo>
                  <a:lnTo>
                    <a:pt x="99618" y="62560"/>
                  </a:lnTo>
                  <a:lnTo>
                    <a:pt x="82613" y="79171"/>
                  </a:lnTo>
                  <a:lnTo>
                    <a:pt x="66827" y="94576"/>
                  </a:lnTo>
                  <a:lnTo>
                    <a:pt x="39700" y="131686"/>
                  </a:lnTo>
                  <a:lnTo>
                    <a:pt x="19050" y="173139"/>
                  </a:lnTo>
                  <a:lnTo>
                    <a:pt x="5575" y="218224"/>
                  </a:lnTo>
                  <a:lnTo>
                    <a:pt x="0" y="266192"/>
                  </a:lnTo>
                  <a:lnTo>
                    <a:pt x="47713" y="262178"/>
                  </a:lnTo>
                  <a:lnTo>
                    <a:pt x="92240" y="250532"/>
                  </a:lnTo>
                  <a:lnTo>
                    <a:pt x="133477" y="231927"/>
                  </a:lnTo>
                  <a:lnTo>
                    <a:pt x="170738" y="207060"/>
                  </a:lnTo>
                  <a:lnTo>
                    <a:pt x="172910" y="205041"/>
                  </a:lnTo>
                  <a:lnTo>
                    <a:pt x="203377" y="176593"/>
                  </a:lnTo>
                  <a:lnTo>
                    <a:pt x="230682" y="141224"/>
                  </a:lnTo>
                  <a:lnTo>
                    <a:pt x="252006" y="101600"/>
                  </a:lnTo>
                  <a:lnTo>
                    <a:pt x="266674" y="58407"/>
                  </a:lnTo>
                  <a:lnTo>
                    <a:pt x="274002" y="12331"/>
                  </a:lnTo>
                  <a:lnTo>
                    <a:pt x="281178" y="58585"/>
                  </a:lnTo>
                  <a:lnTo>
                    <a:pt x="295732" y="101942"/>
                  </a:lnTo>
                  <a:lnTo>
                    <a:pt x="316992" y="141744"/>
                  </a:lnTo>
                  <a:lnTo>
                    <a:pt x="344284" y="177279"/>
                  </a:lnTo>
                  <a:lnTo>
                    <a:pt x="376936" y="207873"/>
                  </a:lnTo>
                  <a:lnTo>
                    <a:pt x="414248" y="232867"/>
                  </a:lnTo>
                  <a:lnTo>
                    <a:pt x="455561" y="251548"/>
                  </a:lnTo>
                  <a:lnTo>
                    <a:pt x="500176" y="263271"/>
                  </a:lnTo>
                  <a:lnTo>
                    <a:pt x="548093" y="267322"/>
                  </a:lnTo>
                  <a:close/>
                </a:path>
              </a:pathLst>
            </a:custGeom>
            <a:solidFill>
              <a:srgbClr val="7ED3F1"/>
            </a:solidFill>
          </p:spPr>
          <p:txBody>
            <a:bodyPr wrap="square" lIns="0" tIns="0" rIns="0" bIns="0" rtlCol="0"/>
            <a:lstStyle/>
            <a:p>
              <a:endParaRPr dirty="0"/>
            </a:p>
          </p:txBody>
        </p:sp>
        <p:pic>
          <p:nvPicPr>
            <p:cNvPr id="573" name="object 334">
              <a:extLst>
                <a:ext uri="{FF2B5EF4-FFF2-40B4-BE49-F238E27FC236}">
                  <a16:creationId xmlns:a16="http://schemas.microsoft.com/office/drawing/2014/main" id="{937222C1-0A29-82BA-B075-39ADDAE970D0}"/>
                </a:ext>
              </a:extLst>
            </p:cNvPr>
            <p:cNvPicPr/>
            <p:nvPr/>
          </p:nvPicPr>
          <p:blipFill>
            <a:blip r:embed="rId14" cstate="print"/>
            <a:stretch>
              <a:fillRect/>
            </a:stretch>
          </p:blipFill>
          <p:spPr>
            <a:xfrm>
              <a:off x="8867131" y="3664400"/>
              <a:ext cx="106445" cy="107156"/>
            </a:xfrm>
            <a:prstGeom prst="rect">
              <a:avLst/>
            </a:prstGeom>
          </p:spPr>
        </p:pic>
        <p:sp>
          <p:nvSpPr>
            <p:cNvPr id="574" name="object 335">
              <a:extLst>
                <a:ext uri="{FF2B5EF4-FFF2-40B4-BE49-F238E27FC236}">
                  <a16:creationId xmlns:a16="http://schemas.microsoft.com/office/drawing/2014/main" id="{E10E6D09-3D6B-0B78-15BD-655985C30C9B}"/>
                </a:ext>
              </a:extLst>
            </p:cNvPr>
            <p:cNvSpPr/>
            <p:nvPr/>
          </p:nvSpPr>
          <p:spPr>
            <a:xfrm>
              <a:off x="8753854" y="1246203"/>
              <a:ext cx="332700" cy="477101"/>
            </a:xfrm>
            <a:custGeom>
              <a:avLst/>
              <a:gdLst/>
              <a:ahLst/>
              <a:cxnLst/>
              <a:rect l="l" t="t" r="r" b="b"/>
              <a:pathLst>
                <a:path w="548640" h="786764">
                  <a:moveTo>
                    <a:pt x="548081" y="786384"/>
                  </a:moveTo>
                  <a:lnTo>
                    <a:pt x="542645" y="738225"/>
                  </a:lnTo>
                  <a:lnTo>
                    <a:pt x="529247"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47"/>
                  </a:lnTo>
                  <a:lnTo>
                    <a:pt x="66827" y="613664"/>
                  </a:lnTo>
                  <a:lnTo>
                    <a:pt x="39738" y="650760"/>
                  </a:lnTo>
                  <a:lnTo>
                    <a:pt x="19088" y="692226"/>
                  </a:lnTo>
                  <a:lnTo>
                    <a:pt x="5613" y="737323"/>
                  </a:lnTo>
                  <a:lnTo>
                    <a:pt x="50" y="785304"/>
                  </a:lnTo>
                  <a:lnTo>
                    <a:pt x="47713" y="781278"/>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59"/>
                  </a:lnTo>
                  <a:lnTo>
                    <a:pt x="295732" y="621030"/>
                  </a:lnTo>
                  <a:lnTo>
                    <a:pt x="316992" y="660831"/>
                  </a:lnTo>
                  <a:lnTo>
                    <a:pt x="344284" y="696366"/>
                  </a:lnTo>
                  <a:lnTo>
                    <a:pt x="376936" y="726960"/>
                  </a:lnTo>
                  <a:lnTo>
                    <a:pt x="414248" y="751941"/>
                  </a:lnTo>
                  <a:lnTo>
                    <a:pt x="455549" y="770623"/>
                  </a:lnTo>
                  <a:lnTo>
                    <a:pt x="500176" y="782332"/>
                  </a:lnTo>
                  <a:lnTo>
                    <a:pt x="548081" y="786384"/>
                  </a:lnTo>
                  <a:close/>
                </a:path>
                <a:path w="548640" h="786764">
                  <a:moveTo>
                    <a:pt x="548081" y="520852"/>
                  </a:moveTo>
                  <a:lnTo>
                    <a:pt x="542645" y="472694"/>
                  </a:lnTo>
                  <a:lnTo>
                    <a:pt x="529247" y="427431"/>
                  </a:lnTo>
                  <a:lnTo>
                    <a:pt x="508622" y="385813"/>
                  </a:lnTo>
                  <a:lnTo>
                    <a:pt x="481533" y="348551"/>
                  </a:lnTo>
                  <a:lnTo>
                    <a:pt x="448691" y="316395"/>
                  </a:lnTo>
                  <a:lnTo>
                    <a:pt x="410832" y="290093"/>
                  </a:lnTo>
                  <a:lnTo>
                    <a:pt x="368706" y="270357"/>
                  </a:lnTo>
                  <a:lnTo>
                    <a:pt x="323037" y="257937"/>
                  </a:lnTo>
                  <a:lnTo>
                    <a:pt x="274561" y="253555"/>
                  </a:lnTo>
                  <a:lnTo>
                    <a:pt x="273342" y="253555"/>
                  </a:lnTo>
                  <a:lnTo>
                    <a:pt x="224993" y="257911"/>
                  </a:lnTo>
                  <a:lnTo>
                    <a:pt x="179438" y="270281"/>
                  </a:lnTo>
                  <a:lnTo>
                    <a:pt x="137414" y="289928"/>
                  </a:lnTo>
                  <a:lnTo>
                    <a:pt x="99618" y="316115"/>
                  </a:lnTo>
                  <a:lnTo>
                    <a:pt x="66827" y="348132"/>
                  </a:lnTo>
                  <a:lnTo>
                    <a:pt x="39738" y="385241"/>
                  </a:lnTo>
                  <a:lnTo>
                    <a:pt x="19088" y="426694"/>
                  </a:lnTo>
                  <a:lnTo>
                    <a:pt x="5613" y="471792"/>
                  </a:lnTo>
                  <a:lnTo>
                    <a:pt x="50" y="519785"/>
                  </a:lnTo>
                  <a:lnTo>
                    <a:pt x="47713" y="515747"/>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27"/>
                  </a:lnTo>
                  <a:lnTo>
                    <a:pt x="295732" y="355511"/>
                  </a:lnTo>
                  <a:lnTo>
                    <a:pt x="316992" y="395300"/>
                  </a:lnTo>
                  <a:lnTo>
                    <a:pt x="344284" y="430834"/>
                  </a:lnTo>
                  <a:lnTo>
                    <a:pt x="376936" y="461429"/>
                  </a:lnTo>
                  <a:lnTo>
                    <a:pt x="414248" y="486410"/>
                  </a:lnTo>
                  <a:lnTo>
                    <a:pt x="455549" y="505091"/>
                  </a:lnTo>
                  <a:lnTo>
                    <a:pt x="500176" y="516801"/>
                  </a:lnTo>
                  <a:lnTo>
                    <a:pt x="548081" y="520852"/>
                  </a:lnTo>
                  <a:close/>
                </a:path>
                <a:path w="548640" h="786764">
                  <a:moveTo>
                    <a:pt x="548093" y="267322"/>
                  </a:moveTo>
                  <a:lnTo>
                    <a:pt x="543331" y="225285"/>
                  </a:lnTo>
                  <a:lnTo>
                    <a:pt x="542645" y="219151"/>
                  </a:lnTo>
                  <a:lnTo>
                    <a:pt x="529247" y="173875"/>
                  </a:lnTo>
                  <a:lnTo>
                    <a:pt x="508635" y="132257"/>
                  </a:lnTo>
                  <a:lnTo>
                    <a:pt x="481533" y="94996"/>
                  </a:lnTo>
                  <a:lnTo>
                    <a:pt x="448691" y="62852"/>
                  </a:lnTo>
                  <a:lnTo>
                    <a:pt x="410845" y="36550"/>
                  </a:lnTo>
                  <a:lnTo>
                    <a:pt x="368706" y="16789"/>
                  </a:lnTo>
                  <a:lnTo>
                    <a:pt x="323037" y="4368"/>
                  </a:lnTo>
                  <a:lnTo>
                    <a:pt x="274561" y="0"/>
                  </a:lnTo>
                  <a:lnTo>
                    <a:pt x="273342" y="0"/>
                  </a:lnTo>
                  <a:lnTo>
                    <a:pt x="224993" y="4356"/>
                  </a:lnTo>
                  <a:lnTo>
                    <a:pt x="179438" y="16713"/>
                  </a:lnTo>
                  <a:lnTo>
                    <a:pt x="137414" y="36360"/>
                  </a:lnTo>
                  <a:lnTo>
                    <a:pt x="99618" y="62560"/>
                  </a:lnTo>
                  <a:lnTo>
                    <a:pt x="98806" y="63347"/>
                  </a:lnTo>
                  <a:lnTo>
                    <a:pt x="66827" y="94576"/>
                  </a:lnTo>
                  <a:lnTo>
                    <a:pt x="39700" y="131686"/>
                  </a:lnTo>
                  <a:lnTo>
                    <a:pt x="19050" y="173139"/>
                  </a:lnTo>
                  <a:lnTo>
                    <a:pt x="5575" y="218211"/>
                  </a:lnTo>
                  <a:lnTo>
                    <a:pt x="0" y="266192"/>
                  </a:lnTo>
                  <a:lnTo>
                    <a:pt x="47713" y="262178"/>
                  </a:lnTo>
                  <a:lnTo>
                    <a:pt x="92240" y="250532"/>
                  </a:lnTo>
                  <a:lnTo>
                    <a:pt x="133477" y="231927"/>
                  </a:lnTo>
                  <a:lnTo>
                    <a:pt x="170738" y="207060"/>
                  </a:lnTo>
                  <a:lnTo>
                    <a:pt x="172910" y="205041"/>
                  </a:lnTo>
                  <a:lnTo>
                    <a:pt x="203377" y="176593"/>
                  </a:lnTo>
                  <a:lnTo>
                    <a:pt x="230682" y="141224"/>
                  </a:lnTo>
                  <a:lnTo>
                    <a:pt x="252006" y="101600"/>
                  </a:lnTo>
                  <a:lnTo>
                    <a:pt x="266674" y="58407"/>
                  </a:lnTo>
                  <a:lnTo>
                    <a:pt x="274002" y="12319"/>
                  </a:lnTo>
                  <a:lnTo>
                    <a:pt x="281178" y="58585"/>
                  </a:lnTo>
                  <a:lnTo>
                    <a:pt x="295732" y="101942"/>
                  </a:lnTo>
                  <a:lnTo>
                    <a:pt x="316992" y="141732"/>
                  </a:lnTo>
                  <a:lnTo>
                    <a:pt x="344284" y="177266"/>
                  </a:lnTo>
                  <a:lnTo>
                    <a:pt x="376936" y="207873"/>
                  </a:lnTo>
                  <a:lnTo>
                    <a:pt x="414248" y="232867"/>
                  </a:lnTo>
                  <a:lnTo>
                    <a:pt x="455561" y="251548"/>
                  </a:lnTo>
                  <a:lnTo>
                    <a:pt x="500176" y="263271"/>
                  </a:lnTo>
                  <a:lnTo>
                    <a:pt x="548093" y="267322"/>
                  </a:lnTo>
                  <a:close/>
                </a:path>
              </a:pathLst>
            </a:custGeom>
            <a:solidFill>
              <a:srgbClr val="2DB7EA"/>
            </a:solidFill>
          </p:spPr>
          <p:txBody>
            <a:bodyPr wrap="square" lIns="0" tIns="0" rIns="0" bIns="0" rtlCol="0"/>
            <a:lstStyle/>
            <a:p>
              <a:endParaRPr dirty="0"/>
            </a:p>
          </p:txBody>
        </p:sp>
        <p:pic>
          <p:nvPicPr>
            <p:cNvPr id="575" name="object 336">
              <a:extLst>
                <a:ext uri="{FF2B5EF4-FFF2-40B4-BE49-F238E27FC236}">
                  <a16:creationId xmlns:a16="http://schemas.microsoft.com/office/drawing/2014/main" id="{4EE4CE59-A4B1-0301-D286-CFD9C8C44A15}"/>
                </a:ext>
              </a:extLst>
            </p:cNvPr>
            <p:cNvPicPr/>
            <p:nvPr/>
          </p:nvPicPr>
          <p:blipFill>
            <a:blip r:embed="rId13" cstate="print"/>
            <a:stretch>
              <a:fillRect/>
            </a:stretch>
          </p:blipFill>
          <p:spPr>
            <a:xfrm>
              <a:off x="8867131" y="1701903"/>
              <a:ext cx="106445" cy="107156"/>
            </a:xfrm>
            <a:prstGeom prst="rect">
              <a:avLst/>
            </a:prstGeom>
          </p:spPr>
        </p:pic>
        <p:sp>
          <p:nvSpPr>
            <p:cNvPr id="576" name="object 337">
              <a:extLst>
                <a:ext uri="{FF2B5EF4-FFF2-40B4-BE49-F238E27FC236}">
                  <a16:creationId xmlns:a16="http://schemas.microsoft.com/office/drawing/2014/main" id="{24130923-DF5C-7F72-745F-A3D2F04A10B6}"/>
                </a:ext>
              </a:extLst>
            </p:cNvPr>
            <p:cNvSpPr/>
            <p:nvPr/>
          </p:nvSpPr>
          <p:spPr>
            <a:xfrm>
              <a:off x="8753854" y="1900365"/>
              <a:ext cx="332700" cy="477101"/>
            </a:xfrm>
            <a:custGeom>
              <a:avLst/>
              <a:gdLst/>
              <a:ahLst/>
              <a:cxnLst/>
              <a:rect l="l" t="t" r="r" b="b"/>
              <a:pathLst>
                <a:path w="548640" h="786764">
                  <a:moveTo>
                    <a:pt x="548081" y="786396"/>
                  </a:moveTo>
                  <a:lnTo>
                    <a:pt x="542645" y="738225"/>
                  </a:lnTo>
                  <a:lnTo>
                    <a:pt x="529247" y="692962"/>
                  </a:lnTo>
                  <a:lnTo>
                    <a:pt x="508622" y="651344"/>
                  </a:lnTo>
                  <a:lnTo>
                    <a:pt x="481533" y="614083"/>
                  </a:lnTo>
                  <a:lnTo>
                    <a:pt x="448691" y="581939"/>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60"/>
                  </a:lnTo>
                  <a:lnTo>
                    <a:pt x="66827" y="613664"/>
                  </a:lnTo>
                  <a:lnTo>
                    <a:pt x="39738" y="650773"/>
                  </a:lnTo>
                  <a:lnTo>
                    <a:pt x="19088" y="692238"/>
                  </a:lnTo>
                  <a:lnTo>
                    <a:pt x="5613" y="737323"/>
                  </a:lnTo>
                  <a:lnTo>
                    <a:pt x="50" y="785317"/>
                  </a:lnTo>
                  <a:lnTo>
                    <a:pt x="47713" y="781278"/>
                  </a:lnTo>
                  <a:lnTo>
                    <a:pt x="92240" y="769620"/>
                  </a:lnTo>
                  <a:lnTo>
                    <a:pt x="133477" y="751027"/>
                  </a:lnTo>
                  <a:lnTo>
                    <a:pt x="170738" y="726147"/>
                  </a:lnTo>
                  <a:lnTo>
                    <a:pt x="203365" y="695680"/>
                  </a:lnTo>
                  <a:lnTo>
                    <a:pt x="230682" y="660298"/>
                  </a:lnTo>
                  <a:lnTo>
                    <a:pt x="252006" y="620674"/>
                  </a:lnTo>
                  <a:lnTo>
                    <a:pt x="266661" y="577481"/>
                  </a:lnTo>
                  <a:lnTo>
                    <a:pt x="274002" y="531393"/>
                  </a:lnTo>
                  <a:lnTo>
                    <a:pt x="281178" y="577672"/>
                  </a:lnTo>
                  <a:lnTo>
                    <a:pt x="295732" y="621042"/>
                  </a:lnTo>
                  <a:lnTo>
                    <a:pt x="316992" y="660831"/>
                  </a:lnTo>
                  <a:lnTo>
                    <a:pt x="344284" y="696366"/>
                  </a:lnTo>
                  <a:lnTo>
                    <a:pt x="376936" y="726960"/>
                  </a:lnTo>
                  <a:lnTo>
                    <a:pt x="414248" y="751941"/>
                  </a:lnTo>
                  <a:lnTo>
                    <a:pt x="455549" y="770636"/>
                  </a:lnTo>
                  <a:lnTo>
                    <a:pt x="500176" y="782332"/>
                  </a:lnTo>
                  <a:lnTo>
                    <a:pt x="548081" y="786396"/>
                  </a:lnTo>
                  <a:close/>
                </a:path>
                <a:path w="548640" h="786764">
                  <a:moveTo>
                    <a:pt x="548081" y="520865"/>
                  </a:moveTo>
                  <a:lnTo>
                    <a:pt x="542645" y="472706"/>
                  </a:lnTo>
                  <a:lnTo>
                    <a:pt x="529247" y="427443"/>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24"/>
                  </a:lnTo>
                  <a:lnTo>
                    <a:pt x="179438" y="270281"/>
                  </a:lnTo>
                  <a:lnTo>
                    <a:pt x="137414" y="289928"/>
                  </a:lnTo>
                  <a:lnTo>
                    <a:pt x="99618" y="316128"/>
                  </a:lnTo>
                  <a:lnTo>
                    <a:pt x="66827" y="348132"/>
                  </a:lnTo>
                  <a:lnTo>
                    <a:pt x="39738" y="385241"/>
                  </a:lnTo>
                  <a:lnTo>
                    <a:pt x="19088" y="426707"/>
                  </a:lnTo>
                  <a:lnTo>
                    <a:pt x="5613" y="471792"/>
                  </a:lnTo>
                  <a:lnTo>
                    <a:pt x="50" y="519785"/>
                  </a:lnTo>
                  <a:lnTo>
                    <a:pt x="47713" y="515747"/>
                  </a:lnTo>
                  <a:lnTo>
                    <a:pt x="92240" y="504088"/>
                  </a:lnTo>
                  <a:lnTo>
                    <a:pt x="133477" y="485495"/>
                  </a:lnTo>
                  <a:lnTo>
                    <a:pt x="170738" y="460616"/>
                  </a:lnTo>
                  <a:lnTo>
                    <a:pt x="203365" y="430161"/>
                  </a:lnTo>
                  <a:lnTo>
                    <a:pt x="230682" y="394766"/>
                  </a:lnTo>
                  <a:lnTo>
                    <a:pt x="252006" y="355142"/>
                  </a:lnTo>
                  <a:lnTo>
                    <a:pt x="266661" y="311950"/>
                  </a:lnTo>
                  <a:lnTo>
                    <a:pt x="274002" y="265861"/>
                  </a:lnTo>
                  <a:lnTo>
                    <a:pt x="281178" y="312140"/>
                  </a:lnTo>
                  <a:lnTo>
                    <a:pt x="295732" y="355511"/>
                  </a:lnTo>
                  <a:lnTo>
                    <a:pt x="316992" y="395300"/>
                  </a:lnTo>
                  <a:lnTo>
                    <a:pt x="344284" y="430834"/>
                  </a:lnTo>
                  <a:lnTo>
                    <a:pt x="376936" y="461441"/>
                  </a:lnTo>
                  <a:lnTo>
                    <a:pt x="414248" y="486410"/>
                  </a:lnTo>
                  <a:lnTo>
                    <a:pt x="455549" y="505104"/>
                  </a:lnTo>
                  <a:lnTo>
                    <a:pt x="500176" y="516813"/>
                  </a:lnTo>
                  <a:lnTo>
                    <a:pt x="548081" y="520865"/>
                  </a:lnTo>
                  <a:close/>
                </a:path>
                <a:path w="548640" h="786764">
                  <a:moveTo>
                    <a:pt x="548093" y="267322"/>
                  </a:moveTo>
                  <a:lnTo>
                    <a:pt x="543331" y="225285"/>
                  </a:lnTo>
                  <a:lnTo>
                    <a:pt x="542645" y="219151"/>
                  </a:lnTo>
                  <a:lnTo>
                    <a:pt x="529247" y="173888"/>
                  </a:lnTo>
                  <a:lnTo>
                    <a:pt x="519023" y="153263"/>
                  </a:lnTo>
                  <a:lnTo>
                    <a:pt x="508635" y="132257"/>
                  </a:lnTo>
                  <a:lnTo>
                    <a:pt x="501230" y="122097"/>
                  </a:lnTo>
                  <a:lnTo>
                    <a:pt x="481533" y="95008"/>
                  </a:lnTo>
                  <a:lnTo>
                    <a:pt x="448691" y="62852"/>
                  </a:lnTo>
                  <a:lnTo>
                    <a:pt x="410845" y="36550"/>
                  </a:lnTo>
                  <a:lnTo>
                    <a:pt x="368719" y="16814"/>
                  </a:lnTo>
                  <a:lnTo>
                    <a:pt x="323037" y="4381"/>
                  </a:lnTo>
                  <a:lnTo>
                    <a:pt x="274561" y="0"/>
                  </a:lnTo>
                  <a:lnTo>
                    <a:pt x="273342" y="0"/>
                  </a:lnTo>
                  <a:lnTo>
                    <a:pt x="224993" y="4356"/>
                  </a:lnTo>
                  <a:lnTo>
                    <a:pt x="179438" y="16725"/>
                  </a:lnTo>
                  <a:lnTo>
                    <a:pt x="137414" y="36372"/>
                  </a:lnTo>
                  <a:lnTo>
                    <a:pt x="99618" y="62560"/>
                  </a:lnTo>
                  <a:lnTo>
                    <a:pt x="82613" y="79171"/>
                  </a:lnTo>
                  <a:lnTo>
                    <a:pt x="66827" y="94576"/>
                  </a:lnTo>
                  <a:lnTo>
                    <a:pt x="39700" y="131686"/>
                  </a:lnTo>
                  <a:lnTo>
                    <a:pt x="19050" y="173139"/>
                  </a:lnTo>
                  <a:lnTo>
                    <a:pt x="5575" y="218224"/>
                  </a:lnTo>
                  <a:lnTo>
                    <a:pt x="0" y="266192"/>
                  </a:lnTo>
                  <a:lnTo>
                    <a:pt x="47713" y="262191"/>
                  </a:lnTo>
                  <a:lnTo>
                    <a:pt x="92240" y="250532"/>
                  </a:lnTo>
                  <a:lnTo>
                    <a:pt x="133477" y="231927"/>
                  </a:lnTo>
                  <a:lnTo>
                    <a:pt x="170751" y="207060"/>
                  </a:lnTo>
                  <a:lnTo>
                    <a:pt x="203377" y="176593"/>
                  </a:lnTo>
                  <a:lnTo>
                    <a:pt x="230682" y="141224"/>
                  </a:lnTo>
                  <a:lnTo>
                    <a:pt x="252006" y="101600"/>
                  </a:lnTo>
                  <a:lnTo>
                    <a:pt x="266674" y="58420"/>
                  </a:lnTo>
                  <a:lnTo>
                    <a:pt x="274002" y="12331"/>
                  </a:lnTo>
                  <a:lnTo>
                    <a:pt x="281178" y="58585"/>
                  </a:lnTo>
                  <a:lnTo>
                    <a:pt x="295732" y="101955"/>
                  </a:lnTo>
                  <a:lnTo>
                    <a:pt x="303136" y="115811"/>
                  </a:lnTo>
                  <a:lnTo>
                    <a:pt x="316992" y="141744"/>
                  </a:lnTo>
                  <a:lnTo>
                    <a:pt x="344284" y="177279"/>
                  </a:lnTo>
                  <a:lnTo>
                    <a:pt x="360083" y="192087"/>
                  </a:lnTo>
                  <a:lnTo>
                    <a:pt x="376936" y="207886"/>
                  </a:lnTo>
                  <a:lnTo>
                    <a:pt x="414248" y="232867"/>
                  </a:lnTo>
                  <a:lnTo>
                    <a:pt x="455561"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577" name="object 338">
              <a:extLst>
                <a:ext uri="{FF2B5EF4-FFF2-40B4-BE49-F238E27FC236}">
                  <a16:creationId xmlns:a16="http://schemas.microsoft.com/office/drawing/2014/main" id="{0A19B1F9-CCCE-EAA3-04CC-77E70E893E5A}"/>
                </a:ext>
              </a:extLst>
            </p:cNvPr>
            <p:cNvPicPr/>
            <p:nvPr/>
          </p:nvPicPr>
          <p:blipFill>
            <a:blip r:embed="rId14" cstate="print"/>
            <a:stretch>
              <a:fillRect/>
            </a:stretch>
          </p:blipFill>
          <p:spPr>
            <a:xfrm>
              <a:off x="8867131" y="2356067"/>
              <a:ext cx="106445" cy="107156"/>
            </a:xfrm>
            <a:prstGeom prst="rect">
              <a:avLst/>
            </a:prstGeom>
          </p:spPr>
        </p:pic>
        <p:sp>
          <p:nvSpPr>
            <p:cNvPr id="578" name="object 339">
              <a:extLst>
                <a:ext uri="{FF2B5EF4-FFF2-40B4-BE49-F238E27FC236}">
                  <a16:creationId xmlns:a16="http://schemas.microsoft.com/office/drawing/2014/main" id="{FE9757CB-F189-57AE-36A9-BA9AC52A8470}"/>
                </a:ext>
              </a:extLst>
            </p:cNvPr>
            <p:cNvSpPr/>
            <p:nvPr/>
          </p:nvSpPr>
          <p:spPr>
            <a:xfrm>
              <a:off x="8753860"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579" name="object 340">
              <a:extLst>
                <a:ext uri="{FF2B5EF4-FFF2-40B4-BE49-F238E27FC236}">
                  <a16:creationId xmlns:a16="http://schemas.microsoft.com/office/drawing/2014/main" id="{3CDB73A9-683E-4389-925C-0133B8E91D1F}"/>
                </a:ext>
              </a:extLst>
            </p:cNvPr>
            <p:cNvPicPr/>
            <p:nvPr/>
          </p:nvPicPr>
          <p:blipFill>
            <a:blip r:embed="rId22" cstate="print"/>
            <a:stretch>
              <a:fillRect/>
            </a:stretch>
          </p:blipFill>
          <p:spPr>
            <a:xfrm>
              <a:off x="8753888" y="123"/>
              <a:ext cx="152433" cy="99184"/>
            </a:xfrm>
            <a:prstGeom prst="rect">
              <a:avLst/>
            </a:prstGeom>
          </p:spPr>
        </p:pic>
        <p:pic>
          <p:nvPicPr>
            <p:cNvPr id="580" name="object 341">
              <a:extLst>
                <a:ext uri="{FF2B5EF4-FFF2-40B4-BE49-F238E27FC236}">
                  <a16:creationId xmlns:a16="http://schemas.microsoft.com/office/drawing/2014/main" id="{0749F31C-FC0E-9A56-0EE9-434B23B4B221}"/>
                </a:ext>
              </a:extLst>
            </p:cNvPr>
            <p:cNvPicPr/>
            <p:nvPr/>
          </p:nvPicPr>
          <p:blipFill>
            <a:blip r:embed="rId21" cstate="print"/>
            <a:stretch>
              <a:fillRect/>
            </a:stretch>
          </p:blipFill>
          <p:spPr>
            <a:xfrm>
              <a:off x="8933423" y="123"/>
              <a:ext cx="152798" cy="99837"/>
            </a:xfrm>
            <a:prstGeom prst="rect">
              <a:avLst/>
            </a:prstGeom>
          </p:spPr>
        </p:pic>
        <p:sp>
          <p:nvSpPr>
            <p:cNvPr id="581" name="object 342">
              <a:extLst>
                <a:ext uri="{FF2B5EF4-FFF2-40B4-BE49-F238E27FC236}">
                  <a16:creationId xmlns:a16="http://schemas.microsoft.com/office/drawing/2014/main" id="{C0AA951F-811C-BFF8-F669-4394665B592A}"/>
                </a:ext>
              </a:extLst>
            </p:cNvPr>
            <p:cNvSpPr/>
            <p:nvPr/>
          </p:nvSpPr>
          <p:spPr>
            <a:xfrm>
              <a:off x="8753885" y="91626"/>
              <a:ext cx="332700" cy="323458"/>
            </a:xfrm>
            <a:custGeom>
              <a:avLst/>
              <a:gdLst/>
              <a:ahLst/>
              <a:cxnLst/>
              <a:rect l="l" t="t" r="r" b="b"/>
              <a:pathLst>
                <a:path w="548640" h="533400">
                  <a:moveTo>
                    <a:pt x="548030" y="532841"/>
                  </a:moveTo>
                  <a:lnTo>
                    <a:pt x="542594" y="484682"/>
                  </a:lnTo>
                  <a:lnTo>
                    <a:pt x="529196" y="439420"/>
                  </a:lnTo>
                  <a:lnTo>
                    <a:pt x="508571" y="397789"/>
                  </a:lnTo>
                  <a:lnTo>
                    <a:pt x="481482" y="360527"/>
                  </a:lnTo>
                  <a:lnTo>
                    <a:pt x="448640" y="328383"/>
                  </a:lnTo>
                  <a:lnTo>
                    <a:pt x="410781" y="302069"/>
                  </a:lnTo>
                  <a:lnTo>
                    <a:pt x="368655" y="282333"/>
                  </a:lnTo>
                  <a:lnTo>
                    <a:pt x="322986" y="269913"/>
                  </a:lnTo>
                  <a:lnTo>
                    <a:pt x="274510" y="265544"/>
                  </a:lnTo>
                  <a:lnTo>
                    <a:pt x="273291" y="265544"/>
                  </a:lnTo>
                  <a:lnTo>
                    <a:pt x="224942" y="269900"/>
                  </a:lnTo>
                  <a:lnTo>
                    <a:pt x="179387" y="282257"/>
                  </a:lnTo>
                  <a:lnTo>
                    <a:pt x="137363" y="301904"/>
                  </a:lnTo>
                  <a:lnTo>
                    <a:pt x="99568" y="328104"/>
                  </a:lnTo>
                  <a:lnTo>
                    <a:pt x="66776" y="360121"/>
                  </a:lnTo>
                  <a:lnTo>
                    <a:pt x="39687" y="397217"/>
                  </a:lnTo>
                  <a:lnTo>
                    <a:pt x="19037" y="438683"/>
                  </a:lnTo>
                  <a:lnTo>
                    <a:pt x="5562" y="483768"/>
                  </a:lnTo>
                  <a:lnTo>
                    <a:pt x="0" y="531761"/>
                  </a:lnTo>
                  <a:lnTo>
                    <a:pt x="47663" y="527723"/>
                  </a:lnTo>
                  <a:lnTo>
                    <a:pt x="92189" y="516064"/>
                  </a:lnTo>
                  <a:lnTo>
                    <a:pt x="133426" y="497471"/>
                  </a:lnTo>
                  <a:lnTo>
                    <a:pt x="170688" y="472592"/>
                  </a:lnTo>
                  <a:lnTo>
                    <a:pt x="203314" y="442137"/>
                  </a:lnTo>
                  <a:lnTo>
                    <a:pt x="230632" y="406755"/>
                  </a:lnTo>
                  <a:lnTo>
                    <a:pt x="251955" y="367118"/>
                  </a:lnTo>
                  <a:lnTo>
                    <a:pt x="266611" y="323926"/>
                  </a:lnTo>
                  <a:lnTo>
                    <a:pt x="273951" y="277837"/>
                  </a:lnTo>
                  <a:lnTo>
                    <a:pt x="281127" y="324116"/>
                  </a:lnTo>
                  <a:lnTo>
                    <a:pt x="295681" y="367487"/>
                  </a:lnTo>
                  <a:lnTo>
                    <a:pt x="316941" y="407276"/>
                  </a:lnTo>
                  <a:lnTo>
                    <a:pt x="344233" y="442810"/>
                  </a:lnTo>
                  <a:lnTo>
                    <a:pt x="376885" y="473417"/>
                  </a:lnTo>
                  <a:lnTo>
                    <a:pt x="414197" y="498398"/>
                  </a:lnTo>
                  <a:lnTo>
                    <a:pt x="455498" y="517080"/>
                  </a:lnTo>
                  <a:lnTo>
                    <a:pt x="500126" y="528789"/>
                  </a:lnTo>
                  <a:lnTo>
                    <a:pt x="548030" y="532841"/>
                  </a:lnTo>
                  <a:close/>
                </a:path>
                <a:path w="548640" h="533400">
                  <a:moveTo>
                    <a:pt x="548030" y="267309"/>
                  </a:moveTo>
                  <a:lnTo>
                    <a:pt x="542594" y="219138"/>
                  </a:lnTo>
                  <a:lnTo>
                    <a:pt x="529196" y="173888"/>
                  </a:lnTo>
                  <a:lnTo>
                    <a:pt x="508571" y="132257"/>
                  </a:lnTo>
                  <a:lnTo>
                    <a:pt x="481482" y="94996"/>
                  </a:lnTo>
                  <a:lnTo>
                    <a:pt x="448640" y="62852"/>
                  </a:lnTo>
                  <a:lnTo>
                    <a:pt x="410781" y="36537"/>
                  </a:lnTo>
                  <a:lnTo>
                    <a:pt x="368655" y="16802"/>
                  </a:lnTo>
                  <a:lnTo>
                    <a:pt x="322986" y="4381"/>
                  </a:lnTo>
                  <a:lnTo>
                    <a:pt x="274510" y="0"/>
                  </a:lnTo>
                  <a:lnTo>
                    <a:pt x="273291" y="0"/>
                  </a:lnTo>
                  <a:lnTo>
                    <a:pt x="224942" y="4356"/>
                  </a:lnTo>
                  <a:lnTo>
                    <a:pt x="179387" y="16725"/>
                  </a:lnTo>
                  <a:lnTo>
                    <a:pt x="137363" y="36372"/>
                  </a:lnTo>
                  <a:lnTo>
                    <a:pt x="99568" y="62572"/>
                  </a:lnTo>
                  <a:lnTo>
                    <a:pt x="66776" y="94576"/>
                  </a:lnTo>
                  <a:lnTo>
                    <a:pt x="39687" y="131686"/>
                  </a:lnTo>
                  <a:lnTo>
                    <a:pt x="19037" y="173151"/>
                  </a:lnTo>
                  <a:lnTo>
                    <a:pt x="5562" y="218236"/>
                  </a:lnTo>
                  <a:lnTo>
                    <a:pt x="0" y="266230"/>
                  </a:lnTo>
                  <a:lnTo>
                    <a:pt x="47663" y="262191"/>
                  </a:lnTo>
                  <a:lnTo>
                    <a:pt x="92189" y="250532"/>
                  </a:lnTo>
                  <a:lnTo>
                    <a:pt x="133426" y="231940"/>
                  </a:lnTo>
                  <a:lnTo>
                    <a:pt x="170688" y="207060"/>
                  </a:lnTo>
                  <a:lnTo>
                    <a:pt x="203314" y="176593"/>
                  </a:lnTo>
                  <a:lnTo>
                    <a:pt x="230632" y="141211"/>
                  </a:lnTo>
                  <a:lnTo>
                    <a:pt x="251955" y="101587"/>
                  </a:lnTo>
                  <a:lnTo>
                    <a:pt x="266611" y="58394"/>
                  </a:lnTo>
                  <a:lnTo>
                    <a:pt x="273951" y="12306"/>
                  </a:lnTo>
                  <a:lnTo>
                    <a:pt x="281127" y="58585"/>
                  </a:lnTo>
                  <a:lnTo>
                    <a:pt x="295681" y="101955"/>
                  </a:lnTo>
                  <a:lnTo>
                    <a:pt x="316941" y="141744"/>
                  </a:lnTo>
                  <a:lnTo>
                    <a:pt x="344233" y="177279"/>
                  </a:lnTo>
                  <a:lnTo>
                    <a:pt x="376885" y="207873"/>
                  </a:lnTo>
                  <a:lnTo>
                    <a:pt x="414197" y="232854"/>
                  </a:lnTo>
                  <a:lnTo>
                    <a:pt x="455498" y="251548"/>
                  </a:lnTo>
                  <a:lnTo>
                    <a:pt x="500126" y="263258"/>
                  </a:lnTo>
                  <a:lnTo>
                    <a:pt x="548030" y="267309"/>
                  </a:lnTo>
                  <a:close/>
                </a:path>
              </a:pathLst>
            </a:custGeom>
            <a:solidFill>
              <a:srgbClr val="2DB7EA"/>
            </a:solidFill>
          </p:spPr>
          <p:txBody>
            <a:bodyPr wrap="square" lIns="0" tIns="0" rIns="0" bIns="0" rtlCol="0"/>
            <a:lstStyle/>
            <a:p>
              <a:endParaRPr dirty="0"/>
            </a:p>
          </p:txBody>
        </p:sp>
        <p:pic>
          <p:nvPicPr>
            <p:cNvPr id="582" name="object 343">
              <a:extLst>
                <a:ext uri="{FF2B5EF4-FFF2-40B4-BE49-F238E27FC236}">
                  <a16:creationId xmlns:a16="http://schemas.microsoft.com/office/drawing/2014/main" id="{2FA070F8-0071-F013-6941-3945F662EAE6}"/>
                </a:ext>
              </a:extLst>
            </p:cNvPr>
            <p:cNvPicPr/>
            <p:nvPr/>
          </p:nvPicPr>
          <p:blipFill>
            <a:blip r:embed="rId13" cstate="print"/>
            <a:stretch>
              <a:fillRect/>
            </a:stretch>
          </p:blipFill>
          <p:spPr>
            <a:xfrm>
              <a:off x="8867131" y="393572"/>
              <a:ext cx="106445" cy="107156"/>
            </a:xfrm>
            <a:prstGeom prst="rect">
              <a:avLst/>
            </a:prstGeom>
          </p:spPr>
        </p:pic>
        <p:sp>
          <p:nvSpPr>
            <p:cNvPr id="583" name="object 344">
              <a:extLst>
                <a:ext uri="{FF2B5EF4-FFF2-40B4-BE49-F238E27FC236}">
                  <a16:creationId xmlns:a16="http://schemas.microsoft.com/office/drawing/2014/main" id="{F564AAFF-2F60-EDEC-AE3A-76AAA428726B}"/>
                </a:ext>
              </a:extLst>
            </p:cNvPr>
            <p:cNvSpPr/>
            <p:nvPr/>
          </p:nvSpPr>
          <p:spPr>
            <a:xfrm>
              <a:off x="8753854" y="592039"/>
              <a:ext cx="332700" cy="477101"/>
            </a:xfrm>
            <a:custGeom>
              <a:avLst/>
              <a:gdLst/>
              <a:ahLst/>
              <a:cxnLst/>
              <a:rect l="l" t="t" r="r" b="b"/>
              <a:pathLst>
                <a:path w="548640" h="786764">
                  <a:moveTo>
                    <a:pt x="548081" y="786384"/>
                  </a:moveTo>
                  <a:lnTo>
                    <a:pt x="542645" y="738225"/>
                  </a:lnTo>
                  <a:lnTo>
                    <a:pt x="529247"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47"/>
                  </a:lnTo>
                  <a:lnTo>
                    <a:pt x="66827" y="613664"/>
                  </a:lnTo>
                  <a:lnTo>
                    <a:pt x="39738" y="650760"/>
                  </a:lnTo>
                  <a:lnTo>
                    <a:pt x="19088" y="692226"/>
                  </a:lnTo>
                  <a:lnTo>
                    <a:pt x="5613" y="737323"/>
                  </a:lnTo>
                  <a:lnTo>
                    <a:pt x="50" y="785304"/>
                  </a:lnTo>
                  <a:lnTo>
                    <a:pt x="47713" y="781278"/>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59"/>
                  </a:lnTo>
                  <a:lnTo>
                    <a:pt x="295732" y="621030"/>
                  </a:lnTo>
                  <a:lnTo>
                    <a:pt x="316992" y="660831"/>
                  </a:lnTo>
                  <a:lnTo>
                    <a:pt x="344284" y="696366"/>
                  </a:lnTo>
                  <a:lnTo>
                    <a:pt x="376936" y="726960"/>
                  </a:lnTo>
                  <a:lnTo>
                    <a:pt x="414248" y="751941"/>
                  </a:lnTo>
                  <a:lnTo>
                    <a:pt x="455549" y="770623"/>
                  </a:lnTo>
                  <a:lnTo>
                    <a:pt x="500176" y="782332"/>
                  </a:lnTo>
                  <a:lnTo>
                    <a:pt x="548081" y="786384"/>
                  </a:lnTo>
                  <a:close/>
                </a:path>
                <a:path w="548640" h="786764">
                  <a:moveTo>
                    <a:pt x="548081" y="520852"/>
                  </a:moveTo>
                  <a:lnTo>
                    <a:pt x="542645" y="472694"/>
                  </a:lnTo>
                  <a:lnTo>
                    <a:pt x="529247" y="427431"/>
                  </a:lnTo>
                  <a:lnTo>
                    <a:pt x="508622" y="385800"/>
                  </a:lnTo>
                  <a:lnTo>
                    <a:pt x="481533" y="348551"/>
                  </a:lnTo>
                  <a:lnTo>
                    <a:pt x="448691" y="316395"/>
                  </a:lnTo>
                  <a:lnTo>
                    <a:pt x="410832" y="290080"/>
                  </a:lnTo>
                  <a:lnTo>
                    <a:pt x="368706" y="270357"/>
                  </a:lnTo>
                  <a:lnTo>
                    <a:pt x="323037" y="257924"/>
                  </a:lnTo>
                  <a:lnTo>
                    <a:pt x="274561" y="253555"/>
                  </a:lnTo>
                  <a:lnTo>
                    <a:pt x="273342" y="253555"/>
                  </a:lnTo>
                  <a:lnTo>
                    <a:pt x="224993" y="257911"/>
                  </a:lnTo>
                  <a:lnTo>
                    <a:pt x="179438" y="270281"/>
                  </a:lnTo>
                  <a:lnTo>
                    <a:pt x="137414" y="289915"/>
                  </a:lnTo>
                  <a:lnTo>
                    <a:pt x="99618" y="316115"/>
                  </a:lnTo>
                  <a:lnTo>
                    <a:pt x="66827" y="348132"/>
                  </a:lnTo>
                  <a:lnTo>
                    <a:pt x="39738" y="385229"/>
                  </a:lnTo>
                  <a:lnTo>
                    <a:pt x="19088" y="426694"/>
                  </a:lnTo>
                  <a:lnTo>
                    <a:pt x="5613" y="471779"/>
                  </a:lnTo>
                  <a:lnTo>
                    <a:pt x="50" y="519772"/>
                  </a:lnTo>
                  <a:lnTo>
                    <a:pt x="47713" y="515734"/>
                  </a:lnTo>
                  <a:lnTo>
                    <a:pt x="92240" y="504088"/>
                  </a:lnTo>
                  <a:lnTo>
                    <a:pt x="133477" y="485482"/>
                  </a:lnTo>
                  <a:lnTo>
                    <a:pt x="170738" y="460616"/>
                  </a:lnTo>
                  <a:lnTo>
                    <a:pt x="203365" y="430149"/>
                  </a:lnTo>
                  <a:lnTo>
                    <a:pt x="230682" y="394766"/>
                  </a:lnTo>
                  <a:lnTo>
                    <a:pt x="252006" y="355142"/>
                  </a:lnTo>
                  <a:lnTo>
                    <a:pt x="266661" y="311937"/>
                  </a:lnTo>
                  <a:lnTo>
                    <a:pt x="274002" y="265861"/>
                  </a:lnTo>
                  <a:lnTo>
                    <a:pt x="281178" y="312127"/>
                  </a:lnTo>
                  <a:lnTo>
                    <a:pt x="295732" y="355498"/>
                  </a:lnTo>
                  <a:lnTo>
                    <a:pt x="316992" y="395300"/>
                  </a:lnTo>
                  <a:lnTo>
                    <a:pt x="344284" y="430834"/>
                  </a:lnTo>
                  <a:lnTo>
                    <a:pt x="376936" y="461429"/>
                  </a:lnTo>
                  <a:lnTo>
                    <a:pt x="414248" y="486410"/>
                  </a:lnTo>
                  <a:lnTo>
                    <a:pt x="455549" y="505091"/>
                  </a:lnTo>
                  <a:lnTo>
                    <a:pt x="500176" y="516801"/>
                  </a:lnTo>
                  <a:lnTo>
                    <a:pt x="548081" y="520852"/>
                  </a:lnTo>
                  <a:close/>
                </a:path>
                <a:path w="548640" h="786764">
                  <a:moveTo>
                    <a:pt x="548093" y="267322"/>
                  </a:moveTo>
                  <a:lnTo>
                    <a:pt x="542645" y="219138"/>
                  </a:lnTo>
                  <a:lnTo>
                    <a:pt x="529247" y="173875"/>
                  </a:lnTo>
                  <a:lnTo>
                    <a:pt x="508635" y="132245"/>
                  </a:lnTo>
                  <a:lnTo>
                    <a:pt x="492937" y="110680"/>
                  </a:lnTo>
                  <a:lnTo>
                    <a:pt x="481533" y="94996"/>
                  </a:lnTo>
                  <a:lnTo>
                    <a:pt x="448691" y="62839"/>
                  </a:lnTo>
                  <a:lnTo>
                    <a:pt x="410845" y="36537"/>
                  </a:lnTo>
                  <a:lnTo>
                    <a:pt x="368706" y="16789"/>
                  </a:lnTo>
                  <a:lnTo>
                    <a:pt x="323037" y="4368"/>
                  </a:lnTo>
                  <a:lnTo>
                    <a:pt x="274574" y="12"/>
                  </a:lnTo>
                  <a:lnTo>
                    <a:pt x="273342" y="0"/>
                  </a:lnTo>
                  <a:lnTo>
                    <a:pt x="224993" y="4356"/>
                  </a:lnTo>
                  <a:lnTo>
                    <a:pt x="179438" y="16713"/>
                  </a:lnTo>
                  <a:lnTo>
                    <a:pt x="137414" y="36360"/>
                  </a:lnTo>
                  <a:lnTo>
                    <a:pt x="99618" y="62560"/>
                  </a:lnTo>
                  <a:lnTo>
                    <a:pt x="98806" y="63347"/>
                  </a:lnTo>
                  <a:lnTo>
                    <a:pt x="66827" y="94576"/>
                  </a:lnTo>
                  <a:lnTo>
                    <a:pt x="39700" y="131686"/>
                  </a:lnTo>
                  <a:lnTo>
                    <a:pt x="19050" y="173139"/>
                  </a:lnTo>
                  <a:lnTo>
                    <a:pt x="5575" y="218211"/>
                  </a:lnTo>
                  <a:lnTo>
                    <a:pt x="0" y="266192"/>
                  </a:lnTo>
                  <a:lnTo>
                    <a:pt x="47713" y="262178"/>
                  </a:lnTo>
                  <a:lnTo>
                    <a:pt x="92240" y="250520"/>
                  </a:lnTo>
                  <a:lnTo>
                    <a:pt x="133477" y="231927"/>
                  </a:lnTo>
                  <a:lnTo>
                    <a:pt x="161417" y="213271"/>
                  </a:lnTo>
                  <a:lnTo>
                    <a:pt x="170751" y="207048"/>
                  </a:lnTo>
                  <a:lnTo>
                    <a:pt x="203377" y="176593"/>
                  </a:lnTo>
                  <a:lnTo>
                    <a:pt x="230682" y="141211"/>
                  </a:lnTo>
                  <a:lnTo>
                    <a:pt x="252006" y="101587"/>
                  </a:lnTo>
                  <a:lnTo>
                    <a:pt x="266674" y="58407"/>
                  </a:lnTo>
                  <a:lnTo>
                    <a:pt x="274002" y="12319"/>
                  </a:lnTo>
                  <a:lnTo>
                    <a:pt x="281178" y="58572"/>
                  </a:lnTo>
                  <a:lnTo>
                    <a:pt x="295732" y="101942"/>
                  </a:lnTo>
                  <a:lnTo>
                    <a:pt x="316992" y="141732"/>
                  </a:lnTo>
                  <a:lnTo>
                    <a:pt x="344284" y="177266"/>
                  </a:lnTo>
                  <a:lnTo>
                    <a:pt x="376936" y="207873"/>
                  </a:lnTo>
                  <a:lnTo>
                    <a:pt x="414248" y="232854"/>
                  </a:lnTo>
                  <a:lnTo>
                    <a:pt x="455561"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584" name="object 345">
              <a:extLst>
                <a:ext uri="{FF2B5EF4-FFF2-40B4-BE49-F238E27FC236}">
                  <a16:creationId xmlns:a16="http://schemas.microsoft.com/office/drawing/2014/main" id="{F0EA7330-1E76-F23C-488F-FD6375CE6E10}"/>
                </a:ext>
              </a:extLst>
            </p:cNvPr>
            <p:cNvPicPr/>
            <p:nvPr/>
          </p:nvPicPr>
          <p:blipFill>
            <a:blip r:embed="rId14" cstate="print"/>
            <a:stretch>
              <a:fillRect/>
            </a:stretch>
          </p:blipFill>
          <p:spPr>
            <a:xfrm>
              <a:off x="8867131" y="1047738"/>
              <a:ext cx="106445" cy="107156"/>
            </a:xfrm>
            <a:prstGeom prst="rect">
              <a:avLst/>
            </a:prstGeom>
          </p:spPr>
        </p:pic>
        <p:sp>
          <p:nvSpPr>
            <p:cNvPr id="585" name="object 346">
              <a:extLst>
                <a:ext uri="{FF2B5EF4-FFF2-40B4-BE49-F238E27FC236}">
                  <a16:creationId xmlns:a16="http://schemas.microsoft.com/office/drawing/2014/main" id="{A00D6689-338A-FDA2-6830-E7B741735873}"/>
                </a:ext>
              </a:extLst>
            </p:cNvPr>
            <p:cNvSpPr/>
            <p:nvPr/>
          </p:nvSpPr>
          <p:spPr>
            <a:xfrm>
              <a:off x="9909070" y="804428"/>
              <a:ext cx="332700" cy="477101"/>
            </a:xfrm>
            <a:custGeom>
              <a:avLst/>
              <a:gdLst/>
              <a:ahLst/>
              <a:cxnLst/>
              <a:rect l="l" t="t" r="r" b="b"/>
              <a:pathLst>
                <a:path w="548640" h="786764">
                  <a:moveTo>
                    <a:pt x="548093" y="520166"/>
                  </a:moveTo>
                  <a:lnTo>
                    <a:pt x="500380" y="524205"/>
                  </a:lnTo>
                  <a:lnTo>
                    <a:pt x="455853" y="535851"/>
                  </a:lnTo>
                  <a:lnTo>
                    <a:pt x="414616" y="554456"/>
                  </a:lnTo>
                  <a:lnTo>
                    <a:pt x="377355" y="579323"/>
                  </a:lnTo>
                  <a:lnTo>
                    <a:pt x="375183" y="581355"/>
                  </a:lnTo>
                  <a:lnTo>
                    <a:pt x="344728" y="609790"/>
                  </a:lnTo>
                  <a:lnTo>
                    <a:pt x="317411" y="645160"/>
                  </a:lnTo>
                  <a:lnTo>
                    <a:pt x="296087" y="684784"/>
                  </a:lnTo>
                  <a:lnTo>
                    <a:pt x="281419" y="727976"/>
                  </a:lnTo>
                  <a:lnTo>
                    <a:pt x="274091" y="774065"/>
                  </a:lnTo>
                  <a:lnTo>
                    <a:pt x="272161" y="761669"/>
                  </a:lnTo>
                  <a:lnTo>
                    <a:pt x="266928" y="727811"/>
                  </a:lnTo>
                  <a:lnTo>
                    <a:pt x="252361" y="684441"/>
                  </a:lnTo>
                  <a:lnTo>
                    <a:pt x="231101" y="644652"/>
                  </a:lnTo>
                  <a:lnTo>
                    <a:pt x="210121" y="617347"/>
                  </a:lnTo>
                  <a:lnTo>
                    <a:pt x="203809" y="609117"/>
                  </a:lnTo>
                  <a:lnTo>
                    <a:pt x="171157" y="578510"/>
                  </a:lnTo>
                  <a:lnTo>
                    <a:pt x="133845" y="553529"/>
                  </a:lnTo>
                  <a:lnTo>
                    <a:pt x="92544" y="534847"/>
                  </a:lnTo>
                  <a:lnTo>
                    <a:pt x="47917" y="523113"/>
                  </a:lnTo>
                  <a:lnTo>
                    <a:pt x="0" y="519061"/>
                  </a:lnTo>
                  <a:lnTo>
                    <a:pt x="5448" y="567232"/>
                  </a:lnTo>
                  <a:lnTo>
                    <a:pt x="18846" y="612508"/>
                  </a:lnTo>
                  <a:lnTo>
                    <a:pt x="39458" y="654126"/>
                  </a:lnTo>
                  <a:lnTo>
                    <a:pt x="66560" y="691388"/>
                  </a:lnTo>
                  <a:lnTo>
                    <a:pt x="99402" y="723544"/>
                  </a:lnTo>
                  <a:lnTo>
                    <a:pt x="137261" y="749858"/>
                  </a:lnTo>
                  <a:lnTo>
                    <a:pt x="179387" y="769594"/>
                  </a:lnTo>
                  <a:lnTo>
                    <a:pt x="225056" y="782015"/>
                  </a:lnTo>
                  <a:lnTo>
                    <a:pt x="273532" y="786384"/>
                  </a:lnTo>
                  <a:lnTo>
                    <a:pt x="274751" y="786384"/>
                  </a:lnTo>
                  <a:lnTo>
                    <a:pt x="323100" y="782027"/>
                  </a:lnTo>
                  <a:lnTo>
                    <a:pt x="368655" y="769670"/>
                  </a:lnTo>
                  <a:lnTo>
                    <a:pt x="410692" y="750023"/>
                  </a:lnTo>
                  <a:lnTo>
                    <a:pt x="448475" y="723823"/>
                  </a:lnTo>
                  <a:lnTo>
                    <a:pt x="481279" y="691807"/>
                  </a:lnTo>
                  <a:lnTo>
                    <a:pt x="508381" y="654710"/>
                  </a:lnTo>
                  <a:lnTo>
                    <a:pt x="529043" y="613244"/>
                  </a:lnTo>
                  <a:lnTo>
                    <a:pt x="542518" y="568172"/>
                  </a:lnTo>
                  <a:lnTo>
                    <a:pt x="548081" y="520204"/>
                  </a:lnTo>
                  <a:close/>
                </a:path>
                <a:path w="548640" h="786764">
                  <a:moveTo>
                    <a:pt x="548093" y="266598"/>
                  </a:moveTo>
                  <a:lnTo>
                    <a:pt x="500380" y="270637"/>
                  </a:lnTo>
                  <a:lnTo>
                    <a:pt x="455853" y="282295"/>
                  </a:lnTo>
                  <a:lnTo>
                    <a:pt x="414616" y="300901"/>
                  </a:lnTo>
                  <a:lnTo>
                    <a:pt x="377355" y="325767"/>
                  </a:lnTo>
                  <a:lnTo>
                    <a:pt x="344728" y="356235"/>
                  </a:lnTo>
                  <a:lnTo>
                    <a:pt x="317423" y="391617"/>
                  </a:lnTo>
                  <a:lnTo>
                    <a:pt x="296087" y="431241"/>
                  </a:lnTo>
                  <a:lnTo>
                    <a:pt x="281432" y="474433"/>
                  </a:lnTo>
                  <a:lnTo>
                    <a:pt x="274091" y="520522"/>
                  </a:lnTo>
                  <a:lnTo>
                    <a:pt x="266928" y="474256"/>
                  </a:lnTo>
                  <a:lnTo>
                    <a:pt x="252361" y="430872"/>
                  </a:lnTo>
                  <a:lnTo>
                    <a:pt x="231101" y="391083"/>
                  </a:lnTo>
                  <a:lnTo>
                    <a:pt x="203809" y="355549"/>
                  </a:lnTo>
                  <a:lnTo>
                    <a:pt x="171157" y="324954"/>
                  </a:lnTo>
                  <a:lnTo>
                    <a:pt x="133845" y="299974"/>
                  </a:lnTo>
                  <a:lnTo>
                    <a:pt x="92544" y="281292"/>
                  </a:lnTo>
                  <a:lnTo>
                    <a:pt x="47917" y="269582"/>
                  </a:lnTo>
                  <a:lnTo>
                    <a:pt x="12" y="265531"/>
                  </a:lnTo>
                  <a:lnTo>
                    <a:pt x="5461" y="313690"/>
                  </a:lnTo>
                  <a:lnTo>
                    <a:pt x="18859" y="358952"/>
                  </a:lnTo>
                  <a:lnTo>
                    <a:pt x="39471" y="400570"/>
                  </a:lnTo>
                  <a:lnTo>
                    <a:pt x="66560" y="437832"/>
                  </a:lnTo>
                  <a:lnTo>
                    <a:pt x="99402" y="469988"/>
                  </a:lnTo>
                  <a:lnTo>
                    <a:pt x="137261" y="496290"/>
                  </a:lnTo>
                  <a:lnTo>
                    <a:pt x="179387" y="516026"/>
                  </a:lnTo>
                  <a:lnTo>
                    <a:pt x="225056" y="528447"/>
                  </a:lnTo>
                  <a:lnTo>
                    <a:pt x="273532" y="532828"/>
                  </a:lnTo>
                  <a:lnTo>
                    <a:pt x="274751" y="532828"/>
                  </a:lnTo>
                  <a:lnTo>
                    <a:pt x="323100" y="528472"/>
                  </a:lnTo>
                  <a:lnTo>
                    <a:pt x="368655" y="516102"/>
                  </a:lnTo>
                  <a:lnTo>
                    <a:pt x="410692" y="496455"/>
                  </a:lnTo>
                  <a:lnTo>
                    <a:pt x="448475" y="470268"/>
                  </a:lnTo>
                  <a:lnTo>
                    <a:pt x="481279" y="438251"/>
                  </a:lnTo>
                  <a:lnTo>
                    <a:pt x="508381" y="401142"/>
                  </a:lnTo>
                  <a:lnTo>
                    <a:pt x="529031" y="359689"/>
                  </a:lnTo>
                  <a:lnTo>
                    <a:pt x="542505" y="314591"/>
                  </a:lnTo>
                  <a:lnTo>
                    <a:pt x="548093" y="266598"/>
                  </a:lnTo>
                  <a:close/>
                </a:path>
                <a:path w="548640" h="786764">
                  <a:moveTo>
                    <a:pt x="548093" y="1079"/>
                  </a:moveTo>
                  <a:lnTo>
                    <a:pt x="500380" y="5105"/>
                  </a:lnTo>
                  <a:lnTo>
                    <a:pt x="455853" y="16764"/>
                  </a:lnTo>
                  <a:lnTo>
                    <a:pt x="414616" y="35369"/>
                  </a:lnTo>
                  <a:lnTo>
                    <a:pt x="377355" y="60236"/>
                  </a:lnTo>
                  <a:lnTo>
                    <a:pt x="344728" y="90703"/>
                  </a:lnTo>
                  <a:lnTo>
                    <a:pt x="317423" y="126085"/>
                  </a:lnTo>
                  <a:lnTo>
                    <a:pt x="296087" y="165709"/>
                  </a:lnTo>
                  <a:lnTo>
                    <a:pt x="281432" y="208902"/>
                  </a:lnTo>
                  <a:lnTo>
                    <a:pt x="274091" y="254990"/>
                  </a:lnTo>
                  <a:lnTo>
                    <a:pt x="266928"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59"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36"/>
                  </a:lnTo>
                  <a:lnTo>
                    <a:pt x="481279" y="172720"/>
                  </a:lnTo>
                  <a:lnTo>
                    <a:pt x="508381" y="135623"/>
                  </a:lnTo>
                  <a:lnTo>
                    <a:pt x="529031" y="94157"/>
                  </a:lnTo>
                  <a:lnTo>
                    <a:pt x="542505" y="49060"/>
                  </a:lnTo>
                  <a:lnTo>
                    <a:pt x="548093" y="1079"/>
                  </a:lnTo>
                  <a:close/>
                </a:path>
              </a:pathLst>
            </a:custGeom>
            <a:solidFill>
              <a:srgbClr val="2DB7EA"/>
            </a:solidFill>
          </p:spPr>
          <p:txBody>
            <a:bodyPr wrap="square" lIns="0" tIns="0" rIns="0" bIns="0" rtlCol="0"/>
            <a:lstStyle/>
            <a:p>
              <a:endParaRPr dirty="0"/>
            </a:p>
          </p:txBody>
        </p:sp>
        <p:pic>
          <p:nvPicPr>
            <p:cNvPr id="586" name="object 347">
              <a:extLst>
                <a:ext uri="{FF2B5EF4-FFF2-40B4-BE49-F238E27FC236}">
                  <a16:creationId xmlns:a16="http://schemas.microsoft.com/office/drawing/2014/main" id="{C88ACA37-0617-674B-9D10-C7F7CDEC5AD4}"/>
                </a:ext>
              </a:extLst>
            </p:cNvPr>
            <p:cNvPicPr/>
            <p:nvPr/>
          </p:nvPicPr>
          <p:blipFill>
            <a:blip r:embed="rId5" cstate="print"/>
            <a:stretch>
              <a:fillRect/>
            </a:stretch>
          </p:blipFill>
          <p:spPr>
            <a:xfrm>
              <a:off x="10021726" y="718433"/>
              <a:ext cx="106445" cy="107156"/>
            </a:xfrm>
            <a:prstGeom prst="rect">
              <a:avLst/>
            </a:prstGeom>
          </p:spPr>
        </p:pic>
        <p:sp>
          <p:nvSpPr>
            <p:cNvPr id="587" name="object 348">
              <a:extLst>
                <a:ext uri="{FF2B5EF4-FFF2-40B4-BE49-F238E27FC236}">
                  <a16:creationId xmlns:a16="http://schemas.microsoft.com/office/drawing/2014/main" id="{D183A13F-566B-21F9-850D-3B310CE8D6F7}"/>
                </a:ext>
              </a:extLst>
            </p:cNvPr>
            <p:cNvSpPr/>
            <p:nvPr/>
          </p:nvSpPr>
          <p:spPr>
            <a:xfrm>
              <a:off x="9909070" y="150257"/>
              <a:ext cx="332700" cy="477101"/>
            </a:xfrm>
            <a:custGeom>
              <a:avLst/>
              <a:gdLst/>
              <a:ahLst/>
              <a:cxnLst/>
              <a:rect l="l" t="t" r="r" b="b"/>
              <a:pathLst>
                <a:path w="548640" h="786765">
                  <a:moveTo>
                    <a:pt x="548093" y="520179"/>
                  </a:moveTo>
                  <a:lnTo>
                    <a:pt x="500380" y="524205"/>
                  </a:lnTo>
                  <a:lnTo>
                    <a:pt x="455853" y="535863"/>
                  </a:lnTo>
                  <a:lnTo>
                    <a:pt x="414616" y="554469"/>
                  </a:lnTo>
                  <a:lnTo>
                    <a:pt x="377355" y="579335"/>
                  </a:lnTo>
                  <a:lnTo>
                    <a:pt x="344728" y="609803"/>
                  </a:lnTo>
                  <a:lnTo>
                    <a:pt x="317411" y="645172"/>
                  </a:lnTo>
                  <a:lnTo>
                    <a:pt x="296087" y="684796"/>
                  </a:lnTo>
                  <a:lnTo>
                    <a:pt x="281419" y="727976"/>
                  </a:lnTo>
                  <a:lnTo>
                    <a:pt x="274091" y="774065"/>
                  </a:lnTo>
                  <a:lnTo>
                    <a:pt x="272161" y="761669"/>
                  </a:lnTo>
                  <a:lnTo>
                    <a:pt x="266928" y="727824"/>
                  </a:lnTo>
                  <a:lnTo>
                    <a:pt x="257238" y="699008"/>
                  </a:lnTo>
                  <a:lnTo>
                    <a:pt x="252361" y="684453"/>
                  </a:lnTo>
                  <a:lnTo>
                    <a:pt x="231101" y="644652"/>
                  </a:lnTo>
                  <a:lnTo>
                    <a:pt x="203809" y="609117"/>
                  </a:lnTo>
                  <a:lnTo>
                    <a:pt x="187998" y="594321"/>
                  </a:lnTo>
                  <a:lnTo>
                    <a:pt x="171157" y="578523"/>
                  </a:lnTo>
                  <a:lnTo>
                    <a:pt x="133845" y="553542"/>
                  </a:lnTo>
                  <a:lnTo>
                    <a:pt x="92532" y="534835"/>
                  </a:lnTo>
                  <a:lnTo>
                    <a:pt x="47917" y="523125"/>
                  </a:lnTo>
                  <a:lnTo>
                    <a:pt x="0" y="519074"/>
                  </a:lnTo>
                  <a:lnTo>
                    <a:pt x="5448" y="567245"/>
                  </a:lnTo>
                  <a:lnTo>
                    <a:pt x="18846" y="612508"/>
                  </a:lnTo>
                  <a:lnTo>
                    <a:pt x="39458" y="654138"/>
                  </a:lnTo>
                  <a:lnTo>
                    <a:pt x="46850" y="66429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93" y="654710"/>
                  </a:lnTo>
                  <a:lnTo>
                    <a:pt x="529043" y="613257"/>
                  </a:lnTo>
                  <a:lnTo>
                    <a:pt x="542518" y="568172"/>
                  </a:lnTo>
                  <a:lnTo>
                    <a:pt x="548081" y="520217"/>
                  </a:lnTo>
                  <a:close/>
                </a:path>
                <a:path w="548640" h="786765">
                  <a:moveTo>
                    <a:pt x="548093" y="266611"/>
                  </a:moveTo>
                  <a:lnTo>
                    <a:pt x="500380" y="270649"/>
                  </a:lnTo>
                  <a:lnTo>
                    <a:pt x="455853" y="282308"/>
                  </a:lnTo>
                  <a:lnTo>
                    <a:pt x="414616" y="300901"/>
                  </a:lnTo>
                  <a:lnTo>
                    <a:pt x="377355" y="325767"/>
                  </a:lnTo>
                  <a:lnTo>
                    <a:pt x="344728" y="356235"/>
                  </a:lnTo>
                  <a:lnTo>
                    <a:pt x="317423" y="391617"/>
                  </a:lnTo>
                  <a:lnTo>
                    <a:pt x="296087" y="431253"/>
                  </a:lnTo>
                  <a:lnTo>
                    <a:pt x="281432" y="474446"/>
                  </a:lnTo>
                  <a:lnTo>
                    <a:pt x="274091" y="520534"/>
                  </a:lnTo>
                  <a:lnTo>
                    <a:pt x="266928" y="474256"/>
                  </a:lnTo>
                  <a:lnTo>
                    <a:pt x="252361" y="430885"/>
                  </a:lnTo>
                  <a:lnTo>
                    <a:pt x="231101" y="391096"/>
                  </a:lnTo>
                  <a:lnTo>
                    <a:pt x="203809" y="355561"/>
                  </a:lnTo>
                  <a:lnTo>
                    <a:pt x="171157" y="324954"/>
                  </a:lnTo>
                  <a:lnTo>
                    <a:pt x="133845" y="299974"/>
                  </a:lnTo>
                  <a:lnTo>
                    <a:pt x="92544" y="281292"/>
                  </a:lnTo>
                  <a:lnTo>
                    <a:pt x="47917" y="269582"/>
                  </a:lnTo>
                  <a:lnTo>
                    <a:pt x="12" y="265531"/>
                  </a:lnTo>
                  <a:lnTo>
                    <a:pt x="5461" y="313690"/>
                  </a:lnTo>
                  <a:lnTo>
                    <a:pt x="18859" y="358952"/>
                  </a:lnTo>
                  <a:lnTo>
                    <a:pt x="39471" y="400583"/>
                  </a:lnTo>
                  <a:lnTo>
                    <a:pt x="66560" y="437832"/>
                  </a:lnTo>
                  <a:lnTo>
                    <a:pt x="99402" y="469988"/>
                  </a:lnTo>
                  <a:lnTo>
                    <a:pt x="137261" y="496303"/>
                  </a:lnTo>
                  <a:lnTo>
                    <a:pt x="179387" y="516039"/>
                  </a:lnTo>
                  <a:lnTo>
                    <a:pt x="225056" y="528459"/>
                  </a:lnTo>
                  <a:lnTo>
                    <a:pt x="273532" y="532828"/>
                  </a:lnTo>
                  <a:lnTo>
                    <a:pt x="274751" y="532828"/>
                  </a:lnTo>
                  <a:lnTo>
                    <a:pt x="323100" y="528472"/>
                  </a:lnTo>
                  <a:lnTo>
                    <a:pt x="368655" y="516115"/>
                  </a:lnTo>
                  <a:lnTo>
                    <a:pt x="410692" y="496468"/>
                  </a:lnTo>
                  <a:lnTo>
                    <a:pt x="448475" y="470268"/>
                  </a:lnTo>
                  <a:lnTo>
                    <a:pt x="481279" y="438251"/>
                  </a:lnTo>
                  <a:lnTo>
                    <a:pt x="508381" y="401154"/>
                  </a:lnTo>
                  <a:lnTo>
                    <a:pt x="529031" y="359689"/>
                  </a:lnTo>
                  <a:lnTo>
                    <a:pt x="542505" y="314604"/>
                  </a:lnTo>
                  <a:lnTo>
                    <a:pt x="548093" y="266611"/>
                  </a:lnTo>
                  <a:close/>
                </a:path>
                <a:path w="548640" h="786765">
                  <a:moveTo>
                    <a:pt x="548093" y="1079"/>
                  </a:moveTo>
                  <a:lnTo>
                    <a:pt x="500380" y="5118"/>
                  </a:lnTo>
                  <a:lnTo>
                    <a:pt x="455853" y="16776"/>
                  </a:lnTo>
                  <a:lnTo>
                    <a:pt x="414616" y="35369"/>
                  </a:lnTo>
                  <a:lnTo>
                    <a:pt x="377355" y="60248"/>
                  </a:lnTo>
                  <a:lnTo>
                    <a:pt x="344728" y="90716"/>
                  </a:lnTo>
                  <a:lnTo>
                    <a:pt x="317423" y="126098"/>
                  </a:lnTo>
                  <a:lnTo>
                    <a:pt x="296087" y="165722"/>
                  </a:lnTo>
                  <a:lnTo>
                    <a:pt x="281432" y="208915"/>
                  </a:lnTo>
                  <a:lnTo>
                    <a:pt x="274091" y="255003"/>
                  </a:lnTo>
                  <a:lnTo>
                    <a:pt x="266928" y="208724"/>
                  </a:lnTo>
                  <a:lnTo>
                    <a:pt x="252361" y="165354"/>
                  </a:lnTo>
                  <a:lnTo>
                    <a:pt x="231101" y="125564"/>
                  </a:lnTo>
                  <a:lnTo>
                    <a:pt x="203809" y="90030"/>
                  </a:lnTo>
                  <a:lnTo>
                    <a:pt x="171157" y="59436"/>
                  </a:lnTo>
                  <a:lnTo>
                    <a:pt x="133845" y="34455"/>
                  </a:lnTo>
                  <a:lnTo>
                    <a:pt x="92544" y="15760"/>
                  </a:lnTo>
                  <a:lnTo>
                    <a:pt x="47917" y="4064"/>
                  </a:lnTo>
                  <a:lnTo>
                    <a:pt x="12" y="0"/>
                  </a:lnTo>
                  <a:lnTo>
                    <a:pt x="5461" y="48171"/>
                  </a:lnTo>
                  <a:lnTo>
                    <a:pt x="18859"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92" y="230936"/>
                  </a:lnTo>
                  <a:lnTo>
                    <a:pt x="448475" y="204736"/>
                  </a:lnTo>
                  <a:lnTo>
                    <a:pt x="481279" y="172732"/>
                  </a:lnTo>
                  <a:lnTo>
                    <a:pt x="508381" y="135623"/>
                  </a:lnTo>
                  <a:lnTo>
                    <a:pt x="529031" y="94157"/>
                  </a:lnTo>
                  <a:lnTo>
                    <a:pt x="542505" y="49072"/>
                  </a:lnTo>
                  <a:lnTo>
                    <a:pt x="548093" y="1079"/>
                  </a:lnTo>
                  <a:close/>
                </a:path>
              </a:pathLst>
            </a:custGeom>
            <a:solidFill>
              <a:srgbClr val="7ED3F1"/>
            </a:solidFill>
          </p:spPr>
          <p:txBody>
            <a:bodyPr wrap="square" lIns="0" tIns="0" rIns="0" bIns="0" rtlCol="0"/>
            <a:lstStyle/>
            <a:p>
              <a:endParaRPr dirty="0"/>
            </a:p>
          </p:txBody>
        </p:sp>
        <p:pic>
          <p:nvPicPr>
            <p:cNvPr id="588" name="object 349">
              <a:extLst>
                <a:ext uri="{FF2B5EF4-FFF2-40B4-BE49-F238E27FC236}">
                  <a16:creationId xmlns:a16="http://schemas.microsoft.com/office/drawing/2014/main" id="{DDAC631A-28F6-5C9B-BFB8-9A50A069189C}"/>
                </a:ext>
              </a:extLst>
            </p:cNvPr>
            <p:cNvPicPr/>
            <p:nvPr/>
          </p:nvPicPr>
          <p:blipFill>
            <a:blip r:embed="rId6" cstate="print"/>
            <a:stretch>
              <a:fillRect/>
            </a:stretch>
          </p:blipFill>
          <p:spPr>
            <a:xfrm>
              <a:off x="10021726" y="64269"/>
              <a:ext cx="106445" cy="107156"/>
            </a:xfrm>
            <a:prstGeom prst="rect">
              <a:avLst/>
            </a:prstGeom>
          </p:spPr>
        </p:pic>
        <p:sp>
          <p:nvSpPr>
            <p:cNvPr id="589" name="object 350">
              <a:extLst>
                <a:ext uri="{FF2B5EF4-FFF2-40B4-BE49-F238E27FC236}">
                  <a16:creationId xmlns:a16="http://schemas.microsoft.com/office/drawing/2014/main" id="{9EF10887-2740-37BB-6390-C3C9F9300BBF}"/>
                </a:ext>
              </a:extLst>
            </p:cNvPr>
            <p:cNvSpPr/>
            <p:nvPr/>
          </p:nvSpPr>
          <p:spPr>
            <a:xfrm>
              <a:off x="9909070" y="2112754"/>
              <a:ext cx="332700" cy="477101"/>
            </a:xfrm>
            <a:custGeom>
              <a:avLst/>
              <a:gdLst/>
              <a:ahLst/>
              <a:cxnLst/>
              <a:rect l="l" t="t" r="r" b="b"/>
              <a:pathLst>
                <a:path w="548640" h="786764">
                  <a:moveTo>
                    <a:pt x="548093" y="520166"/>
                  </a:moveTo>
                  <a:lnTo>
                    <a:pt x="500380" y="524205"/>
                  </a:lnTo>
                  <a:lnTo>
                    <a:pt x="455853" y="535863"/>
                  </a:lnTo>
                  <a:lnTo>
                    <a:pt x="414616" y="554456"/>
                  </a:lnTo>
                  <a:lnTo>
                    <a:pt x="377355" y="579335"/>
                  </a:lnTo>
                  <a:lnTo>
                    <a:pt x="375183" y="581367"/>
                  </a:lnTo>
                  <a:lnTo>
                    <a:pt x="344728" y="609803"/>
                  </a:lnTo>
                  <a:lnTo>
                    <a:pt x="317411" y="645172"/>
                  </a:lnTo>
                  <a:lnTo>
                    <a:pt x="296087" y="684796"/>
                  </a:lnTo>
                  <a:lnTo>
                    <a:pt x="281419" y="727989"/>
                  </a:lnTo>
                  <a:lnTo>
                    <a:pt x="274091" y="774065"/>
                  </a:lnTo>
                  <a:lnTo>
                    <a:pt x="272389" y="763143"/>
                  </a:lnTo>
                  <a:lnTo>
                    <a:pt x="266928" y="727811"/>
                  </a:lnTo>
                  <a:lnTo>
                    <a:pt x="252361" y="684441"/>
                  </a:lnTo>
                  <a:lnTo>
                    <a:pt x="231101" y="644652"/>
                  </a:lnTo>
                  <a:lnTo>
                    <a:pt x="203809" y="609117"/>
                  </a:lnTo>
                  <a:lnTo>
                    <a:pt x="171157" y="578523"/>
                  </a:lnTo>
                  <a:lnTo>
                    <a:pt x="133845" y="553542"/>
                  </a:lnTo>
                  <a:lnTo>
                    <a:pt x="92544" y="534860"/>
                  </a:lnTo>
                  <a:lnTo>
                    <a:pt x="47917" y="523125"/>
                  </a:lnTo>
                  <a:lnTo>
                    <a:pt x="12" y="519087"/>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93" y="654710"/>
                  </a:lnTo>
                  <a:lnTo>
                    <a:pt x="529043" y="613257"/>
                  </a:lnTo>
                  <a:lnTo>
                    <a:pt x="542518" y="568172"/>
                  </a:lnTo>
                  <a:lnTo>
                    <a:pt x="548081" y="520217"/>
                  </a:lnTo>
                  <a:close/>
                </a:path>
                <a:path w="548640" h="786764">
                  <a:moveTo>
                    <a:pt x="548093" y="266611"/>
                  </a:moveTo>
                  <a:lnTo>
                    <a:pt x="500380" y="270649"/>
                  </a:lnTo>
                  <a:lnTo>
                    <a:pt x="455853" y="282308"/>
                  </a:lnTo>
                  <a:lnTo>
                    <a:pt x="414616" y="300901"/>
                  </a:lnTo>
                  <a:lnTo>
                    <a:pt x="377355" y="325780"/>
                  </a:lnTo>
                  <a:lnTo>
                    <a:pt x="344728" y="356247"/>
                  </a:lnTo>
                  <a:lnTo>
                    <a:pt x="317423" y="391629"/>
                  </a:lnTo>
                  <a:lnTo>
                    <a:pt x="296087" y="431253"/>
                  </a:lnTo>
                  <a:lnTo>
                    <a:pt x="281432" y="474446"/>
                  </a:lnTo>
                  <a:lnTo>
                    <a:pt x="274091" y="520534"/>
                  </a:lnTo>
                  <a:lnTo>
                    <a:pt x="266928" y="474256"/>
                  </a:lnTo>
                  <a:lnTo>
                    <a:pt x="252361" y="430885"/>
                  </a:lnTo>
                  <a:lnTo>
                    <a:pt x="231101" y="391096"/>
                  </a:lnTo>
                  <a:lnTo>
                    <a:pt x="203809" y="355561"/>
                  </a:lnTo>
                  <a:lnTo>
                    <a:pt x="171157" y="324967"/>
                  </a:lnTo>
                  <a:lnTo>
                    <a:pt x="133845" y="299986"/>
                  </a:lnTo>
                  <a:lnTo>
                    <a:pt x="92544" y="281292"/>
                  </a:lnTo>
                  <a:lnTo>
                    <a:pt x="47917" y="269582"/>
                  </a:lnTo>
                  <a:lnTo>
                    <a:pt x="12" y="265531"/>
                  </a:lnTo>
                  <a:lnTo>
                    <a:pt x="5461" y="313702"/>
                  </a:lnTo>
                  <a:lnTo>
                    <a:pt x="18859" y="358952"/>
                  </a:lnTo>
                  <a:lnTo>
                    <a:pt x="39471" y="400583"/>
                  </a:lnTo>
                  <a:lnTo>
                    <a:pt x="66560" y="437845"/>
                  </a:lnTo>
                  <a:lnTo>
                    <a:pt x="99402" y="469988"/>
                  </a:lnTo>
                  <a:lnTo>
                    <a:pt x="137261" y="496303"/>
                  </a:lnTo>
                  <a:lnTo>
                    <a:pt x="179387" y="516039"/>
                  </a:lnTo>
                  <a:lnTo>
                    <a:pt x="225056" y="528459"/>
                  </a:lnTo>
                  <a:lnTo>
                    <a:pt x="273532" y="532841"/>
                  </a:lnTo>
                  <a:lnTo>
                    <a:pt x="274751" y="532841"/>
                  </a:lnTo>
                  <a:lnTo>
                    <a:pt x="323100" y="528485"/>
                  </a:lnTo>
                  <a:lnTo>
                    <a:pt x="368655" y="516115"/>
                  </a:lnTo>
                  <a:lnTo>
                    <a:pt x="410692" y="496468"/>
                  </a:lnTo>
                  <a:lnTo>
                    <a:pt x="448475" y="470268"/>
                  </a:lnTo>
                  <a:lnTo>
                    <a:pt x="481279" y="438264"/>
                  </a:lnTo>
                  <a:lnTo>
                    <a:pt x="508381" y="401154"/>
                  </a:lnTo>
                  <a:lnTo>
                    <a:pt x="529031" y="359689"/>
                  </a:lnTo>
                  <a:lnTo>
                    <a:pt x="542505" y="314604"/>
                  </a:lnTo>
                  <a:lnTo>
                    <a:pt x="548093" y="266611"/>
                  </a:lnTo>
                  <a:close/>
                </a:path>
                <a:path w="548640" h="786764">
                  <a:moveTo>
                    <a:pt x="548093" y="1079"/>
                  </a:moveTo>
                  <a:lnTo>
                    <a:pt x="500380" y="5118"/>
                  </a:lnTo>
                  <a:lnTo>
                    <a:pt x="455853" y="16776"/>
                  </a:lnTo>
                  <a:lnTo>
                    <a:pt x="414616" y="35369"/>
                  </a:lnTo>
                  <a:lnTo>
                    <a:pt x="377355" y="60248"/>
                  </a:lnTo>
                  <a:lnTo>
                    <a:pt x="344728" y="90703"/>
                  </a:lnTo>
                  <a:lnTo>
                    <a:pt x="317423" y="126085"/>
                  </a:lnTo>
                  <a:lnTo>
                    <a:pt x="296087" y="165722"/>
                  </a:lnTo>
                  <a:lnTo>
                    <a:pt x="281432" y="208915"/>
                  </a:lnTo>
                  <a:lnTo>
                    <a:pt x="274091" y="255003"/>
                  </a:lnTo>
                  <a:lnTo>
                    <a:pt x="266928" y="208724"/>
                  </a:lnTo>
                  <a:lnTo>
                    <a:pt x="252361" y="165354"/>
                  </a:lnTo>
                  <a:lnTo>
                    <a:pt x="231101" y="125564"/>
                  </a:lnTo>
                  <a:lnTo>
                    <a:pt x="203809" y="90030"/>
                  </a:lnTo>
                  <a:lnTo>
                    <a:pt x="171157" y="59423"/>
                  </a:lnTo>
                  <a:lnTo>
                    <a:pt x="133845" y="34442"/>
                  </a:lnTo>
                  <a:lnTo>
                    <a:pt x="92544" y="15760"/>
                  </a:lnTo>
                  <a:lnTo>
                    <a:pt x="47917" y="4051"/>
                  </a:lnTo>
                  <a:lnTo>
                    <a:pt x="12" y="0"/>
                  </a:lnTo>
                  <a:lnTo>
                    <a:pt x="5461" y="48158"/>
                  </a:lnTo>
                  <a:lnTo>
                    <a:pt x="18859" y="93421"/>
                  </a:lnTo>
                  <a:lnTo>
                    <a:pt x="39471" y="135051"/>
                  </a:lnTo>
                  <a:lnTo>
                    <a:pt x="66560" y="172313"/>
                  </a:lnTo>
                  <a:lnTo>
                    <a:pt x="99402" y="204457"/>
                  </a:lnTo>
                  <a:lnTo>
                    <a:pt x="137261" y="230771"/>
                  </a:lnTo>
                  <a:lnTo>
                    <a:pt x="179387" y="250507"/>
                  </a:lnTo>
                  <a:lnTo>
                    <a:pt x="225056" y="262928"/>
                  </a:lnTo>
                  <a:lnTo>
                    <a:pt x="273532" y="267296"/>
                  </a:lnTo>
                  <a:lnTo>
                    <a:pt x="274751" y="267296"/>
                  </a:lnTo>
                  <a:lnTo>
                    <a:pt x="323100" y="262940"/>
                  </a:lnTo>
                  <a:lnTo>
                    <a:pt x="368655" y="250583"/>
                  </a:lnTo>
                  <a:lnTo>
                    <a:pt x="410692" y="230936"/>
                  </a:lnTo>
                  <a:lnTo>
                    <a:pt x="448475" y="204736"/>
                  </a:lnTo>
                  <a:lnTo>
                    <a:pt x="481279" y="172720"/>
                  </a:lnTo>
                  <a:lnTo>
                    <a:pt x="508381" y="135623"/>
                  </a:lnTo>
                  <a:lnTo>
                    <a:pt x="529031" y="94157"/>
                  </a:lnTo>
                  <a:lnTo>
                    <a:pt x="542505" y="49072"/>
                  </a:lnTo>
                  <a:lnTo>
                    <a:pt x="548093" y="1079"/>
                  </a:lnTo>
                  <a:close/>
                </a:path>
              </a:pathLst>
            </a:custGeom>
            <a:solidFill>
              <a:srgbClr val="2DB7EA"/>
            </a:solidFill>
          </p:spPr>
          <p:txBody>
            <a:bodyPr wrap="square" lIns="0" tIns="0" rIns="0" bIns="0" rtlCol="0"/>
            <a:lstStyle/>
            <a:p>
              <a:endParaRPr dirty="0"/>
            </a:p>
          </p:txBody>
        </p:sp>
        <p:pic>
          <p:nvPicPr>
            <p:cNvPr id="590" name="object 351">
              <a:extLst>
                <a:ext uri="{FF2B5EF4-FFF2-40B4-BE49-F238E27FC236}">
                  <a16:creationId xmlns:a16="http://schemas.microsoft.com/office/drawing/2014/main" id="{E9E961C4-A0D7-2FC2-4307-07D16DB3DF17}"/>
                </a:ext>
              </a:extLst>
            </p:cNvPr>
            <p:cNvPicPr/>
            <p:nvPr/>
          </p:nvPicPr>
          <p:blipFill>
            <a:blip r:embed="rId5" cstate="print"/>
            <a:stretch>
              <a:fillRect/>
            </a:stretch>
          </p:blipFill>
          <p:spPr>
            <a:xfrm>
              <a:off x="10021726" y="2026765"/>
              <a:ext cx="106445" cy="107156"/>
            </a:xfrm>
            <a:prstGeom prst="rect">
              <a:avLst/>
            </a:prstGeom>
          </p:spPr>
        </p:pic>
        <p:sp>
          <p:nvSpPr>
            <p:cNvPr id="591" name="object 352">
              <a:extLst>
                <a:ext uri="{FF2B5EF4-FFF2-40B4-BE49-F238E27FC236}">
                  <a16:creationId xmlns:a16="http://schemas.microsoft.com/office/drawing/2014/main" id="{D1DEBB69-019A-7951-006B-1A8383553F36}"/>
                </a:ext>
              </a:extLst>
            </p:cNvPr>
            <p:cNvSpPr/>
            <p:nvPr/>
          </p:nvSpPr>
          <p:spPr>
            <a:xfrm>
              <a:off x="9909070" y="1458591"/>
              <a:ext cx="332700" cy="477101"/>
            </a:xfrm>
            <a:custGeom>
              <a:avLst/>
              <a:gdLst/>
              <a:ahLst/>
              <a:cxnLst/>
              <a:rect l="l" t="t" r="r" b="b"/>
              <a:pathLst>
                <a:path w="548640" h="786764">
                  <a:moveTo>
                    <a:pt x="548093" y="520166"/>
                  </a:moveTo>
                  <a:lnTo>
                    <a:pt x="500380" y="524205"/>
                  </a:lnTo>
                  <a:lnTo>
                    <a:pt x="455853" y="535863"/>
                  </a:lnTo>
                  <a:lnTo>
                    <a:pt x="414616" y="554456"/>
                  </a:lnTo>
                  <a:lnTo>
                    <a:pt x="386664" y="573125"/>
                  </a:lnTo>
                  <a:lnTo>
                    <a:pt x="377355" y="579335"/>
                  </a:lnTo>
                  <a:lnTo>
                    <a:pt x="344728" y="609790"/>
                  </a:lnTo>
                  <a:lnTo>
                    <a:pt x="317411" y="645172"/>
                  </a:lnTo>
                  <a:lnTo>
                    <a:pt x="296087" y="684784"/>
                  </a:lnTo>
                  <a:lnTo>
                    <a:pt x="281419" y="727976"/>
                  </a:lnTo>
                  <a:lnTo>
                    <a:pt x="274091" y="774065"/>
                  </a:lnTo>
                  <a:lnTo>
                    <a:pt x="272389" y="763143"/>
                  </a:lnTo>
                  <a:lnTo>
                    <a:pt x="266928" y="727811"/>
                  </a:lnTo>
                  <a:lnTo>
                    <a:pt x="252361" y="684441"/>
                  </a:lnTo>
                  <a:lnTo>
                    <a:pt x="231101" y="644652"/>
                  </a:lnTo>
                  <a:lnTo>
                    <a:pt x="203809" y="609117"/>
                  </a:lnTo>
                  <a:lnTo>
                    <a:pt x="171157" y="578510"/>
                  </a:lnTo>
                  <a:lnTo>
                    <a:pt x="133845" y="553529"/>
                  </a:lnTo>
                  <a:lnTo>
                    <a:pt x="92544" y="534847"/>
                  </a:lnTo>
                  <a:lnTo>
                    <a:pt x="47917" y="523138"/>
                  </a:lnTo>
                  <a:lnTo>
                    <a:pt x="0" y="519061"/>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84"/>
                  </a:lnTo>
                  <a:lnTo>
                    <a:pt x="274751" y="786384"/>
                  </a:lnTo>
                  <a:lnTo>
                    <a:pt x="323100" y="782027"/>
                  </a:lnTo>
                  <a:lnTo>
                    <a:pt x="368655" y="769670"/>
                  </a:lnTo>
                  <a:lnTo>
                    <a:pt x="410692" y="750023"/>
                  </a:lnTo>
                  <a:lnTo>
                    <a:pt x="448475" y="723823"/>
                  </a:lnTo>
                  <a:lnTo>
                    <a:pt x="481279" y="691807"/>
                  </a:lnTo>
                  <a:lnTo>
                    <a:pt x="508381" y="654710"/>
                  </a:lnTo>
                  <a:lnTo>
                    <a:pt x="529043" y="613244"/>
                  </a:lnTo>
                  <a:lnTo>
                    <a:pt x="542518" y="568172"/>
                  </a:lnTo>
                  <a:lnTo>
                    <a:pt x="548081" y="520204"/>
                  </a:lnTo>
                  <a:close/>
                </a:path>
                <a:path w="548640" h="786764">
                  <a:moveTo>
                    <a:pt x="548093" y="266611"/>
                  </a:moveTo>
                  <a:lnTo>
                    <a:pt x="500380" y="270649"/>
                  </a:lnTo>
                  <a:lnTo>
                    <a:pt x="455853" y="282295"/>
                  </a:lnTo>
                  <a:lnTo>
                    <a:pt x="414616" y="300901"/>
                  </a:lnTo>
                  <a:lnTo>
                    <a:pt x="377355" y="325767"/>
                  </a:lnTo>
                  <a:lnTo>
                    <a:pt x="344728" y="356235"/>
                  </a:lnTo>
                  <a:lnTo>
                    <a:pt x="317423" y="391617"/>
                  </a:lnTo>
                  <a:lnTo>
                    <a:pt x="296087" y="431241"/>
                  </a:lnTo>
                  <a:lnTo>
                    <a:pt x="281432" y="474446"/>
                  </a:lnTo>
                  <a:lnTo>
                    <a:pt x="274091" y="520522"/>
                  </a:lnTo>
                  <a:lnTo>
                    <a:pt x="266928"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59" y="358952"/>
                  </a:lnTo>
                  <a:lnTo>
                    <a:pt x="39471" y="400583"/>
                  </a:lnTo>
                  <a:lnTo>
                    <a:pt x="66560" y="437832"/>
                  </a:lnTo>
                  <a:lnTo>
                    <a:pt x="99402" y="469988"/>
                  </a:lnTo>
                  <a:lnTo>
                    <a:pt x="137261" y="496303"/>
                  </a:lnTo>
                  <a:lnTo>
                    <a:pt x="179387" y="516026"/>
                  </a:lnTo>
                  <a:lnTo>
                    <a:pt x="225056" y="528459"/>
                  </a:lnTo>
                  <a:lnTo>
                    <a:pt x="273532" y="532828"/>
                  </a:lnTo>
                  <a:lnTo>
                    <a:pt x="274751" y="532828"/>
                  </a:lnTo>
                  <a:lnTo>
                    <a:pt x="323100" y="528472"/>
                  </a:lnTo>
                  <a:lnTo>
                    <a:pt x="368655" y="516102"/>
                  </a:lnTo>
                  <a:lnTo>
                    <a:pt x="410692" y="496468"/>
                  </a:lnTo>
                  <a:lnTo>
                    <a:pt x="448475" y="470268"/>
                  </a:lnTo>
                  <a:lnTo>
                    <a:pt x="481279" y="438251"/>
                  </a:lnTo>
                  <a:lnTo>
                    <a:pt x="508381" y="401154"/>
                  </a:lnTo>
                  <a:lnTo>
                    <a:pt x="529031" y="359689"/>
                  </a:lnTo>
                  <a:lnTo>
                    <a:pt x="542505" y="314604"/>
                  </a:lnTo>
                  <a:lnTo>
                    <a:pt x="548093" y="266611"/>
                  </a:lnTo>
                  <a:close/>
                </a:path>
                <a:path w="548640" h="786764">
                  <a:moveTo>
                    <a:pt x="548093" y="1079"/>
                  </a:moveTo>
                  <a:lnTo>
                    <a:pt x="500380" y="5105"/>
                  </a:lnTo>
                  <a:lnTo>
                    <a:pt x="455853" y="16764"/>
                  </a:lnTo>
                  <a:lnTo>
                    <a:pt x="414616" y="35369"/>
                  </a:lnTo>
                  <a:lnTo>
                    <a:pt x="377355" y="60236"/>
                  </a:lnTo>
                  <a:lnTo>
                    <a:pt x="344728" y="90703"/>
                  </a:lnTo>
                  <a:lnTo>
                    <a:pt x="317423" y="126085"/>
                  </a:lnTo>
                  <a:lnTo>
                    <a:pt x="296087" y="165709"/>
                  </a:lnTo>
                  <a:lnTo>
                    <a:pt x="281432" y="208902"/>
                  </a:lnTo>
                  <a:lnTo>
                    <a:pt x="274091" y="254990"/>
                  </a:lnTo>
                  <a:lnTo>
                    <a:pt x="266928"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59"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36"/>
                  </a:lnTo>
                  <a:lnTo>
                    <a:pt x="481279" y="172720"/>
                  </a:lnTo>
                  <a:lnTo>
                    <a:pt x="508381" y="135623"/>
                  </a:lnTo>
                  <a:lnTo>
                    <a:pt x="529031" y="94157"/>
                  </a:lnTo>
                  <a:lnTo>
                    <a:pt x="542505" y="49060"/>
                  </a:lnTo>
                  <a:lnTo>
                    <a:pt x="548093" y="1079"/>
                  </a:lnTo>
                  <a:close/>
                </a:path>
              </a:pathLst>
            </a:custGeom>
            <a:solidFill>
              <a:srgbClr val="7ED3F1"/>
            </a:solidFill>
          </p:spPr>
          <p:txBody>
            <a:bodyPr wrap="square" lIns="0" tIns="0" rIns="0" bIns="0" rtlCol="0"/>
            <a:lstStyle/>
            <a:p>
              <a:endParaRPr dirty="0"/>
            </a:p>
          </p:txBody>
        </p:sp>
        <p:pic>
          <p:nvPicPr>
            <p:cNvPr id="592" name="object 353">
              <a:extLst>
                <a:ext uri="{FF2B5EF4-FFF2-40B4-BE49-F238E27FC236}">
                  <a16:creationId xmlns:a16="http://schemas.microsoft.com/office/drawing/2014/main" id="{E0FBC213-4E34-3928-0AB3-594A9FE2F9CA}"/>
                </a:ext>
              </a:extLst>
            </p:cNvPr>
            <p:cNvPicPr/>
            <p:nvPr/>
          </p:nvPicPr>
          <p:blipFill>
            <a:blip r:embed="rId6" cstate="print"/>
            <a:stretch>
              <a:fillRect/>
            </a:stretch>
          </p:blipFill>
          <p:spPr>
            <a:xfrm>
              <a:off x="10021726" y="1372599"/>
              <a:ext cx="106445" cy="107156"/>
            </a:xfrm>
            <a:prstGeom prst="rect">
              <a:avLst/>
            </a:prstGeom>
          </p:spPr>
        </p:pic>
        <p:sp>
          <p:nvSpPr>
            <p:cNvPr id="593" name="object 354">
              <a:extLst>
                <a:ext uri="{FF2B5EF4-FFF2-40B4-BE49-F238E27FC236}">
                  <a16:creationId xmlns:a16="http://schemas.microsoft.com/office/drawing/2014/main" id="{11E315FE-802C-3149-9B40-726225661F59}"/>
                </a:ext>
              </a:extLst>
            </p:cNvPr>
            <p:cNvSpPr/>
            <p:nvPr/>
          </p:nvSpPr>
          <p:spPr>
            <a:xfrm>
              <a:off x="9909070" y="3421088"/>
              <a:ext cx="332700" cy="477101"/>
            </a:xfrm>
            <a:custGeom>
              <a:avLst/>
              <a:gdLst/>
              <a:ahLst/>
              <a:cxnLst/>
              <a:rect l="l" t="t" r="r" b="b"/>
              <a:pathLst>
                <a:path w="548640" h="786764">
                  <a:moveTo>
                    <a:pt x="548093" y="520179"/>
                  </a:moveTo>
                  <a:lnTo>
                    <a:pt x="500380" y="524217"/>
                  </a:lnTo>
                  <a:lnTo>
                    <a:pt x="455853" y="535863"/>
                  </a:lnTo>
                  <a:lnTo>
                    <a:pt x="414616" y="554469"/>
                  </a:lnTo>
                  <a:lnTo>
                    <a:pt x="377355" y="579335"/>
                  </a:lnTo>
                  <a:lnTo>
                    <a:pt x="344716" y="609790"/>
                  </a:lnTo>
                  <a:lnTo>
                    <a:pt x="317411" y="645172"/>
                  </a:lnTo>
                  <a:lnTo>
                    <a:pt x="296087" y="684784"/>
                  </a:lnTo>
                  <a:lnTo>
                    <a:pt x="281419" y="727976"/>
                  </a:lnTo>
                  <a:lnTo>
                    <a:pt x="274091" y="774065"/>
                  </a:lnTo>
                  <a:lnTo>
                    <a:pt x="272161" y="761669"/>
                  </a:lnTo>
                  <a:lnTo>
                    <a:pt x="266928" y="727811"/>
                  </a:lnTo>
                  <a:lnTo>
                    <a:pt x="252361" y="684441"/>
                  </a:lnTo>
                  <a:lnTo>
                    <a:pt x="231101" y="644652"/>
                  </a:lnTo>
                  <a:lnTo>
                    <a:pt x="203809" y="609117"/>
                  </a:lnTo>
                  <a:lnTo>
                    <a:pt x="171157" y="578510"/>
                  </a:lnTo>
                  <a:lnTo>
                    <a:pt x="133845" y="553529"/>
                  </a:lnTo>
                  <a:lnTo>
                    <a:pt x="92544" y="534847"/>
                  </a:lnTo>
                  <a:lnTo>
                    <a:pt x="47917" y="523138"/>
                  </a:lnTo>
                  <a:lnTo>
                    <a:pt x="0" y="519061"/>
                  </a:lnTo>
                  <a:lnTo>
                    <a:pt x="5448" y="567232"/>
                  </a:lnTo>
                  <a:lnTo>
                    <a:pt x="18846" y="612508"/>
                  </a:lnTo>
                  <a:lnTo>
                    <a:pt x="39458" y="654138"/>
                  </a:lnTo>
                  <a:lnTo>
                    <a:pt x="66560" y="691400"/>
                  </a:lnTo>
                  <a:lnTo>
                    <a:pt x="99402" y="723544"/>
                  </a:lnTo>
                  <a:lnTo>
                    <a:pt x="137261" y="749858"/>
                  </a:lnTo>
                  <a:lnTo>
                    <a:pt x="179387" y="769594"/>
                  </a:lnTo>
                  <a:lnTo>
                    <a:pt x="225056" y="782015"/>
                  </a:lnTo>
                  <a:lnTo>
                    <a:pt x="273532" y="786384"/>
                  </a:lnTo>
                  <a:lnTo>
                    <a:pt x="274751" y="786384"/>
                  </a:lnTo>
                  <a:lnTo>
                    <a:pt x="323100" y="782027"/>
                  </a:lnTo>
                  <a:lnTo>
                    <a:pt x="368655" y="769670"/>
                  </a:lnTo>
                  <a:lnTo>
                    <a:pt x="410692" y="750023"/>
                  </a:lnTo>
                  <a:lnTo>
                    <a:pt x="448475" y="723823"/>
                  </a:lnTo>
                  <a:lnTo>
                    <a:pt x="481279" y="691819"/>
                  </a:lnTo>
                  <a:lnTo>
                    <a:pt x="498386" y="668401"/>
                  </a:lnTo>
                  <a:lnTo>
                    <a:pt x="508381" y="654710"/>
                  </a:lnTo>
                  <a:lnTo>
                    <a:pt x="529031" y="613257"/>
                  </a:lnTo>
                  <a:lnTo>
                    <a:pt x="542518" y="568172"/>
                  </a:lnTo>
                  <a:lnTo>
                    <a:pt x="548081" y="520204"/>
                  </a:lnTo>
                  <a:close/>
                </a:path>
                <a:path w="548640" h="786764">
                  <a:moveTo>
                    <a:pt x="548093" y="266611"/>
                  </a:moveTo>
                  <a:lnTo>
                    <a:pt x="500380" y="270637"/>
                  </a:lnTo>
                  <a:lnTo>
                    <a:pt x="455853" y="282295"/>
                  </a:lnTo>
                  <a:lnTo>
                    <a:pt x="414616" y="300901"/>
                  </a:lnTo>
                  <a:lnTo>
                    <a:pt x="377355" y="325767"/>
                  </a:lnTo>
                  <a:lnTo>
                    <a:pt x="344728" y="356235"/>
                  </a:lnTo>
                  <a:lnTo>
                    <a:pt x="317423" y="391617"/>
                  </a:lnTo>
                  <a:lnTo>
                    <a:pt x="296087" y="431241"/>
                  </a:lnTo>
                  <a:lnTo>
                    <a:pt x="281432" y="474433"/>
                  </a:lnTo>
                  <a:lnTo>
                    <a:pt x="274091" y="520522"/>
                  </a:lnTo>
                  <a:lnTo>
                    <a:pt x="266928"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59" y="358952"/>
                  </a:lnTo>
                  <a:lnTo>
                    <a:pt x="39471" y="400570"/>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92" y="496455"/>
                  </a:lnTo>
                  <a:lnTo>
                    <a:pt x="448475" y="470255"/>
                  </a:lnTo>
                  <a:lnTo>
                    <a:pt x="481279" y="438251"/>
                  </a:lnTo>
                  <a:lnTo>
                    <a:pt x="508381" y="401142"/>
                  </a:lnTo>
                  <a:lnTo>
                    <a:pt x="529031" y="359689"/>
                  </a:lnTo>
                  <a:lnTo>
                    <a:pt x="542505" y="314591"/>
                  </a:lnTo>
                  <a:lnTo>
                    <a:pt x="548093" y="266611"/>
                  </a:lnTo>
                  <a:close/>
                </a:path>
                <a:path w="548640" h="786764">
                  <a:moveTo>
                    <a:pt x="548093" y="1079"/>
                  </a:moveTo>
                  <a:lnTo>
                    <a:pt x="500380" y="5118"/>
                  </a:lnTo>
                  <a:lnTo>
                    <a:pt x="455853" y="16764"/>
                  </a:lnTo>
                  <a:lnTo>
                    <a:pt x="414616" y="35369"/>
                  </a:lnTo>
                  <a:lnTo>
                    <a:pt x="377355" y="60236"/>
                  </a:lnTo>
                  <a:lnTo>
                    <a:pt x="344728" y="90703"/>
                  </a:lnTo>
                  <a:lnTo>
                    <a:pt x="317423" y="126085"/>
                  </a:lnTo>
                  <a:lnTo>
                    <a:pt x="296087" y="165709"/>
                  </a:lnTo>
                  <a:lnTo>
                    <a:pt x="281432" y="208915"/>
                  </a:lnTo>
                  <a:lnTo>
                    <a:pt x="274091" y="254990"/>
                  </a:lnTo>
                  <a:lnTo>
                    <a:pt x="266928"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59"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36"/>
                  </a:lnTo>
                  <a:lnTo>
                    <a:pt x="481279" y="172720"/>
                  </a:lnTo>
                  <a:lnTo>
                    <a:pt x="508381" y="135623"/>
                  </a:lnTo>
                  <a:lnTo>
                    <a:pt x="529031" y="94157"/>
                  </a:lnTo>
                  <a:lnTo>
                    <a:pt x="542505" y="49072"/>
                  </a:lnTo>
                  <a:lnTo>
                    <a:pt x="548093" y="1079"/>
                  </a:lnTo>
                  <a:close/>
                </a:path>
              </a:pathLst>
            </a:custGeom>
            <a:solidFill>
              <a:srgbClr val="2DB7EA"/>
            </a:solidFill>
          </p:spPr>
          <p:txBody>
            <a:bodyPr wrap="square" lIns="0" tIns="0" rIns="0" bIns="0" rtlCol="0"/>
            <a:lstStyle/>
            <a:p>
              <a:endParaRPr dirty="0"/>
            </a:p>
          </p:txBody>
        </p:sp>
        <p:pic>
          <p:nvPicPr>
            <p:cNvPr id="594" name="object 355">
              <a:extLst>
                <a:ext uri="{FF2B5EF4-FFF2-40B4-BE49-F238E27FC236}">
                  <a16:creationId xmlns:a16="http://schemas.microsoft.com/office/drawing/2014/main" id="{6E60B66E-F7B7-3B12-0CA1-E3708B23C4F8}"/>
                </a:ext>
              </a:extLst>
            </p:cNvPr>
            <p:cNvPicPr/>
            <p:nvPr/>
          </p:nvPicPr>
          <p:blipFill>
            <a:blip r:embed="rId5" cstate="print"/>
            <a:stretch>
              <a:fillRect/>
            </a:stretch>
          </p:blipFill>
          <p:spPr>
            <a:xfrm>
              <a:off x="10021726" y="3335097"/>
              <a:ext cx="106445" cy="107156"/>
            </a:xfrm>
            <a:prstGeom prst="rect">
              <a:avLst/>
            </a:prstGeom>
          </p:spPr>
        </p:pic>
        <p:sp>
          <p:nvSpPr>
            <p:cNvPr id="595" name="object 356">
              <a:extLst>
                <a:ext uri="{FF2B5EF4-FFF2-40B4-BE49-F238E27FC236}">
                  <a16:creationId xmlns:a16="http://schemas.microsoft.com/office/drawing/2014/main" id="{372A0751-5CCD-EA91-E99F-91FDD54DE286}"/>
                </a:ext>
              </a:extLst>
            </p:cNvPr>
            <p:cNvSpPr/>
            <p:nvPr/>
          </p:nvSpPr>
          <p:spPr>
            <a:xfrm>
              <a:off x="9909070" y="2766918"/>
              <a:ext cx="332700" cy="477101"/>
            </a:xfrm>
            <a:custGeom>
              <a:avLst/>
              <a:gdLst/>
              <a:ahLst/>
              <a:cxnLst/>
              <a:rect l="l" t="t" r="r" b="b"/>
              <a:pathLst>
                <a:path w="548640" h="786764">
                  <a:moveTo>
                    <a:pt x="548093" y="520179"/>
                  </a:moveTo>
                  <a:lnTo>
                    <a:pt x="500380" y="524205"/>
                  </a:lnTo>
                  <a:lnTo>
                    <a:pt x="455853" y="535863"/>
                  </a:lnTo>
                  <a:lnTo>
                    <a:pt x="414616" y="554469"/>
                  </a:lnTo>
                  <a:lnTo>
                    <a:pt x="377355" y="579335"/>
                  </a:lnTo>
                  <a:lnTo>
                    <a:pt x="375183" y="581367"/>
                  </a:lnTo>
                  <a:lnTo>
                    <a:pt x="344728" y="609803"/>
                  </a:lnTo>
                  <a:lnTo>
                    <a:pt x="317411" y="645172"/>
                  </a:lnTo>
                  <a:lnTo>
                    <a:pt x="296087" y="684796"/>
                  </a:lnTo>
                  <a:lnTo>
                    <a:pt x="281419" y="727989"/>
                  </a:lnTo>
                  <a:lnTo>
                    <a:pt x="274091" y="774065"/>
                  </a:lnTo>
                  <a:lnTo>
                    <a:pt x="272161" y="761669"/>
                  </a:lnTo>
                  <a:lnTo>
                    <a:pt x="266928" y="727824"/>
                  </a:lnTo>
                  <a:lnTo>
                    <a:pt x="257238" y="699008"/>
                  </a:lnTo>
                  <a:lnTo>
                    <a:pt x="252361" y="684453"/>
                  </a:lnTo>
                  <a:lnTo>
                    <a:pt x="231101" y="644652"/>
                  </a:lnTo>
                  <a:lnTo>
                    <a:pt x="203809" y="609117"/>
                  </a:lnTo>
                  <a:lnTo>
                    <a:pt x="171157" y="578523"/>
                  </a:lnTo>
                  <a:lnTo>
                    <a:pt x="133845" y="553542"/>
                  </a:lnTo>
                  <a:lnTo>
                    <a:pt x="92532" y="534835"/>
                  </a:lnTo>
                  <a:lnTo>
                    <a:pt x="47917" y="523125"/>
                  </a:lnTo>
                  <a:lnTo>
                    <a:pt x="0" y="519074"/>
                  </a:lnTo>
                  <a:lnTo>
                    <a:pt x="5448" y="567245"/>
                  </a:lnTo>
                  <a:lnTo>
                    <a:pt x="18846" y="612508"/>
                  </a:lnTo>
                  <a:lnTo>
                    <a:pt x="39458" y="65413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81" y="654723"/>
                  </a:lnTo>
                  <a:lnTo>
                    <a:pt x="529043" y="613257"/>
                  </a:lnTo>
                  <a:lnTo>
                    <a:pt x="542518" y="568172"/>
                  </a:lnTo>
                  <a:lnTo>
                    <a:pt x="548081" y="520217"/>
                  </a:lnTo>
                  <a:close/>
                </a:path>
                <a:path w="548640" h="786764">
                  <a:moveTo>
                    <a:pt x="548093" y="266611"/>
                  </a:moveTo>
                  <a:lnTo>
                    <a:pt x="500380" y="270649"/>
                  </a:lnTo>
                  <a:lnTo>
                    <a:pt x="455853" y="282308"/>
                  </a:lnTo>
                  <a:lnTo>
                    <a:pt x="414616" y="300901"/>
                  </a:lnTo>
                  <a:lnTo>
                    <a:pt x="377355" y="325780"/>
                  </a:lnTo>
                  <a:lnTo>
                    <a:pt x="344728" y="356247"/>
                  </a:lnTo>
                  <a:lnTo>
                    <a:pt x="317423" y="391629"/>
                  </a:lnTo>
                  <a:lnTo>
                    <a:pt x="296087" y="431253"/>
                  </a:lnTo>
                  <a:lnTo>
                    <a:pt x="281432" y="474446"/>
                  </a:lnTo>
                  <a:lnTo>
                    <a:pt x="274091" y="520534"/>
                  </a:lnTo>
                  <a:lnTo>
                    <a:pt x="266928" y="474256"/>
                  </a:lnTo>
                  <a:lnTo>
                    <a:pt x="252361" y="430885"/>
                  </a:lnTo>
                  <a:lnTo>
                    <a:pt x="231101" y="391096"/>
                  </a:lnTo>
                  <a:lnTo>
                    <a:pt x="203809" y="355561"/>
                  </a:lnTo>
                  <a:lnTo>
                    <a:pt x="171157" y="324967"/>
                  </a:lnTo>
                  <a:lnTo>
                    <a:pt x="133845" y="299986"/>
                  </a:lnTo>
                  <a:lnTo>
                    <a:pt x="92544" y="281292"/>
                  </a:lnTo>
                  <a:lnTo>
                    <a:pt x="47917" y="269582"/>
                  </a:lnTo>
                  <a:lnTo>
                    <a:pt x="12" y="265531"/>
                  </a:lnTo>
                  <a:lnTo>
                    <a:pt x="5461" y="313702"/>
                  </a:lnTo>
                  <a:lnTo>
                    <a:pt x="18859" y="358952"/>
                  </a:lnTo>
                  <a:lnTo>
                    <a:pt x="39471" y="400583"/>
                  </a:lnTo>
                  <a:lnTo>
                    <a:pt x="66560" y="437845"/>
                  </a:lnTo>
                  <a:lnTo>
                    <a:pt x="99402" y="469988"/>
                  </a:lnTo>
                  <a:lnTo>
                    <a:pt x="137261" y="496303"/>
                  </a:lnTo>
                  <a:lnTo>
                    <a:pt x="179387" y="516039"/>
                  </a:lnTo>
                  <a:lnTo>
                    <a:pt x="225056" y="528459"/>
                  </a:lnTo>
                  <a:lnTo>
                    <a:pt x="273532" y="532841"/>
                  </a:lnTo>
                  <a:lnTo>
                    <a:pt x="274751" y="532841"/>
                  </a:lnTo>
                  <a:lnTo>
                    <a:pt x="323100" y="528485"/>
                  </a:lnTo>
                  <a:lnTo>
                    <a:pt x="368655" y="516115"/>
                  </a:lnTo>
                  <a:lnTo>
                    <a:pt x="410692" y="496468"/>
                  </a:lnTo>
                  <a:lnTo>
                    <a:pt x="448475" y="470268"/>
                  </a:lnTo>
                  <a:lnTo>
                    <a:pt x="481279" y="438264"/>
                  </a:lnTo>
                  <a:lnTo>
                    <a:pt x="508381" y="401154"/>
                  </a:lnTo>
                  <a:lnTo>
                    <a:pt x="529031" y="359689"/>
                  </a:lnTo>
                  <a:lnTo>
                    <a:pt x="542505" y="314604"/>
                  </a:lnTo>
                  <a:lnTo>
                    <a:pt x="548093" y="266611"/>
                  </a:lnTo>
                  <a:close/>
                </a:path>
                <a:path w="548640" h="786764">
                  <a:moveTo>
                    <a:pt x="548093" y="1079"/>
                  </a:moveTo>
                  <a:lnTo>
                    <a:pt x="500380" y="5118"/>
                  </a:lnTo>
                  <a:lnTo>
                    <a:pt x="455853" y="16776"/>
                  </a:lnTo>
                  <a:lnTo>
                    <a:pt x="414616" y="35369"/>
                  </a:lnTo>
                  <a:lnTo>
                    <a:pt x="377355" y="60248"/>
                  </a:lnTo>
                  <a:lnTo>
                    <a:pt x="344728" y="90716"/>
                  </a:lnTo>
                  <a:lnTo>
                    <a:pt x="317423" y="126098"/>
                  </a:lnTo>
                  <a:lnTo>
                    <a:pt x="296087" y="165722"/>
                  </a:lnTo>
                  <a:lnTo>
                    <a:pt x="281432" y="208915"/>
                  </a:lnTo>
                  <a:lnTo>
                    <a:pt x="274091" y="255003"/>
                  </a:lnTo>
                  <a:lnTo>
                    <a:pt x="266928" y="208724"/>
                  </a:lnTo>
                  <a:lnTo>
                    <a:pt x="252361" y="165354"/>
                  </a:lnTo>
                  <a:lnTo>
                    <a:pt x="231101" y="125564"/>
                  </a:lnTo>
                  <a:lnTo>
                    <a:pt x="203809" y="90030"/>
                  </a:lnTo>
                  <a:lnTo>
                    <a:pt x="171157" y="59436"/>
                  </a:lnTo>
                  <a:lnTo>
                    <a:pt x="133845" y="34455"/>
                  </a:lnTo>
                  <a:lnTo>
                    <a:pt x="92544" y="15773"/>
                  </a:lnTo>
                  <a:lnTo>
                    <a:pt x="47917" y="4064"/>
                  </a:lnTo>
                  <a:lnTo>
                    <a:pt x="12" y="0"/>
                  </a:lnTo>
                  <a:lnTo>
                    <a:pt x="5461" y="48171"/>
                  </a:lnTo>
                  <a:lnTo>
                    <a:pt x="18859"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92" y="230936"/>
                  </a:lnTo>
                  <a:lnTo>
                    <a:pt x="448475" y="204749"/>
                  </a:lnTo>
                  <a:lnTo>
                    <a:pt x="481279" y="172732"/>
                  </a:lnTo>
                  <a:lnTo>
                    <a:pt x="508381" y="135623"/>
                  </a:lnTo>
                  <a:lnTo>
                    <a:pt x="529031" y="94157"/>
                  </a:lnTo>
                  <a:lnTo>
                    <a:pt x="542505" y="49072"/>
                  </a:lnTo>
                  <a:lnTo>
                    <a:pt x="548093" y="1079"/>
                  </a:lnTo>
                  <a:close/>
                </a:path>
              </a:pathLst>
            </a:custGeom>
            <a:solidFill>
              <a:srgbClr val="7ED3F1"/>
            </a:solidFill>
          </p:spPr>
          <p:txBody>
            <a:bodyPr wrap="square" lIns="0" tIns="0" rIns="0" bIns="0" rtlCol="0"/>
            <a:lstStyle/>
            <a:p>
              <a:endParaRPr dirty="0"/>
            </a:p>
          </p:txBody>
        </p:sp>
        <p:pic>
          <p:nvPicPr>
            <p:cNvPr id="596" name="object 357">
              <a:extLst>
                <a:ext uri="{FF2B5EF4-FFF2-40B4-BE49-F238E27FC236}">
                  <a16:creationId xmlns:a16="http://schemas.microsoft.com/office/drawing/2014/main" id="{C5D3DDEC-51A9-724D-4C43-F8E39ADF228B}"/>
                </a:ext>
              </a:extLst>
            </p:cNvPr>
            <p:cNvPicPr/>
            <p:nvPr/>
          </p:nvPicPr>
          <p:blipFill>
            <a:blip r:embed="rId6" cstate="print"/>
            <a:stretch>
              <a:fillRect/>
            </a:stretch>
          </p:blipFill>
          <p:spPr>
            <a:xfrm>
              <a:off x="10021726" y="2680931"/>
              <a:ext cx="106445" cy="107156"/>
            </a:xfrm>
            <a:prstGeom prst="rect">
              <a:avLst/>
            </a:prstGeom>
          </p:spPr>
        </p:pic>
        <p:sp>
          <p:nvSpPr>
            <p:cNvPr id="597" name="object 358">
              <a:extLst>
                <a:ext uri="{FF2B5EF4-FFF2-40B4-BE49-F238E27FC236}">
                  <a16:creationId xmlns:a16="http://schemas.microsoft.com/office/drawing/2014/main" id="{70BAEBCC-7039-5FCD-9342-AF5B5822CDB5}"/>
                </a:ext>
              </a:extLst>
            </p:cNvPr>
            <p:cNvSpPr/>
            <p:nvPr/>
          </p:nvSpPr>
          <p:spPr>
            <a:xfrm>
              <a:off x="9909070" y="4729423"/>
              <a:ext cx="332700" cy="477101"/>
            </a:xfrm>
            <a:custGeom>
              <a:avLst/>
              <a:gdLst/>
              <a:ahLst/>
              <a:cxnLst/>
              <a:rect l="l" t="t" r="r" b="b"/>
              <a:pathLst>
                <a:path w="548640" h="786765">
                  <a:moveTo>
                    <a:pt x="548093" y="520179"/>
                  </a:moveTo>
                  <a:lnTo>
                    <a:pt x="500380" y="524205"/>
                  </a:lnTo>
                  <a:lnTo>
                    <a:pt x="455853" y="535863"/>
                  </a:lnTo>
                  <a:lnTo>
                    <a:pt x="414616" y="554469"/>
                  </a:lnTo>
                  <a:lnTo>
                    <a:pt x="377355" y="579335"/>
                  </a:lnTo>
                  <a:lnTo>
                    <a:pt x="344716" y="609790"/>
                  </a:lnTo>
                  <a:lnTo>
                    <a:pt x="317411" y="645160"/>
                  </a:lnTo>
                  <a:lnTo>
                    <a:pt x="296087" y="684784"/>
                  </a:lnTo>
                  <a:lnTo>
                    <a:pt x="281419" y="727976"/>
                  </a:lnTo>
                  <a:lnTo>
                    <a:pt x="274091" y="774065"/>
                  </a:lnTo>
                  <a:lnTo>
                    <a:pt x="272973" y="766902"/>
                  </a:lnTo>
                  <a:lnTo>
                    <a:pt x="266928" y="727811"/>
                  </a:lnTo>
                  <a:lnTo>
                    <a:pt x="252361" y="684441"/>
                  </a:lnTo>
                  <a:lnTo>
                    <a:pt x="231101" y="644639"/>
                  </a:lnTo>
                  <a:lnTo>
                    <a:pt x="203809" y="609104"/>
                  </a:lnTo>
                  <a:lnTo>
                    <a:pt x="171157" y="578510"/>
                  </a:lnTo>
                  <a:lnTo>
                    <a:pt x="133845" y="553529"/>
                  </a:lnTo>
                  <a:lnTo>
                    <a:pt x="92544" y="534847"/>
                  </a:lnTo>
                  <a:lnTo>
                    <a:pt x="47917" y="523113"/>
                  </a:lnTo>
                  <a:lnTo>
                    <a:pt x="0" y="519061"/>
                  </a:lnTo>
                  <a:lnTo>
                    <a:pt x="5448" y="567232"/>
                  </a:lnTo>
                  <a:lnTo>
                    <a:pt x="18846" y="612508"/>
                  </a:lnTo>
                  <a:lnTo>
                    <a:pt x="39458" y="654126"/>
                  </a:lnTo>
                  <a:lnTo>
                    <a:pt x="66560" y="691388"/>
                  </a:lnTo>
                  <a:lnTo>
                    <a:pt x="99402" y="723544"/>
                  </a:lnTo>
                  <a:lnTo>
                    <a:pt x="137261" y="749858"/>
                  </a:lnTo>
                  <a:lnTo>
                    <a:pt x="179387" y="769581"/>
                  </a:lnTo>
                  <a:lnTo>
                    <a:pt x="225056" y="782015"/>
                  </a:lnTo>
                  <a:lnTo>
                    <a:pt x="273532" y="786384"/>
                  </a:lnTo>
                  <a:lnTo>
                    <a:pt x="274751" y="786384"/>
                  </a:lnTo>
                  <a:lnTo>
                    <a:pt x="323100" y="782027"/>
                  </a:lnTo>
                  <a:lnTo>
                    <a:pt x="368655" y="769670"/>
                  </a:lnTo>
                  <a:lnTo>
                    <a:pt x="410692" y="750023"/>
                  </a:lnTo>
                  <a:lnTo>
                    <a:pt x="448475" y="723823"/>
                  </a:lnTo>
                  <a:lnTo>
                    <a:pt x="481279" y="691807"/>
                  </a:lnTo>
                  <a:lnTo>
                    <a:pt x="508381" y="654710"/>
                  </a:lnTo>
                  <a:lnTo>
                    <a:pt x="529043" y="613244"/>
                  </a:lnTo>
                  <a:lnTo>
                    <a:pt x="542518" y="568172"/>
                  </a:lnTo>
                  <a:lnTo>
                    <a:pt x="548081" y="520204"/>
                  </a:lnTo>
                  <a:close/>
                </a:path>
                <a:path w="548640" h="786765">
                  <a:moveTo>
                    <a:pt x="548093" y="266611"/>
                  </a:moveTo>
                  <a:lnTo>
                    <a:pt x="500380" y="270649"/>
                  </a:lnTo>
                  <a:lnTo>
                    <a:pt x="455853" y="282308"/>
                  </a:lnTo>
                  <a:lnTo>
                    <a:pt x="414616" y="300901"/>
                  </a:lnTo>
                  <a:lnTo>
                    <a:pt x="377355" y="325767"/>
                  </a:lnTo>
                  <a:lnTo>
                    <a:pt x="344728" y="356235"/>
                  </a:lnTo>
                  <a:lnTo>
                    <a:pt x="317423" y="391617"/>
                  </a:lnTo>
                  <a:lnTo>
                    <a:pt x="296087" y="431241"/>
                  </a:lnTo>
                  <a:lnTo>
                    <a:pt x="281432" y="474433"/>
                  </a:lnTo>
                  <a:lnTo>
                    <a:pt x="274091" y="520522"/>
                  </a:lnTo>
                  <a:lnTo>
                    <a:pt x="266928" y="474243"/>
                  </a:lnTo>
                  <a:lnTo>
                    <a:pt x="252361" y="430872"/>
                  </a:lnTo>
                  <a:lnTo>
                    <a:pt x="231101" y="391083"/>
                  </a:lnTo>
                  <a:lnTo>
                    <a:pt x="203809" y="355549"/>
                  </a:lnTo>
                  <a:lnTo>
                    <a:pt x="171157" y="324954"/>
                  </a:lnTo>
                  <a:lnTo>
                    <a:pt x="133845" y="299974"/>
                  </a:lnTo>
                  <a:lnTo>
                    <a:pt x="92544" y="281292"/>
                  </a:lnTo>
                  <a:lnTo>
                    <a:pt x="47917" y="269582"/>
                  </a:lnTo>
                  <a:lnTo>
                    <a:pt x="12" y="265518"/>
                  </a:lnTo>
                  <a:lnTo>
                    <a:pt x="5461" y="313690"/>
                  </a:lnTo>
                  <a:lnTo>
                    <a:pt x="18859" y="358952"/>
                  </a:lnTo>
                  <a:lnTo>
                    <a:pt x="39471" y="400570"/>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92" y="496455"/>
                  </a:lnTo>
                  <a:lnTo>
                    <a:pt x="448475" y="470268"/>
                  </a:lnTo>
                  <a:lnTo>
                    <a:pt x="481279" y="438251"/>
                  </a:lnTo>
                  <a:lnTo>
                    <a:pt x="508381" y="401154"/>
                  </a:lnTo>
                  <a:lnTo>
                    <a:pt x="529031" y="359689"/>
                  </a:lnTo>
                  <a:lnTo>
                    <a:pt x="542505" y="314604"/>
                  </a:lnTo>
                  <a:lnTo>
                    <a:pt x="548093" y="266611"/>
                  </a:lnTo>
                  <a:close/>
                </a:path>
                <a:path w="548640" h="786765">
                  <a:moveTo>
                    <a:pt x="548093" y="1079"/>
                  </a:moveTo>
                  <a:lnTo>
                    <a:pt x="500380" y="5105"/>
                  </a:lnTo>
                  <a:lnTo>
                    <a:pt x="455853" y="16764"/>
                  </a:lnTo>
                  <a:lnTo>
                    <a:pt x="414616" y="35369"/>
                  </a:lnTo>
                  <a:lnTo>
                    <a:pt x="377355" y="60236"/>
                  </a:lnTo>
                  <a:lnTo>
                    <a:pt x="344728" y="90703"/>
                  </a:lnTo>
                  <a:lnTo>
                    <a:pt x="317423" y="126085"/>
                  </a:lnTo>
                  <a:lnTo>
                    <a:pt x="296087" y="165709"/>
                  </a:lnTo>
                  <a:lnTo>
                    <a:pt x="281432" y="208902"/>
                  </a:lnTo>
                  <a:lnTo>
                    <a:pt x="274091" y="254990"/>
                  </a:lnTo>
                  <a:lnTo>
                    <a:pt x="266928"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59" y="93421"/>
                  </a:lnTo>
                  <a:lnTo>
                    <a:pt x="39471" y="135039"/>
                  </a:lnTo>
                  <a:lnTo>
                    <a:pt x="66560" y="172300"/>
                  </a:lnTo>
                  <a:lnTo>
                    <a:pt x="99402" y="204444"/>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24"/>
                  </a:lnTo>
                  <a:lnTo>
                    <a:pt x="481279" y="172720"/>
                  </a:lnTo>
                  <a:lnTo>
                    <a:pt x="508381" y="135610"/>
                  </a:lnTo>
                  <a:lnTo>
                    <a:pt x="529031" y="94157"/>
                  </a:lnTo>
                  <a:lnTo>
                    <a:pt x="542505" y="49060"/>
                  </a:lnTo>
                  <a:lnTo>
                    <a:pt x="548093" y="1079"/>
                  </a:lnTo>
                  <a:close/>
                </a:path>
              </a:pathLst>
            </a:custGeom>
            <a:solidFill>
              <a:srgbClr val="2DB7EA"/>
            </a:solidFill>
          </p:spPr>
          <p:txBody>
            <a:bodyPr wrap="square" lIns="0" tIns="0" rIns="0" bIns="0" rtlCol="0"/>
            <a:lstStyle/>
            <a:p>
              <a:endParaRPr dirty="0"/>
            </a:p>
          </p:txBody>
        </p:sp>
        <p:pic>
          <p:nvPicPr>
            <p:cNvPr id="598" name="object 359">
              <a:extLst>
                <a:ext uri="{FF2B5EF4-FFF2-40B4-BE49-F238E27FC236}">
                  <a16:creationId xmlns:a16="http://schemas.microsoft.com/office/drawing/2014/main" id="{EF016469-40A2-DE5D-D322-0703A7FD346F}"/>
                </a:ext>
              </a:extLst>
            </p:cNvPr>
            <p:cNvPicPr/>
            <p:nvPr/>
          </p:nvPicPr>
          <p:blipFill>
            <a:blip r:embed="rId5" cstate="print"/>
            <a:stretch>
              <a:fillRect/>
            </a:stretch>
          </p:blipFill>
          <p:spPr>
            <a:xfrm>
              <a:off x="10021726" y="4643430"/>
              <a:ext cx="106445" cy="107156"/>
            </a:xfrm>
            <a:prstGeom prst="rect">
              <a:avLst/>
            </a:prstGeom>
          </p:spPr>
        </p:pic>
        <p:sp>
          <p:nvSpPr>
            <p:cNvPr id="599" name="object 360">
              <a:extLst>
                <a:ext uri="{FF2B5EF4-FFF2-40B4-BE49-F238E27FC236}">
                  <a16:creationId xmlns:a16="http://schemas.microsoft.com/office/drawing/2014/main" id="{4EDE46EE-5075-51C2-C066-E22F5AD4D505}"/>
                </a:ext>
              </a:extLst>
            </p:cNvPr>
            <p:cNvSpPr/>
            <p:nvPr/>
          </p:nvSpPr>
          <p:spPr>
            <a:xfrm>
              <a:off x="9909070" y="4075252"/>
              <a:ext cx="332700" cy="477101"/>
            </a:xfrm>
            <a:custGeom>
              <a:avLst/>
              <a:gdLst/>
              <a:ahLst/>
              <a:cxnLst/>
              <a:rect l="l" t="t" r="r" b="b"/>
              <a:pathLst>
                <a:path w="548640" h="786765">
                  <a:moveTo>
                    <a:pt x="548093" y="520179"/>
                  </a:moveTo>
                  <a:lnTo>
                    <a:pt x="500380" y="524217"/>
                  </a:lnTo>
                  <a:lnTo>
                    <a:pt x="455853" y="535876"/>
                  </a:lnTo>
                  <a:lnTo>
                    <a:pt x="414616" y="554469"/>
                  </a:lnTo>
                  <a:lnTo>
                    <a:pt x="392252" y="569391"/>
                  </a:lnTo>
                  <a:lnTo>
                    <a:pt x="377355" y="579335"/>
                  </a:lnTo>
                  <a:lnTo>
                    <a:pt x="344728" y="609803"/>
                  </a:lnTo>
                  <a:lnTo>
                    <a:pt x="317411" y="645172"/>
                  </a:lnTo>
                  <a:lnTo>
                    <a:pt x="296087" y="684796"/>
                  </a:lnTo>
                  <a:lnTo>
                    <a:pt x="281419" y="727976"/>
                  </a:lnTo>
                  <a:lnTo>
                    <a:pt x="274091" y="774065"/>
                  </a:lnTo>
                  <a:lnTo>
                    <a:pt x="272161" y="761669"/>
                  </a:lnTo>
                  <a:lnTo>
                    <a:pt x="266928" y="727824"/>
                  </a:lnTo>
                  <a:lnTo>
                    <a:pt x="252361" y="684441"/>
                  </a:lnTo>
                  <a:lnTo>
                    <a:pt x="231101" y="644652"/>
                  </a:lnTo>
                  <a:lnTo>
                    <a:pt x="203809" y="609117"/>
                  </a:lnTo>
                  <a:lnTo>
                    <a:pt x="187998" y="594321"/>
                  </a:lnTo>
                  <a:lnTo>
                    <a:pt x="171157" y="578523"/>
                  </a:lnTo>
                  <a:lnTo>
                    <a:pt x="133845" y="553542"/>
                  </a:lnTo>
                  <a:lnTo>
                    <a:pt x="92532" y="534835"/>
                  </a:lnTo>
                  <a:lnTo>
                    <a:pt x="47917" y="523125"/>
                  </a:lnTo>
                  <a:lnTo>
                    <a:pt x="0" y="519074"/>
                  </a:lnTo>
                  <a:lnTo>
                    <a:pt x="5448" y="567245"/>
                  </a:lnTo>
                  <a:lnTo>
                    <a:pt x="18846" y="612508"/>
                  </a:lnTo>
                  <a:lnTo>
                    <a:pt x="39458" y="65413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81" y="654723"/>
                  </a:lnTo>
                  <a:lnTo>
                    <a:pt x="529043" y="613257"/>
                  </a:lnTo>
                  <a:lnTo>
                    <a:pt x="542518" y="568172"/>
                  </a:lnTo>
                  <a:lnTo>
                    <a:pt x="548081" y="520217"/>
                  </a:lnTo>
                  <a:close/>
                </a:path>
                <a:path w="548640" h="786765">
                  <a:moveTo>
                    <a:pt x="548093" y="266623"/>
                  </a:moveTo>
                  <a:lnTo>
                    <a:pt x="500380" y="270662"/>
                  </a:lnTo>
                  <a:lnTo>
                    <a:pt x="455853" y="282308"/>
                  </a:lnTo>
                  <a:lnTo>
                    <a:pt x="414616" y="300913"/>
                  </a:lnTo>
                  <a:lnTo>
                    <a:pt x="377355" y="325780"/>
                  </a:lnTo>
                  <a:lnTo>
                    <a:pt x="344728" y="356247"/>
                  </a:lnTo>
                  <a:lnTo>
                    <a:pt x="317423" y="391629"/>
                  </a:lnTo>
                  <a:lnTo>
                    <a:pt x="296087" y="431253"/>
                  </a:lnTo>
                  <a:lnTo>
                    <a:pt x="281432" y="474446"/>
                  </a:lnTo>
                  <a:lnTo>
                    <a:pt x="274091" y="520534"/>
                  </a:lnTo>
                  <a:lnTo>
                    <a:pt x="266928" y="474256"/>
                  </a:lnTo>
                  <a:lnTo>
                    <a:pt x="252361" y="430885"/>
                  </a:lnTo>
                  <a:lnTo>
                    <a:pt x="231101" y="391096"/>
                  </a:lnTo>
                  <a:lnTo>
                    <a:pt x="203809" y="355561"/>
                  </a:lnTo>
                  <a:lnTo>
                    <a:pt x="171157" y="324954"/>
                  </a:lnTo>
                  <a:lnTo>
                    <a:pt x="133845" y="299974"/>
                  </a:lnTo>
                  <a:lnTo>
                    <a:pt x="92544" y="281292"/>
                  </a:lnTo>
                  <a:lnTo>
                    <a:pt x="47917" y="269582"/>
                  </a:lnTo>
                  <a:lnTo>
                    <a:pt x="12" y="265531"/>
                  </a:lnTo>
                  <a:lnTo>
                    <a:pt x="5461" y="313690"/>
                  </a:lnTo>
                  <a:lnTo>
                    <a:pt x="18859" y="358952"/>
                  </a:lnTo>
                  <a:lnTo>
                    <a:pt x="39471" y="400583"/>
                  </a:lnTo>
                  <a:lnTo>
                    <a:pt x="66560" y="437832"/>
                  </a:lnTo>
                  <a:lnTo>
                    <a:pt x="99402" y="469988"/>
                  </a:lnTo>
                  <a:lnTo>
                    <a:pt x="137261" y="496303"/>
                  </a:lnTo>
                  <a:lnTo>
                    <a:pt x="179387" y="516039"/>
                  </a:lnTo>
                  <a:lnTo>
                    <a:pt x="225056" y="528459"/>
                  </a:lnTo>
                  <a:lnTo>
                    <a:pt x="273532" y="532828"/>
                  </a:lnTo>
                  <a:lnTo>
                    <a:pt x="274751" y="532828"/>
                  </a:lnTo>
                  <a:lnTo>
                    <a:pt x="323100" y="528472"/>
                  </a:lnTo>
                  <a:lnTo>
                    <a:pt x="368655" y="516115"/>
                  </a:lnTo>
                  <a:lnTo>
                    <a:pt x="410692" y="496468"/>
                  </a:lnTo>
                  <a:lnTo>
                    <a:pt x="448475" y="470268"/>
                  </a:lnTo>
                  <a:lnTo>
                    <a:pt x="481279" y="438264"/>
                  </a:lnTo>
                  <a:lnTo>
                    <a:pt x="508381" y="401154"/>
                  </a:lnTo>
                  <a:lnTo>
                    <a:pt x="529031" y="359702"/>
                  </a:lnTo>
                  <a:lnTo>
                    <a:pt x="542505" y="314604"/>
                  </a:lnTo>
                  <a:lnTo>
                    <a:pt x="548093" y="266623"/>
                  </a:lnTo>
                  <a:close/>
                </a:path>
                <a:path w="548640" h="786765">
                  <a:moveTo>
                    <a:pt x="548093" y="1092"/>
                  </a:moveTo>
                  <a:lnTo>
                    <a:pt x="500380" y="5130"/>
                  </a:lnTo>
                  <a:lnTo>
                    <a:pt x="455853" y="16776"/>
                  </a:lnTo>
                  <a:lnTo>
                    <a:pt x="414616" y="35382"/>
                  </a:lnTo>
                  <a:lnTo>
                    <a:pt x="377355" y="60248"/>
                  </a:lnTo>
                  <a:lnTo>
                    <a:pt x="344728" y="90716"/>
                  </a:lnTo>
                  <a:lnTo>
                    <a:pt x="317423" y="126098"/>
                  </a:lnTo>
                  <a:lnTo>
                    <a:pt x="296087" y="165722"/>
                  </a:lnTo>
                  <a:lnTo>
                    <a:pt x="281432" y="208915"/>
                  </a:lnTo>
                  <a:lnTo>
                    <a:pt x="274091" y="255003"/>
                  </a:lnTo>
                  <a:lnTo>
                    <a:pt x="266928" y="208724"/>
                  </a:lnTo>
                  <a:lnTo>
                    <a:pt x="252361" y="165354"/>
                  </a:lnTo>
                  <a:lnTo>
                    <a:pt x="231101" y="125564"/>
                  </a:lnTo>
                  <a:lnTo>
                    <a:pt x="203809" y="90030"/>
                  </a:lnTo>
                  <a:lnTo>
                    <a:pt x="171157" y="59436"/>
                  </a:lnTo>
                  <a:lnTo>
                    <a:pt x="133845" y="34455"/>
                  </a:lnTo>
                  <a:lnTo>
                    <a:pt x="92544" y="15760"/>
                  </a:lnTo>
                  <a:lnTo>
                    <a:pt x="47917" y="4051"/>
                  </a:lnTo>
                  <a:lnTo>
                    <a:pt x="12" y="0"/>
                  </a:lnTo>
                  <a:lnTo>
                    <a:pt x="5461" y="48158"/>
                  </a:lnTo>
                  <a:lnTo>
                    <a:pt x="18859" y="93421"/>
                  </a:lnTo>
                  <a:lnTo>
                    <a:pt x="39471" y="135051"/>
                  </a:lnTo>
                  <a:lnTo>
                    <a:pt x="66560" y="172300"/>
                  </a:lnTo>
                  <a:lnTo>
                    <a:pt x="99402" y="204457"/>
                  </a:lnTo>
                  <a:lnTo>
                    <a:pt x="137261" y="230771"/>
                  </a:lnTo>
                  <a:lnTo>
                    <a:pt x="179387" y="250494"/>
                  </a:lnTo>
                  <a:lnTo>
                    <a:pt x="225056" y="262928"/>
                  </a:lnTo>
                  <a:lnTo>
                    <a:pt x="273532" y="267309"/>
                  </a:lnTo>
                  <a:lnTo>
                    <a:pt x="274751" y="267309"/>
                  </a:lnTo>
                  <a:lnTo>
                    <a:pt x="323100" y="262940"/>
                  </a:lnTo>
                  <a:lnTo>
                    <a:pt x="368655" y="250583"/>
                  </a:lnTo>
                  <a:lnTo>
                    <a:pt x="410692" y="230936"/>
                  </a:lnTo>
                  <a:lnTo>
                    <a:pt x="448475" y="204736"/>
                  </a:lnTo>
                  <a:lnTo>
                    <a:pt x="481279" y="172720"/>
                  </a:lnTo>
                  <a:lnTo>
                    <a:pt x="508381" y="135623"/>
                  </a:lnTo>
                  <a:lnTo>
                    <a:pt x="529031" y="94170"/>
                  </a:lnTo>
                  <a:lnTo>
                    <a:pt x="542505" y="49072"/>
                  </a:lnTo>
                  <a:lnTo>
                    <a:pt x="548093" y="1092"/>
                  </a:lnTo>
                  <a:close/>
                </a:path>
              </a:pathLst>
            </a:custGeom>
            <a:solidFill>
              <a:srgbClr val="7ED3F1"/>
            </a:solidFill>
          </p:spPr>
          <p:txBody>
            <a:bodyPr wrap="square" lIns="0" tIns="0" rIns="0" bIns="0" rtlCol="0"/>
            <a:lstStyle/>
            <a:p>
              <a:endParaRPr dirty="0"/>
            </a:p>
          </p:txBody>
        </p:sp>
        <p:pic>
          <p:nvPicPr>
            <p:cNvPr id="600" name="object 361">
              <a:extLst>
                <a:ext uri="{FF2B5EF4-FFF2-40B4-BE49-F238E27FC236}">
                  <a16:creationId xmlns:a16="http://schemas.microsoft.com/office/drawing/2014/main" id="{1B6E2399-86C9-39FB-4BB0-400220F1565A}"/>
                </a:ext>
              </a:extLst>
            </p:cNvPr>
            <p:cNvPicPr/>
            <p:nvPr/>
          </p:nvPicPr>
          <p:blipFill>
            <a:blip r:embed="rId6" cstate="print"/>
            <a:stretch>
              <a:fillRect/>
            </a:stretch>
          </p:blipFill>
          <p:spPr>
            <a:xfrm>
              <a:off x="10021726" y="3989263"/>
              <a:ext cx="106445" cy="107156"/>
            </a:xfrm>
            <a:prstGeom prst="rect">
              <a:avLst/>
            </a:prstGeom>
          </p:spPr>
        </p:pic>
        <p:sp>
          <p:nvSpPr>
            <p:cNvPr id="601" name="object 362">
              <a:extLst>
                <a:ext uri="{FF2B5EF4-FFF2-40B4-BE49-F238E27FC236}">
                  <a16:creationId xmlns:a16="http://schemas.microsoft.com/office/drawing/2014/main" id="{211CBA79-97B2-1B06-C5E3-A09DDC856D96}"/>
                </a:ext>
              </a:extLst>
            </p:cNvPr>
            <p:cNvSpPr/>
            <p:nvPr/>
          </p:nvSpPr>
          <p:spPr>
            <a:xfrm>
              <a:off x="9523993" y="3862863"/>
              <a:ext cx="332700" cy="477101"/>
            </a:xfrm>
            <a:custGeom>
              <a:avLst/>
              <a:gdLst/>
              <a:ahLst/>
              <a:cxnLst/>
              <a:rect l="l" t="t" r="r" b="b"/>
              <a:pathLst>
                <a:path w="548640" h="786765">
                  <a:moveTo>
                    <a:pt x="548081" y="786396"/>
                  </a:moveTo>
                  <a:lnTo>
                    <a:pt x="542632" y="738238"/>
                  </a:lnTo>
                  <a:lnTo>
                    <a:pt x="529234" y="692975"/>
                  </a:lnTo>
                  <a:lnTo>
                    <a:pt x="508622" y="651344"/>
                  </a:lnTo>
                  <a:lnTo>
                    <a:pt x="481520" y="614083"/>
                  </a:lnTo>
                  <a:lnTo>
                    <a:pt x="448678" y="581939"/>
                  </a:lnTo>
                  <a:lnTo>
                    <a:pt x="410832" y="555625"/>
                  </a:lnTo>
                  <a:lnTo>
                    <a:pt x="368693" y="535889"/>
                  </a:lnTo>
                  <a:lnTo>
                    <a:pt x="323024" y="523468"/>
                  </a:lnTo>
                  <a:lnTo>
                    <a:pt x="274561" y="519099"/>
                  </a:lnTo>
                  <a:lnTo>
                    <a:pt x="273329" y="519099"/>
                  </a:lnTo>
                  <a:lnTo>
                    <a:pt x="224993" y="523455"/>
                  </a:lnTo>
                  <a:lnTo>
                    <a:pt x="179438" y="535813"/>
                  </a:lnTo>
                  <a:lnTo>
                    <a:pt x="137401" y="555459"/>
                  </a:lnTo>
                  <a:lnTo>
                    <a:pt x="99606" y="581660"/>
                  </a:lnTo>
                  <a:lnTo>
                    <a:pt x="66802" y="613664"/>
                  </a:lnTo>
                  <a:lnTo>
                    <a:pt x="39712" y="650773"/>
                  </a:lnTo>
                  <a:lnTo>
                    <a:pt x="19062" y="692226"/>
                  </a:lnTo>
                  <a:lnTo>
                    <a:pt x="5575" y="737323"/>
                  </a:lnTo>
                  <a:lnTo>
                    <a:pt x="0" y="785304"/>
                  </a:lnTo>
                  <a:lnTo>
                    <a:pt x="47713" y="781265"/>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35"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78" y="316407"/>
                  </a:lnTo>
                  <a:lnTo>
                    <a:pt x="410832" y="290106"/>
                  </a:lnTo>
                  <a:lnTo>
                    <a:pt x="368693" y="270370"/>
                  </a:lnTo>
                  <a:lnTo>
                    <a:pt x="323024" y="257949"/>
                  </a:lnTo>
                  <a:lnTo>
                    <a:pt x="274561" y="253568"/>
                  </a:lnTo>
                  <a:lnTo>
                    <a:pt x="273329" y="253568"/>
                  </a:lnTo>
                  <a:lnTo>
                    <a:pt x="224993" y="257924"/>
                  </a:lnTo>
                  <a:lnTo>
                    <a:pt x="179438" y="270294"/>
                  </a:lnTo>
                  <a:lnTo>
                    <a:pt x="137401" y="289941"/>
                  </a:lnTo>
                  <a:lnTo>
                    <a:pt x="99606" y="316128"/>
                  </a:lnTo>
                  <a:lnTo>
                    <a:pt x="66802" y="348145"/>
                  </a:lnTo>
                  <a:lnTo>
                    <a:pt x="39712" y="385241"/>
                  </a:lnTo>
                  <a:lnTo>
                    <a:pt x="19062" y="426707"/>
                  </a:lnTo>
                  <a:lnTo>
                    <a:pt x="5575" y="471792"/>
                  </a:lnTo>
                  <a:lnTo>
                    <a:pt x="0" y="519785"/>
                  </a:lnTo>
                  <a:lnTo>
                    <a:pt x="47713" y="515747"/>
                  </a:lnTo>
                  <a:lnTo>
                    <a:pt x="92240" y="504101"/>
                  </a:lnTo>
                  <a:lnTo>
                    <a:pt x="133464" y="485495"/>
                  </a:lnTo>
                  <a:lnTo>
                    <a:pt x="170738" y="460629"/>
                  </a:lnTo>
                  <a:lnTo>
                    <a:pt x="203352" y="430161"/>
                  </a:lnTo>
                  <a:lnTo>
                    <a:pt x="230670" y="394779"/>
                  </a:lnTo>
                  <a:lnTo>
                    <a:pt x="251993" y="355142"/>
                  </a:lnTo>
                  <a:lnTo>
                    <a:pt x="266661" y="311950"/>
                  </a:lnTo>
                  <a:lnTo>
                    <a:pt x="273989" y="265874"/>
                  </a:lnTo>
                  <a:lnTo>
                    <a:pt x="281165" y="312140"/>
                  </a:lnTo>
                  <a:lnTo>
                    <a:pt x="295719" y="355511"/>
                  </a:lnTo>
                  <a:lnTo>
                    <a:pt x="316992" y="395300"/>
                  </a:lnTo>
                  <a:lnTo>
                    <a:pt x="344284" y="430847"/>
                  </a:lnTo>
                  <a:lnTo>
                    <a:pt x="376923" y="461441"/>
                  </a:lnTo>
                  <a:lnTo>
                    <a:pt x="414235" y="486422"/>
                  </a:lnTo>
                  <a:lnTo>
                    <a:pt x="455549" y="505104"/>
                  </a:lnTo>
                  <a:lnTo>
                    <a:pt x="500164" y="516813"/>
                  </a:lnTo>
                  <a:lnTo>
                    <a:pt x="548081" y="520865"/>
                  </a:lnTo>
                  <a:close/>
                </a:path>
                <a:path w="548640" h="786765">
                  <a:moveTo>
                    <a:pt x="548081" y="267322"/>
                  </a:moveTo>
                  <a:lnTo>
                    <a:pt x="542632" y="219151"/>
                  </a:lnTo>
                  <a:lnTo>
                    <a:pt x="529234" y="173888"/>
                  </a:lnTo>
                  <a:lnTo>
                    <a:pt x="508622" y="132257"/>
                  </a:lnTo>
                  <a:lnTo>
                    <a:pt x="481533" y="95008"/>
                  </a:lnTo>
                  <a:lnTo>
                    <a:pt x="480834" y="94335"/>
                  </a:lnTo>
                  <a:lnTo>
                    <a:pt x="448691" y="62852"/>
                  </a:lnTo>
                  <a:lnTo>
                    <a:pt x="433158" y="52070"/>
                  </a:lnTo>
                  <a:lnTo>
                    <a:pt x="410832" y="36550"/>
                  </a:lnTo>
                  <a:lnTo>
                    <a:pt x="368693" y="16802"/>
                  </a:lnTo>
                  <a:lnTo>
                    <a:pt x="323024" y="4381"/>
                  </a:lnTo>
                  <a:lnTo>
                    <a:pt x="274561" y="0"/>
                  </a:lnTo>
                  <a:lnTo>
                    <a:pt x="273329" y="0"/>
                  </a:lnTo>
                  <a:lnTo>
                    <a:pt x="224993" y="4356"/>
                  </a:lnTo>
                  <a:lnTo>
                    <a:pt x="179438" y="16725"/>
                  </a:lnTo>
                  <a:lnTo>
                    <a:pt x="137401" y="36372"/>
                  </a:lnTo>
                  <a:lnTo>
                    <a:pt x="99606" y="62560"/>
                  </a:lnTo>
                  <a:lnTo>
                    <a:pt x="66802" y="94576"/>
                  </a:lnTo>
                  <a:lnTo>
                    <a:pt x="39687" y="131686"/>
                  </a:lnTo>
                  <a:lnTo>
                    <a:pt x="19037" y="173139"/>
                  </a:lnTo>
                  <a:lnTo>
                    <a:pt x="5562" y="218224"/>
                  </a:lnTo>
                  <a:lnTo>
                    <a:pt x="0" y="266192"/>
                  </a:lnTo>
                  <a:lnTo>
                    <a:pt x="47713" y="262178"/>
                  </a:lnTo>
                  <a:lnTo>
                    <a:pt x="92240" y="250520"/>
                  </a:lnTo>
                  <a:lnTo>
                    <a:pt x="133464" y="231927"/>
                  </a:lnTo>
                  <a:lnTo>
                    <a:pt x="170738" y="207060"/>
                  </a:lnTo>
                  <a:lnTo>
                    <a:pt x="203365" y="176593"/>
                  </a:lnTo>
                  <a:lnTo>
                    <a:pt x="230670" y="141224"/>
                  </a:lnTo>
                  <a:lnTo>
                    <a:pt x="252006" y="101600"/>
                  </a:lnTo>
                  <a:lnTo>
                    <a:pt x="266661" y="58420"/>
                  </a:lnTo>
                  <a:lnTo>
                    <a:pt x="273989" y="12369"/>
                  </a:lnTo>
                  <a:lnTo>
                    <a:pt x="279844" y="50101"/>
                  </a:lnTo>
                  <a:lnTo>
                    <a:pt x="295719" y="101955"/>
                  </a:lnTo>
                  <a:lnTo>
                    <a:pt x="316992" y="141744"/>
                  </a:lnTo>
                  <a:lnTo>
                    <a:pt x="344284" y="177279"/>
                  </a:lnTo>
                  <a:lnTo>
                    <a:pt x="376923" y="207886"/>
                  </a:lnTo>
                  <a:lnTo>
                    <a:pt x="414248" y="232867"/>
                  </a:lnTo>
                  <a:lnTo>
                    <a:pt x="455549" y="251561"/>
                  </a:lnTo>
                  <a:lnTo>
                    <a:pt x="500176" y="263271"/>
                  </a:lnTo>
                  <a:lnTo>
                    <a:pt x="548081" y="267322"/>
                  </a:lnTo>
                  <a:close/>
                </a:path>
              </a:pathLst>
            </a:custGeom>
            <a:solidFill>
              <a:srgbClr val="2DB7EA"/>
            </a:solidFill>
          </p:spPr>
          <p:txBody>
            <a:bodyPr wrap="square" lIns="0" tIns="0" rIns="0" bIns="0" rtlCol="0"/>
            <a:lstStyle/>
            <a:p>
              <a:endParaRPr dirty="0"/>
            </a:p>
          </p:txBody>
        </p:sp>
        <p:pic>
          <p:nvPicPr>
            <p:cNvPr id="602" name="object 363">
              <a:extLst>
                <a:ext uri="{FF2B5EF4-FFF2-40B4-BE49-F238E27FC236}">
                  <a16:creationId xmlns:a16="http://schemas.microsoft.com/office/drawing/2014/main" id="{923AC69D-B65D-057A-B5FF-24CF406A7DF6}"/>
                </a:ext>
              </a:extLst>
            </p:cNvPr>
            <p:cNvPicPr/>
            <p:nvPr/>
          </p:nvPicPr>
          <p:blipFill>
            <a:blip r:embed="rId8" cstate="print"/>
            <a:stretch>
              <a:fillRect/>
            </a:stretch>
          </p:blipFill>
          <p:spPr>
            <a:xfrm>
              <a:off x="9637261" y="4318566"/>
              <a:ext cx="106445" cy="107156"/>
            </a:xfrm>
            <a:prstGeom prst="rect">
              <a:avLst/>
            </a:prstGeom>
          </p:spPr>
        </p:pic>
        <p:sp>
          <p:nvSpPr>
            <p:cNvPr id="603" name="object 364">
              <a:extLst>
                <a:ext uri="{FF2B5EF4-FFF2-40B4-BE49-F238E27FC236}">
                  <a16:creationId xmlns:a16="http://schemas.microsoft.com/office/drawing/2014/main" id="{3E243854-2833-068B-AEAA-C0761FC09F2B}"/>
                </a:ext>
              </a:extLst>
            </p:cNvPr>
            <p:cNvSpPr/>
            <p:nvPr/>
          </p:nvSpPr>
          <p:spPr>
            <a:xfrm>
              <a:off x="9523993" y="4517034"/>
              <a:ext cx="332700" cy="477101"/>
            </a:xfrm>
            <a:custGeom>
              <a:avLst/>
              <a:gdLst/>
              <a:ahLst/>
              <a:cxnLst/>
              <a:rect l="l" t="t" r="r" b="b"/>
              <a:pathLst>
                <a:path w="548640" h="786765">
                  <a:moveTo>
                    <a:pt x="548081" y="786384"/>
                  </a:moveTo>
                  <a:lnTo>
                    <a:pt x="542632" y="738225"/>
                  </a:lnTo>
                  <a:lnTo>
                    <a:pt x="529234" y="692962"/>
                  </a:lnTo>
                  <a:lnTo>
                    <a:pt x="508622" y="651332"/>
                  </a:lnTo>
                  <a:lnTo>
                    <a:pt x="481520" y="614083"/>
                  </a:lnTo>
                  <a:lnTo>
                    <a:pt x="448678" y="581926"/>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47"/>
                  </a:lnTo>
                  <a:lnTo>
                    <a:pt x="66802" y="613664"/>
                  </a:lnTo>
                  <a:lnTo>
                    <a:pt x="39712" y="650760"/>
                  </a:lnTo>
                  <a:lnTo>
                    <a:pt x="19062" y="692226"/>
                  </a:lnTo>
                  <a:lnTo>
                    <a:pt x="5575" y="737323"/>
                  </a:lnTo>
                  <a:lnTo>
                    <a:pt x="0" y="785304"/>
                  </a:lnTo>
                  <a:lnTo>
                    <a:pt x="47713" y="781265"/>
                  </a:lnTo>
                  <a:lnTo>
                    <a:pt x="92240" y="769620"/>
                  </a:lnTo>
                  <a:lnTo>
                    <a:pt x="133464" y="751014"/>
                  </a:lnTo>
                  <a:lnTo>
                    <a:pt x="170738" y="726147"/>
                  </a:lnTo>
                  <a:lnTo>
                    <a:pt x="203352" y="695680"/>
                  </a:lnTo>
                  <a:lnTo>
                    <a:pt x="230670" y="660298"/>
                  </a:lnTo>
                  <a:lnTo>
                    <a:pt x="251993" y="620674"/>
                  </a:lnTo>
                  <a:lnTo>
                    <a:pt x="266661" y="577469"/>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5">
                  <a:moveTo>
                    <a:pt x="548081" y="520852"/>
                  </a:moveTo>
                  <a:lnTo>
                    <a:pt x="542632" y="472694"/>
                  </a:lnTo>
                  <a:lnTo>
                    <a:pt x="529234" y="427431"/>
                  </a:lnTo>
                  <a:lnTo>
                    <a:pt x="508622" y="385813"/>
                  </a:lnTo>
                  <a:lnTo>
                    <a:pt x="481520" y="348551"/>
                  </a:lnTo>
                  <a:lnTo>
                    <a:pt x="448678" y="316407"/>
                  </a:lnTo>
                  <a:lnTo>
                    <a:pt x="410832" y="290093"/>
                  </a:lnTo>
                  <a:lnTo>
                    <a:pt x="368693" y="270357"/>
                  </a:lnTo>
                  <a:lnTo>
                    <a:pt x="323024" y="257937"/>
                  </a:lnTo>
                  <a:lnTo>
                    <a:pt x="274561" y="253555"/>
                  </a:lnTo>
                  <a:lnTo>
                    <a:pt x="273329" y="253555"/>
                  </a:lnTo>
                  <a:lnTo>
                    <a:pt x="224993" y="257911"/>
                  </a:lnTo>
                  <a:lnTo>
                    <a:pt x="179438" y="270281"/>
                  </a:lnTo>
                  <a:lnTo>
                    <a:pt x="137401" y="289928"/>
                  </a:lnTo>
                  <a:lnTo>
                    <a:pt x="99606" y="316128"/>
                  </a:lnTo>
                  <a:lnTo>
                    <a:pt x="66802" y="348132"/>
                  </a:lnTo>
                  <a:lnTo>
                    <a:pt x="39712" y="385241"/>
                  </a:lnTo>
                  <a:lnTo>
                    <a:pt x="19062" y="426694"/>
                  </a:lnTo>
                  <a:lnTo>
                    <a:pt x="5575" y="471779"/>
                  </a:lnTo>
                  <a:lnTo>
                    <a:pt x="0" y="519772"/>
                  </a:lnTo>
                  <a:lnTo>
                    <a:pt x="47713" y="515734"/>
                  </a:lnTo>
                  <a:lnTo>
                    <a:pt x="92240" y="504075"/>
                  </a:lnTo>
                  <a:lnTo>
                    <a:pt x="133464" y="485482"/>
                  </a:lnTo>
                  <a:lnTo>
                    <a:pt x="170738" y="460616"/>
                  </a:lnTo>
                  <a:lnTo>
                    <a:pt x="203352"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35" y="486410"/>
                  </a:lnTo>
                  <a:lnTo>
                    <a:pt x="455549" y="505091"/>
                  </a:lnTo>
                  <a:lnTo>
                    <a:pt x="500164" y="516801"/>
                  </a:lnTo>
                  <a:lnTo>
                    <a:pt x="548081" y="520852"/>
                  </a:lnTo>
                  <a:close/>
                </a:path>
                <a:path w="548640" h="786765">
                  <a:moveTo>
                    <a:pt x="548081" y="267322"/>
                  </a:moveTo>
                  <a:lnTo>
                    <a:pt x="542632" y="219151"/>
                  </a:lnTo>
                  <a:lnTo>
                    <a:pt x="529234" y="173875"/>
                  </a:lnTo>
                  <a:lnTo>
                    <a:pt x="508622" y="132245"/>
                  </a:lnTo>
                  <a:lnTo>
                    <a:pt x="481533" y="94996"/>
                  </a:lnTo>
                  <a:lnTo>
                    <a:pt x="449376" y="63525"/>
                  </a:lnTo>
                  <a:lnTo>
                    <a:pt x="448691" y="62852"/>
                  </a:lnTo>
                  <a:lnTo>
                    <a:pt x="410832" y="36537"/>
                  </a:lnTo>
                  <a:lnTo>
                    <a:pt x="368706" y="16814"/>
                  </a:lnTo>
                  <a:lnTo>
                    <a:pt x="323024" y="4368"/>
                  </a:lnTo>
                  <a:lnTo>
                    <a:pt x="274561" y="0"/>
                  </a:lnTo>
                  <a:lnTo>
                    <a:pt x="273329" y="0"/>
                  </a:lnTo>
                  <a:lnTo>
                    <a:pt x="224993" y="4356"/>
                  </a:lnTo>
                  <a:lnTo>
                    <a:pt x="179438" y="16725"/>
                  </a:lnTo>
                  <a:lnTo>
                    <a:pt x="137401" y="36372"/>
                  </a:lnTo>
                  <a:lnTo>
                    <a:pt x="99606" y="62560"/>
                  </a:lnTo>
                  <a:lnTo>
                    <a:pt x="66802" y="94576"/>
                  </a:lnTo>
                  <a:lnTo>
                    <a:pt x="39687" y="131686"/>
                  </a:lnTo>
                  <a:lnTo>
                    <a:pt x="19037" y="173139"/>
                  </a:lnTo>
                  <a:lnTo>
                    <a:pt x="5562" y="218211"/>
                  </a:lnTo>
                  <a:lnTo>
                    <a:pt x="0" y="266192"/>
                  </a:lnTo>
                  <a:lnTo>
                    <a:pt x="47713" y="262166"/>
                  </a:lnTo>
                  <a:lnTo>
                    <a:pt x="92240" y="250520"/>
                  </a:lnTo>
                  <a:lnTo>
                    <a:pt x="133477" y="231914"/>
                  </a:lnTo>
                  <a:lnTo>
                    <a:pt x="170738" y="207048"/>
                  </a:lnTo>
                  <a:lnTo>
                    <a:pt x="203365" y="176593"/>
                  </a:lnTo>
                  <a:lnTo>
                    <a:pt x="230670" y="141211"/>
                  </a:lnTo>
                  <a:lnTo>
                    <a:pt x="252006" y="101600"/>
                  </a:lnTo>
                  <a:lnTo>
                    <a:pt x="266661" y="58407"/>
                  </a:lnTo>
                  <a:lnTo>
                    <a:pt x="273989" y="12357"/>
                  </a:lnTo>
                  <a:lnTo>
                    <a:pt x="279844" y="50101"/>
                  </a:lnTo>
                  <a:lnTo>
                    <a:pt x="295719" y="101942"/>
                  </a:lnTo>
                  <a:lnTo>
                    <a:pt x="316992" y="141732"/>
                  </a:lnTo>
                  <a:lnTo>
                    <a:pt x="344284" y="177279"/>
                  </a:lnTo>
                  <a:lnTo>
                    <a:pt x="376923" y="207873"/>
                  </a:lnTo>
                  <a:lnTo>
                    <a:pt x="414248" y="232867"/>
                  </a:lnTo>
                  <a:lnTo>
                    <a:pt x="455549" y="251548"/>
                  </a:lnTo>
                  <a:lnTo>
                    <a:pt x="500176" y="263258"/>
                  </a:lnTo>
                  <a:lnTo>
                    <a:pt x="548081" y="267322"/>
                  </a:lnTo>
                  <a:close/>
                </a:path>
              </a:pathLst>
            </a:custGeom>
            <a:solidFill>
              <a:srgbClr val="7ED3F1"/>
            </a:solidFill>
          </p:spPr>
          <p:txBody>
            <a:bodyPr wrap="square" lIns="0" tIns="0" rIns="0" bIns="0" rtlCol="0"/>
            <a:lstStyle/>
            <a:p>
              <a:endParaRPr dirty="0"/>
            </a:p>
          </p:txBody>
        </p:sp>
        <p:pic>
          <p:nvPicPr>
            <p:cNvPr id="604" name="object 365">
              <a:extLst>
                <a:ext uri="{FF2B5EF4-FFF2-40B4-BE49-F238E27FC236}">
                  <a16:creationId xmlns:a16="http://schemas.microsoft.com/office/drawing/2014/main" id="{AB87B6E7-7C15-3046-548F-06970EECC57A}"/>
                </a:ext>
              </a:extLst>
            </p:cNvPr>
            <p:cNvPicPr/>
            <p:nvPr/>
          </p:nvPicPr>
          <p:blipFill>
            <a:blip r:embed="rId9" cstate="print"/>
            <a:stretch>
              <a:fillRect/>
            </a:stretch>
          </p:blipFill>
          <p:spPr>
            <a:xfrm>
              <a:off x="9637261" y="4972731"/>
              <a:ext cx="106445" cy="107156"/>
            </a:xfrm>
            <a:prstGeom prst="rect">
              <a:avLst/>
            </a:prstGeom>
          </p:spPr>
        </p:pic>
        <p:sp>
          <p:nvSpPr>
            <p:cNvPr id="605" name="object 366">
              <a:extLst>
                <a:ext uri="{FF2B5EF4-FFF2-40B4-BE49-F238E27FC236}">
                  <a16:creationId xmlns:a16="http://schemas.microsoft.com/office/drawing/2014/main" id="{EBCF8657-83D7-A576-05EF-C3B4ED57F425}"/>
                </a:ext>
              </a:extLst>
            </p:cNvPr>
            <p:cNvSpPr/>
            <p:nvPr/>
          </p:nvSpPr>
          <p:spPr>
            <a:xfrm>
              <a:off x="9523993" y="2554529"/>
              <a:ext cx="332700" cy="477101"/>
            </a:xfrm>
            <a:custGeom>
              <a:avLst/>
              <a:gdLst/>
              <a:ahLst/>
              <a:cxnLst/>
              <a:rect l="l" t="t" r="r" b="b"/>
              <a:pathLst>
                <a:path w="548640" h="786764">
                  <a:moveTo>
                    <a:pt x="548081" y="786396"/>
                  </a:moveTo>
                  <a:lnTo>
                    <a:pt x="542632" y="738238"/>
                  </a:lnTo>
                  <a:lnTo>
                    <a:pt x="529234" y="692975"/>
                  </a:lnTo>
                  <a:lnTo>
                    <a:pt x="508622" y="651344"/>
                  </a:lnTo>
                  <a:lnTo>
                    <a:pt x="481520" y="614095"/>
                  </a:lnTo>
                  <a:lnTo>
                    <a:pt x="448678" y="581939"/>
                  </a:lnTo>
                  <a:lnTo>
                    <a:pt x="410832" y="555625"/>
                  </a:lnTo>
                  <a:lnTo>
                    <a:pt x="368693" y="535901"/>
                  </a:lnTo>
                  <a:lnTo>
                    <a:pt x="323024" y="523468"/>
                  </a:lnTo>
                  <a:lnTo>
                    <a:pt x="274561" y="519099"/>
                  </a:lnTo>
                  <a:lnTo>
                    <a:pt x="273329" y="519099"/>
                  </a:lnTo>
                  <a:lnTo>
                    <a:pt x="224993" y="523455"/>
                  </a:lnTo>
                  <a:lnTo>
                    <a:pt x="179438" y="535813"/>
                  </a:lnTo>
                  <a:lnTo>
                    <a:pt x="137401" y="555459"/>
                  </a:lnTo>
                  <a:lnTo>
                    <a:pt x="99606" y="581660"/>
                  </a:lnTo>
                  <a:lnTo>
                    <a:pt x="66802" y="613676"/>
                  </a:lnTo>
                  <a:lnTo>
                    <a:pt x="39712" y="650773"/>
                  </a:lnTo>
                  <a:lnTo>
                    <a:pt x="19062" y="692238"/>
                  </a:lnTo>
                  <a:lnTo>
                    <a:pt x="5575" y="737323"/>
                  </a:lnTo>
                  <a:lnTo>
                    <a:pt x="0" y="785317"/>
                  </a:lnTo>
                  <a:lnTo>
                    <a:pt x="47713" y="781278"/>
                  </a:lnTo>
                  <a:lnTo>
                    <a:pt x="92240" y="769632"/>
                  </a:lnTo>
                  <a:lnTo>
                    <a:pt x="133464" y="751027"/>
                  </a:lnTo>
                  <a:lnTo>
                    <a:pt x="170738" y="726160"/>
                  </a:lnTo>
                  <a:lnTo>
                    <a:pt x="203352" y="695693"/>
                  </a:lnTo>
                  <a:lnTo>
                    <a:pt x="230670" y="660311"/>
                  </a:lnTo>
                  <a:lnTo>
                    <a:pt x="251993" y="620687"/>
                  </a:lnTo>
                  <a:lnTo>
                    <a:pt x="266661" y="577481"/>
                  </a:lnTo>
                  <a:lnTo>
                    <a:pt x="273989" y="531406"/>
                  </a:lnTo>
                  <a:lnTo>
                    <a:pt x="281165" y="577672"/>
                  </a:lnTo>
                  <a:lnTo>
                    <a:pt x="295719" y="621042"/>
                  </a:lnTo>
                  <a:lnTo>
                    <a:pt x="316992" y="660844"/>
                  </a:lnTo>
                  <a:lnTo>
                    <a:pt x="344284" y="696379"/>
                  </a:lnTo>
                  <a:lnTo>
                    <a:pt x="376923" y="726973"/>
                  </a:lnTo>
                  <a:lnTo>
                    <a:pt x="414235" y="751954"/>
                  </a:lnTo>
                  <a:lnTo>
                    <a:pt x="455549" y="770636"/>
                  </a:lnTo>
                  <a:lnTo>
                    <a:pt x="500164" y="782345"/>
                  </a:lnTo>
                  <a:lnTo>
                    <a:pt x="548081" y="786396"/>
                  </a:lnTo>
                  <a:close/>
                </a:path>
                <a:path w="548640" h="786764">
                  <a:moveTo>
                    <a:pt x="548081" y="520865"/>
                  </a:moveTo>
                  <a:lnTo>
                    <a:pt x="542632" y="472706"/>
                  </a:lnTo>
                  <a:lnTo>
                    <a:pt x="529234" y="427443"/>
                  </a:lnTo>
                  <a:lnTo>
                    <a:pt x="508622" y="385813"/>
                  </a:lnTo>
                  <a:lnTo>
                    <a:pt x="481520" y="348564"/>
                  </a:lnTo>
                  <a:lnTo>
                    <a:pt x="448678" y="316407"/>
                  </a:lnTo>
                  <a:lnTo>
                    <a:pt x="410832" y="290106"/>
                  </a:lnTo>
                  <a:lnTo>
                    <a:pt x="368693" y="270370"/>
                  </a:lnTo>
                  <a:lnTo>
                    <a:pt x="323024" y="257949"/>
                  </a:lnTo>
                  <a:lnTo>
                    <a:pt x="274561" y="253568"/>
                  </a:lnTo>
                  <a:lnTo>
                    <a:pt x="273329" y="253568"/>
                  </a:lnTo>
                  <a:lnTo>
                    <a:pt x="224993" y="257924"/>
                  </a:lnTo>
                  <a:lnTo>
                    <a:pt x="179438" y="270294"/>
                  </a:lnTo>
                  <a:lnTo>
                    <a:pt x="137401" y="289941"/>
                  </a:lnTo>
                  <a:lnTo>
                    <a:pt x="99606" y="316128"/>
                  </a:lnTo>
                  <a:lnTo>
                    <a:pt x="66802" y="348145"/>
                  </a:lnTo>
                  <a:lnTo>
                    <a:pt x="39712" y="385254"/>
                  </a:lnTo>
                  <a:lnTo>
                    <a:pt x="19062" y="426707"/>
                  </a:lnTo>
                  <a:lnTo>
                    <a:pt x="5575" y="471805"/>
                  </a:lnTo>
                  <a:lnTo>
                    <a:pt x="0" y="519785"/>
                  </a:lnTo>
                  <a:lnTo>
                    <a:pt x="47713" y="515759"/>
                  </a:lnTo>
                  <a:lnTo>
                    <a:pt x="92240" y="504101"/>
                  </a:lnTo>
                  <a:lnTo>
                    <a:pt x="133464" y="485495"/>
                  </a:lnTo>
                  <a:lnTo>
                    <a:pt x="170738" y="460629"/>
                  </a:lnTo>
                  <a:lnTo>
                    <a:pt x="203352" y="430161"/>
                  </a:lnTo>
                  <a:lnTo>
                    <a:pt x="230670" y="394779"/>
                  </a:lnTo>
                  <a:lnTo>
                    <a:pt x="251993" y="355155"/>
                  </a:lnTo>
                  <a:lnTo>
                    <a:pt x="266661" y="311962"/>
                  </a:lnTo>
                  <a:lnTo>
                    <a:pt x="273989" y="265874"/>
                  </a:lnTo>
                  <a:lnTo>
                    <a:pt x="281165" y="312140"/>
                  </a:lnTo>
                  <a:lnTo>
                    <a:pt x="295719" y="355511"/>
                  </a:lnTo>
                  <a:lnTo>
                    <a:pt x="316992" y="395312"/>
                  </a:lnTo>
                  <a:lnTo>
                    <a:pt x="344284" y="430847"/>
                  </a:lnTo>
                  <a:lnTo>
                    <a:pt x="376923" y="461441"/>
                  </a:lnTo>
                  <a:lnTo>
                    <a:pt x="414235" y="486422"/>
                  </a:lnTo>
                  <a:lnTo>
                    <a:pt x="455549" y="505104"/>
                  </a:lnTo>
                  <a:lnTo>
                    <a:pt x="500164" y="516813"/>
                  </a:lnTo>
                  <a:lnTo>
                    <a:pt x="548081" y="520865"/>
                  </a:lnTo>
                  <a:close/>
                </a:path>
                <a:path w="548640" h="786764">
                  <a:moveTo>
                    <a:pt x="548081" y="267335"/>
                  </a:moveTo>
                  <a:lnTo>
                    <a:pt x="542632" y="219163"/>
                  </a:lnTo>
                  <a:lnTo>
                    <a:pt x="529234" y="173888"/>
                  </a:lnTo>
                  <a:lnTo>
                    <a:pt x="508622" y="132257"/>
                  </a:lnTo>
                  <a:lnTo>
                    <a:pt x="481533" y="95008"/>
                  </a:lnTo>
                  <a:lnTo>
                    <a:pt x="448691" y="62865"/>
                  </a:lnTo>
                  <a:lnTo>
                    <a:pt x="410832" y="36537"/>
                  </a:lnTo>
                  <a:lnTo>
                    <a:pt x="368693" y="16802"/>
                  </a:lnTo>
                  <a:lnTo>
                    <a:pt x="323024" y="4381"/>
                  </a:lnTo>
                  <a:lnTo>
                    <a:pt x="274561" y="0"/>
                  </a:lnTo>
                  <a:lnTo>
                    <a:pt x="273329" y="0"/>
                  </a:lnTo>
                  <a:lnTo>
                    <a:pt x="224993" y="4356"/>
                  </a:lnTo>
                  <a:lnTo>
                    <a:pt x="179438" y="16725"/>
                  </a:lnTo>
                  <a:lnTo>
                    <a:pt x="137401" y="36372"/>
                  </a:lnTo>
                  <a:lnTo>
                    <a:pt x="99606" y="62572"/>
                  </a:lnTo>
                  <a:lnTo>
                    <a:pt x="66802" y="94576"/>
                  </a:lnTo>
                  <a:lnTo>
                    <a:pt x="59575" y="104470"/>
                  </a:lnTo>
                  <a:lnTo>
                    <a:pt x="39687" y="131699"/>
                  </a:lnTo>
                  <a:lnTo>
                    <a:pt x="19037" y="173151"/>
                  </a:lnTo>
                  <a:lnTo>
                    <a:pt x="5562" y="218224"/>
                  </a:lnTo>
                  <a:lnTo>
                    <a:pt x="0" y="266204"/>
                  </a:lnTo>
                  <a:lnTo>
                    <a:pt x="47713" y="262191"/>
                  </a:lnTo>
                  <a:lnTo>
                    <a:pt x="92240" y="250532"/>
                  </a:lnTo>
                  <a:lnTo>
                    <a:pt x="133464" y="231940"/>
                  </a:lnTo>
                  <a:lnTo>
                    <a:pt x="170738" y="207060"/>
                  </a:lnTo>
                  <a:lnTo>
                    <a:pt x="203365" y="176606"/>
                  </a:lnTo>
                  <a:lnTo>
                    <a:pt x="230670" y="141224"/>
                  </a:lnTo>
                  <a:lnTo>
                    <a:pt x="252006" y="101612"/>
                  </a:lnTo>
                  <a:lnTo>
                    <a:pt x="266661" y="58420"/>
                  </a:lnTo>
                  <a:lnTo>
                    <a:pt x="273989" y="12369"/>
                  </a:lnTo>
                  <a:lnTo>
                    <a:pt x="279844" y="50114"/>
                  </a:lnTo>
                  <a:lnTo>
                    <a:pt x="295719" y="101955"/>
                  </a:lnTo>
                  <a:lnTo>
                    <a:pt x="316992" y="141744"/>
                  </a:lnTo>
                  <a:lnTo>
                    <a:pt x="344284" y="177279"/>
                  </a:lnTo>
                  <a:lnTo>
                    <a:pt x="376923" y="207886"/>
                  </a:lnTo>
                  <a:lnTo>
                    <a:pt x="414248" y="232867"/>
                  </a:lnTo>
                  <a:lnTo>
                    <a:pt x="455549" y="251561"/>
                  </a:lnTo>
                  <a:lnTo>
                    <a:pt x="500176" y="263271"/>
                  </a:lnTo>
                  <a:lnTo>
                    <a:pt x="548081" y="267335"/>
                  </a:lnTo>
                  <a:close/>
                </a:path>
              </a:pathLst>
            </a:custGeom>
            <a:solidFill>
              <a:srgbClr val="2DB7EA"/>
            </a:solidFill>
          </p:spPr>
          <p:txBody>
            <a:bodyPr wrap="square" lIns="0" tIns="0" rIns="0" bIns="0" rtlCol="0"/>
            <a:lstStyle/>
            <a:p>
              <a:endParaRPr dirty="0"/>
            </a:p>
          </p:txBody>
        </p:sp>
        <p:pic>
          <p:nvPicPr>
            <p:cNvPr id="606" name="object 367">
              <a:extLst>
                <a:ext uri="{FF2B5EF4-FFF2-40B4-BE49-F238E27FC236}">
                  <a16:creationId xmlns:a16="http://schemas.microsoft.com/office/drawing/2014/main" id="{3F863933-9273-1675-4799-005D51165282}"/>
                </a:ext>
              </a:extLst>
            </p:cNvPr>
            <p:cNvPicPr/>
            <p:nvPr/>
          </p:nvPicPr>
          <p:blipFill>
            <a:blip r:embed="rId8" cstate="print"/>
            <a:stretch>
              <a:fillRect/>
            </a:stretch>
          </p:blipFill>
          <p:spPr>
            <a:xfrm>
              <a:off x="9637261" y="3010234"/>
              <a:ext cx="106445" cy="107156"/>
            </a:xfrm>
            <a:prstGeom prst="rect">
              <a:avLst/>
            </a:prstGeom>
          </p:spPr>
        </p:pic>
        <p:sp>
          <p:nvSpPr>
            <p:cNvPr id="607" name="object 368">
              <a:extLst>
                <a:ext uri="{FF2B5EF4-FFF2-40B4-BE49-F238E27FC236}">
                  <a16:creationId xmlns:a16="http://schemas.microsoft.com/office/drawing/2014/main" id="{86E48E4A-697A-D477-D16E-C2381AC27A86}"/>
                </a:ext>
              </a:extLst>
            </p:cNvPr>
            <p:cNvSpPr/>
            <p:nvPr/>
          </p:nvSpPr>
          <p:spPr>
            <a:xfrm>
              <a:off x="9523993" y="3208700"/>
              <a:ext cx="332700" cy="477101"/>
            </a:xfrm>
            <a:custGeom>
              <a:avLst/>
              <a:gdLst/>
              <a:ahLst/>
              <a:cxnLst/>
              <a:rect l="l" t="t" r="r" b="b"/>
              <a:pathLst>
                <a:path w="548640" h="786764">
                  <a:moveTo>
                    <a:pt x="548081" y="786384"/>
                  </a:moveTo>
                  <a:lnTo>
                    <a:pt x="542632" y="738225"/>
                  </a:lnTo>
                  <a:lnTo>
                    <a:pt x="529234" y="692962"/>
                  </a:lnTo>
                  <a:lnTo>
                    <a:pt x="508622" y="651344"/>
                  </a:lnTo>
                  <a:lnTo>
                    <a:pt x="481520" y="614083"/>
                  </a:lnTo>
                  <a:lnTo>
                    <a:pt x="448678" y="581926"/>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47"/>
                  </a:lnTo>
                  <a:lnTo>
                    <a:pt x="66802" y="613664"/>
                  </a:lnTo>
                  <a:lnTo>
                    <a:pt x="39712" y="650773"/>
                  </a:lnTo>
                  <a:lnTo>
                    <a:pt x="19062" y="692226"/>
                  </a:lnTo>
                  <a:lnTo>
                    <a:pt x="5575" y="737323"/>
                  </a:lnTo>
                  <a:lnTo>
                    <a:pt x="0" y="785317"/>
                  </a:lnTo>
                  <a:lnTo>
                    <a:pt x="47713" y="781278"/>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59"/>
                  </a:lnTo>
                  <a:lnTo>
                    <a:pt x="295719" y="621042"/>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65"/>
                  </a:moveTo>
                  <a:lnTo>
                    <a:pt x="542632" y="472694"/>
                  </a:lnTo>
                  <a:lnTo>
                    <a:pt x="529234" y="427431"/>
                  </a:lnTo>
                  <a:lnTo>
                    <a:pt x="508622" y="385813"/>
                  </a:lnTo>
                  <a:lnTo>
                    <a:pt x="481520" y="348551"/>
                  </a:lnTo>
                  <a:lnTo>
                    <a:pt x="448678" y="316407"/>
                  </a:lnTo>
                  <a:lnTo>
                    <a:pt x="410832" y="290093"/>
                  </a:lnTo>
                  <a:lnTo>
                    <a:pt x="368693" y="270357"/>
                  </a:lnTo>
                  <a:lnTo>
                    <a:pt x="323024" y="257937"/>
                  </a:lnTo>
                  <a:lnTo>
                    <a:pt x="274561" y="253555"/>
                  </a:lnTo>
                  <a:lnTo>
                    <a:pt x="273329" y="253555"/>
                  </a:lnTo>
                  <a:lnTo>
                    <a:pt x="224993" y="257911"/>
                  </a:lnTo>
                  <a:lnTo>
                    <a:pt x="179438" y="270281"/>
                  </a:lnTo>
                  <a:lnTo>
                    <a:pt x="137401" y="289928"/>
                  </a:lnTo>
                  <a:lnTo>
                    <a:pt x="99606" y="316115"/>
                  </a:lnTo>
                  <a:lnTo>
                    <a:pt x="66802" y="348132"/>
                  </a:lnTo>
                  <a:lnTo>
                    <a:pt x="39712" y="385241"/>
                  </a:lnTo>
                  <a:lnTo>
                    <a:pt x="19062" y="426694"/>
                  </a:lnTo>
                  <a:lnTo>
                    <a:pt x="5575" y="471792"/>
                  </a:lnTo>
                  <a:lnTo>
                    <a:pt x="0" y="519785"/>
                  </a:lnTo>
                  <a:lnTo>
                    <a:pt x="47713" y="515747"/>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29"/>
                  </a:lnTo>
                  <a:lnTo>
                    <a:pt x="414235" y="486410"/>
                  </a:lnTo>
                  <a:lnTo>
                    <a:pt x="455549" y="505091"/>
                  </a:lnTo>
                  <a:lnTo>
                    <a:pt x="500164" y="516801"/>
                  </a:lnTo>
                  <a:lnTo>
                    <a:pt x="548081" y="520865"/>
                  </a:lnTo>
                  <a:close/>
                </a:path>
                <a:path w="548640" h="786764">
                  <a:moveTo>
                    <a:pt x="548081" y="267322"/>
                  </a:moveTo>
                  <a:lnTo>
                    <a:pt x="542632" y="219151"/>
                  </a:lnTo>
                  <a:lnTo>
                    <a:pt x="529234" y="173888"/>
                  </a:lnTo>
                  <a:lnTo>
                    <a:pt x="508622" y="132257"/>
                  </a:lnTo>
                  <a:lnTo>
                    <a:pt x="497205" y="116573"/>
                  </a:lnTo>
                  <a:lnTo>
                    <a:pt x="481533" y="94996"/>
                  </a:lnTo>
                  <a:lnTo>
                    <a:pt x="449376" y="63525"/>
                  </a:lnTo>
                  <a:lnTo>
                    <a:pt x="448691" y="62852"/>
                  </a:lnTo>
                  <a:lnTo>
                    <a:pt x="410832" y="36525"/>
                  </a:lnTo>
                  <a:lnTo>
                    <a:pt x="368706" y="16814"/>
                  </a:lnTo>
                  <a:lnTo>
                    <a:pt x="323024" y="4368"/>
                  </a:lnTo>
                  <a:lnTo>
                    <a:pt x="274561" y="0"/>
                  </a:lnTo>
                  <a:lnTo>
                    <a:pt x="273329" y="0"/>
                  </a:lnTo>
                  <a:lnTo>
                    <a:pt x="224993" y="4356"/>
                  </a:lnTo>
                  <a:lnTo>
                    <a:pt x="179438" y="16725"/>
                  </a:lnTo>
                  <a:lnTo>
                    <a:pt x="137401" y="36360"/>
                  </a:lnTo>
                  <a:lnTo>
                    <a:pt x="99606" y="62560"/>
                  </a:lnTo>
                  <a:lnTo>
                    <a:pt x="66802" y="94576"/>
                  </a:lnTo>
                  <a:lnTo>
                    <a:pt x="39687" y="131686"/>
                  </a:lnTo>
                  <a:lnTo>
                    <a:pt x="19037" y="173139"/>
                  </a:lnTo>
                  <a:lnTo>
                    <a:pt x="5562" y="218224"/>
                  </a:lnTo>
                  <a:lnTo>
                    <a:pt x="0" y="266192"/>
                  </a:lnTo>
                  <a:lnTo>
                    <a:pt x="47713" y="262178"/>
                  </a:lnTo>
                  <a:lnTo>
                    <a:pt x="92240" y="250532"/>
                  </a:lnTo>
                  <a:lnTo>
                    <a:pt x="133464" y="231927"/>
                  </a:lnTo>
                  <a:lnTo>
                    <a:pt x="170738" y="207060"/>
                  </a:lnTo>
                  <a:lnTo>
                    <a:pt x="187604" y="191312"/>
                  </a:lnTo>
                  <a:lnTo>
                    <a:pt x="203365" y="176593"/>
                  </a:lnTo>
                  <a:lnTo>
                    <a:pt x="230670" y="141224"/>
                  </a:lnTo>
                  <a:lnTo>
                    <a:pt x="252006" y="101600"/>
                  </a:lnTo>
                  <a:lnTo>
                    <a:pt x="266661" y="58407"/>
                  </a:lnTo>
                  <a:lnTo>
                    <a:pt x="273989" y="12369"/>
                  </a:lnTo>
                  <a:lnTo>
                    <a:pt x="279844" y="50101"/>
                  </a:lnTo>
                  <a:lnTo>
                    <a:pt x="295719" y="101942"/>
                  </a:lnTo>
                  <a:lnTo>
                    <a:pt x="316992" y="141744"/>
                  </a:lnTo>
                  <a:lnTo>
                    <a:pt x="344284" y="177279"/>
                  </a:lnTo>
                  <a:lnTo>
                    <a:pt x="376923" y="207873"/>
                  </a:lnTo>
                  <a:lnTo>
                    <a:pt x="414248" y="232867"/>
                  </a:lnTo>
                  <a:lnTo>
                    <a:pt x="455549" y="251548"/>
                  </a:lnTo>
                  <a:lnTo>
                    <a:pt x="500176" y="263271"/>
                  </a:lnTo>
                  <a:lnTo>
                    <a:pt x="548081" y="267322"/>
                  </a:lnTo>
                  <a:close/>
                </a:path>
              </a:pathLst>
            </a:custGeom>
            <a:solidFill>
              <a:srgbClr val="7ED3F1"/>
            </a:solidFill>
          </p:spPr>
          <p:txBody>
            <a:bodyPr wrap="square" lIns="0" tIns="0" rIns="0" bIns="0" rtlCol="0"/>
            <a:lstStyle/>
            <a:p>
              <a:endParaRPr dirty="0"/>
            </a:p>
          </p:txBody>
        </p:sp>
        <p:pic>
          <p:nvPicPr>
            <p:cNvPr id="608" name="object 369">
              <a:extLst>
                <a:ext uri="{FF2B5EF4-FFF2-40B4-BE49-F238E27FC236}">
                  <a16:creationId xmlns:a16="http://schemas.microsoft.com/office/drawing/2014/main" id="{2EF2CC2B-A7A5-6F67-ECAB-A85F1F73F499}"/>
                </a:ext>
              </a:extLst>
            </p:cNvPr>
            <p:cNvPicPr/>
            <p:nvPr/>
          </p:nvPicPr>
          <p:blipFill>
            <a:blip r:embed="rId9" cstate="print"/>
            <a:stretch>
              <a:fillRect/>
            </a:stretch>
          </p:blipFill>
          <p:spPr>
            <a:xfrm>
              <a:off x="9637261" y="3664400"/>
              <a:ext cx="106445" cy="107156"/>
            </a:xfrm>
            <a:prstGeom prst="rect">
              <a:avLst/>
            </a:prstGeom>
          </p:spPr>
        </p:pic>
        <p:sp>
          <p:nvSpPr>
            <p:cNvPr id="609" name="object 370">
              <a:extLst>
                <a:ext uri="{FF2B5EF4-FFF2-40B4-BE49-F238E27FC236}">
                  <a16:creationId xmlns:a16="http://schemas.microsoft.com/office/drawing/2014/main" id="{410E6FEA-1CF4-2401-400C-91C6C3F4F5E3}"/>
                </a:ext>
              </a:extLst>
            </p:cNvPr>
            <p:cNvSpPr/>
            <p:nvPr/>
          </p:nvSpPr>
          <p:spPr>
            <a:xfrm>
              <a:off x="9523993" y="1246203"/>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78" y="581926"/>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47"/>
                  </a:lnTo>
                  <a:lnTo>
                    <a:pt x="66802" y="613664"/>
                  </a:lnTo>
                  <a:lnTo>
                    <a:pt x="39712" y="650760"/>
                  </a:lnTo>
                  <a:lnTo>
                    <a:pt x="19062" y="692226"/>
                  </a:lnTo>
                  <a:lnTo>
                    <a:pt x="5575" y="737323"/>
                  </a:lnTo>
                  <a:lnTo>
                    <a:pt x="0" y="785304"/>
                  </a:lnTo>
                  <a:lnTo>
                    <a:pt x="47713" y="781278"/>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52"/>
                  </a:moveTo>
                  <a:lnTo>
                    <a:pt x="542632" y="472694"/>
                  </a:lnTo>
                  <a:lnTo>
                    <a:pt x="529234" y="427431"/>
                  </a:lnTo>
                  <a:lnTo>
                    <a:pt x="508622" y="385813"/>
                  </a:lnTo>
                  <a:lnTo>
                    <a:pt x="481520" y="348551"/>
                  </a:lnTo>
                  <a:lnTo>
                    <a:pt x="448678" y="316395"/>
                  </a:lnTo>
                  <a:lnTo>
                    <a:pt x="410832" y="290093"/>
                  </a:lnTo>
                  <a:lnTo>
                    <a:pt x="368693" y="270357"/>
                  </a:lnTo>
                  <a:lnTo>
                    <a:pt x="323024" y="257937"/>
                  </a:lnTo>
                  <a:lnTo>
                    <a:pt x="274561" y="253555"/>
                  </a:lnTo>
                  <a:lnTo>
                    <a:pt x="273329" y="253555"/>
                  </a:lnTo>
                  <a:lnTo>
                    <a:pt x="224993" y="257911"/>
                  </a:lnTo>
                  <a:lnTo>
                    <a:pt x="179438" y="270281"/>
                  </a:lnTo>
                  <a:lnTo>
                    <a:pt x="137401" y="289928"/>
                  </a:lnTo>
                  <a:lnTo>
                    <a:pt x="99606" y="316115"/>
                  </a:lnTo>
                  <a:lnTo>
                    <a:pt x="66802" y="348132"/>
                  </a:lnTo>
                  <a:lnTo>
                    <a:pt x="39712" y="385241"/>
                  </a:lnTo>
                  <a:lnTo>
                    <a:pt x="19062" y="426694"/>
                  </a:lnTo>
                  <a:lnTo>
                    <a:pt x="5575" y="471792"/>
                  </a:lnTo>
                  <a:lnTo>
                    <a:pt x="0" y="519785"/>
                  </a:lnTo>
                  <a:lnTo>
                    <a:pt x="47713" y="515747"/>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35" y="486410"/>
                  </a:lnTo>
                  <a:lnTo>
                    <a:pt x="455549" y="505091"/>
                  </a:lnTo>
                  <a:lnTo>
                    <a:pt x="500164" y="516801"/>
                  </a:lnTo>
                  <a:lnTo>
                    <a:pt x="548081" y="520852"/>
                  </a:lnTo>
                  <a:close/>
                </a:path>
                <a:path w="548640" h="786764">
                  <a:moveTo>
                    <a:pt x="548081" y="267322"/>
                  </a:moveTo>
                  <a:lnTo>
                    <a:pt x="542632" y="219151"/>
                  </a:lnTo>
                  <a:lnTo>
                    <a:pt x="529234" y="173875"/>
                  </a:lnTo>
                  <a:lnTo>
                    <a:pt x="508622" y="132257"/>
                  </a:lnTo>
                  <a:lnTo>
                    <a:pt x="497205" y="116573"/>
                  </a:lnTo>
                  <a:lnTo>
                    <a:pt x="481533" y="94996"/>
                  </a:lnTo>
                  <a:lnTo>
                    <a:pt x="449376" y="63525"/>
                  </a:lnTo>
                  <a:lnTo>
                    <a:pt x="448691" y="62852"/>
                  </a:lnTo>
                  <a:lnTo>
                    <a:pt x="410832" y="36525"/>
                  </a:lnTo>
                  <a:lnTo>
                    <a:pt x="368693" y="16789"/>
                  </a:lnTo>
                  <a:lnTo>
                    <a:pt x="323024" y="4368"/>
                  </a:lnTo>
                  <a:lnTo>
                    <a:pt x="274561" y="0"/>
                  </a:lnTo>
                  <a:lnTo>
                    <a:pt x="273329" y="0"/>
                  </a:lnTo>
                  <a:lnTo>
                    <a:pt x="224993" y="4356"/>
                  </a:lnTo>
                  <a:lnTo>
                    <a:pt x="179438" y="16713"/>
                  </a:lnTo>
                  <a:lnTo>
                    <a:pt x="137401" y="36360"/>
                  </a:lnTo>
                  <a:lnTo>
                    <a:pt x="99606" y="62560"/>
                  </a:lnTo>
                  <a:lnTo>
                    <a:pt x="66802" y="94576"/>
                  </a:lnTo>
                  <a:lnTo>
                    <a:pt x="39687" y="131686"/>
                  </a:lnTo>
                  <a:lnTo>
                    <a:pt x="19037" y="173139"/>
                  </a:lnTo>
                  <a:lnTo>
                    <a:pt x="5562" y="218211"/>
                  </a:lnTo>
                  <a:lnTo>
                    <a:pt x="0" y="266192"/>
                  </a:lnTo>
                  <a:lnTo>
                    <a:pt x="47713" y="262178"/>
                  </a:lnTo>
                  <a:lnTo>
                    <a:pt x="92240" y="250532"/>
                  </a:lnTo>
                  <a:lnTo>
                    <a:pt x="133464" y="231927"/>
                  </a:lnTo>
                  <a:lnTo>
                    <a:pt x="170738" y="207060"/>
                  </a:lnTo>
                  <a:lnTo>
                    <a:pt x="187604" y="191312"/>
                  </a:lnTo>
                  <a:lnTo>
                    <a:pt x="203365" y="176593"/>
                  </a:lnTo>
                  <a:lnTo>
                    <a:pt x="230670" y="141224"/>
                  </a:lnTo>
                  <a:lnTo>
                    <a:pt x="252006" y="101600"/>
                  </a:lnTo>
                  <a:lnTo>
                    <a:pt x="266661" y="58407"/>
                  </a:lnTo>
                  <a:lnTo>
                    <a:pt x="273989" y="12357"/>
                  </a:lnTo>
                  <a:lnTo>
                    <a:pt x="279844" y="50101"/>
                  </a:lnTo>
                  <a:lnTo>
                    <a:pt x="295719" y="101942"/>
                  </a:lnTo>
                  <a:lnTo>
                    <a:pt x="316992" y="141744"/>
                  </a:lnTo>
                  <a:lnTo>
                    <a:pt x="344284" y="177279"/>
                  </a:lnTo>
                  <a:lnTo>
                    <a:pt x="376923" y="207873"/>
                  </a:lnTo>
                  <a:lnTo>
                    <a:pt x="414248" y="232867"/>
                  </a:lnTo>
                  <a:lnTo>
                    <a:pt x="455549" y="251548"/>
                  </a:lnTo>
                  <a:lnTo>
                    <a:pt x="500176" y="263271"/>
                  </a:lnTo>
                  <a:lnTo>
                    <a:pt x="548081" y="267322"/>
                  </a:lnTo>
                  <a:close/>
                </a:path>
              </a:pathLst>
            </a:custGeom>
            <a:solidFill>
              <a:srgbClr val="2DB7EA"/>
            </a:solidFill>
          </p:spPr>
          <p:txBody>
            <a:bodyPr wrap="square" lIns="0" tIns="0" rIns="0" bIns="0" rtlCol="0"/>
            <a:lstStyle/>
            <a:p>
              <a:endParaRPr dirty="0"/>
            </a:p>
          </p:txBody>
        </p:sp>
        <p:pic>
          <p:nvPicPr>
            <p:cNvPr id="610" name="object 371">
              <a:extLst>
                <a:ext uri="{FF2B5EF4-FFF2-40B4-BE49-F238E27FC236}">
                  <a16:creationId xmlns:a16="http://schemas.microsoft.com/office/drawing/2014/main" id="{A69953DE-1D51-F0EF-E586-04EFA99141FC}"/>
                </a:ext>
              </a:extLst>
            </p:cNvPr>
            <p:cNvPicPr/>
            <p:nvPr/>
          </p:nvPicPr>
          <p:blipFill>
            <a:blip r:embed="rId8" cstate="print"/>
            <a:stretch>
              <a:fillRect/>
            </a:stretch>
          </p:blipFill>
          <p:spPr>
            <a:xfrm>
              <a:off x="9637261" y="1701903"/>
              <a:ext cx="106445" cy="107156"/>
            </a:xfrm>
            <a:prstGeom prst="rect">
              <a:avLst/>
            </a:prstGeom>
          </p:spPr>
        </p:pic>
        <p:sp>
          <p:nvSpPr>
            <p:cNvPr id="611" name="object 372">
              <a:extLst>
                <a:ext uri="{FF2B5EF4-FFF2-40B4-BE49-F238E27FC236}">
                  <a16:creationId xmlns:a16="http://schemas.microsoft.com/office/drawing/2014/main" id="{C14B7F48-BCB7-1977-10F3-89B30E0289C8}"/>
                </a:ext>
              </a:extLst>
            </p:cNvPr>
            <p:cNvSpPr/>
            <p:nvPr/>
          </p:nvSpPr>
          <p:spPr>
            <a:xfrm>
              <a:off x="9523993" y="1900365"/>
              <a:ext cx="332700" cy="477101"/>
            </a:xfrm>
            <a:custGeom>
              <a:avLst/>
              <a:gdLst/>
              <a:ahLst/>
              <a:cxnLst/>
              <a:rect l="l" t="t" r="r" b="b"/>
              <a:pathLst>
                <a:path w="548640" h="786764">
                  <a:moveTo>
                    <a:pt x="548081" y="786396"/>
                  </a:moveTo>
                  <a:lnTo>
                    <a:pt x="542632" y="738225"/>
                  </a:lnTo>
                  <a:lnTo>
                    <a:pt x="529234" y="692962"/>
                  </a:lnTo>
                  <a:lnTo>
                    <a:pt x="508622" y="651344"/>
                  </a:lnTo>
                  <a:lnTo>
                    <a:pt x="481520" y="614083"/>
                  </a:lnTo>
                  <a:lnTo>
                    <a:pt x="448678" y="581939"/>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60"/>
                  </a:lnTo>
                  <a:lnTo>
                    <a:pt x="66802" y="613664"/>
                  </a:lnTo>
                  <a:lnTo>
                    <a:pt x="39712" y="650773"/>
                  </a:lnTo>
                  <a:lnTo>
                    <a:pt x="19062" y="692238"/>
                  </a:lnTo>
                  <a:lnTo>
                    <a:pt x="5575" y="737323"/>
                  </a:lnTo>
                  <a:lnTo>
                    <a:pt x="0" y="785317"/>
                  </a:lnTo>
                  <a:lnTo>
                    <a:pt x="47713" y="781278"/>
                  </a:lnTo>
                  <a:lnTo>
                    <a:pt x="92240" y="769620"/>
                  </a:lnTo>
                  <a:lnTo>
                    <a:pt x="133464" y="751027"/>
                  </a:lnTo>
                  <a:lnTo>
                    <a:pt x="170738" y="726147"/>
                  </a:lnTo>
                  <a:lnTo>
                    <a:pt x="203352"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35" y="751941"/>
                  </a:lnTo>
                  <a:lnTo>
                    <a:pt x="455549" y="770636"/>
                  </a:lnTo>
                  <a:lnTo>
                    <a:pt x="500164" y="782332"/>
                  </a:lnTo>
                  <a:lnTo>
                    <a:pt x="548081" y="786396"/>
                  </a:lnTo>
                  <a:close/>
                </a:path>
                <a:path w="548640" h="786764">
                  <a:moveTo>
                    <a:pt x="548081" y="520865"/>
                  </a:moveTo>
                  <a:lnTo>
                    <a:pt x="542632" y="472706"/>
                  </a:lnTo>
                  <a:lnTo>
                    <a:pt x="529234" y="427443"/>
                  </a:lnTo>
                  <a:lnTo>
                    <a:pt x="508622" y="385813"/>
                  </a:lnTo>
                  <a:lnTo>
                    <a:pt x="481520" y="348551"/>
                  </a:lnTo>
                  <a:lnTo>
                    <a:pt x="448678" y="316407"/>
                  </a:lnTo>
                  <a:lnTo>
                    <a:pt x="410832" y="290093"/>
                  </a:lnTo>
                  <a:lnTo>
                    <a:pt x="368693" y="270357"/>
                  </a:lnTo>
                  <a:lnTo>
                    <a:pt x="323024" y="257937"/>
                  </a:lnTo>
                  <a:lnTo>
                    <a:pt x="274561" y="253555"/>
                  </a:lnTo>
                  <a:lnTo>
                    <a:pt x="273329" y="253555"/>
                  </a:lnTo>
                  <a:lnTo>
                    <a:pt x="224993" y="257924"/>
                  </a:lnTo>
                  <a:lnTo>
                    <a:pt x="179438" y="270281"/>
                  </a:lnTo>
                  <a:lnTo>
                    <a:pt x="137401" y="289928"/>
                  </a:lnTo>
                  <a:lnTo>
                    <a:pt x="99606" y="316128"/>
                  </a:lnTo>
                  <a:lnTo>
                    <a:pt x="66802" y="348132"/>
                  </a:lnTo>
                  <a:lnTo>
                    <a:pt x="39712" y="385241"/>
                  </a:lnTo>
                  <a:lnTo>
                    <a:pt x="19062" y="426707"/>
                  </a:lnTo>
                  <a:lnTo>
                    <a:pt x="5575" y="471792"/>
                  </a:lnTo>
                  <a:lnTo>
                    <a:pt x="0" y="519785"/>
                  </a:lnTo>
                  <a:lnTo>
                    <a:pt x="47713" y="515747"/>
                  </a:lnTo>
                  <a:lnTo>
                    <a:pt x="92240" y="504088"/>
                  </a:lnTo>
                  <a:lnTo>
                    <a:pt x="133464" y="485495"/>
                  </a:lnTo>
                  <a:lnTo>
                    <a:pt x="170738" y="460616"/>
                  </a:lnTo>
                  <a:lnTo>
                    <a:pt x="203352" y="430161"/>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4">
                  <a:moveTo>
                    <a:pt x="548081" y="267322"/>
                  </a:moveTo>
                  <a:lnTo>
                    <a:pt x="542632" y="219151"/>
                  </a:lnTo>
                  <a:lnTo>
                    <a:pt x="529234" y="173888"/>
                  </a:lnTo>
                  <a:lnTo>
                    <a:pt x="508622" y="132257"/>
                  </a:lnTo>
                  <a:lnTo>
                    <a:pt x="488911" y="105156"/>
                  </a:lnTo>
                  <a:lnTo>
                    <a:pt x="481533" y="95008"/>
                  </a:lnTo>
                  <a:lnTo>
                    <a:pt x="448691" y="62852"/>
                  </a:lnTo>
                  <a:lnTo>
                    <a:pt x="410832" y="36550"/>
                  </a:lnTo>
                  <a:lnTo>
                    <a:pt x="368706" y="16814"/>
                  </a:lnTo>
                  <a:lnTo>
                    <a:pt x="323024" y="4381"/>
                  </a:lnTo>
                  <a:lnTo>
                    <a:pt x="274561" y="0"/>
                  </a:lnTo>
                  <a:lnTo>
                    <a:pt x="273329" y="0"/>
                  </a:lnTo>
                  <a:lnTo>
                    <a:pt x="224993" y="4356"/>
                  </a:lnTo>
                  <a:lnTo>
                    <a:pt x="179438" y="16725"/>
                  </a:lnTo>
                  <a:lnTo>
                    <a:pt x="137401" y="36372"/>
                  </a:lnTo>
                  <a:lnTo>
                    <a:pt x="99606" y="62560"/>
                  </a:lnTo>
                  <a:lnTo>
                    <a:pt x="66802" y="94576"/>
                  </a:lnTo>
                  <a:lnTo>
                    <a:pt x="39687" y="131686"/>
                  </a:lnTo>
                  <a:lnTo>
                    <a:pt x="19037" y="173139"/>
                  </a:lnTo>
                  <a:lnTo>
                    <a:pt x="5562" y="218224"/>
                  </a:lnTo>
                  <a:lnTo>
                    <a:pt x="0" y="266192"/>
                  </a:lnTo>
                  <a:lnTo>
                    <a:pt x="47713" y="262191"/>
                  </a:lnTo>
                  <a:lnTo>
                    <a:pt x="92240" y="250532"/>
                  </a:lnTo>
                  <a:lnTo>
                    <a:pt x="133464" y="231927"/>
                  </a:lnTo>
                  <a:lnTo>
                    <a:pt x="170738" y="207060"/>
                  </a:lnTo>
                  <a:lnTo>
                    <a:pt x="203365" y="176593"/>
                  </a:lnTo>
                  <a:lnTo>
                    <a:pt x="230670" y="141224"/>
                  </a:lnTo>
                  <a:lnTo>
                    <a:pt x="252006" y="101600"/>
                  </a:lnTo>
                  <a:lnTo>
                    <a:pt x="266661" y="58420"/>
                  </a:lnTo>
                  <a:lnTo>
                    <a:pt x="273989" y="12369"/>
                  </a:lnTo>
                  <a:lnTo>
                    <a:pt x="279844" y="50101"/>
                  </a:lnTo>
                  <a:lnTo>
                    <a:pt x="295719" y="101955"/>
                  </a:lnTo>
                  <a:lnTo>
                    <a:pt x="316992" y="141744"/>
                  </a:lnTo>
                  <a:lnTo>
                    <a:pt x="344284" y="177279"/>
                  </a:lnTo>
                  <a:lnTo>
                    <a:pt x="376923" y="207886"/>
                  </a:lnTo>
                  <a:lnTo>
                    <a:pt x="414248" y="232867"/>
                  </a:lnTo>
                  <a:lnTo>
                    <a:pt x="455549" y="251561"/>
                  </a:lnTo>
                  <a:lnTo>
                    <a:pt x="500176" y="263271"/>
                  </a:lnTo>
                  <a:lnTo>
                    <a:pt x="548081" y="267322"/>
                  </a:lnTo>
                  <a:close/>
                </a:path>
              </a:pathLst>
            </a:custGeom>
            <a:solidFill>
              <a:srgbClr val="7ED3F1"/>
            </a:solidFill>
          </p:spPr>
          <p:txBody>
            <a:bodyPr wrap="square" lIns="0" tIns="0" rIns="0" bIns="0" rtlCol="0"/>
            <a:lstStyle/>
            <a:p>
              <a:endParaRPr dirty="0"/>
            </a:p>
          </p:txBody>
        </p:sp>
        <p:pic>
          <p:nvPicPr>
            <p:cNvPr id="612" name="object 373">
              <a:extLst>
                <a:ext uri="{FF2B5EF4-FFF2-40B4-BE49-F238E27FC236}">
                  <a16:creationId xmlns:a16="http://schemas.microsoft.com/office/drawing/2014/main" id="{075A5FF0-663E-7CC6-3C32-28A2D0770D7E}"/>
                </a:ext>
              </a:extLst>
            </p:cNvPr>
            <p:cNvPicPr/>
            <p:nvPr/>
          </p:nvPicPr>
          <p:blipFill>
            <a:blip r:embed="rId9" cstate="print"/>
            <a:stretch>
              <a:fillRect/>
            </a:stretch>
          </p:blipFill>
          <p:spPr>
            <a:xfrm>
              <a:off x="9637261" y="2356067"/>
              <a:ext cx="106445" cy="107156"/>
            </a:xfrm>
            <a:prstGeom prst="rect">
              <a:avLst/>
            </a:prstGeom>
          </p:spPr>
        </p:pic>
        <p:sp>
          <p:nvSpPr>
            <p:cNvPr id="613" name="object 374">
              <a:extLst>
                <a:ext uri="{FF2B5EF4-FFF2-40B4-BE49-F238E27FC236}">
                  <a16:creationId xmlns:a16="http://schemas.microsoft.com/office/drawing/2014/main" id="{D0A92B9D-56BB-B98E-93AE-CF65EC39B1DD}"/>
                </a:ext>
              </a:extLst>
            </p:cNvPr>
            <p:cNvSpPr/>
            <p:nvPr/>
          </p:nvSpPr>
          <p:spPr>
            <a:xfrm>
              <a:off x="9523995"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614" name="object 375">
              <a:extLst>
                <a:ext uri="{FF2B5EF4-FFF2-40B4-BE49-F238E27FC236}">
                  <a16:creationId xmlns:a16="http://schemas.microsoft.com/office/drawing/2014/main" id="{58337390-4DE6-33D1-7B48-BC8345BC5004}"/>
                </a:ext>
              </a:extLst>
            </p:cNvPr>
            <p:cNvPicPr/>
            <p:nvPr/>
          </p:nvPicPr>
          <p:blipFill>
            <a:blip r:embed="rId25" cstate="print"/>
            <a:stretch>
              <a:fillRect/>
            </a:stretch>
          </p:blipFill>
          <p:spPr>
            <a:xfrm>
              <a:off x="9523996" y="123"/>
              <a:ext cx="152459" cy="99184"/>
            </a:xfrm>
            <a:prstGeom prst="rect">
              <a:avLst/>
            </a:prstGeom>
          </p:spPr>
        </p:pic>
        <p:pic>
          <p:nvPicPr>
            <p:cNvPr id="615" name="object 376">
              <a:extLst>
                <a:ext uri="{FF2B5EF4-FFF2-40B4-BE49-F238E27FC236}">
                  <a16:creationId xmlns:a16="http://schemas.microsoft.com/office/drawing/2014/main" id="{067A2EEE-FB1C-A0F2-0261-70F920686173}"/>
                </a:ext>
              </a:extLst>
            </p:cNvPr>
            <p:cNvPicPr/>
            <p:nvPr/>
          </p:nvPicPr>
          <p:blipFill>
            <a:blip r:embed="rId21" cstate="print"/>
            <a:stretch>
              <a:fillRect/>
            </a:stretch>
          </p:blipFill>
          <p:spPr>
            <a:xfrm>
              <a:off x="9703556" y="123"/>
              <a:ext cx="152798" cy="99837"/>
            </a:xfrm>
            <a:prstGeom prst="rect">
              <a:avLst/>
            </a:prstGeom>
          </p:spPr>
        </p:pic>
        <p:sp>
          <p:nvSpPr>
            <p:cNvPr id="616" name="object 377">
              <a:extLst>
                <a:ext uri="{FF2B5EF4-FFF2-40B4-BE49-F238E27FC236}">
                  <a16:creationId xmlns:a16="http://schemas.microsoft.com/office/drawing/2014/main" id="{B318BD1E-7DB8-E81B-1EAA-D592FEA9A623}"/>
                </a:ext>
              </a:extLst>
            </p:cNvPr>
            <p:cNvSpPr/>
            <p:nvPr/>
          </p:nvSpPr>
          <p:spPr>
            <a:xfrm>
              <a:off x="9523993" y="91626"/>
              <a:ext cx="332700" cy="323458"/>
            </a:xfrm>
            <a:custGeom>
              <a:avLst/>
              <a:gdLst/>
              <a:ahLst/>
              <a:cxnLst/>
              <a:rect l="l" t="t" r="r" b="b"/>
              <a:pathLst>
                <a:path w="548640" h="533400">
                  <a:moveTo>
                    <a:pt x="548081" y="532841"/>
                  </a:moveTo>
                  <a:lnTo>
                    <a:pt x="542632" y="484682"/>
                  </a:lnTo>
                  <a:lnTo>
                    <a:pt x="529234" y="439420"/>
                  </a:lnTo>
                  <a:lnTo>
                    <a:pt x="508622" y="397789"/>
                  </a:lnTo>
                  <a:lnTo>
                    <a:pt x="481520" y="360527"/>
                  </a:lnTo>
                  <a:lnTo>
                    <a:pt x="448678" y="328383"/>
                  </a:lnTo>
                  <a:lnTo>
                    <a:pt x="410832" y="302069"/>
                  </a:lnTo>
                  <a:lnTo>
                    <a:pt x="368693" y="282333"/>
                  </a:lnTo>
                  <a:lnTo>
                    <a:pt x="323024" y="269913"/>
                  </a:lnTo>
                  <a:lnTo>
                    <a:pt x="274561" y="265544"/>
                  </a:lnTo>
                  <a:lnTo>
                    <a:pt x="273329" y="265544"/>
                  </a:lnTo>
                  <a:lnTo>
                    <a:pt x="224993" y="269900"/>
                  </a:lnTo>
                  <a:lnTo>
                    <a:pt x="179438" y="282257"/>
                  </a:lnTo>
                  <a:lnTo>
                    <a:pt x="137401" y="301904"/>
                  </a:lnTo>
                  <a:lnTo>
                    <a:pt x="99606" y="328104"/>
                  </a:lnTo>
                  <a:lnTo>
                    <a:pt x="66802" y="360121"/>
                  </a:lnTo>
                  <a:lnTo>
                    <a:pt x="39712" y="397217"/>
                  </a:lnTo>
                  <a:lnTo>
                    <a:pt x="19062" y="438683"/>
                  </a:lnTo>
                  <a:lnTo>
                    <a:pt x="5575" y="483768"/>
                  </a:lnTo>
                  <a:lnTo>
                    <a:pt x="0" y="531761"/>
                  </a:lnTo>
                  <a:lnTo>
                    <a:pt x="47713" y="527723"/>
                  </a:lnTo>
                  <a:lnTo>
                    <a:pt x="92240" y="516064"/>
                  </a:lnTo>
                  <a:lnTo>
                    <a:pt x="133464" y="497471"/>
                  </a:lnTo>
                  <a:lnTo>
                    <a:pt x="170738" y="472592"/>
                  </a:lnTo>
                  <a:lnTo>
                    <a:pt x="203352" y="442137"/>
                  </a:lnTo>
                  <a:lnTo>
                    <a:pt x="230670" y="406755"/>
                  </a:lnTo>
                  <a:lnTo>
                    <a:pt x="251993" y="367118"/>
                  </a:lnTo>
                  <a:lnTo>
                    <a:pt x="266661" y="323926"/>
                  </a:lnTo>
                  <a:lnTo>
                    <a:pt x="273989" y="277837"/>
                  </a:lnTo>
                  <a:lnTo>
                    <a:pt x="281165" y="324116"/>
                  </a:lnTo>
                  <a:lnTo>
                    <a:pt x="295719" y="367487"/>
                  </a:lnTo>
                  <a:lnTo>
                    <a:pt x="316992" y="407276"/>
                  </a:lnTo>
                  <a:lnTo>
                    <a:pt x="344284" y="442810"/>
                  </a:lnTo>
                  <a:lnTo>
                    <a:pt x="376923" y="473417"/>
                  </a:lnTo>
                  <a:lnTo>
                    <a:pt x="414235" y="498398"/>
                  </a:lnTo>
                  <a:lnTo>
                    <a:pt x="455549" y="517080"/>
                  </a:lnTo>
                  <a:lnTo>
                    <a:pt x="500164" y="528789"/>
                  </a:lnTo>
                  <a:lnTo>
                    <a:pt x="548081" y="532841"/>
                  </a:lnTo>
                  <a:close/>
                </a:path>
                <a:path w="548640" h="533400">
                  <a:moveTo>
                    <a:pt x="548081" y="267309"/>
                  </a:moveTo>
                  <a:lnTo>
                    <a:pt x="542632" y="219138"/>
                  </a:lnTo>
                  <a:lnTo>
                    <a:pt x="529234" y="173888"/>
                  </a:lnTo>
                  <a:lnTo>
                    <a:pt x="508622" y="132257"/>
                  </a:lnTo>
                  <a:lnTo>
                    <a:pt x="481520" y="94996"/>
                  </a:lnTo>
                  <a:lnTo>
                    <a:pt x="448678" y="62852"/>
                  </a:lnTo>
                  <a:lnTo>
                    <a:pt x="410832" y="36537"/>
                  </a:lnTo>
                  <a:lnTo>
                    <a:pt x="368693" y="16802"/>
                  </a:lnTo>
                  <a:lnTo>
                    <a:pt x="323024" y="4381"/>
                  </a:lnTo>
                  <a:lnTo>
                    <a:pt x="274561" y="0"/>
                  </a:lnTo>
                  <a:lnTo>
                    <a:pt x="273329" y="0"/>
                  </a:lnTo>
                  <a:lnTo>
                    <a:pt x="224993" y="4356"/>
                  </a:lnTo>
                  <a:lnTo>
                    <a:pt x="179438" y="16725"/>
                  </a:lnTo>
                  <a:lnTo>
                    <a:pt x="137401" y="36372"/>
                  </a:lnTo>
                  <a:lnTo>
                    <a:pt x="99606" y="62572"/>
                  </a:lnTo>
                  <a:lnTo>
                    <a:pt x="66802" y="94576"/>
                  </a:lnTo>
                  <a:lnTo>
                    <a:pt x="39712" y="131686"/>
                  </a:lnTo>
                  <a:lnTo>
                    <a:pt x="19062" y="173151"/>
                  </a:lnTo>
                  <a:lnTo>
                    <a:pt x="5575" y="218236"/>
                  </a:lnTo>
                  <a:lnTo>
                    <a:pt x="0" y="266230"/>
                  </a:lnTo>
                  <a:lnTo>
                    <a:pt x="47713" y="262191"/>
                  </a:lnTo>
                  <a:lnTo>
                    <a:pt x="92240" y="250532"/>
                  </a:lnTo>
                  <a:lnTo>
                    <a:pt x="133464" y="231940"/>
                  </a:lnTo>
                  <a:lnTo>
                    <a:pt x="170738" y="207060"/>
                  </a:lnTo>
                  <a:lnTo>
                    <a:pt x="203352" y="176593"/>
                  </a:lnTo>
                  <a:lnTo>
                    <a:pt x="230670" y="141211"/>
                  </a:lnTo>
                  <a:lnTo>
                    <a:pt x="251993" y="101587"/>
                  </a:lnTo>
                  <a:lnTo>
                    <a:pt x="266661" y="58394"/>
                  </a:lnTo>
                  <a:lnTo>
                    <a:pt x="273989" y="12306"/>
                  </a:lnTo>
                  <a:lnTo>
                    <a:pt x="281165" y="58585"/>
                  </a:lnTo>
                  <a:lnTo>
                    <a:pt x="295719" y="101955"/>
                  </a:lnTo>
                  <a:lnTo>
                    <a:pt x="316992" y="141744"/>
                  </a:lnTo>
                  <a:lnTo>
                    <a:pt x="344284" y="177279"/>
                  </a:lnTo>
                  <a:lnTo>
                    <a:pt x="376923" y="207873"/>
                  </a:lnTo>
                  <a:lnTo>
                    <a:pt x="414235" y="232854"/>
                  </a:lnTo>
                  <a:lnTo>
                    <a:pt x="455549" y="251548"/>
                  </a:lnTo>
                  <a:lnTo>
                    <a:pt x="500164" y="263258"/>
                  </a:lnTo>
                  <a:lnTo>
                    <a:pt x="548081" y="267309"/>
                  </a:lnTo>
                  <a:close/>
                </a:path>
              </a:pathLst>
            </a:custGeom>
            <a:solidFill>
              <a:srgbClr val="2DB7EA"/>
            </a:solidFill>
          </p:spPr>
          <p:txBody>
            <a:bodyPr wrap="square" lIns="0" tIns="0" rIns="0" bIns="0" rtlCol="0"/>
            <a:lstStyle/>
            <a:p>
              <a:endParaRPr dirty="0"/>
            </a:p>
          </p:txBody>
        </p:sp>
        <p:pic>
          <p:nvPicPr>
            <p:cNvPr id="617" name="object 378">
              <a:extLst>
                <a:ext uri="{FF2B5EF4-FFF2-40B4-BE49-F238E27FC236}">
                  <a16:creationId xmlns:a16="http://schemas.microsoft.com/office/drawing/2014/main" id="{9BA2488C-B0F3-B1DA-413A-52AE25B5C205}"/>
                </a:ext>
              </a:extLst>
            </p:cNvPr>
            <p:cNvPicPr/>
            <p:nvPr/>
          </p:nvPicPr>
          <p:blipFill>
            <a:blip r:embed="rId8" cstate="print"/>
            <a:stretch>
              <a:fillRect/>
            </a:stretch>
          </p:blipFill>
          <p:spPr>
            <a:xfrm>
              <a:off x="9637261" y="393572"/>
              <a:ext cx="106445" cy="107156"/>
            </a:xfrm>
            <a:prstGeom prst="rect">
              <a:avLst/>
            </a:prstGeom>
          </p:spPr>
        </p:pic>
        <p:sp>
          <p:nvSpPr>
            <p:cNvPr id="618" name="object 379">
              <a:extLst>
                <a:ext uri="{FF2B5EF4-FFF2-40B4-BE49-F238E27FC236}">
                  <a16:creationId xmlns:a16="http://schemas.microsoft.com/office/drawing/2014/main" id="{EBFD0A63-A552-3127-E5E7-CB2142865828}"/>
                </a:ext>
              </a:extLst>
            </p:cNvPr>
            <p:cNvSpPr/>
            <p:nvPr/>
          </p:nvSpPr>
          <p:spPr>
            <a:xfrm>
              <a:off x="9523993" y="592039"/>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78" y="581926"/>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47"/>
                  </a:lnTo>
                  <a:lnTo>
                    <a:pt x="66802" y="613664"/>
                  </a:lnTo>
                  <a:lnTo>
                    <a:pt x="39712" y="650760"/>
                  </a:lnTo>
                  <a:lnTo>
                    <a:pt x="19062" y="692226"/>
                  </a:lnTo>
                  <a:lnTo>
                    <a:pt x="5575" y="737323"/>
                  </a:lnTo>
                  <a:lnTo>
                    <a:pt x="0" y="785304"/>
                  </a:lnTo>
                  <a:lnTo>
                    <a:pt x="47713" y="781278"/>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52"/>
                  </a:moveTo>
                  <a:lnTo>
                    <a:pt x="542632" y="472694"/>
                  </a:lnTo>
                  <a:lnTo>
                    <a:pt x="529234" y="427431"/>
                  </a:lnTo>
                  <a:lnTo>
                    <a:pt x="508622" y="385800"/>
                  </a:lnTo>
                  <a:lnTo>
                    <a:pt x="481520" y="348551"/>
                  </a:lnTo>
                  <a:lnTo>
                    <a:pt x="448678" y="316395"/>
                  </a:lnTo>
                  <a:lnTo>
                    <a:pt x="410832" y="290080"/>
                  </a:lnTo>
                  <a:lnTo>
                    <a:pt x="368693" y="270357"/>
                  </a:lnTo>
                  <a:lnTo>
                    <a:pt x="323024" y="257924"/>
                  </a:lnTo>
                  <a:lnTo>
                    <a:pt x="274561" y="253555"/>
                  </a:lnTo>
                  <a:lnTo>
                    <a:pt x="273329" y="253555"/>
                  </a:lnTo>
                  <a:lnTo>
                    <a:pt x="224993" y="257911"/>
                  </a:lnTo>
                  <a:lnTo>
                    <a:pt x="179438" y="270281"/>
                  </a:lnTo>
                  <a:lnTo>
                    <a:pt x="137401" y="289915"/>
                  </a:lnTo>
                  <a:lnTo>
                    <a:pt x="99606" y="316115"/>
                  </a:lnTo>
                  <a:lnTo>
                    <a:pt x="66802" y="348132"/>
                  </a:lnTo>
                  <a:lnTo>
                    <a:pt x="39712" y="385229"/>
                  </a:lnTo>
                  <a:lnTo>
                    <a:pt x="19062" y="426694"/>
                  </a:lnTo>
                  <a:lnTo>
                    <a:pt x="5575" y="471779"/>
                  </a:lnTo>
                  <a:lnTo>
                    <a:pt x="0" y="519772"/>
                  </a:lnTo>
                  <a:lnTo>
                    <a:pt x="47713" y="515734"/>
                  </a:lnTo>
                  <a:lnTo>
                    <a:pt x="92240" y="504088"/>
                  </a:lnTo>
                  <a:lnTo>
                    <a:pt x="133464" y="485482"/>
                  </a:lnTo>
                  <a:lnTo>
                    <a:pt x="170738" y="460616"/>
                  </a:lnTo>
                  <a:lnTo>
                    <a:pt x="203352" y="430149"/>
                  </a:lnTo>
                  <a:lnTo>
                    <a:pt x="230670" y="394766"/>
                  </a:lnTo>
                  <a:lnTo>
                    <a:pt x="251993" y="355142"/>
                  </a:lnTo>
                  <a:lnTo>
                    <a:pt x="266661" y="311937"/>
                  </a:lnTo>
                  <a:lnTo>
                    <a:pt x="273989" y="265861"/>
                  </a:lnTo>
                  <a:lnTo>
                    <a:pt x="281165" y="312127"/>
                  </a:lnTo>
                  <a:lnTo>
                    <a:pt x="295719" y="355498"/>
                  </a:lnTo>
                  <a:lnTo>
                    <a:pt x="316992" y="395300"/>
                  </a:lnTo>
                  <a:lnTo>
                    <a:pt x="344284" y="430834"/>
                  </a:lnTo>
                  <a:lnTo>
                    <a:pt x="376923" y="461429"/>
                  </a:lnTo>
                  <a:lnTo>
                    <a:pt x="414235" y="486410"/>
                  </a:lnTo>
                  <a:lnTo>
                    <a:pt x="455549" y="505091"/>
                  </a:lnTo>
                  <a:lnTo>
                    <a:pt x="500164" y="516801"/>
                  </a:lnTo>
                  <a:lnTo>
                    <a:pt x="548081" y="520852"/>
                  </a:lnTo>
                  <a:close/>
                </a:path>
                <a:path w="548640" h="786764">
                  <a:moveTo>
                    <a:pt x="548081" y="267322"/>
                  </a:moveTo>
                  <a:lnTo>
                    <a:pt x="542632" y="219138"/>
                  </a:lnTo>
                  <a:lnTo>
                    <a:pt x="529234" y="173875"/>
                  </a:lnTo>
                  <a:lnTo>
                    <a:pt x="508622" y="132245"/>
                  </a:lnTo>
                  <a:lnTo>
                    <a:pt x="481533" y="94996"/>
                  </a:lnTo>
                  <a:lnTo>
                    <a:pt x="480834" y="94322"/>
                  </a:lnTo>
                  <a:lnTo>
                    <a:pt x="448691" y="62839"/>
                  </a:lnTo>
                  <a:lnTo>
                    <a:pt x="433158" y="52057"/>
                  </a:lnTo>
                  <a:lnTo>
                    <a:pt x="410832" y="36537"/>
                  </a:lnTo>
                  <a:lnTo>
                    <a:pt x="368693" y="16789"/>
                  </a:lnTo>
                  <a:lnTo>
                    <a:pt x="323024" y="4368"/>
                  </a:lnTo>
                  <a:lnTo>
                    <a:pt x="274561" y="12"/>
                  </a:lnTo>
                  <a:lnTo>
                    <a:pt x="273329" y="0"/>
                  </a:lnTo>
                  <a:lnTo>
                    <a:pt x="224993" y="4356"/>
                  </a:lnTo>
                  <a:lnTo>
                    <a:pt x="179438" y="16713"/>
                  </a:lnTo>
                  <a:lnTo>
                    <a:pt x="137401" y="36360"/>
                  </a:lnTo>
                  <a:lnTo>
                    <a:pt x="99606" y="62560"/>
                  </a:lnTo>
                  <a:lnTo>
                    <a:pt x="66802" y="94576"/>
                  </a:lnTo>
                  <a:lnTo>
                    <a:pt x="39687" y="131686"/>
                  </a:lnTo>
                  <a:lnTo>
                    <a:pt x="19037" y="173139"/>
                  </a:lnTo>
                  <a:lnTo>
                    <a:pt x="5562" y="218211"/>
                  </a:lnTo>
                  <a:lnTo>
                    <a:pt x="0" y="266192"/>
                  </a:lnTo>
                  <a:lnTo>
                    <a:pt x="47713" y="262178"/>
                  </a:lnTo>
                  <a:lnTo>
                    <a:pt x="92240" y="250520"/>
                  </a:lnTo>
                  <a:lnTo>
                    <a:pt x="133464" y="231927"/>
                  </a:lnTo>
                  <a:lnTo>
                    <a:pt x="170738" y="207048"/>
                  </a:lnTo>
                  <a:lnTo>
                    <a:pt x="203365" y="176593"/>
                  </a:lnTo>
                  <a:lnTo>
                    <a:pt x="230670" y="141211"/>
                  </a:lnTo>
                  <a:lnTo>
                    <a:pt x="252006" y="101587"/>
                  </a:lnTo>
                  <a:lnTo>
                    <a:pt x="266661" y="58407"/>
                  </a:lnTo>
                  <a:lnTo>
                    <a:pt x="273989" y="12357"/>
                  </a:lnTo>
                  <a:lnTo>
                    <a:pt x="281165" y="58572"/>
                  </a:lnTo>
                  <a:lnTo>
                    <a:pt x="295719" y="101942"/>
                  </a:lnTo>
                  <a:lnTo>
                    <a:pt x="316992" y="141732"/>
                  </a:lnTo>
                  <a:lnTo>
                    <a:pt x="344284" y="177266"/>
                  </a:lnTo>
                  <a:lnTo>
                    <a:pt x="376923" y="207873"/>
                  </a:lnTo>
                  <a:lnTo>
                    <a:pt x="414235" y="232854"/>
                  </a:lnTo>
                  <a:lnTo>
                    <a:pt x="455549" y="251548"/>
                  </a:lnTo>
                  <a:lnTo>
                    <a:pt x="500176" y="263258"/>
                  </a:lnTo>
                  <a:lnTo>
                    <a:pt x="548081" y="267322"/>
                  </a:lnTo>
                  <a:close/>
                </a:path>
              </a:pathLst>
            </a:custGeom>
            <a:solidFill>
              <a:srgbClr val="7ED3F1"/>
            </a:solidFill>
          </p:spPr>
          <p:txBody>
            <a:bodyPr wrap="square" lIns="0" tIns="0" rIns="0" bIns="0" rtlCol="0"/>
            <a:lstStyle/>
            <a:p>
              <a:endParaRPr dirty="0"/>
            </a:p>
          </p:txBody>
        </p:sp>
        <p:pic>
          <p:nvPicPr>
            <p:cNvPr id="619" name="object 380">
              <a:extLst>
                <a:ext uri="{FF2B5EF4-FFF2-40B4-BE49-F238E27FC236}">
                  <a16:creationId xmlns:a16="http://schemas.microsoft.com/office/drawing/2014/main" id="{E6B8592A-C65F-E4DC-01C0-D45A461717C5}"/>
                </a:ext>
              </a:extLst>
            </p:cNvPr>
            <p:cNvPicPr/>
            <p:nvPr/>
          </p:nvPicPr>
          <p:blipFill>
            <a:blip r:embed="rId9" cstate="print"/>
            <a:stretch>
              <a:fillRect/>
            </a:stretch>
          </p:blipFill>
          <p:spPr>
            <a:xfrm>
              <a:off x="9637261" y="1047738"/>
              <a:ext cx="106445" cy="107156"/>
            </a:xfrm>
            <a:prstGeom prst="rect">
              <a:avLst/>
            </a:prstGeom>
          </p:spPr>
        </p:pic>
      </p:grpSp>
    </p:spTree>
    <p:extLst>
      <p:ext uri="{BB962C8B-B14F-4D97-AF65-F5344CB8AC3E}">
        <p14:creationId xmlns:p14="http://schemas.microsoft.com/office/powerpoint/2010/main" val="19562039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secHead" preserve="1">
  <p:cSld name="Section_2">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BD7BEE-6811-6359-1186-3772F8512FF9}"/>
              </a:ext>
            </a:extLst>
          </p:cNvPr>
          <p:cNvGraphicFramePr>
            <a:graphicFrameLocks noChangeAspect="1"/>
          </p:cNvGraphicFramePr>
          <p:nvPr userDrawn="1">
            <p:custDataLst>
              <p:tags r:id="rId1"/>
            </p:custDataLst>
            <p:extLst>
              <p:ext uri="{D42A27DB-BD31-4B8C-83A1-F6EECF244321}">
                <p14:modId xmlns:p14="http://schemas.microsoft.com/office/powerpoint/2010/main" val="2993104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33BD7BEE-6811-6359-1186-3772F8512F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0E54332-E229-4313-2F47-C5F0582161C2}"/>
              </a:ext>
            </a:extLst>
          </p:cNvPr>
          <p:cNvSpPr/>
          <p:nvPr userDrawn="1"/>
        </p:nvSpPr>
        <p:spPr>
          <a:xfrm>
            <a:off x="6952342" y="0"/>
            <a:ext cx="5239657" cy="6858000"/>
          </a:xfrm>
          <a:prstGeom prst="rect">
            <a:avLst/>
          </a:prstGeom>
          <a:solidFill>
            <a:srgbClr val="009FD3"/>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400" kern="0" dirty="0">
              <a:solidFill>
                <a:schemeClr val="tx1"/>
              </a:solidFill>
            </a:endParaRPr>
          </a:p>
        </p:txBody>
      </p:sp>
      <p:sp>
        <p:nvSpPr>
          <p:cNvPr id="2" name="SectionTitle"/>
          <p:cNvSpPr>
            <a:spLocks noGrp="1"/>
          </p:cNvSpPr>
          <p:nvPr>
            <p:ph type="body" sz="quarter" idx="11" hasCustomPrompt="1"/>
          </p:nvPr>
        </p:nvSpPr>
        <p:spPr>
          <a:xfrm>
            <a:off x="457200" y="4681728"/>
            <a:ext cx="6273800" cy="948978"/>
          </a:xfrm>
        </p:spPr>
        <p:txBody>
          <a:bodyPr vert="horz" wrap="square" lIns="0" tIns="0" rIns="0" bIns="0" numCol="1" anchor="t" anchorCtr="0" compatLnSpc="1">
            <a:prstTxWarp prst="textNoShape">
              <a:avLst/>
            </a:prstTxWarp>
            <a:spAutoFit/>
          </a:bodyPr>
          <a:lstStyle>
            <a:lvl1pPr marL="0" indent="0" algn="l" fontAlgn="base">
              <a:lnSpc>
                <a:spcPct val="100000"/>
              </a:lnSpc>
              <a:spcBef>
                <a:spcPts val="0"/>
              </a:spcBef>
              <a:spcAft>
                <a:spcPts val="200"/>
              </a:spcAft>
              <a:buFont typeface="Arial" panose="020B0604020202020204" pitchFamily="34" charset="0"/>
              <a:buChar char="​"/>
              <a:defRPr sz="4000">
                <a:solidFill>
                  <a:schemeClr val="tx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t>Click to add section title</a:t>
            </a:r>
          </a:p>
          <a:p>
            <a:pPr lvl="1"/>
            <a:r>
              <a:t>Click to add section subtitle</a:t>
            </a:r>
          </a:p>
        </p:txBody>
      </p:sp>
      <p:sp>
        <p:nvSpPr>
          <p:cNvPr id="3" name="SectionNumber"/>
          <p:cNvSpPr>
            <a:spLocks noGrp="1"/>
          </p:cNvSpPr>
          <p:nvPr>
            <p:ph type="body" sz="quarter" idx="12" hasCustomPrompt="1"/>
          </p:nvPr>
        </p:nvSpPr>
        <p:spPr>
          <a:xfrm>
            <a:off x="457200" y="3340100"/>
            <a:ext cx="6273800" cy="1341628"/>
          </a:xfrm>
        </p:spPr>
        <p:txBody>
          <a:bodyPr lIns="0" tIns="0" rIns="0" bIns="0" anchor="b"/>
          <a:lstStyle>
            <a:lvl1pPr marL="342900" indent="-342900" algn="l" fontAlgn="base">
              <a:lnSpc>
                <a:spcPct val="100000"/>
              </a:lnSpc>
              <a:spcBef>
                <a:spcPts val="0"/>
              </a:spcBef>
              <a:spcAft>
                <a:spcPts val="0"/>
              </a:spcAft>
              <a:buFont typeface="Arial" panose="020B0604020202020204" pitchFamily="34" charset="0"/>
              <a:buChar char="​"/>
              <a:defRPr sz="11500" b="1" kern="0" dirty="0">
                <a:solidFill>
                  <a:schemeClr val="accent1"/>
                </a:solidFill>
                <a:latin typeface="+mj-lt"/>
                <a:ea typeface="+mj-ea"/>
                <a:cs typeface="+mj-cs"/>
              </a:defRPr>
            </a:lvl1pPr>
            <a:lvl2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9pPr>
          </a:lstStyle>
          <a:p>
            <a:pPr marL="0" lvl="0" indent="0" algn="l" defTabSz="914370" rtl="0" eaLnBrk="1" fontAlgn="base" latinLnBrk="0" hangingPunct="1">
              <a:lnSpc>
                <a:spcPct val="88000"/>
              </a:lnSpc>
              <a:spcBef>
                <a:spcPts val="0"/>
              </a:spcBef>
              <a:spcAft>
                <a:spcPts val="0"/>
              </a:spcAft>
              <a:buFont typeface="Arial" panose="020B0604020202020204" pitchFamily="34" charset="0"/>
              <a:buChar char="​"/>
            </a:pPr>
            <a:r>
              <a:t>##</a:t>
            </a:r>
          </a:p>
        </p:txBody>
      </p:sp>
      <p:grpSp>
        <p:nvGrpSpPr>
          <p:cNvPr id="6" name="Group 5">
            <a:extLst>
              <a:ext uri="{FF2B5EF4-FFF2-40B4-BE49-F238E27FC236}">
                <a16:creationId xmlns:a16="http://schemas.microsoft.com/office/drawing/2014/main" id="{2749A19E-109D-D35E-9540-885F0A2B847A}"/>
              </a:ext>
            </a:extLst>
          </p:cNvPr>
          <p:cNvGrpSpPr/>
          <p:nvPr userDrawn="1"/>
        </p:nvGrpSpPr>
        <p:grpSpPr>
          <a:xfrm>
            <a:off x="7101763" y="123"/>
            <a:ext cx="4940816" cy="6857754"/>
            <a:chOff x="7226300" y="123"/>
            <a:chExt cx="4940816" cy="6857754"/>
          </a:xfrm>
        </p:grpSpPr>
        <p:sp>
          <p:nvSpPr>
            <p:cNvPr id="7" name="object 5">
              <a:extLst>
                <a:ext uri="{FF2B5EF4-FFF2-40B4-BE49-F238E27FC236}">
                  <a16:creationId xmlns:a16="http://schemas.microsoft.com/office/drawing/2014/main" id="{86A77038-B957-5AB3-4D00-7A4CB5915B24}"/>
                </a:ext>
              </a:extLst>
            </p:cNvPr>
            <p:cNvSpPr/>
            <p:nvPr/>
          </p:nvSpPr>
          <p:spPr>
            <a:xfrm>
              <a:off x="10679200" y="6037749"/>
              <a:ext cx="332700" cy="477101"/>
            </a:xfrm>
            <a:custGeom>
              <a:avLst/>
              <a:gdLst/>
              <a:ahLst/>
              <a:cxnLst/>
              <a:rect l="l" t="t" r="r" b="b"/>
              <a:pathLst>
                <a:path w="548640" h="786765">
                  <a:moveTo>
                    <a:pt x="548043" y="266611"/>
                  </a:moveTo>
                  <a:lnTo>
                    <a:pt x="500380" y="270649"/>
                  </a:lnTo>
                  <a:lnTo>
                    <a:pt x="455853" y="282308"/>
                  </a:lnTo>
                  <a:lnTo>
                    <a:pt x="414616" y="300901"/>
                  </a:lnTo>
                  <a:lnTo>
                    <a:pt x="377355" y="325780"/>
                  </a:lnTo>
                  <a:lnTo>
                    <a:pt x="344728" y="356235"/>
                  </a:lnTo>
                  <a:lnTo>
                    <a:pt x="317411" y="391629"/>
                  </a:lnTo>
                  <a:lnTo>
                    <a:pt x="296087" y="431253"/>
                  </a:lnTo>
                  <a:lnTo>
                    <a:pt x="281432" y="474446"/>
                  </a:lnTo>
                  <a:lnTo>
                    <a:pt x="274091" y="520534"/>
                  </a:lnTo>
                  <a:lnTo>
                    <a:pt x="266915" y="474256"/>
                  </a:lnTo>
                  <a:lnTo>
                    <a:pt x="252361" y="430885"/>
                  </a:lnTo>
                  <a:lnTo>
                    <a:pt x="231101" y="391096"/>
                  </a:lnTo>
                  <a:lnTo>
                    <a:pt x="203809" y="355561"/>
                  </a:lnTo>
                  <a:lnTo>
                    <a:pt x="171157" y="324954"/>
                  </a:lnTo>
                  <a:lnTo>
                    <a:pt x="133845" y="299986"/>
                  </a:lnTo>
                  <a:lnTo>
                    <a:pt x="92544" y="281292"/>
                  </a:lnTo>
                  <a:lnTo>
                    <a:pt x="47917" y="269582"/>
                  </a:lnTo>
                  <a:lnTo>
                    <a:pt x="12" y="265531"/>
                  </a:lnTo>
                  <a:lnTo>
                    <a:pt x="5461" y="313690"/>
                  </a:lnTo>
                  <a:lnTo>
                    <a:pt x="18846" y="358952"/>
                  </a:lnTo>
                  <a:lnTo>
                    <a:pt x="39471" y="400583"/>
                  </a:lnTo>
                  <a:lnTo>
                    <a:pt x="66560" y="437832"/>
                  </a:lnTo>
                  <a:lnTo>
                    <a:pt x="99402" y="469988"/>
                  </a:lnTo>
                  <a:lnTo>
                    <a:pt x="137261" y="496303"/>
                  </a:lnTo>
                  <a:lnTo>
                    <a:pt x="179387" y="516026"/>
                  </a:lnTo>
                  <a:lnTo>
                    <a:pt x="225056" y="528459"/>
                  </a:lnTo>
                  <a:lnTo>
                    <a:pt x="273532" y="532841"/>
                  </a:lnTo>
                  <a:lnTo>
                    <a:pt x="274751" y="532841"/>
                  </a:lnTo>
                  <a:lnTo>
                    <a:pt x="323100" y="528472"/>
                  </a:lnTo>
                  <a:lnTo>
                    <a:pt x="368655" y="516102"/>
                  </a:lnTo>
                  <a:lnTo>
                    <a:pt x="410679" y="496468"/>
                  </a:lnTo>
                  <a:lnTo>
                    <a:pt x="448475" y="470268"/>
                  </a:lnTo>
                  <a:lnTo>
                    <a:pt x="481266" y="438251"/>
                  </a:lnTo>
                  <a:lnTo>
                    <a:pt x="508368" y="401154"/>
                  </a:lnTo>
                  <a:lnTo>
                    <a:pt x="529005" y="359689"/>
                  </a:lnTo>
                  <a:lnTo>
                    <a:pt x="542480" y="314604"/>
                  </a:lnTo>
                  <a:lnTo>
                    <a:pt x="548043" y="266611"/>
                  </a:lnTo>
                  <a:close/>
                </a:path>
                <a:path w="548640" h="786765">
                  <a:moveTo>
                    <a:pt x="548043" y="1092"/>
                  </a:moveTo>
                  <a:lnTo>
                    <a:pt x="500380" y="5130"/>
                  </a:lnTo>
                  <a:lnTo>
                    <a:pt x="455853" y="16789"/>
                  </a:lnTo>
                  <a:lnTo>
                    <a:pt x="414616" y="35382"/>
                  </a:lnTo>
                  <a:lnTo>
                    <a:pt x="377355" y="60248"/>
                  </a:lnTo>
                  <a:lnTo>
                    <a:pt x="344728" y="90716"/>
                  </a:lnTo>
                  <a:lnTo>
                    <a:pt x="317411" y="126098"/>
                  </a:lnTo>
                  <a:lnTo>
                    <a:pt x="296087" y="165722"/>
                  </a:lnTo>
                  <a:lnTo>
                    <a:pt x="281432" y="208915"/>
                  </a:lnTo>
                  <a:lnTo>
                    <a:pt x="274091" y="255003"/>
                  </a:lnTo>
                  <a:lnTo>
                    <a:pt x="266915" y="208724"/>
                  </a:lnTo>
                  <a:lnTo>
                    <a:pt x="252361" y="165354"/>
                  </a:lnTo>
                  <a:lnTo>
                    <a:pt x="231101" y="125564"/>
                  </a:lnTo>
                  <a:lnTo>
                    <a:pt x="203809" y="90030"/>
                  </a:lnTo>
                  <a:lnTo>
                    <a:pt x="171157" y="59436"/>
                  </a:lnTo>
                  <a:lnTo>
                    <a:pt x="133845" y="34455"/>
                  </a:lnTo>
                  <a:lnTo>
                    <a:pt x="92544" y="15773"/>
                  </a:lnTo>
                  <a:lnTo>
                    <a:pt x="47917" y="4064"/>
                  </a:lnTo>
                  <a:lnTo>
                    <a:pt x="12" y="0"/>
                  </a:lnTo>
                  <a:lnTo>
                    <a:pt x="5461" y="48171"/>
                  </a:lnTo>
                  <a:lnTo>
                    <a:pt x="18846"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79" y="230936"/>
                  </a:lnTo>
                  <a:lnTo>
                    <a:pt x="448475" y="204749"/>
                  </a:lnTo>
                  <a:lnTo>
                    <a:pt x="481266" y="172732"/>
                  </a:lnTo>
                  <a:lnTo>
                    <a:pt x="508368" y="135623"/>
                  </a:lnTo>
                  <a:lnTo>
                    <a:pt x="529005" y="94170"/>
                  </a:lnTo>
                  <a:lnTo>
                    <a:pt x="542480" y="49085"/>
                  </a:lnTo>
                  <a:lnTo>
                    <a:pt x="548043" y="1092"/>
                  </a:lnTo>
                  <a:close/>
                </a:path>
                <a:path w="548640" h="786765">
                  <a:moveTo>
                    <a:pt x="548093" y="520204"/>
                  </a:moveTo>
                  <a:lnTo>
                    <a:pt x="500380" y="524217"/>
                  </a:lnTo>
                  <a:lnTo>
                    <a:pt x="455853" y="535876"/>
                  </a:lnTo>
                  <a:lnTo>
                    <a:pt x="414616" y="554469"/>
                  </a:lnTo>
                  <a:lnTo>
                    <a:pt x="377355" y="579348"/>
                  </a:lnTo>
                  <a:lnTo>
                    <a:pt x="344728" y="609803"/>
                  </a:lnTo>
                  <a:lnTo>
                    <a:pt x="317411" y="645172"/>
                  </a:lnTo>
                  <a:lnTo>
                    <a:pt x="296087" y="684796"/>
                  </a:lnTo>
                  <a:lnTo>
                    <a:pt x="281419" y="727989"/>
                  </a:lnTo>
                  <a:lnTo>
                    <a:pt x="274091" y="774065"/>
                  </a:lnTo>
                  <a:lnTo>
                    <a:pt x="266915" y="727824"/>
                  </a:lnTo>
                  <a:lnTo>
                    <a:pt x="252361" y="684453"/>
                  </a:lnTo>
                  <a:lnTo>
                    <a:pt x="231101" y="644652"/>
                  </a:lnTo>
                  <a:lnTo>
                    <a:pt x="203809" y="609117"/>
                  </a:lnTo>
                  <a:lnTo>
                    <a:pt x="171157" y="578523"/>
                  </a:lnTo>
                  <a:lnTo>
                    <a:pt x="133845" y="553542"/>
                  </a:lnTo>
                  <a:lnTo>
                    <a:pt x="92544" y="534835"/>
                  </a:lnTo>
                  <a:lnTo>
                    <a:pt x="47917" y="523125"/>
                  </a:lnTo>
                  <a:lnTo>
                    <a:pt x="0" y="519074"/>
                  </a:lnTo>
                  <a:lnTo>
                    <a:pt x="5448" y="567245"/>
                  </a:lnTo>
                  <a:lnTo>
                    <a:pt x="18846" y="612521"/>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2DB7EA"/>
            </a:solidFill>
          </p:spPr>
          <p:txBody>
            <a:bodyPr wrap="square" lIns="0" tIns="0" rIns="0" bIns="0" rtlCol="0"/>
            <a:lstStyle/>
            <a:p>
              <a:endParaRPr dirty="0"/>
            </a:p>
          </p:txBody>
        </p:sp>
        <p:pic>
          <p:nvPicPr>
            <p:cNvPr id="8" name="object 6">
              <a:extLst>
                <a:ext uri="{FF2B5EF4-FFF2-40B4-BE49-F238E27FC236}">
                  <a16:creationId xmlns:a16="http://schemas.microsoft.com/office/drawing/2014/main" id="{DAAFA831-C735-B217-1AA6-7F1FC1045F17}"/>
                </a:ext>
              </a:extLst>
            </p:cNvPr>
            <p:cNvPicPr/>
            <p:nvPr/>
          </p:nvPicPr>
          <p:blipFill>
            <a:blip r:embed="rId5" cstate="print"/>
            <a:stretch>
              <a:fillRect/>
            </a:stretch>
          </p:blipFill>
          <p:spPr>
            <a:xfrm>
              <a:off x="10791857" y="5951762"/>
              <a:ext cx="106445" cy="107156"/>
            </a:xfrm>
            <a:prstGeom prst="rect">
              <a:avLst/>
            </a:prstGeom>
          </p:spPr>
        </p:pic>
        <p:sp>
          <p:nvSpPr>
            <p:cNvPr id="9" name="object 7">
              <a:extLst>
                <a:ext uri="{FF2B5EF4-FFF2-40B4-BE49-F238E27FC236}">
                  <a16:creationId xmlns:a16="http://schemas.microsoft.com/office/drawing/2014/main" id="{F2E0EBEB-B19F-70A6-92C6-3ED5618C6467}"/>
                </a:ext>
              </a:extLst>
            </p:cNvPr>
            <p:cNvSpPr/>
            <p:nvPr/>
          </p:nvSpPr>
          <p:spPr>
            <a:xfrm>
              <a:off x="10679200" y="5383587"/>
              <a:ext cx="332700" cy="477101"/>
            </a:xfrm>
            <a:custGeom>
              <a:avLst/>
              <a:gdLst/>
              <a:ahLst/>
              <a:cxnLst/>
              <a:rect l="l" t="t" r="r" b="b"/>
              <a:pathLst>
                <a:path w="548640" h="786765">
                  <a:moveTo>
                    <a:pt x="548043" y="266623"/>
                  </a:moveTo>
                  <a:lnTo>
                    <a:pt x="500380" y="270649"/>
                  </a:lnTo>
                  <a:lnTo>
                    <a:pt x="455853" y="282308"/>
                  </a:lnTo>
                  <a:lnTo>
                    <a:pt x="414616" y="300913"/>
                  </a:lnTo>
                  <a:lnTo>
                    <a:pt x="377355" y="325780"/>
                  </a:lnTo>
                  <a:lnTo>
                    <a:pt x="344728" y="356235"/>
                  </a:lnTo>
                  <a:lnTo>
                    <a:pt x="317411" y="391617"/>
                  </a:lnTo>
                  <a:lnTo>
                    <a:pt x="296087" y="431241"/>
                  </a:lnTo>
                  <a:lnTo>
                    <a:pt x="281432" y="474446"/>
                  </a:lnTo>
                  <a:lnTo>
                    <a:pt x="274091" y="520522"/>
                  </a:lnTo>
                  <a:lnTo>
                    <a:pt x="266915"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46" y="358952"/>
                  </a:lnTo>
                  <a:lnTo>
                    <a:pt x="39471" y="400583"/>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79" y="496455"/>
                  </a:lnTo>
                  <a:lnTo>
                    <a:pt x="448475" y="470268"/>
                  </a:lnTo>
                  <a:lnTo>
                    <a:pt x="481266" y="438251"/>
                  </a:lnTo>
                  <a:lnTo>
                    <a:pt x="508368" y="401154"/>
                  </a:lnTo>
                  <a:lnTo>
                    <a:pt x="529005" y="359689"/>
                  </a:lnTo>
                  <a:lnTo>
                    <a:pt x="542480" y="314604"/>
                  </a:lnTo>
                  <a:lnTo>
                    <a:pt x="548043" y="266623"/>
                  </a:lnTo>
                  <a:close/>
                </a:path>
                <a:path w="548640" h="786765">
                  <a:moveTo>
                    <a:pt x="548043" y="1079"/>
                  </a:moveTo>
                  <a:lnTo>
                    <a:pt x="500380" y="5118"/>
                  </a:lnTo>
                  <a:lnTo>
                    <a:pt x="455853" y="16764"/>
                  </a:lnTo>
                  <a:lnTo>
                    <a:pt x="414616" y="35369"/>
                  </a:lnTo>
                  <a:lnTo>
                    <a:pt x="377355" y="60236"/>
                  </a:lnTo>
                  <a:lnTo>
                    <a:pt x="344728" y="90703"/>
                  </a:lnTo>
                  <a:lnTo>
                    <a:pt x="317411" y="126085"/>
                  </a:lnTo>
                  <a:lnTo>
                    <a:pt x="296087" y="165722"/>
                  </a:lnTo>
                  <a:lnTo>
                    <a:pt x="281432" y="208915"/>
                  </a:lnTo>
                  <a:lnTo>
                    <a:pt x="274091" y="255003"/>
                  </a:lnTo>
                  <a:lnTo>
                    <a:pt x="266915" y="208724"/>
                  </a:lnTo>
                  <a:lnTo>
                    <a:pt x="252361" y="165354"/>
                  </a:lnTo>
                  <a:lnTo>
                    <a:pt x="231101" y="125564"/>
                  </a:lnTo>
                  <a:lnTo>
                    <a:pt x="203809" y="90030"/>
                  </a:lnTo>
                  <a:lnTo>
                    <a:pt x="171157" y="59423"/>
                  </a:lnTo>
                  <a:lnTo>
                    <a:pt x="133845" y="34442"/>
                  </a:lnTo>
                  <a:lnTo>
                    <a:pt x="92544" y="15760"/>
                  </a:lnTo>
                  <a:lnTo>
                    <a:pt x="47917" y="4051"/>
                  </a:lnTo>
                  <a:lnTo>
                    <a:pt x="12" y="0"/>
                  </a:lnTo>
                  <a:lnTo>
                    <a:pt x="5461" y="48158"/>
                  </a:lnTo>
                  <a:lnTo>
                    <a:pt x="18846"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36"/>
                  </a:lnTo>
                  <a:lnTo>
                    <a:pt x="481266" y="172720"/>
                  </a:lnTo>
                  <a:lnTo>
                    <a:pt x="508368" y="135623"/>
                  </a:lnTo>
                  <a:lnTo>
                    <a:pt x="529005" y="94157"/>
                  </a:lnTo>
                  <a:lnTo>
                    <a:pt x="542480" y="49072"/>
                  </a:lnTo>
                  <a:lnTo>
                    <a:pt x="548043" y="1079"/>
                  </a:lnTo>
                  <a:close/>
                </a:path>
                <a:path w="548640" h="786765">
                  <a:moveTo>
                    <a:pt x="548093" y="520192"/>
                  </a:moveTo>
                  <a:lnTo>
                    <a:pt x="500380" y="524217"/>
                  </a:lnTo>
                  <a:lnTo>
                    <a:pt x="455853" y="535876"/>
                  </a:lnTo>
                  <a:lnTo>
                    <a:pt x="414616" y="554469"/>
                  </a:lnTo>
                  <a:lnTo>
                    <a:pt x="377355" y="579335"/>
                  </a:lnTo>
                  <a:lnTo>
                    <a:pt x="344728" y="609790"/>
                  </a:lnTo>
                  <a:lnTo>
                    <a:pt x="317411" y="645172"/>
                  </a:lnTo>
                  <a:lnTo>
                    <a:pt x="296087" y="684796"/>
                  </a:lnTo>
                  <a:lnTo>
                    <a:pt x="281419" y="727976"/>
                  </a:lnTo>
                  <a:lnTo>
                    <a:pt x="274091" y="774065"/>
                  </a:lnTo>
                  <a:lnTo>
                    <a:pt x="266915" y="727811"/>
                  </a:lnTo>
                  <a:lnTo>
                    <a:pt x="252361" y="684441"/>
                  </a:lnTo>
                  <a:lnTo>
                    <a:pt x="231101" y="644652"/>
                  </a:lnTo>
                  <a:lnTo>
                    <a:pt x="203809" y="609117"/>
                  </a:lnTo>
                  <a:lnTo>
                    <a:pt x="171157" y="578523"/>
                  </a:lnTo>
                  <a:lnTo>
                    <a:pt x="133845" y="553542"/>
                  </a:lnTo>
                  <a:lnTo>
                    <a:pt x="92544" y="534847"/>
                  </a:lnTo>
                  <a:lnTo>
                    <a:pt x="47917" y="523125"/>
                  </a:lnTo>
                  <a:lnTo>
                    <a:pt x="0" y="519061"/>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27"/>
                  </a:lnTo>
                  <a:lnTo>
                    <a:pt x="368655" y="769670"/>
                  </a:lnTo>
                  <a:lnTo>
                    <a:pt x="410679" y="750023"/>
                  </a:lnTo>
                  <a:lnTo>
                    <a:pt x="448475" y="723823"/>
                  </a:lnTo>
                  <a:lnTo>
                    <a:pt x="449313" y="723011"/>
                  </a:lnTo>
                  <a:lnTo>
                    <a:pt x="481266" y="691819"/>
                  </a:lnTo>
                  <a:lnTo>
                    <a:pt x="508393" y="654697"/>
                  </a:lnTo>
                  <a:lnTo>
                    <a:pt x="529056" y="613244"/>
                  </a:lnTo>
                  <a:lnTo>
                    <a:pt x="542531" y="568172"/>
                  </a:lnTo>
                  <a:lnTo>
                    <a:pt x="548093" y="520192"/>
                  </a:lnTo>
                  <a:close/>
                </a:path>
              </a:pathLst>
            </a:custGeom>
            <a:solidFill>
              <a:srgbClr val="7ED3F1"/>
            </a:solidFill>
          </p:spPr>
          <p:txBody>
            <a:bodyPr wrap="square" lIns="0" tIns="0" rIns="0" bIns="0" rtlCol="0"/>
            <a:lstStyle/>
            <a:p>
              <a:endParaRPr dirty="0"/>
            </a:p>
          </p:txBody>
        </p:sp>
        <p:pic>
          <p:nvPicPr>
            <p:cNvPr id="10" name="object 8">
              <a:extLst>
                <a:ext uri="{FF2B5EF4-FFF2-40B4-BE49-F238E27FC236}">
                  <a16:creationId xmlns:a16="http://schemas.microsoft.com/office/drawing/2014/main" id="{33BE2549-1264-3CB2-2DD4-E6363283F532}"/>
                </a:ext>
              </a:extLst>
            </p:cNvPr>
            <p:cNvPicPr/>
            <p:nvPr/>
          </p:nvPicPr>
          <p:blipFill>
            <a:blip r:embed="rId6" cstate="print"/>
            <a:stretch>
              <a:fillRect/>
            </a:stretch>
          </p:blipFill>
          <p:spPr>
            <a:xfrm>
              <a:off x="10791857" y="5297596"/>
              <a:ext cx="106445" cy="107156"/>
            </a:xfrm>
            <a:prstGeom prst="rect">
              <a:avLst/>
            </a:prstGeom>
          </p:spPr>
        </p:pic>
        <p:sp>
          <p:nvSpPr>
            <p:cNvPr id="11" name="object 9">
              <a:extLst>
                <a:ext uri="{FF2B5EF4-FFF2-40B4-BE49-F238E27FC236}">
                  <a16:creationId xmlns:a16="http://schemas.microsoft.com/office/drawing/2014/main" id="{F87ADE32-931B-D002-E715-2938C8EC1783}"/>
                </a:ext>
              </a:extLst>
            </p:cNvPr>
            <p:cNvSpPr/>
            <p:nvPr/>
          </p:nvSpPr>
          <p:spPr>
            <a:xfrm>
              <a:off x="10679208" y="6691912"/>
              <a:ext cx="332700" cy="165965"/>
            </a:xfrm>
            <a:custGeom>
              <a:avLst/>
              <a:gdLst/>
              <a:ahLst/>
              <a:cxnLst/>
              <a:rect l="l" t="t" r="r" b="b"/>
              <a:pathLst>
                <a:path w="548640" h="273684">
                  <a:moveTo>
                    <a:pt x="62560" y="273431"/>
                  </a:moveTo>
                  <a:lnTo>
                    <a:pt x="47904" y="269595"/>
                  </a:lnTo>
                  <a:lnTo>
                    <a:pt x="0" y="265544"/>
                  </a:lnTo>
                  <a:lnTo>
                    <a:pt x="889" y="273431"/>
                  </a:lnTo>
                  <a:lnTo>
                    <a:pt x="62560" y="273431"/>
                  </a:lnTo>
                  <a:close/>
                </a:path>
                <a:path w="548640" h="273684">
                  <a:moveTo>
                    <a:pt x="548030" y="266623"/>
                  </a:moveTo>
                  <a:lnTo>
                    <a:pt x="500367" y="270649"/>
                  </a:lnTo>
                  <a:lnTo>
                    <a:pt x="489724" y="273431"/>
                  </a:lnTo>
                  <a:lnTo>
                    <a:pt x="547243" y="273431"/>
                  </a:lnTo>
                  <a:lnTo>
                    <a:pt x="548030" y="266623"/>
                  </a:lnTo>
                  <a:close/>
                </a:path>
                <a:path w="548640" h="273684">
                  <a:moveTo>
                    <a:pt x="548030" y="1079"/>
                  </a:moveTo>
                  <a:lnTo>
                    <a:pt x="500367" y="5118"/>
                  </a:lnTo>
                  <a:lnTo>
                    <a:pt x="455841" y="16776"/>
                  </a:lnTo>
                  <a:lnTo>
                    <a:pt x="414604" y="35382"/>
                  </a:lnTo>
                  <a:lnTo>
                    <a:pt x="377342" y="60248"/>
                  </a:lnTo>
                  <a:lnTo>
                    <a:pt x="344716" y="90716"/>
                  </a:lnTo>
                  <a:lnTo>
                    <a:pt x="317398" y="126098"/>
                  </a:lnTo>
                  <a:lnTo>
                    <a:pt x="296075" y="165722"/>
                  </a:lnTo>
                  <a:lnTo>
                    <a:pt x="281419" y="208915"/>
                  </a:lnTo>
                  <a:lnTo>
                    <a:pt x="274078" y="255003"/>
                  </a:lnTo>
                  <a:lnTo>
                    <a:pt x="266903" y="208724"/>
                  </a:lnTo>
                  <a:lnTo>
                    <a:pt x="252349" y="165354"/>
                  </a:lnTo>
                  <a:lnTo>
                    <a:pt x="231089" y="125564"/>
                  </a:lnTo>
                  <a:lnTo>
                    <a:pt x="203796" y="90030"/>
                  </a:lnTo>
                  <a:lnTo>
                    <a:pt x="171145" y="59436"/>
                  </a:lnTo>
                  <a:lnTo>
                    <a:pt x="133832" y="34455"/>
                  </a:lnTo>
                  <a:lnTo>
                    <a:pt x="92532" y="15773"/>
                  </a:lnTo>
                  <a:lnTo>
                    <a:pt x="47904" y="4064"/>
                  </a:lnTo>
                  <a:lnTo>
                    <a:pt x="0" y="0"/>
                  </a:lnTo>
                  <a:lnTo>
                    <a:pt x="5448" y="48171"/>
                  </a:lnTo>
                  <a:lnTo>
                    <a:pt x="18834" y="93421"/>
                  </a:lnTo>
                  <a:lnTo>
                    <a:pt x="39458" y="135051"/>
                  </a:lnTo>
                  <a:lnTo>
                    <a:pt x="66548" y="172313"/>
                  </a:lnTo>
                  <a:lnTo>
                    <a:pt x="99390" y="204457"/>
                  </a:lnTo>
                  <a:lnTo>
                    <a:pt x="137248" y="230771"/>
                  </a:lnTo>
                  <a:lnTo>
                    <a:pt x="179374" y="250507"/>
                  </a:lnTo>
                  <a:lnTo>
                    <a:pt x="225044" y="262928"/>
                  </a:lnTo>
                  <a:lnTo>
                    <a:pt x="273519" y="267309"/>
                  </a:lnTo>
                  <a:lnTo>
                    <a:pt x="274739" y="267309"/>
                  </a:lnTo>
                  <a:lnTo>
                    <a:pt x="323088" y="262940"/>
                  </a:lnTo>
                  <a:lnTo>
                    <a:pt x="368642" y="250583"/>
                  </a:lnTo>
                  <a:lnTo>
                    <a:pt x="410667" y="230936"/>
                  </a:lnTo>
                  <a:lnTo>
                    <a:pt x="448462" y="204736"/>
                  </a:lnTo>
                  <a:lnTo>
                    <a:pt x="481253" y="172720"/>
                  </a:lnTo>
                  <a:lnTo>
                    <a:pt x="508355" y="135623"/>
                  </a:lnTo>
                  <a:lnTo>
                    <a:pt x="528993" y="94157"/>
                  </a:lnTo>
                  <a:lnTo>
                    <a:pt x="542467" y="49072"/>
                  </a:lnTo>
                  <a:lnTo>
                    <a:pt x="548030" y="1079"/>
                  </a:lnTo>
                  <a:close/>
                </a:path>
              </a:pathLst>
            </a:custGeom>
            <a:solidFill>
              <a:srgbClr val="7ED3F1"/>
            </a:solidFill>
          </p:spPr>
          <p:txBody>
            <a:bodyPr wrap="square" lIns="0" tIns="0" rIns="0" bIns="0" rtlCol="0"/>
            <a:lstStyle/>
            <a:p>
              <a:endParaRPr dirty="0"/>
            </a:p>
          </p:txBody>
        </p:sp>
        <p:pic>
          <p:nvPicPr>
            <p:cNvPr id="12" name="object 10">
              <a:extLst>
                <a:ext uri="{FF2B5EF4-FFF2-40B4-BE49-F238E27FC236}">
                  <a16:creationId xmlns:a16="http://schemas.microsoft.com/office/drawing/2014/main" id="{1E4F7FD8-C498-B819-A89C-CB5EA438304F}"/>
                </a:ext>
              </a:extLst>
            </p:cNvPr>
            <p:cNvPicPr/>
            <p:nvPr/>
          </p:nvPicPr>
          <p:blipFill>
            <a:blip r:embed="rId6" cstate="print"/>
            <a:stretch>
              <a:fillRect/>
            </a:stretch>
          </p:blipFill>
          <p:spPr>
            <a:xfrm>
              <a:off x="10791857" y="6605926"/>
              <a:ext cx="106445" cy="107156"/>
            </a:xfrm>
            <a:prstGeom prst="rect">
              <a:avLst/>
            </a:prstGeom>
          </p:spPr>
        </p:pic>
        <p:sp>
          <p:nvSpPr>
            <p:cNvPr id="13" name="object 11">
              <a:extLst>
                <a:ext uri="{FF2B5EF4-FFF2-40B4-BE49-F238E27FC236}">
                  <a16:creationId xmlns:a16="http://schemas.microsoft.com/office/drawing/2014/main" id="{3B05C0C1-3CCD-ADEA-1952-D4AF555FF67A}"/>
                </a:ext>
              </a:extLst>
            </p:cNvPr>
            <p:cNvSpPr/>
            <p:nvPr/>
          </p:nvSpPr>
          <p:spPr>
            <a:xfrm>
              <a:off x="10294123" y="6479532"/>
              <a:ext cx="332700" cy="316141"/>
            </a:xfrm>
            <a:custGeom>
              <a:avLst/>
              <a:gdLst/>
              <a:ahLst/>
              <a:cxnLst/>
              <a:rect l="l" t="t" r="r" b="b"/>
              <a:pathLst>
                <a:path w="548640" h="521334">
                  <a:moveTo>
                    <a:pt x="548081" y="520852"/>
                  </a:moveTo>
                  <a:lnTo>
                    <a:pt x="542632" y="472694"/>
                  </a:lnTo>
                  <a:lnTo>
                    <a:pt x="529234" y="427431"/>
                  </a:lnTo>
                  <a:lnTo>
                    <a:pt x="508622" y="385800"/>
                  </a:lnTo>
                  <a:lnTo>
                    <a:pt x="481520" y="348551"/>
                  </a:lnTo>
                  <a:lnTo>
                    <a:pt x="448691" y="316395"/>
                  </a:lnTo>
                  <a:lnTo>
                    <a:pt x="410832" y="290093"/>
                  </a:lnTo>
                  <a:lnTo>
                    <a:pt x="368706" y="270357"/>
                  </a:lnTo>
                  <a:lnTo>
                    <a:pt x="323037" y="257924"/>
                  </a:lnTo>
                  <a:lnTo>
                    <a:pt x="274561" y="253555"/>
                  </a:lnTo>
                  <a:lnTo>
                    <a:pt x="273329" y="253555"/>
                  </a:lnTo>
                  <a:lnTo>
                    <a:pt x="224993" y="257911"/>
                  </a:lnTo>
                  <a:lnTo>
                    <a:pt x="179438" y="270281"/>
                  </a:lnTo>
                  <a:lnTo>
                    <a:pt x="137401" y="289915"/>
                  </a:lnTo>
                  <a:lnTo>
                    <a:pt x="99618" y="316115"/>
                  </a:lnTo>
                  <a:lnTo>
                    <a:pt x="66814" y="348132"/>
                  </a:lnTo>
                  <a:lnTo>
                    <a:pt x="39725" y="385229"/>
                  </a:lnTo>
                  <a:lnTo>
                    <a:pt x="19075" y="426694"/>
                  </a:lnTo>
                  <a:lnTo>
                    <a:pt x="5613" y="471792"/>
                  </a:lnTo>
                  <a:lnTo>
                    <a:pt x="50" y="519772"/>
                  </a:lnTo>
                  <a:lnTo>
                    <a:pt x="47713" y="515747"/>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27"/>
                  </a:lnTo>
                  <a:lnTo>
                    <a:pt x="295719" y="355498"/>
                  </a:lnTo>
                  <a:lnTo>
                    <a:pt x="316992" y="395300"/>
                  </a:lnTo>
                  <a:lnTo>
                    <a:pt x="344284" y="430834"/>
                  </a:lnTo>
                  <a:lnTo>
                    <a:pt x="376923" y="461429"/>
                  </a:lnTo>
                  <a:lnTo>
                    <a:pt x="414248" y="486410"/>
                  </a:lnTo>
                  <a:lnTo>
                    <a:pt x="455549" y="505091"/>
                  </a:lnTo>
                  <a:lnTo>
                    <a:pt x="500164" y="516801"/>
                  </a:lnTo>
                  <a:lnTo>
                    <a:pt x="548081" y="520852"/>
                  </a:lnTo>
                  <a:close/>
                </a:path>
                <a:path w="548640" h="521334">
                  <a:moveTo>
                    <a:pt x="548093" y="267322"/>
                  </a:moveTo>
                  <a:lnTo>
                    <a:pt x="542645" y="219138"/>
                  </a:lnTo>
                  <a:lnTo>
                    <a:pt x="529247" y="173875"/>
                  </a:lnTo>
                  <a:lnTo>
                    <a:pt x="508635" y="132245"/>
                  </a:lnTo>
                  <a:lnTo>
                    <a:pt x="481533" y="94996"/>
                  </a:lnTo>
                  <a:lnTo>
                    <a:pt x="448691" y="62839"/>
                  </a:lnTo>
                  <a:lnTo>
                    <a:pt x="410845" y="36537"/>
                  </a:lnTo>
                  <a:lnTo>
                    <a:pt x="368706" y="16814"/>
                  </a:lnTo>
                  <a:lnTo>
                    <a:pt x="323037" y="4368"/>
                  </a:lnTo>
                  <a:lnTo>
                    <a:pt x="274561" y="12"/>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77" y="231914"/>
                  </a:lnTo>
                  <a:lnTo>
                    <a:pt x="170738" y="207048"/>
                  </a:lnTo>
                  <a:lnTo>
                    <a:pt x="203365" y="176593"/>
                  </a:lnTo>
                  <a:lnTo>
                    <a:pt x="230682" y="141211"/>
                  </a:lnTo>
                  <a:lnTo>
                    <a:pt x="252006" y="101600"/>
                  </a:lnTo>
                  <a:lnTo>
                    <a:pt x="266674" y="58407"/>
                  </a:lnTo>
                  <a:lnTo>
                    <a:pt x="273989" y="12357"/>
                  </a:lnTo>
                  <a:lnTo>
                    <a:pt x="281165" y="58572"/>
                  </a:lnTo>
                  <a:lnTo>
                    <a:pt x="295719" y="101942"/>
                  </a:lnTo>
                  <a:lnTo>
                    <a:pt x="316992" y="141744"/>
                  </a:lnTo>
                  <a:lnTo>
                    <a:pt x="344284" y="177279"/>
                  </a:lnTo>
                  <a:lnTo>
                    <a:pt x="376923" y="207873"/>
                  </a:lnTo>
                  <a:lnTo>
                    <a:pt x="414248" y="232854"/>
                  </a:lnTo>
                  <a:lnTo>
                    <a:pt x="455549"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14" name="object 12">
              <a:extLst>
                <a:ext uri="{FF2B5EF4-FFF2-40B4-BE49-F238E27FC236}">
                  <a16:creationId xmlns:a16="http://schemas.microsoft.com/office/drawing/2014/main" id="{13A19E62-18D4-CD42-A02E-3D6F5565A428}"/>
                </a:ext>
              </a:extLst>
            </p:cNvPr>
            <p:cNvPicPr/>
            <p:nvPr/>
          </p:nvPicPr>
          <p:blipFill>
            <a:blip r:embed="rId7" cstate="print"/>
            <a:stretch>
              <a:fillRect/>
            </a:stretch>
          </p:blipFill>
          <p:spPr>
            <a:xfrm>
              <a:off x="10330217" y="6794307"/>
              <a:ext cx="260137" cy="63416"/>
            </a:xfrm>
            <a:prstGeom prst="rect">
              <a:avLst/>
            </a:prstGeom>
          </p:spPr>
        </p:pic>
        <p:sp>
          <p:nvSpPr>
            <p:cNvPr id="15" name="object 13">
              <a:extLst>
                <a:ext uri="{FF2B5EF4-FFF2-40B4-BE49-F238E27FC236}">
                  <a16:creationId xmlns:a16="http://schemas.microsoft.com/office/drawing/2014/main" id="{28F14653-5414-E755-969D-D47554FAE77F}"/>
                </a:ext>
              </a:extLst>
            </p:cNvPr>
            <p:cNvSpPr/>
            <p:nvPr/>
          </p:nvSpPr>
          <p:spPr>
            <a:xfrm>
              <a:off x="10294123" y="5171198"/>
              <a:ext cx="332700" cy="477101"/>
            </a:xfrm>
            <a:custGeom>
              <a:avLst/>
              <a:gdLst/>
              <a:ahLst/>
              <a:cxnLst/>
              <a:rect l="l" t="t" r="r" b="b"/>
              <a:pathLst>
                <a:path w="548640" h="786765">
                  <a:moveTo>
                    <a:pt x="548081" y="786396"/>
                  </a:moveTo>
                  <a:lnTo>
                    <a:pt x="542632" y="738225"/>
                  </a:lnTo>
                  <a:lnTo>
                    <a:pt x="529234" y="692975"/>
                  </a:lnTo>
                  <a:lnTo>
                    <a:pt x="508622" y="651344"/>
                  </a:lnTo>
                  <a:lnTo>
                    <a:pt x="481520" y="614083"/>
                  </a:lnTo>
                  <a:lnTo>
                    <a:pt x="448691" y="581939"/>
                  </a:lnTo>
                  <a:lnTo>
                    <a:pt x="410832" y="555625"/>
                  </a:lnTo>
                  <a:lnTo>
                    <a:pt x="368706" y="535889"/>
                  </a:lnTo>
                  <a:lnTo>
                    <a:pt x="323037" y="523468"/>
                  </a:lnTo>
                  <a:lnTo>
                    <a:pt x="274561" y="519087"/>
                  </a:lnTo>
                  <a:lnTo>
                    <a:pt x="273329" y="519087"/>
                  </a:lnTo>
                  <a:lnTo>
                    <a:pt x="224993" y="523455"/>
                  </a:lnTo>
                  <a:lnTo>
                    <a:pt x="179438" y="535813"/>
                  </a:lnTo>
                  <a:lnTo>
                    <a:pt x="137401" y="555459"/>
                  </a:lnTo>
                  <a:lnTo>
                    <a:pt x="99618" y="581660"/>
                  </a:lnTo>
                  <a:lnTo>
                    <a:pt x="66814" y="613676"/>
                  </a:lnTo>
                  <a:lnTo>
                    <a:pt x="39725" y="650773"/>
                  </a:lnTo>
                  <a:lnTo>
                    <a:pt x="19075" y="692238"/>
                  </a:lnTo>
                  <a:lnTo>
                    <a:pt x="5613" y="737323"/>
                  </a:lnTo>
                  <a:lnTo>
                    <a:pt x="50" y="785317"/>
                  </a:lnTo>
                  <a:lnTo>
                    <a:pt x="47713" y="781278"/>
                  </a:lnTo>
                  <a:lnTo>
                    <a:pt x="92240" y="769620"/>
                  </a:lnTo>
                  <a:lnTo>
                    <a:pt x="133477" y="751027"/>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48" y="751941"/>
                  </a:lnTo>
                  <a:lnTo>
                    <a:pt x="455549" y="770623"/>
                  </a:lnTo>
                  <a:lnTo>
                    <a:pt x="500164" y="782332"/>
                  </a:lnTo>
                  <a:lnTo>
                    <a:pt x="548081" y="786396"/>
                  </a:lnTo>
                  <a:close/>
                </a:path>
                <a:path w="548640" h="786765">
                  <a:moveTo>
                    <a:pt x="548081" y="520865"/>
                  </a:moveTo>
                  <a:lnTo>
                    <a:pt x="542632" y="472706"/>
                  </a:lnTo>
                  <a:lnTo>
                    <a:pt x="529234" y="427443"/>
                  </a:lnTo>
                  <a:lnTo>
                    <a:pt x="508622" y="385813"/>
                  </a:lnTo>
                  <a:lnTo>
                    <a:pt x="481520" y="348551"/>
                  </a:lnTo>
                  <a:lnTo>
                    <a:pt x="448691" y="316407"/>
                  </a:lnTo>
                  <a:lnTo>
                    <a:pt x="410832" y="290093"/>
                  </a:lnTo>
                  <a:lnTo>
                    <a:pt x="368706" y="270357"/>
                  </a:lnTo>
                  <a:lnTo>
                    <a:pt x="323037" y="257937"/>
                  </a:lnTo>
                  <a:lnTo>
                    <a:pt x="274561" y="253568"/>
                  </a:lnTo>
                  <a:lnTo>
                    <a:pt x="273329" y="253568"/>
                  </a:lnTo>
                  <a:lnTo>
                    <a:pt x="224993" y="257924"/>
                  </a:lnTo>
                  <a:lnTo>
                    <a:pt x="179438" y="270281"/>
                  </a:lnTo>
                  <a:lnTo>
                    <a:pt x="137401" y="289928"/>
                  </a:lnTo>
                  <a:lnTo>
                    <a:pt x="99618" y="316128"/>
                  </a:lnTo>
                  <a:lnTo>
                    <a:pt x="66814" y="348132"/>
                  </a:lnTo>
                  <a:lnTo>
                    <a:pt x="39725" y="385241"/>
                  </a:lnTo>
                  <a:lnTo>
                    <a:pt x="19075" y="426694"/>
                  </a:lnTo>
                  <a:lnTo>
                    <a:pt x="5613" y="471792"/>
                  </a:lnTo>
                  <a:lnTo>
                    <a:pt x="50" y="519772"/>
                  </a:lnTo>
                  <a:lnTo>
                    <a:pt x="47713" y="515734"/>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48" y="486410"/>
                  </a:lnTo>
                  <a:lnTo>
                    <a:pt x="455549" y="505104"/>
                  </a:lnTo>
                  <a:lnTo>
                    <a:pt x="500164" y="516813"/>
                  </a:lnTo>
                  <a:lnTo>
                    <a:pt x="548081" y="520865"/>
                  </a:lnTo>
                  <a:close/>
                </a:path>
                <a:path w="548640" h="786765">
                  <a:moveTo>
                    <a:pt x="548093" y="267322"/>
                  </a:moveTo>
                  <a:lnTo>
                    <a:pt x="542645" y="219151"/>
                  </a:lnTo>
                  <a:lnTo>
                    <a:pt x="529247" y="173875"/>
                  </a:lnTo>
                  <a:lnTo>
                    <a:pt x="508635" y="132245"/>
                  </a:lnTo>
                  <a:lnTo>
                    <a:pt x="481533" y="94996"/>
                  </a:lnTo>
                  <a:lnTo>
                    <a:pt x="465277" y="79095"/>
                  </a:lnTo>
                  <a:lnTo>
                    <a:pt x="448691" y="62852"/>
                  </a:lnTo>
                  <a:lnTo>
                    <a:pt x="426351" y="47332"/>
                  </a:lnTo>
                  <a:lnTo>
                    <a:pt x="410845" y="36537"/>
                  </a:lnTo>
                  <a:lnTo>
                    <a:pt x="397395" y="30251"/>
                  </a:lnTo>
                  <a:lnTo>
                    <a:pt x="368706" y="16814"/>
                  </a:lnTo>
                  <a:lnTo>
                    <a:pt x="323037" y="4394"/>
                  </a:lnTo>
                  <a:lnTo>
                    <a:pt x="274561" y="12"/>
                  </a:lnTo>
                  <a:lnTo>
                    <a:pt x="273329" y="0"/>
                  </a:lnTo>
                  <a:lnTo>
                    <a:pt x="224993" y="4356"/>
                  </a:lnTo>
                  <a:lnTo>
                    <a:pt x="179438" y="16725"/>
                  </a:lnTo>
                  <a:lnTo>
                    <a:pt x="137401" y="36372"/>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77" y="231927"/>
                  </a:lnTo>
                  <a:lnTo>
                    <a:pt x="170738" y="207048"/>
                  </a:lnTo>
                  <a:lnTo>
                    <a:pt x="203365" y="176593"/>
                  </a:lnTo>
                  <a:lnTo>
                    <a:pt x="230682" y="141211"/>
                  </a:lnTo>
                  <a:lnTo>
                    <a:pt x="252006" y="101600"/>
                  </a:lnTo>
                  <a:lnTo>
                    <a:pt x="266674" y="58407"/>
                  </a:lnTo>
                  <a:lnTo>
                    <a:pt x="273989" y="12357"/>
                  </a:lnTo>
                  <a:lnTo>
                    <a:pt x="280047" y="51409"/>
                  </a:lnTo>
                  <a:lnTo>
                    <a:pt x="295719" y="101942"/>
                  </a:lnTo>
                  <a:lnTo>
                    <a:pt x="316992" y="141744"/>
                  </a:lnTo>
                  <a:lnTo>
                    <a:pt x="344284" y="177279"/>
                  </a:lnTo>
                  <a:lnTo>
                    <a:pt x="376923" y="207873"/>
                  </a:lnTo>
                  <a:lnTo>
                    <a:pt x="414248" y="232867"/>
                  </a:lnTo>
                  <a:lnTo>
                    <a:pt x="455549"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16" name="object 14">
              <a:extLst>
                <a:ext uri="{FF2B5EF4-FFF2-40B4-BE49-F238E27FC236}">
                  <a16:creationId xmlns:a16="http://schemas.microsoft.com/office/drawing/2014/main" id="{F74C1B98-7A93-2B23-25CA-ED185962B78A}"/>
                </a:ext>
              </a:extLst>
            </p:cNvPr>
            <p:cNvPicPr/>
            <p:nvPr/>
          </p:nvPicPr>
          <p:blipFill>
            <a:blip r:embed="rId8" cstate="print"/>
            <a:stretch>
              <a:fillRect/>
            </a:stretch>
          </p:blipFill>
          <p:spPr>
            <a:xfrm>
              <a:off x="10407394" y="5626898"/>
              <a:ext cx="106445" cy="107156"/>
            </a:xfrm>
            <a:prstGeom prst="rect">
              <a:avLst/>
            </a:prstGeom>
          </p:spPr>
        </p:pic>
        <p:sp>
          <p:nvSpPr>
            <p:cNvPr id="17" name="object 15">
              <a:extLst>
                <a:ext uri="{FF2B5EF4-FFF2-40B4-BE49-F238E27FC236}">
                  <a16:creationId xmlns:a16="http://schemas.microsoft.com/office/drawing/2014/main" id="{72DB8E15-0A08-8D98-D31E-1DF0B42D90F7}"/>
                </a:ext>
              </a:extLst>
            </p:cNvPr>
            <p:cNvSpPr/>
            <p:nvPr/>
          </p:nvSpPr>
          <p:spPr>
            <a:xfrm>
              <a:off x="10294123" y="5825360"/>
              <a:ext cx="332700" cy="477101"/>
            </a:xfrm>
            <a:custGeom>
              <a:avLst/>
              <a:gdLst/>
              <a:ahLst/>
              <a:cxnLst/>
              <a:rect l="l" t="t" r="r" b="b"/>
              <a:pathLst>
                <a:path w="548640" h="786765">
                  <a:moveTo>
                    <a:pt x="548081" y="786396"/>
                  </a:moveTo>
                  <a:lnTo>
                    <a:pt x="542632" y="738238"/>
                  </a:lnTo>
                  <a:lnTo>
                    <a:pt x="529234" y="692975"/>
                  </a:lnTo>
                  <a:lnTo>
                    <a:pt x="508622" y="651344"/>
                  </a:lnTo>
                  <a:lnTo>
                    <a:pt x="481520" y="614095"/>
                  </a:lnTo>
                  <a:lnTo>
                    <a:pt x="448691" y="581939"/>
                  </a:lnTo>
                  <a:lnTo>
                    <a:pt x="410832" y="555637"/>
                  </a:lnTo>
                  <a:lnTo>
                    <a:pt x="368706" y="535901"/>
                  </a:lnTo>
                  <a:lnTo>
                    <a:pt x="323037" y="523481"/>
                  </a:lnTo>
                  <a:lnTo>
                    <a:pt x="274561" y="519099"/>
                  </a:lnTo>
                  <a:lnTo>
                    <a:pt x="273329" y="519099"/>
                  </a:lnTo>
                  <a:lnTo>
                    <a:pt x="224993" y="523455"/>
                  </a:lnTo>
                  <a:lnTo>
                    <a:pt x="179438" y="535825"/>
                  </a:lnTo>
                  <a:lnTo>
                    <a:pt x="137401" y="555472"/>
                  </a:lnTo>
                  <a:lnTo>
                    <a:pt x="99618" y="581660"/>
                  </a:lnTo>
                  <a:lnTo>
                    <a:pt x="66814" y="613676"/>
                  </a:lnTo>
                  <a:lnTo>
                    <a:pt x="39725" y="650773"/>
                  </a:lnTo>
                  <a:lnTo>
                    <a:pt x="19075" y="692238"/>
                  </a:lnTo>
                  <a:lnTo>
                    <a:pt x="5613" y="737323"/>
                  </a:lnTo>
                  <a:lnTo>
                    <a:pt x="50" y="785304"/>
                  </a:lnTo>
                  <a:lnTo>
                    <a:pt x="47713" y="781278"/>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48"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91" y="316407"/>
                  </a:lnTo>
                  <a:lnTo>
                    <a:pt x="410832" y="290093"/>
                  </a:lnTo>
                  <a:lnTo>
                    <a:pt x="368706" y="270370"/>
                  </a:lnTo>
                  <a:lnTo>
                    <a:pt x="323037" y="257937"/>
                  </a:lnTo>
                  <a:lnTo>
                    <a:pt x="274561" y="253555"/>
                  </a:lnTo>
                  <a:lnTo>
                    <a:pt x="273329" y="253555"/>
                  </a:lnTo>
                  <a:lnTo>
                    <a:pt x="224993" y="257924"/>
                  </a:lnTo>
                  <a:lnTo>
                    <a:pt x="179438" y="270294"/>
                  </a:lnTo>
                  <a:lnTo>
                    <a:pt x="137401" y="289928"/>
                  </a:lnTo>
                  <a:lnTo>
                    <a:pt x="99618" y="316128"/>
                  </a:lnTo>
                  <a:lnTo>
                    <a:pt x="66814" y="348145"/>
                  </a:lnTo>
                  <a:lnTo>
                    <a:pt x="39725" y="385241"/>
                  </a:lnTo>
                  <a:lnTo>
                    <a:pt x="19075" y="426694"/>
                  </a:lnTo>
                  <a:lnTo>
                    <a:pt x="5613" y="471792"/>
                  </a:lnTo>
                  <a:lnTo>
                    <a:pt x="50" y="519772"/>
                  </a:lnTo>
                  <a:lnTo>
                    <a:pt x="47713" y="515734"/>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48" y="486410"/>
                  </a:lnTo>
                  <a:lnTo>
                    <a:pt x="455549" y="505104"/>
                  </a:lnTo>
                  <a:lnTo>
                    <a:pt x="500164" y="516813"/>
                  </a:lnTo>
                  <a:lnTo>
                    <a:pt x="548081" y="520865"/>
                  </a:lnTo>
                  <a:close/>
                </a:path>
                <a:path w="548640" h="786765">
                  <a:moveTo>
                    <a:pt x="548093" y="267322"/>
                  </a:moveTo>
                  <a:lnTo>
                    <a:pt x="542645" y="219151"/>
                  </a:lnTo>
                  <a:lnTo>
                    <a:pt x="529247" y="173888"/>
                  </a:lnTo>
                  <a:lnTo>
                    <a:pt x="508635" y="132257"/>
                  </a:lnTo>
                  <a:lnTo>
                    <a:pt x="481533" y="94996"/>
                  </a:lnTo>
                  <a:lnTo>
                    <a:pt x="448691" y="62852"/>
                  </a:lnTo>
                  <a:lnTo>
                    <a:pt x="410845" y="36550"/>
                  </a:lnTo>
                  <a:lnTo>
                    <a:pt x="368706" y="16814"/>
                  </a:lnTo>
                  <a:lnTo>
                    <a:pt x="323037" y="4394"/>
                  </a:lnTo>
                  <a:lnTo>
                    <a:pt x="274561" y="0"/>
                  </a:lnTo>
                  <a:lnTo>
                    <a:pt x="273329" y="0"/>
                  </a:lnTo>
                  <a:lnTo>
                    <a:pt x="224993" y="4356"/>
                  </a:lnTo>
                  <a:lnTo>
                    <a:pt x="179438" y="16725"/>
                  </a:lnTo>
                  <a:lnTo>
                    <a:pt x="137401" y="36372"/>
                  </a:lnTo>
                  <a:lnTo>
                    <a:pt x="99618" y="62572"/>
                  </a:lnTo>
                  <a:lnTo>
                    <a:pt x="98780" y="63385"/>
                  </a:lnTo>
                  <a:lnTo>
                    <a:pt x="66814" y="94576"/>
                  </a:lnTo>
                  <a:lnTo>
                    <a:pt x="39700" y="131686"/>
                  </a:lnTo>
                  <a:lnTo>
                    <a:pt x="19037" y="173139"/>
                  </a:lnTo>
                  <a:lnTo>
                    <a:pt x="5562" y="218224"/>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3989" y="12369"/>
                  </a:lnTo>
                  <a:lnTo>
                    <a:pt x="281165" y="58585"/>
                  </a:lnTo>
                  <a:lnTo>
                    <a:pt x="295719" y="101955"/>
                  </a:lnTo>
                  <a:lnTo>
                    <a:pt x="316992" y="141744"/>
                  </a:lnTo>
                  <a:lnTo>
                    <a:pt x="344284" y="177279"/>
                  </a:lnTo>
                  <a:lnTo>
                    <a:pt x="376936" y="207886"/>
                  </a:lnTo>
                  <a:lnTo>
                    <a:pt x="414248" y="232867"/>
                  </a:lnTo>
                  <a:lnTo>
                    <a:pt x="455549"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18" name="object 16">
              <a:extLst>
                <a:ext uri="{FF2B5EF4-FFF2-40B4-BE49-F238E27FC236}">
                  <a16:creationId xmlns:a16="http://schemas.microsoft.com/office/drawing/2014/main" id="{DF075E06-011D-EE87-6889-547FFC155D28}"/>
                </a:ext>
              </a:extLst>
            </p:cNvPr>
            <p:cNvPicPr/>
            <p:nvPr/>
          </p:nvPicPr>
          <p:blipFill>
            <a:blip r:embed="rId9" cstate="print"/>
            <a:stretch>
              <a:fillRect/>
            </a:stretch>
          </p:blipFill>
          <p:spPr>
            <a:xfrm>
              <a:off x="10407394" y="6281064"/>
              <a:ext cx="106445" cy="107156"/>
            </a:xfrm>
            <a:prstGeom prst="rect">
              <a:avLst/>
            </a:prstGeom>
          </p:spPr>
        </p:pic>
        <p:sp>
          <p:nvSpPr>
            <p:cNvPr id="19" name="object 17">
              <a:extLst>
                <a:ext uri="{FF2B5EF4-FFF2-40B4-BE49-F238E27FC236}">
                  <a16:creationId xmlns:a16="http://schemas.microsoft.com/office/drawing/2014/main" id="{B12A775B-FD0F-1EC0-5735-3EBDD179C718}"/>
                </a:ext>
              </a:extLst>
            </p:cNvPr>
            <p:cNvSpPr/>
            <p:nvPr/>
          </p:nvSpPr>
          <p:spPr>
            <a:xfrm>
              <a:off x="11449331" y="6037749"/>
              <a:ext cx="332700" cy="477101"/>
            </a:xfrm>
            <a:custGeom>
              <a:avLst/>
              <a:gdLst/>
              <a:ahLst/>
              <a:cxnLst/>
              <a:rect l="l" t="t" r="r" b="b"/>
              <a:pathLst>
                <a:path w="548640" h="786765">
                  <a:moveTo>
                    <a:pt x="548055" y="266611"/>
                  </a:moveTo>
                  <a:lnTo>
                    <a:pt x="500380" y="270649"/>
                  </a:lnTo>
                  <a:lnTo>
                    <a:pt x="455853" y="282308"/>
                  </a:lnTo>
                  <a:lnTo>
                    <a:pt x="414616" y="300901"/>
                  </a:lnTo>
                  <a:lnTo>
                    <a:pt x="377355" y="325780"/>
                  </a:lnTo>
                  <a:lnTo>
                    <a:pt x="344728" y="356235"/>
                  </a:lnTo>
                  <a:lnTo>
                    <a:pt x="317423" y="391629"/>
                  </a:lnTo>
                  <a:lnTo>
                    <a:pt x="296100" y="431253"/>
                  </a:lnTo>
                  <a:lnTo>
                    <a:pt x="281432" y="474446"/>
                  </a:lnTo>
                  <a:lnTo>
                    <a:pt x="274104" y="520534"/>
                  </a:lnTo>
                  <a:lnTo>
                    <a:pt x="266928" y="474256"/>
                  </a:lnTo>
                  <a:lnTo>
                    <a:pt x="252374" y="430885"/>
                  </a:lnTo>
                  <a:lnTo>
                    <a:pt x="231101" y="391096"/>
                  </a:lnTo>
                  <a:lnTo>
                    <a:pt x="203809" y="355561"/>
                  </a:lnTo>
                  <a:lnTo>
                    <a:pt x="171170" y="324954"/>
                  </a:lnTo>
                  <a:lnTo>
                    <a:pt x="133858" y="299986"/>
                  </a:lnTo>
                  <a:lnTo>
                    <a:pt x="92544" y="281292"/>
                  </a:lnTo>
                  <a:lnTo>
                    <a:pt x="47929" y="269582"/>
                  </a:lnTo>
                  <a:lnTo>
                    <a:pt x="12" y="265531"/>
                  </a:lnTo>
                  <a:lnTo>
                    <a:pt x="5461" y="313690"/>
                  </a:lnTo>
                  <a:lnTo>
                    <a:pt x="18859" y="358952"/>
                  </a:lnTo>
                  <a:lnTo>
                    <a:pt x="39471" y="400583"/>
                  </a:lnTo>
                  <a:lnTo>
                    <a:pt x="66573" y="437832"/>
                  </a:lnTo>
                  <a:lnTo>
                    <a:pt x="99415" y="469988"/>
                  </a:lnTo>
                  <a:lnTo>
                    <a:pt x="137261" y="496303"/>
                  </a:lnTo>
                  <a:lnTo>
                    <a:pt x="179387" y="516026"/>
                  </a:lnTo>
                  <a:lnTo>
                    <a:pt x="225056" y="528459"/>
                  </a:lnTo>
                  <a:lnTo>
                    <a:pt x="273532" y="532841"/>
                  </a:lnTo>
                  <a:lnTo>
                    <a:pt x="274764" y="532841"/>
                  </a:lnTo>
                  <a:lnTo>
                    <a:pt x="323100" y="528472"/>
                  </a:lnTo>
                  <a:lnTo>
                    <a:pt x="368655" y="516102"/>
                  </a:lnTo>
                  <a:lnTo>
                    <a:pt x="410692" y="496468"/>
                  </a:lnTo>
                  <a:lnTo>
                    <a:pt x="448475" y="470268"/>
                  </a:lnTo>
                  <a:lnTo>
                    <a:pt x="481279" y="438251"/>
                  </a:lnTo>
                  <a:lnTo>
                    <a:pt x="508368" y="401154"/>
                  </a:lnTo>
                  <a:lnTo>
                    <a:pt x="529018" y="359689"/>
                  </a:lnTo>
                  <a:lnTo>
                    <a:pt x="542480" y="314604"/>
                  </a:lnTo>
                  <a:lnTo>
                    <a:pt x="548055" y="266611"/>
                  </a:lnTo>
                  <a:close/>
                </a:path>
                <a:path w="548640" h="786765">
                  <a:moveTo>
                    <a:pt x="548055" y="1092"/>
                  </a:moveTo>
                  <a:lnTo>
                    <a:pt x="500380" y="5130"/>
                  </a:lnTo>
                  <a:lnTo>
                    <a:pt x="455853" y="16789"/>
                  </a:lnTo>
                  <a:lnTo>
                    <a:pt x="414616" y="35382"/>
                  </a:lnTo>
                  <a:lnTo>
                    <a:pt x="377355" y="60248"/>
                  </a:lnTo>
                  <a:lnTo>
                    <a:pt x="344728" y="90716"/>
                  </a:lnTo>
                  <a:lnTo>
                    <a:pt x="317423" y="126098"/>
                  </a:lnTo>
                  <a:lnTo>
                    <a:pt x="296100" y="165722"/>
                  </a:lnTo>
                  <a:lnTo>
                    <a:pt x="281432" y="208915"/>
                  </a:lnTo>
                  <a:lnTo>
                    <a:pt x="274104" y="255003"/>
                  </a:lnTo>
                  <a:lnTo>
                    <a:pt x="266928" y="208724"/>
                  </a:lnTo>
                  <a:lnTo>
                    <a:pt x="252374" y="165354"/>
                  </a:lnTo>
                  <a:lnTo>
                    <a:pt x="231101" y="125564"/>
                  </a:lnTo>
                  <a:lnTo>
                    <a:pt x="203809" y="90030"/>
                  </a:lnTo>
                  <a:lnTo>
                    <a:pt x="171170" y="59436"/>
                  </a:lnTo>
                  <a:lnTo>
                    <a:pt x="133858" y="34455"/>
                  </a:lnTo>
                  <a:lnTo>
                    <a:pt x="92544" y="15773"/>
                  </a:lnTo>
                  <a:lnTo>
                    <a:pt x="47929" y="4064"/>
                  </a:lnTo>
                  <a:lnTo>
                    <a:pt x="12" y="0"/>
                  </a:lnTo>
                  <a:lnTo>
                    <a:pt x="5461" y="48171"/>
                  </a:lnTo>
                  <a:lnTo>
                    <a:pt x="18859" y="93433"/>
                  </a:lnTo>
                  <a:lnTo>
                    <a:pt x="39471" y="135051"/>
                  </a:lnTo>
                  <a:lnTo>
                    <a:pt x="66573" y="172313"/>
                  </a:lnTo>
                  <a:lnTo>
                    <a:pt x="99415" y="204457"/>
                  </a:lnTo>
                  <a:lnTo>
                    <a:pt x="137261" y="230771"/>
                  </a:lnTo>
                  <a:lnTo>
                    <a:pt x="179387" y="250507"/>
                  </a:lnTo>
                  <a:lnTo>
                    <a:pt x="225056" y="262928"/>
                  </a:lnTo>
                  <a:lnTo>
                    <a:pt x="273532" y="267309"/>
                  </a:lnTo>
                  <a:lnTo>
                    <a:pt x="274764" y="267309"/>
                  </a:lnTo>
                  <a:lnTo>
                    <a:pt x="323100" y="262953"/>
                  </a:lnTo>
                  <a:lnTo>
                    <a:pt x="368655" y="250583"/>
                  </a:lnTo>
                  <a:lnTo>
                    <a:pt x="410692" y="230936"/>
                  </a:lnTo>
                  <a:lnTo>
                    <a:pt x="448475" y="204749"/>
                  </a:lnTo>
                  <a:lnTo>
                    <a:pt x="481279" y="172732"/>
                  </a:lnTo>
                  <a:lnTo>
                    <a:pt x="508368" y="135623"/>
                  </a:lnTo>
                  <a:lnTo>
                    <a:pt x="529018" y="94170"/>
                  </a:lnTo>
                  <a:lnTo>
                    <a:pt x="542480" y="49085"/>
                  </a:lnTo>
                  <a:lnTo>
                    <a:pt x="548055" y="1092"/>
                  </a:lnTo>
                  <a:close/>
                </a:path>
                <a:path w="548640" h="786765">
                  <a:moveTo>
                    <a:pt x="548093" y="520204"/>
                  </a:moveTo>
                  <a:lnTo>
                    <a:pt x="500380" y="524217"/>
                  </a:lnTo>
                  <a:lnTo>
                    <a:pt x="455853" y="535876"/>
                  </a:lnTo>
                  <a:lnTo>
                    <a:pt x="414616" y="554469"/>
                  </a:lnTo>
                  <a:lnTo>
                    <a:pt x="377355" y="579348"/>
                  </a:lnTo>
                  <a:lnTo>
                    <a:pt x="344728" y="609803"/>
                  </a:lnTo>
                  <a:lnTo>
                    <a:pt x="317411" y="645172"/>
                  </a:lnTo>
                  <a:lnTo>
                    <a:pt x="296087" y="684796"/>
                  </a:lnTo>
                  <a:lnTo>
                    <a:pt x="281419" y="727989"/>
                  </a:lnTo>
                  <a:lnTo>
                    <a:pt x="274091" y="774039"/>
                  </a:lnTo>
                  <a:lnTo>
                    <a:pt x="266928" y="727824"/>
                  </a:lnTo>
                  <a:lnTo>
                    <a:pt x="252374" y="684453"/>
                  </a:lnTo>
                  <a:lnTo>
                    <a:pt x="231101" y="644652"/>
                  </a:lnTo>
                  <a:lnTo>
                    <a:pt x="203809" y="609117"/>
                  </a:lnTo>
                  <a:lnTo>
                    <a:pt x="171170" y="578523"/>
                  </a:lnTo>
                  <a:lnTo>
                    <a:pt x="133858" y="553542"/>
                  </a:lnTo>
                  <a:lnTo>
                    <a:pt x="92532" y="534835"/>
                  </a:lnTo>
                  <a:lnTo>
                    <a:pt x="47917" y="523125"/>
                  </a:lnTo>
                  <a:lnTo>
                    <a:pt x="0" y="519074"/>
                  </a:lnTo>
                  <a:lnTo>
                    <a:pt x="5448" y="567245"/>
                  </a:lnTo>
                  <a:lnTo>
                    <a:pt x="18846" y="612508"/>
                  </a:lnTo>
                  <a:lnTo>
                    <a:pt x="39458" y="654138"/>
                  </a:lnTo>
                  <a:lnTo>
                    <a:pt x="66560" y="691400"/>
                  </a:lnTo>
                  <a:lnTo>
                    <a:pt x="99402" y="723544"/>
                  </a:lnTo>
                  <a:lnTo>
                    <a:pt x="125717" y="741832"/>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2DB7EA"/>
            </a:solidFill>
          </p:spPr>
          <p:txBody>
            <a:bodyPr wrap="square" lIns="0" tIns="0" rIns="0" bIns="0" rtlCol="0"/>
            <a:lstStyle/>
            <a:p>
              <a:endParaRPr dirty="0"/>
            </a:p>
          </p:txBody>
        </p:sp>
        <p:pic>
          <p:nvPicPr>
            <p:cNvPr id="20" name="object 18">
              <a:extLst>
                <a:ext uri="{FF2B5EF4-FFF2-40B4-BE49-F238E27FC236}">
                  <a16:creationId xmlns:a16="http://schemas.microsoft.com/office/drawing/2014/main" id="{8D6FD657-A826-BA01-8577-0A083E9AD5FE}"/>
                </a:ext>
              </a:extLst>
            </p:cNvPr>
            <p:cNvPicPr/>
            <p:nvPr/>
          </p:nvPicPr>
          <p:blipFill>
            <a:blip r:embed="rId10" cstate="print"/>
            <a:stretch>
              <a:fillRect/>
            </a:stretch>
          </p:blipFill>
          <p:spPr>
            <a:xfrm>
              <a:off x="11561989" y="5951762"/>
              <a:ext cx="106445" cy="107156"/>
            </a:xfrm>
            <a:prstGeom prst="rect">
              <a:avLst/>
            </a:prstGeom>
          </p:spPr>
        </p:pic>
        <p:sp>
          <p:nvSpPr>
            <p:cNvPr id="21" name="object 19">
              <a:extLst>
                <a:ext uri="{FF2B5EF4-FFF2-40B4-BE49-F238E27FC236}">
                  <a16:creationId xmlns:a16="http://schemas.microsoft.com/office/drawing/2014/main" id="{E4515FCC-89B0-39DB-50E2-61B0FF93E516}"/>
                </a:ext>
              </a:extLst>
            </p:cNvPr>
            <p:cNvSpPr/>
            <p:nvPr/>
          </p:nvSpPr>
          <p:spPr>
            <a:xfrm>
              <a:off x="11449331" y="5383587"/>
              <a:ext cx="332700" cy="477101"/>
            </a:xfrm>
            <a:custGeom>
              <a:avLst/>
              <a:gdLst/>
              <a:ahLst/>
              <a:cxnLst/>
              <a:rect l="l" t="t" r="r" b="b"/>
              <a:pathLst>
                <a:path w="548640" h="786765">
                  <a:moveTo>
                    <a:pt x="548055" y="266623"/>
                  </a:moveTo>
                  <a:lnTo>
                    <a:pt x="500380" y="270649"/>
                  </a:lnTo>
                  <a:lnTo>
                    <a:pt x="455853" y="282308"/>
                  </a:lnTo>
                  <a:lnTo>
                    <a:pt x="414616" y="300913"/>
                  </a:lnTo>
                  <a:lnTo>
                    <a:pt x="377355" y="325780"/>
                  </a:lnTo>
                  <a:lnTo>
                    <a:pt x="344728" y="356235"/>
                  </a:lnTo>
                  <a:lnTo>
                    <a:pt x="317423" y="391617"/>
                  </a:lnTo>
                  <a:lnTo>
                    <a:pt x="296100" y="431241"/>
                  </a:lnTo>
                  <a:lnTo>
                    <a:pt x="281432" y="474446"/>
                  </a:lnTo>
                  <a:lnTo>
                    <a:pt x="274104" y="520522"/>
                  </a:lnTo>
                  <a:lnTo>
                    <a:pt x="266928" y="474256"/>
                  </a:lnTo>
                  <a:lnTo>
                    <a:pt x="252374" y="430885"/>
                  </a:lnTo>
                  <a:lnTo>
                    <a:pt x="231101" y="391083"/>
                  </a:lnTo>
                  <a:lnTo>
                    <a:pt x="203809" y="355549"/>
                  </a:lnTo>
                  <a:lnTo>
                    <a:pt x="171170" y="324954"/>
                  </a:lnTo>
                  <a:lnTo>
                    <a:pt x="133858" y="299974"/>
                  </a:lnTo>
                  <a:lnTo>
                    <a:pt x="92544" y="281292"/>
                  </a:lnTo>
                  <a:lnTo>
                    <a:pt x="47929" y="269582"/>
                  </a:lnTo>
                  <a:lnTo>
                    <a:pt x="12" y="265531"/>
                  </a:lnTo>
                  <a:lnTo>
                    <a:pt x="5461" y="313690"/>
                  </a:lnTo>
                  <a:lnTo>
                    <a:pt x="18859" y="358952"/>
                  </a:lnTo>
                  <a:lnTo>
                    <a:pt x="39471" y="400583"/>
                  </a:lnTo>
                  <a:lnTo>
                    <a:pt x="66573" y="437832"/>
                  </a:lnTo>
                  <a:lnTo>
                    <a:pt x="99415" y="469976"/>
                  </a:lnTo>
                  <a:lnTo>
                    <a:pt x="137261" y="496290"/>
                  </a:lnTo>
                  <a:lnTo>
                    <a:pt x="179387" y="516026"/>
                  </a:lnTo>
                  <a:lnTo>
                    <a:pt x="225056" y="528447"/>
                  </a:lnTo>
                  <a:lnTo>
                    <a:pt x="273532" y="532828"/>
                  </a:lnTo>
                  <a:lnTo>
                    <a:pt x="274764" y="532828"/>
                  </a:lnTo>
                  <a:lnTo>
                    <a:pt x="323100" y="528472"/>
                  </a:lnTo>
                  <a:lnTo>
                    <a:pt x="368655" y="516102"/>
                  </a:lnTo>
                  <a:lnTo>
                    <a:pt x="410692" y="496455"/>
                  </a:lnTo>
                  <a:lnTo>
                    <a:pt x="448475" y="470268"/>
                  </a:lnTo>
                  <a:lnTo>
                    <a:pt x="481279" y="438251"/>
                  </a:lnTo>
                  <a:lnTo>
                    <a:pt x="508368" y="401154"/>
                  </a:lnTo>
                  <a:lnTo>
                    <a:pt x="529018" y="359689"/>
                  </a:lnTo>
                  <a:lnTo>
                    <a:pt x="542480" y="314604"/>
                  </a:lnTo>
                  <a:lnTo>
                    <a:pt x="548055" y="266623"/>
                  </a:lnTo>
                  <a:close/>
                </a:path>
                <a:path w="548640" h="786765">
                  <a:moveTo>
                    <a:pt x="548055" y="1079"/>
                  </a:moveTo>
                  <a:lnTo>
                    <a:pt x="500380" y="5118"/>
                  </a:lnTo>
                  <a:lnTo>
                    <a:pt x="455853" y="16764"/>
                  </a:lnTo>
                  <a:lnTo>
                    <a:pt x="414616" y="35369"/>
                  </a:lnTo>
                  <a:lnTo>
                    <a:pt x="377355" y="60236"/>
                  </a:lnTo>
                  <a:lnTo>
                    <a:pt x="344728" y="90703"/>
                  </a:lnTo>
                  <a:lnTo>
                    <a:pt x="317423" y="126085"/>
                  </a:lnTo>
                  <a:lnTo>
                    <a:pt x="296100" y="165722"/>
                  </a:lnTo>
                  <a:lnTo>
                    <a:pt x="281432" y="208915"/>
                  </a:lnTo>
                  <a:lnTo>
                    <a:pt x="274104" y="255003"/>
                  </a:lnTo>
                  <a:lnTo>
                    <a:pt x="266928" y="208724"/>
                  </a:lnTo>
                  <a:lnTo>
                    <a:pt x="252374" y="165354"/>
                  </a:lnTo>
                  <a:lnTo>
                    <a:pt x="231101" y="125564"/>
                  </a:lnTo>
                  <a:lnTo>
                    <a:pt x="203809" y="90030"/>
                  </a:lnTo>
                  <a:lnTo>
                    <a:pt x="171170" y="59423"/>
                  </a:lnTo>
                  <a:lnTo>
                    <a:pt x="133858" y="34442"/>
                  </a:lnTo>
                  <a:lnTo>
                    <a:pt x="92544" y="15760"/>
                  </a:lnTo>
                  <a:lnTo>
                    <a:pt x="47929" y="4051"/>
                  </a:lnTo>
                  <a:lnTo>
                    <a:pt x="12" y="0"/>
                  </a:lnTo>
                  <a:lnTo>
                    <a:pt x="5461" y="48158"/>
                  </a:lnTo>
                  <a:lnTo>
                    <a:pt x="18859" y="93421"/>
                  </a:lnTo>
                  <a:lnTo>
                    <a:pt x="39471" y="135051"/>
                  </a:lnTo>
                  <a:lnTo>
                    <a:pt x="66573" y="172300"/>
                  </a:lnTo>
                  <a:lnTo>
                    <a:pt x="99415" y="204457"/>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36"/>
                  </a:lnTo>
                  <a:lnTo>
                    <a:pt x="481279" y="172720"/>
                  </a:lnTo>
                  <a:lnTo>
                    <a:pt x="508368" y="135623"/>
                  </a:lnTo>
                  <a:lnTo>
                    <a:pt x="529018" y="94157"/>
                  </a:lnTo>
                  <a:lnTo>
                    <a:pt x="542480" y="49072"/>
                  </a:lnTo>
                  <a:lnTo>
                    <a:pt x="548055" y="1079"/>
                  </a:lnTo>
                  <a:close/>
                </a:path>
                <a:path w="548640" h="786765">
                  <a:moveTo>
                    <a:pt x="548093" y="520192"/>
                  </a:moveTo>
                  <a:lnTo>
                    <a:pt x="500380" y="524217"/>
                  </a:lnTo>
                  <a:lnTo>
                    <a:pt x="455853" y="535876"/>
                  </a:lnTo>
                  <a:lnTo>
                    <a:pt x="414616" y="554469"/>
                  </a:lnTo>
                  <a:lnTo>
                    <a:pt x="377355" y="579335"/>
                  </a:lnTo>
                  <a:lnTo>
                    <a:pt x="344728" y="609790"/>
                  </a:lnTo>
                  <a:lnTo>
                    <a:pt x="317411" y="645172"/>
                  </a:lnTo>
                  <a:lnTo>
                    <a:pt x="296087" y="684796"/>
                  </a:lnTo>
                  <a:lnTo>
                    <a:pt x="281419" y="727976"/>
                  </a:lnTo>
                  <a:lnTo>
                    <a:pt x="274091" y="774039"/>
                  </a:lnTo>
                  <a:lnTo>
                    <a:pt x="266928" y="727811"/>
                  </a:lnTo>
                  <a:lnTo>
                    <a:pt x="252374" y="684441"/>
                  </a:lnTo>
                  <a:lnTo>
                    <a:pt x="231101" y="644652"/>
                  </a:lnTo>
                  <a:lnTo>
                    <a:pt x="203809" y="609117"/>
                  </a:lnTo>
                  <a:lnTo>
                    <a:pt x="171170" y="578523"/>
                  </a:lnTo>
                  <a:lnTo>
                    <a:pt x="133858" y="553542"/>
                  </a:lnTo>
                  <a:lnTo>
                    <a:pt x="92544" y="534847"/>
                  </a:lnTo>
                  <a:lnTo>
                    <a:pt x="47917" y="523125"/>
                  </a:lnTo>
                  <a:lnTo>
                    <a:pt x="0" y="519061"/>
                  </a:lnTo>
                  <a:lnTo>
                    <a:pt x="5448" y="567245"/>
                  </a:lnTo>
                  <a:lnTo>
                    <a:pt x="18846" y="612508"/>
                  </a:lnTo>
                  <a:lnTo>
                    <a:pt x="39458" y="654138"/>
                  </a:lnTo>
                  <a:lnTo>
                    <a:pt x="66560" y="691388"/>
                  </a:lnTo>
                  <a:lnTo>
                    <a:pt x="67259" y="692073"/>
                  </a:lnTo>
                  <a:lnTo>
                    <a:pt x="99402" y="723544"/>
                  </a:lnTo>
                  <a:lnTo>
                    <a:pt x="125717" y="741832"/>
                  </a:lnTo>
                  <a:lnTo>
                    <a:pt x="137261" y="749858"/>
                  </a:lnTo>
                  <a:lnTo>
                    <a:pt x="179387" y="769594"/>
                  </a:lnTo>
                  <a:lnTo>
                    <a:pt x="225056" y="782015"/>
                  </a:lnTo>
                  <a:lnTo>
                    <a:pt x="273532" y="786396"/>
                  </a:lnTo>
                  <a:lnTo>
                    <a:pt x="274764" y="786396"/>
                  </a:lnTo>
                  <a:lnTo>
                    <a:pt x="323100" y="782027"/>
                  </a:lnTo>
                  <a:lnTo>
                    <a:pt x="368655" y="769670"/>
                  </a:lnTo>
                  <a:lnTo>
                    <a:pt x="410692" y="750023"/>
                  </a:lnTo>
                  <a:lnTo>
                    <a:pt x="448475" y="723823"/>
                  </a:lnTo>
                  <a:lnTo>
                    <a:pt x="481279" y="691819"/>
                  </a:lnTo>
                  <a:lnTo>
                    <a:pt x="508393" y="654697"/>
                  </a:lnTo>
                  <a:lnTo>
                    <a:pt x="529043" y="613244"/>
                  </a:lnTo>
                  <a:lnTo>
                    <a:pt x="542531" y="568172"/>
                  </a:lnTo>
                  <a:lnTo>
                    <a:pt x="548093" y="520192"/>
                  </a:lnTo>
                  <a:close/>
                </a:path>
              </a:pathLst>
            </a:custGeom>
            <a:solidFill>
              <a:srgbClr val="7ED3F1"/>
            </a:solidFill>
          </p:spPr>
          <p:txBody>
            <a:bodyPr wrap="square" lIns="0" tIns="0" rIns="0" bIns="0" rtlCol="0"/>
            <a:lstStyle/>
            <a:p>
              <a:endParaRPr dirty="0"/>
            </a:p>
          </p:txBody>
        </p:sp>
        <p:pic>
          <p:nvPicPr>
            <p:cNvPr id="22" name="object 20">
              <a:extLst>
                <a:ext uri="{FF2B5EF4-FFF2-40B4-BE49-F238E27FC236}">
                  <a16:creationId xmlns:a16="http://schemas.microsoft.com/office/drawing/2014/main" id="{F36170FE-492D-DA99-1987-6C4BC102F920}"/>
                </a:ext>
              </a:extLst>
            </p:cNvPr>
            <p:cNvPicPr/>
            <p:nvPr/>
          </p:nvPicPr>
          <p:blipFill>
            <a:blip r:embed="rId11" cstate="print"/>
            <a:stretch>
              <a:fillRect/>
            </a:stretch>
          </p:blipFill>
          <p:spPr>
            <a:xfrm>
              <a:off x="11561989" y="5297596"/>
              <a:ext cx="106445" cy="107156"/>
            </a:xfrm>
            <a:prstGeom prst="rect">
              <a:avLst/>
            </a:prstGeom>
          </p:spPr>
        </p:pic>
        <p:sp>
          <p:nvSpPr>
            <p:cNvPr id="23" name="object 21">
              <a:extLst>
                <a:ext uri="{FF2B5EF4-FFF2-40B4-BE49-F238E27FC236}">
                  <a16:creationId xmlns:a16="http://schemas.microsoft.com/office/drawing/2014/main" id="{E3BD9580-005B-01B6-1238-335270BD779F}"/>
                </a:ext>
              </a:extLst>
            </p:cNvPr>
            <p:cNvSpPr/>
            <p:nvPr/>
          </p:nvSpPr>
          <p:spPr>
            <a:xfrm>
              <a:off x="11449339" y="6691912"/>
              <a:ext cx="332700" cy="165965"/>
            </a:xfrm>
            <a:custGeom>
              <a:avLst/>
              <a:gdLst/>
              <a:ahLst/>
              <a:cxnLst/>
              <a:rect l="l" t="t" r="r" b="b"/>
              <a:pathLst>
                <a:path w="548640" h="273684">
                  <a:moveTo>
                    <a:pt x="62560" y="273431"/>
                  </a:moveTo>
                  <a:lnTo>
                    <a:pt x="47917" y="269595"/>
                  </a:lnTo>
                  <a:lnTo>
                    <a:pt x="0" y="265544"/>
                  </a:lnTo>
                  <a:lnTo>
                    <a:pt x="889" y="273431"/>
                  </a:lnTo>
                  <a:lnTo>
                    <a:pt x="62560" y="273431"/>
                  </a:lnTo>
                  <a:close/>
                </a:path>
                <a:path w="548640" h="273684">
                  <a:moveTo>
                    <a:pt x="548030" y="266623"/>
                  </a:moveTo>
                  <a:lnTo>
                    <a:pt x="500367" y="270649"/>
                  </a:lnTo>
                  <a:lnTo>
                    <a:pt x="489724" y="273431"/>
                  </a:lnTo>
                  <a:lnTo>
                    <a:pt x="547243" y="273431"/>
                  </a:lnTo>
                  <a:lnTo>
                    <a:pt x="548030" y="266623"/>
                  </a:lnTo>
                  <a:close/>
                </a:path>
                <a:path w="548640" h="273684">
                  <a:moveTo>
                    <a:pt x="548043" y="1079"/>
                  </a:moveTo>
                  <a:lnTo>
                    <a:pt x="500367" y="5118"/>
                  </a:lnTo>
                  <a:lnTo>
                    <a:pt x="455841" y="16776"/>
                  </a:lnTo>
                  <a:lnTo>
                    <a:pt x="414604" y="35382"/>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21"/>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57"/>
                  </a:lnTo>
                  <a:lnTo>
                    <a:pt x="542467" y="49072"/>
                  </a:lnTo>
                  <a:lnTo>
                    <a:pt x="548043" y="1079"/>
                  </a:lnTo>
                  <a:close/>
                </a:path>
              </a:pathLst>
            </a:custGeom>
            <a:solidFill>
              <a:srgbClr val="7ED3F1"/>
            </a:solidFill>
          </p:spPr>
          <p:txBody>
            <a:bodyPr wrap="square" lIns="0" tIns="0" rIns="0" bIns="0" rtlCol="0"/>
            <a:lstStyle/>
            <a:p>
              <a:endParaRPr dirty="0"/>
            </a:p>
          </p:txBody>
        </p:sp>
        <p:pic>
          <p:nvPicPr>
            <p:cNvPr id="24" name="object 22">
              <a:extLst>
                <a:ext uri="{FF2B5EF4-FFF2-40B4-BE49-F238E27FC236}">
                  <a16:creationId xmlns:a16="http://schemas.microsoft.com/office/drawing/2014/main" id="{D41D6BBF-49F0-DA09-ADF0-4E3975A236D2}"/>
                </a:ext>
              </a:extLst>
            </p:cNvPr>
            <p:cNvPicPr/>
            <p:nvPr/>
          </p:nvPicPr>
          <p:blipFill>
            <a:blip r:embed="rId11" cstate="print"/>
            <a:stretch>
              <a:fillRect/>
            </a:stretch>
          </p:blipFill>
          <p:spPr>
            <a:xfrm>
              <a:off x="11561989" y="6605926"/>
              <a:ext cx="106445" cy="107156"/>
            </a:xfrm>
            <a:prstGeom prst="rect">
              <a:avLst/>
            </a:prstGeom>
          </p:spPr>
        </p:pic>
        <p:sp>
          <p:nvSpPr>
            <p:cNvPr id="25" name="object 23">
              <a:extLst>
                <a:ext uri="{FF2B5EF4-FFF2-40B4-BE49-F238E27FC236}">
                  <a16:creationId xmlns:a16="http://schemas.microsoft.com/office/drawing/2014/main" id="{A8F55E41-77C3-FF7F-A29A-26154D061024}"/>
                </a:ext>
              </a:extLst>
            </p:cNvPr>
            <p:cNvSpPr/>
            <p:nvPr/>
          </p:nvSpPr>
          <p:spPr>
            <a:xfrm>
              <a:off x="11064254" y="6479532"/>
              <a:ext cx="332700" cy="316141"/>
            </a:xfrm>
            <a:custGeom>
              <a:avLst/>
              <a:gdLst/>
              <a:ahLst/>
              <a:cxnLst/>
              <a:rect l="l" t="t" r="r" b="b"/>
              <a:pathLst>
                <a:path w="548640" h="521334">
                  <a:moveTo>
                    <a:pt x="548081" y="520852"/>
                  </a:moveTo>
                  <a:lnTo>
                    <a:pt x="542632" y="472694"/>
                  </a:lnTo>
                  <a:lnTo>
                    <a:pt x="529234" y="427431"/>
                  </a:lnTo>
                  <a:lnTo>
                    <a:pt x="508622" y="385800"/>
                  </a:lnTo>
                  <a:lnTo>
                    <a:pt x="481520" y="348551"/>
                  </a:lnTo>
                  <a:lnTo>
                    <a:pt x="448678" y="316395"/>
                  </a:lnTo>
                  <a:lnTo>
                    <a:pt x="410832" y="290093"/>
                  </a:lnTo>
                  <a:lnTo>
                    <a:pt x="368706" y="270357"/>
                  </a:lnTo>
                  <a:lnTo>
                    <a:pt x="323037" y="257924"/>
                  </a:lnTo>
                  <a:lnTo>
                    <a:pt x="274561" y="253555"/>
                  </a:lnTo>
                  <a:lnTo>
                    <a:pt x="273329" y="253555"/>
                  </a:lnTo>
                  <a:lnTo>
                    <a:pt x="224993" y="257911"/>
                  </a:lnTo>
                  <a:lnTo>
                    <a:pt x="179438" y="270281"/>
                  </a:lnTo>
                  <a:lnTo>
                    <a:pt x="137401" y="289915"/>
                  </a:lnTo>
                  <a:lnTo>
                    <a:pt x="99618" y="316115"/>
                  </a:lnTo>
                  <a:lnTo>
                    <a:pt x="66814" y="348132"/>
                  </a:lnTo>
                  <a:lnTo>
                    <a:pt x="39725" y="385229"/>
                  </a:lnTo>
                  <a:lnTo>
                    <a:pt x="19075" y="426694"/>
                  </a:lnTo>
                  <a:lnTo>
                    <a:pt x="5613" y="471792"/>
                  </a:lnTo>
                  <a:lnTo>
                    <a:pt x="38" y="519772"/>
                  </a:lnTo>
                  <a:lnTo>
                    <a:pt x="47713" y="515747"/>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27"/>
                  </a:lnTo>
                  <a:lnTo>
                    <a:pt x="295719" y="355498"/>
                  </a:lnTo>
                  <a:lnTo>
                    <a:pt x="316992" y="395300"/>
                  </a:lnTo>
                  <a:lnTo>
                    <a:pt x="344284" y="430834"/>
                  </a:lnTo>
                  <a:lnTo>
                    <a:pt x="376923" y="461429"/>
                  </a:lnTo>
                  <a:lnTo>
                    <a:pt x="414235" y="486410"/>
                  </a:lnTo>
                  <a:lnTo>
                    <a:pt x="455549" y="505091"/>
                  </a:lnTo>
                  <a:lnTo>
                    <a:pt x="500164" y="516801"/>
                  </a:lnTo>
                  <a:lnTo>
                    <a:pt x="548081" y="520852"/>
                  </a:lnTo>
                  <a:close/>
                </a:path>
                <a:path w="548640" h="521334">
                  <a:moveTo>
                    <a:pt x="548081" y="267322"/>
                  </a:moveTo>
                  <a:lnTo>
                    <a:pt x="547077" y="258432"/>
                  </a:lnTo>
                  <a:lnTo>
                    <a:pt x="542645" y="219138"/>
                  </a:lnTo>
                  <a:lnTo>
                    <a:pt x="529247" y="173875"/>
                  </a:lnTo>
                  <a:lnTo>
                    <a:pt x="508635" y="132245"/>
                  </a:lnTo>
                  <a:lnTo>
                    <a:pt x="481533" y="94996"/>
                  </a:lnTo>
                  <a:lnTo>
                    <a:pt x="448691" y="62839"/>
                  </a:lnTo>
                  <a:lnTo>
                    <a:pt x="433158" y="52057"/>
                  </a:lnTo>
                  <a:lnTo>
                    <a:pt x="410832" y="36537"/>
                  </a:lnTo>
                  <a:lnTo>
                    <a:pt x="368706" y="16814"/>
                  </a:lnTo>
                  <a:lnTo>
                    <a:pt x="323037" y="4368"/>
                  </a:lnTo>
                  <a:lnTo>
                    <a:pt x="274561" y="12"/>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64" y="231914"/>
                  </a:lnTo>
                  <a:lnTo>
                    <a:pt x="170738" y="207048"/>
                  </a:lnTo>
                  <a:lnTo>
                    <a:pt x="203365" y="176593"/>
                  </a:lnTo>
                  <a:lnTo>
                    <a:pt x="230682" y="141211"/>
                  </a:lnTo>
                  <a:lnTo>
                    <a:pt x="252006" y="101600"/>
                  </a:lnTo>
                  <a:lnTo>
                    <a:pt x="266674" y="58407"/>
                  </a:lnTo>
                  <a:lnTo>
                    <a:pt x="273989" y="12357"/>
                  </a:lnTo>
                  <a:lnTo>
                    <a:pt x="281165" y="58572"/>
                  </a:lnTo>
                  <a:lnTo>
                    <a:pt x="295719" y="101942"/>
                  </a:lnTo>
                  <a:lnTo>
                    <a:pt x="316992" y="141744"/>
                  </a:lnTo>
                  <a:lnTo>
                    <a:pt x="344284" y="177279"/>
                  </a:lnTo>
                  <a:lnTo>
                    <a:pt x="376923" y="207873"/>
                  </a:lnTo>
                  <a:lnTo>
                    <a:pt x="414235" y="232854"/>
                  </a:lnTo>
                  <a:lnTo>
                    <a:pt x="455549" y="251548"/>
                  </a:lnTo>
                  <a:lnTo>
                    <a:pt x="500176" y="263258"/>
                  </a:lnTo>
                  <a:lnTo>
                    <a:pt x="548081" y="267322"/>
                  </a:lnTo>
                  <a:close/>
                </a:path>
              </a:pathLst>
            </a:custGeom>
            <a:solidFill>
              <a:srgbClr val="2DB7EA"/>
            </a:solidFill>
          </p:spPr>
          <p:txBody>
            <a:bodyPr wrap="square" lIns="0" tIns="0" rIns="0" bIns="0" rtlCol="0"/>
            <a:lstStyle/>
            <a:p>
              <a:endParaRPr dirty="0"/>
            </a:p>
          </p:txBody>
        </p:sp>
        <p:pic>
          <p:nvPicPr>
            <p:cNvPr id="26" name="object 24">
              <a:extLst>
                <a:ext uri="{FF2B5EF4-FFF2-40B4-BE49-F238E27FC236}">
                  <a16:creationId xmlns:a16="http://schemas.microsoft.com/office/drawing/2014/main" id="{1AF12AEB-D381-1CE8-3274-3330338B7119}"/>
                </a:ext>
              </a:extLst>
            </p:cNvPr>
            <p:cNvPicPr/>
            <p:nvPr/>
          </p:nvPicPr>
          <p:blipFill>
            <a:blip r:embed="rId12" cstate="print"/>
            <a:stretch>
              <a:fillRect/>
            </a:stretch>
          </p:blipFill>
          <p:spPr>
            <a:xfrm>
              <a:off x="11100347" y="6794307"/>
              <a:ext cx="260137" cy="63416"/>
            </a:xfrm>
            <a:prstGeom prst="rect">
              <a:avLst/>
            </a:prstGeom>
          </p:spPr>
        </p:pic>
        <p:sp>
          <p:nvSpPr>
            <p:cNvPr id="27" name="object 25">
              <a:extLst>
                <a:ext uri="{FF2B5EF4-FFF2-40B4-BE49-F238E27FC236}">
                  <a16:creationId xmlns:a16="http://schemas.microsoft.com/office/drawing/2014/main" id="{7B808C26-A495-43B3-8E55-AB1AA8469646}"/>
                </a:ext>
              </a:extLst>
            </p:cNvPr>
            <p:cNvSpPr/>
            <p:nvPr/>
          </p:nvSpPr>
          <p:spPr>
            <a:xfrm>
              <a:off x="11064254" y="5171198"/>
              <a:ext cx="332700" cy="477101"/>
            </a:xfrm>
            <a:custGeom>
              <a:avLst/>
              <a:gdLst/>
              <a:ahLst/>
              <a:cxnLst/>
              <a:rect l="l" t="t" r="r" b="b"/>
              <a:pathLst>
                <a:path w="548640" h="786765">
                  <a:moveTo>
                    <a:pt x="548081" y="786396"/>
                  </a:moveTo>
                  <a:lnTo>
                    <a:pt x="542632" y="738225"/>
                  </a:lnTo>
                  <a:lnTo>
                    <a:pt x="529234" y="692975"/>
                  </a:lnTo>
                  <a:lnTo>
                    <a:pt x="508622" y="651344"/>
                  </a:lnTo>
                  <a:lnTo>
                    <a:pt x="481520" y="614083"/>
                  </a:lnTo>
                  <a:lnTo>
                    <a:pt x="448678" y="581939"/>
                  </a:lnTo>
                  <a:lnTo>
                    <a:pt x="410832" y="555625"/>
                  </a:lnTo>
                  <a:lnTo>
                    <a:pt x="368706" y="535889"/>
                  </a:lnTo>
                  <a:lnTo>
                    <a:pt x="323037" y="523468"/>
                  </a:lnTo>
                  <a:lnTo>
                    <a:pt x="274561" y="519087"/>
                  </a:lnTo>
                  <a:lnTo>
                    <a:pt x="273329" y="519087"/>
                  </a:lnTo>
                  <a:lnTo>
                    <a:pt x="224993" y="523455"/>
                  </a:lnTo>
                  <a:lnTo>
                    <a:pt x="179438" y="535813"/>
                  </a:lnTo>
                  <a:lnTo>
                    <a:pt x="137401" y="555459"/>
                  </a:lnTo>
                  <a:lnTo>
                    <a:pt x="99618" y="581660"/>
                  </a:lnTo>
                  <a:lnTo>
                    <a:pt x="66814" y="613676"/>
                  </a:lnTo>
                  <a:lnTo>
                    <a:pt x="39725" y="650773"/>
                  </a:lnTo>
                  <a:lnTo>
                    <a:pt x="19075" y="692238"/>
                  </a:lnTo>
                  <a:lnTo>
                    <a:pt x="5613" y="737323"/>
                  </a:lnTo>
                  <a:lnTo>
                    <a:pt x="38" y="785317"/>
                  </a:lnTo>
                  <a:lnTo>
                    <a:pt x="47713" y="781278"/>
                  </a:lnTo>
                  <a:lnTo>
                    <a:pt x="92240" y="769620"/>
                  </a:lnTo>
                  <a:lnTo>
                    <a:pt x="133464" y="751027"/>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35" y="751941"/>
                  </a:lnTo>
                  <a:lnTo>
                    <a:pt x="455549" y="770623"/>
                  </a:lnTo>
                  <a:lnTo>
                    <a:pt x="500164" y="782332"/>
                  </a:lnTo>
                  <a:lnTo>
                    <a:pt x="548081" y="786396"/>
                  </a:lnTo>
                  <a:close/>
                </a:path>
                <a:path w="548640" h="786765">
                  <a:moveTo>
                    <a:pt x="548081" y="520865"/>
                  </a:moveTo>
                  <a:lnTo>
                    <a:pt x="542632" y="472706"/>
                  </a:lnTo>
                  <a:lnTo>
                    <a:pt x="529234" y="427443"/>
                  </a:lnTo>
                  <a:lnTo>
                    <a:pt x="508622" y="385813"/>
                  </a:lnTo>
                  <a:lnTo>
                    <a:pt x="481520" y="348551"/>
                  </a:lnTo>
                  <a:lnTo>
                    <a:pt x="448678" y="316407"/>
                  </a:lnTo>
                  <a:lnTo>
                    <a:pt x="410832" y="290093"/>
                  </a:lnTo>
                  <a:lnTo>
                    <a:pt x="368706" y="270357"/>
                  </a:lnTo>
                  <a:lnTo>
                    <a:pt x="323037" y="257937"/>
                  </a:lnTo>
                  <a:lnTo>
                    <a:pt x="274561" y="253568"/>
                  </a:lnTo>
                  <a:lnTo>
                    <a:pt x="273329" y="253568"/>
                  </a:lnTo>
                  <a:lnTo>
                    <a:pt x="224993" y="257924"/>
                  </a:lnTo>
                  <a:lnTo>
                    <a:pt x="179438" y="270281"/>
                  </a:lnTo>
                  <a:lnTo>
                    <a:pt x="137401" y="289928"/>
                  </a:lnTo>
                  <a:lnTo>
                    <a:pt x="99618" y="316128"/>
                  </a:lnTo>
                  <a:lnTo>
                    <a:pt x="66814" y="348132"/>
                  </a:lnTo>
                  <a:lnTo>
                    <a:pt x="39725" y="385241"/>
                  </a:lnTo>
                  <a:lnTo>
                    <a:pt x="19075" y="426694"/>
                  </a:lnTo>
                  <a:lnTo>
                    <a:pt x="5613" y="471792"/>
                  </a:lnTo>
                  <a:lnTo>
                    <a:pt x="38" y="519772"/>
                  </a:lnTo>
                  <a:lnTo>
                    <a:pt x="47713" y="515734"/>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5">
                  <a:moveTo>
                    <a:pt x="548081" y="267322"/>
                  </a:moveTo>
                  <a:lnTo>
                    <a:pt x="546976" y="257530"/>
                  </a:lnTo>
                  <a:lnTo>
                    <a:pt x="542645" y="219151"/>
                  </a:lnTo>
                  <a:lnTo>
                    <a:pt x="529247" y="173875"/>
                  </a:lnTo>
                  <a:lnTo>
                    <a:pt x="508635" y="132245"/>
                  </a:lnTo>
                  <a:lnTo>
                    <a:pt x="481533" y="94996"/>
                  </a:lnTo>
                  <a:lnTo>
                    <a:pt x="449376" y="63525"/>
                  </a:lnTo>
                  <a:lnTo>
                    <a:pt x="448691" y="62852"/>
                  </a:lnTo>
                  <a:lnTo>
                    <a:pt x="410832" y="36537"/>
                  </a:lnTo>
                  <a:lnTo>
                    <a:pt x="368706" y="16814"/>
                  </a:lnTo>
                  <a:lnTo>
                    <a:pt x="323037" y="4394"/>
                  </a:lnTo>
                  <a:lnTo>
                    <a:pt x="274561" y="12"/>
                  </a:lnTo>
                  <a:lnTo>
                    <a:pt x="273329" y="0"/>
                  </a:lnTo>
                  <a:lnTo>
                    <a:pt x="224993" y="4356"/>
                  </a:lnTo>
                  <a:lnTo>
                    <a:pt x="179438" y="16725"/>
                  </a:lnTo>
                  <a:lnTo>
                    <a:pt x="137401" y="36372"/>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64" y="231927"/>
                  </a:lnTo>
                  <a:lnTo>
                    <a:pt x="170738" y="207048"/>
                  </a:lnTo>
                  <a:lnTo>
                    <a:pt x="203365" y="176593"/>
                  </a:lnTo>
                  <a:lnTo>
                    <a:pt x="230682" y="141211"/>
                  </a:lnTo>
                  <a:lnTo>
                    <a:pt x="252006" y="101600"/>
                  </a:lnTo>
                  <a:lnTo>
                    <a:pt x="266674" y="58407"/>
                  </a:lnTo>
                  <a:lnTo>
                    <a:pt x="273989" y="12357"/>
                  </a:lnTo>
                  <a:lnTo>
                    <a:pt x="280047" y="51409"/>
                  </a:lnTo>
                  <a:lnTo>
                    <a:pt x="295719" y="101942"/>
                  </a:lnTo>
                  <a:lnTo>
                    <a:pt x="316992" y="141744"/>
                  </a:lnTo>
                  <a:lnTo>
                    <a:pt x="344284" y="177279"/>
                  </a:lnTo>
                  <a:lnTo>
                    <a:pt x="376923" y="207873"/>
                  </a:lnTo>
                  <a:lnTo>
                    <a:pt x="414248" y="232867"/>
                  </a:lnTo>
                  <a:lnTo>
                    <a:pt x="455549" y="251548"/>
                  </a:lnTo>
                  <a:lnTo>
                    <a:pt x="500176" y="263258"/>
                  </a:lnTo>
                  <a:lnTo>
                    <a:pt x="548081" y="267322"/>
                  </a:lnTo>
                  <a:close/>
                </a:path>
              </a:pathLst>
            </a:custGeom>
            <a:solidFill>
              <a:srgbClr val="2DB7EA"/>
            </a:solidFill>
          </p:spPr>
          <p:txBody>
            <a:bodyPr wrap="square" lIns="0" tIns="0" rIns="0" bIns="0" rtlCol="0"/>
            <a:lstStyle/>
            <a:p>
              <a:endParaRPr dirty="0"/>
            </a:p>
          </p:txBody>
        </p:sp>
        <p:pic>
          <p:nvPicPr>
            <p:cNvPr id="28" name="object 26">
              <a:extLst>
                <a:ext uri="{FF2B5EF4-FFF2-40B4-BE49-F238E27FC236}">
                  <a16:creationId xmlns:a16="http://schemas.microsoft.com/office/drawing/2014/main" id="{22BC1E7C-9260-CF02-8FF3-2691748F6F08}"/>
                </a:ext>
              </a:extLst>
            </p:cNvPr>
            <p:cNvPicPr/>
            <p:nvPr/>
          </p:nvPicPr>
          <p:blipFill>
            <a:blip r:embed="rId13" cstate="print"/>
            <a:stretch>
              <a:fillRect/>
            </a:stretch>
          </p:blipFill>
          <p:spPr>
            <a:xfrm>
              <a:off x="11177526" y="5626898"/>
              <a:ext cx="106445" cy="107156"/>
            </a:xfrm>
            <a:prstGeom prst="rect">
              <a:avLst/>
            </a:prstGeom>
          </p:spPr>
        </p:pic>
        <p:sp>
          <p:nvSpPr>
            <p:cNvPr id="29" name="object 27">
              <a:extLst>
                <a:ext uri="{FF2B5EF4-FFF2-40B4-BE49-F238E27FC236}">
                  <a16:creationId xmlns:a16="http://schemas.microsoft.com/office/drawing/2014/main" id="{F9CC1AAF-4A25-35A4-ACFD-BE461B9BC329}"/>
                </a:ext>
              </a:extLst>
            </p:cNvPr>
            <p:cNvSpPr/>
            <p:nvPr/>
          </p:nvSpPr>
          <p:spPr>
            <a:xfrm>
              <a:off x="11064254" y="5825360"/>
              <a:ext cx="332700" cy="477101"/>
            </a:xfrm>
            <a:custGeom>
              <a:avLst/>
              <a:gdLst/>
              <a:ahLst/>
              <a:cxnLst/>
              <a:rect l="l" t="t" r="r" b="b"/>
              <a:pathLst>
                <a:path w="548640" h="786765">
                  <a:moveTo>
                    <a:pt x="548081" y="786396"/>
                  </a:moveTo>
                  <a:lnTo>
                    <a:pt x="542632" y="738238"/>
                  </a:lnTo>
                  <a:lnTo>
                    <a:pt x="529234" y="692975"/>
                  </a:lnTo>
                  <a:lnTo>
                    <a:pt x="508622" y="651344"/>
                  </a:lnTo>
                  <a:lnTo>
                    <a:pt x="481520" y="614095"/>
                  </a:lnTo>
                  <a:lnTo>
                    <a:pt x="448678" y="581939"/>
                  </a:lnTo>
                  <a:lnTo>
                    <a:pt x="410832" y="555637"/>
                  </a:lnTo>
                  <a:lnTo>
                    <a:pt x="368706" y="535901"/>
                  </a:lnTo>
                  <a:lnTo>
                    <a:pt x="323037" y="523481"/>
                  </a:lnTo>
                  <a:lnTo>
                    <a:pt x="274561" y="519099"/>
                  </a:lnTo>
                  <a:lnTo>
                    <a:pt x="273329" y="519099"/>
                  </a:lnTo>
                  <a:lnTo>
                    <a:pt x="224993" y="523455"/>
                  </a:lnTo>
                  <a:lnTo>
                    <a:pt x="179438" y="535825"/>
                  </a:lnTo>
                  <a:lnTo>
                    <a:pt x="137401" y="555472"/>
                  </a:lnTo>
                  <a:lnTo>
                    <a:pt x="99618" y="581660"/>
                  </a:lnTo>
                  <a:lnTo>
                    <a:pt x="66814" y="613676"/>
                  </a:lnTo>
                  <a:lnTo>
                    <a:pt x="39725" y="650773"/>
                  </a:lnTo>
                  <a:lnTo>
                    <a:pt x="19075" y="692238"/>
                  </a:lnTo>
                  <a:lnTo>
                    <a:pt x="5613" y="737323"/>
                  </a:lnTo>
                  <a:lnTo>
                    <a:pt x="38" y="785304"/>
                  </a:lnTo>
                  <a:lnTo>
                    <a:pt x="47713" y="781278"/>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35"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78" y="316407"/>
                  </a:lnTo>
                  <a:lnTo>
                    <a:pt x="410832" y="290093"/>
                  </a:lnTo>
                  <a:lnTo>
                    <a:pt x="368706" y="270370"/>
                  </a:lnTo>
                  <a:lnTo>
                    <a:pt x="323037" y="257937"/>
                  </a:lnTo>
                  <a:lnTo>
                    <a:pt x="274561" y="253555"/>
                  </a:lnTo>
                  <a:lnTo>
                    <a:pt x="273329" y="253555"/>
                  </a:lnTo>
                  <a:lnTo>
                    <a:pt x="224993" y="257924"/>
                  </a:lnTo>
                  <a:lnTo>
                    <a:pt x="179438" y="270294"/>
                  </a:lnTo>
                  <a:lnTo>
                    <a:pt x="137401" y="289928"/>
                  </a:lnTo>
                  <a:lnTo>
                    <a:pt x="99618" y="316128"/>
                  </a:lnTo>
                  <a:lnTo>
                    <a:pt x="66814" y="348145"/>
                  </a:lnTo>
                  <a:lnTo>
                    <a:pt x="39725" y="385241"/>
                  </a:lnTo>
                  <a:lnTo>
                    <a:pt x="19075" y="426694"/>
                  </a:lnTo>
                  <a:lnTo>
                    <a:pt x="5613" y="471792"/>
                  </a:lnTo>
                  <a:lnTo>
                    <a:pt x="38" y="519772"/>
                  </a:lnTo>
                  <a:lnTo>
                    <a:pt x="47713" y="515734"/>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5">
                  <a:moveTo>
                    <a:pt x="548081" y="267322"/>
                  </a:moveTo>
                  <a:lnTo>
                    <a:pt x="547458" y="261874"/>
                  </a:lnTo>
                  <a:lnTo>
                    <a:pt x="542645" y="219151"/>
                  </a:lnTo>
                  <a:lnTo>
                    <a:pt x="529247" y="173888"/>
                  </a:lnTo>
                  <a:lnTo>
                    <a:pt x="508635" y="132257"/>
                  </a:lnTo>
                  <a:lnTo>
                    <a:pt x="481533" y="94996"/>
                  </a:lnTo>
                  <a:lnTo>
                    <a:pt x="448691" y="62852"/>
                  </a:lnTo>
                  <a:lnTo>
                    <a:pt x="433158" y="52070"/>
                  </a:lnTo>
                  <a:lnTo>
                    <a:pt x="410832" y="36550"/>
                  </a:lnTo>
                  <a:lnTo>
                    <a:pt x="368706" y="16814"/>
                  </a:lnTo>
                  <a:lnTo>
                    <a:pt x="323037" y="4394"/>
                  </a:lnTo>
                  <a:lnTo>
                    <a:pt x="274561" y="0"/>
                  </a:lnTo>
                  <a:lnTo>
                    <a:pt x="273329" y="0"/>
                  </a:lnTo>
                  <a:lnTo>
                    <a:pt x="224993" y="4356"/>
                  </a:lnTo>
                  <a:lnTo>
                    <a:pt x="179438" y="16725"/>
                  </a:lnTo>
                  <a:lnTo>
                    <a:pt x="137401" y="36372"/>
                  </a:lnTo>
                  <a:lnTo>
                    <a:pt x="99618" y="62572"/>
                  </a:lnTo>
                  <a:lnTo>
                    <a:pt x="98780" y="63385"/>
                  </a:lnTo>
                  <a:lnTo>
                    <a:pt x="66814" y="94576"/>
                  </a:lnTo>
                  <a:lnTo>
                    <a:pt x="39700" y="131686"/>
                  </a:lnTo>
                  <a:lnTo>
                    <a:pt x="19037" y="173139"/>
                  </a:lnTo>
                  <a:lnTo>
                    <a:pt x="5562" y="218224"/>
                  </a:lnTo>
                  <a:lnTo>
                    <a:pt x="0" y="266192"/>
                  </a:lnTo>
                  <a:lnTo>
                    <a:pt x="47713" y="262178"/>
                  </a:lnTo>
                  <a:lnTo>
                    <a:pt x="92240" y="250532"/>
                  </a:lnTo>
                  <a:lnTo>
                    <a:pt x="133464" y="231927"/>
                  </a:lnTo>
                  <a:lnTo>
                    <a:pt x="170738" y="207060"/>
                  </a:lnTo>
                  <a:lnTo>
                    <a:pt x="203365" y="176593"/>
                  </a:lnTo>
                  <a:lnTo>
                    <a:pt x="230682" y="141224"/>
                  </a:lnTo>
                  <a:lnTo>
                    <a:pt x="252006" y="101600"/>
                  </a:lnTo>
                  <a:lnTo>
                    <a:pt x="266674" y="58407"/>
                  </a:lnTo>
                  <a:lnTo>
                    <a:pt x="273989" y="12369"/>
                  </a:lnTo>
                  <a:lnTo>
                    <a:pt x="281165" y="58585"/>
                  </a:lnTo>
                  <a:lnTo>
                    <a:pt x="295719" y="101955"/>
                  </a:lnTo>
                  <a:lnTo>
                    <a:pt x="316992" y="141744"/>
                  </a:lnTo>
                  <a:lnTo>
                    <a:pt x="344284" y="177279"/>
                  </a:lnTo>
                  <a:lnTo>
                    <a:pt x="376936" y="207886"/>
                  </a:lnTo>
                  <a:lnTo>
                    <a:pt x="414248" y="232867"/>
                  </a:lnTo>
                  <a:lnTo>
                    <a:pt x="455549" y="251561"/>
                  </a:lnTo>
                  <a:lnTo>
                    <a:pt x="500176" y="263271"/>
                  </a:lnTo>
                  <a:lnTo>
                    <a:pt x="548081" y="267322"/>
                  </a:lnTo>
                  <a:close/>
                </a:path>
              </a:pathLst>
            </a:custGeom>
            <a:solidFill>
              <a:srgbClr val="7ED3F1"/>
            </a:solidFill>
          </p:spPr>
          <p:txBody>
            <a:bodyPr wrap="square" lIns="0" tIns="0" rIns="0" bIns="0" rtlCol="0"/>
            <a:lstStyle/>
            <a:p>
              <a:endParaRPr dirty="0"/>
            </a:p>
          </p:txBody>
        </p:sp>
        <p:pic>
          <p:nvPicPr>
            <p:cNvPr id="30" name="object 28">
              <a:extLst>
                <a:ext uri="{FF2B5EF4-FFF2-40B4-BE49-F238E27FC236}">
                  <a16:creationId xmlns:a16="http://schemas.microsoft.com/office/drawing/2014/main" id="{D801BB27-37EB-36E3-A030-10DD07F4DE2D}"/>
                </a:ext>
              </a:extLst>
            </p:cNvPr>
            <p:cNvPicPr/>
            <p:nvPr/>
          </p:nvPicPr>
          <p:blipFill>
            <a:blip r:embed="rId14" cstate="print"/>
            <a:stretch>
              <a:fillRect/>
            </a:stretch>
          </p:blipFill>
          <p:spPr>
            <a:xfrm>
              <a:off x="11177526" y="6281064"/>
              <a:ext cx="106445" cy="107156"/>
            </a:xfrm>
            <a:prstGeom prst="rect">
              <a:avLst/>
            </a:prstGeom>
          </p:spPr>
        </p:pic>
        <p:sp>
          <p:nvSpPr>
            <p:cNvPr id="37" name="object 35">
              <a:extLst>
                <a:ext uri="{FF2B5EF4-FFF2-40B4-BE49-F238E27FC236}">
                  <a16:creationId xmlns:a16="http://schemas.microsoft.com/office/drawing/2014/main" id="{AF34F5D8-2300-D953-A511-170C3C1EF1A8}"/>
                </a:ext>
              </a:extLst>
            </p:cNvPr>
            <p:cNvSpPr/>
            <p:nvPr/>
          </p:nvSpPr>
          <p:spPr>
            <a:xfrm>
              <a:off x="11834385" y="6479532"/>
              <a:ext cx="332700" cy="316141"/>
            </a:xfrm>
            <a:custGeom>
              <a:avLst/>
              <a:gdLst/>
              <a:ahLst/>
              <a:cxnLst/>
              <a:rect l="l" t="t" r="r" b="b"/>
              <a:pathLst>
                <a:path w="548640" h="521334">
                  <a:moveTo>
                    <a:pt x="548081" y="520852"/>
                  </a:moveTo>
                  <a:lnTo>
                    <a:pt x="542632" y="472694"/>
                  </a:lnTo>
                  <a:lnTo>
                    <a:pt x="529234" y="427431"/>
                  </a:lnTo>
                  <a:lnTo>
                    <a:pt x="508622" y="385800"/>
                  </a:lnTo>
                  <a:lnTo>
                    <a:pt x="481533" y="348551"/>
                  </a:lnTo>
                  <a:lnTo>
                    <a:pt x="448691" y="316395"/>
                  </a:lnTo>
                  <a:lnTo>
                    <a:pt x="410832" y="290093"/>
                  </a:lnTo>
                  <a:lnTo>
                    <a:pt x="368706" y="270357"/>
                  </a:lnTo>
                  <a:lnTo>
                    <a:pt x="323037" y="257924"/>
                  </a:lnTo>
                  <a:lnTo>
                    <a:pt x="274561" y="253555"/>
                  </a:lnTo>
                  <a:lnTo>
                    <a:pt x="273342" y="253555"/>
                  </a:lnTo>
                  <a:lnTo>
                    <a:pt x="224993" y="257911"/>
                  </a:lnTo>
                  <a:lnTo>
                    <a:pt x="179438" y="270281"/>
                  </a:lnTo>
                  <a:lnTo>
                    <a:pt x="137401" y="289915"/>
                  </a:lnTo>
                  <a:lnTo>
                    <a:pt x="99618" y="316115"/>
                  </a:lnTo>
                  <a:lnTo>
                    <a:pt x="66814" y="348132"/>
                  </a:lnTo>
                  <a:lnTo>
                    <a:pt x="39725" y="385229"/>
                  </a:lnTo>
                  <a:lnTo>
                    <a:pt x="19088" y="426694"/>
                  </a:lnTo>
                  <a:lnTo>
                    <a:pt x="5613" y="471792"/>
                  </a:lnTo>
                  <a:lnTo>
                    <a:pt x="50" y="519772"/>
                  </a:lnTo>
                  <a:lnTo>
                    <a:pt x="47713" y="515747"/>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27"/>
                  </a:lnTo>
                  <a:lnTo>
                    <a:pt x="295732" y="355498"/>
                  </a:lnTo>
                  <a:lnTo>
                    <a:pt x="316992" y="395300"/>
                  </a:lnTo>
                  <a:lnTo>
                    <a:pt x="344284" y="430834"/>
                  </a:lnTo>
                  <a:lnTo>
                    <a:pt x="376936" y="461429"/>
                  </a:lnTo>
                  <a:lnTo>
                    <a:pt x="414248" y="486410"/>
                  </a:lnTo>
                  <a:lnTo>
                    <a:pt x="455549" y="505091"/>
                  </a:lnTo>
                  <a:lnTo>
                    <a:pt x="500164" y="516801"/>
                  </a:lnTo>
                  <a:lnTo>
                    <a:pt x="548081" y="520852"/>
                  </a:lnTo>
                  <a:close/>
                </a:path>
                <a:path w="548640" h="521334">
                  <a:moveTo>
                    <a:pt x="548093" y="267322"/>
                  </a:moveTo>
                  <a:lnTo>
                    <a:pt x="542645" y="219138"/>
                  </a:lnTo>
                  <a:lnTo>
                    <a:pt x="529247" y="173875"/>
                  </a:lnTo>
                  <a:lnTo>
                    <a:pt x="508635" y="132245"/>
                  </a:lnTo>
                  <a:lnTo>
                    <a:pt x="481533" y="94996"/>
                  </a:lnTo>
                  <a:lnTo>
                    <a:pt x="448691" y="62839"/>
                  </a:lnTo>
                  <a:lnTo>
                    <a:pt x="410845" y="36537"/>
                  </a:lnTo>
                  <a:lnTo>
                    <a:pt x="368719" y="16814"/>
                  </a:lnTo>
                  <a:lnTo>
                    <a:pt x="323037" y="4368"/>
                  </a:lnTo>
                  <a:lnTo>
                    <a:pt x="274574" y="12"/>
                  </a:lnTo>
                  <a:lnTo>
                    <a:pt x="273342" y="0"/>
                  </a:lnTo>
                  <a:lnTo>
                    <a:pt x="224993" y="4356"/>
                  </a:lnTo>
                  <a:lnTo>
                    <a:pt x="179438" y="16713"/>
                  </a:lnTo>
                  <a:lnTo>
                    <a:pt x="137401" y="36360"/>
                  </a:lnTo>
                  <a:lnTo>
                    <a:pt x="99618" y="62560"/>
                  </a:lnTo>
                  <a:lnTo>
                    <a:pt x="66814" y="94576"/>
                  </a:lnTo>
                  <a:lnTo>
                    <a:pt x="39700" y="131686"/>
                  </a:lnTo>
                  <a:lnTo>
                    <a:pt x="19050" y="173139"/>
                  </a:lnTo>
                  <a:lnTo>
                    <a:pt x="5575" y="218211"/>
                  </a:lnTo>
                  <a:lnTo>
                    <a:pt x="0" y="266192"/>
                  </a:lnTo>
                  <a:lnTo>
                    <a:pt x="47713" y="262178"/>
                  </a:lnTo>
                  <a:lnTo>
                    <a:pt x="92240" y="250520"/>
                  </a:lnTo>
                  <a:lnTo>
                    <a:pt x="133477" y="231914"/>
                  </a:lnTo>
                  <a:lnTo>
                    <a:pt x="170738" y="207048"/>
                  </a:lnTo>
                  <a:lnTo>
                    <a:pt x="203365" y="176593"/>
                  </a:lnTo>
                  <a:lnTo>
                    <a:pt x="230682" y="141211"/>
                  </a:lnTo>
                  <a:lnTo>
                    <a:pt x="252006" y="101600"/>
                  </a:lnTo>
                  <a:lnTo>
                    <a:pt x="266674" y="58407"/>
                  </a:lnTo>
                  <a:lnTo>
                    <a:pt x="274002" y="12319"/>
                  </a:lnTo>
                  <a:lnTo>
                    <a:pt x="274955" y="18529"/>
                  </a:lnTo>
                  <a:lnTo>
                    <a:pt x="281165" y="58572"/>
                  </a:lnTo>
                  <a:lnTo>
                    <a:pt x="295732" y="101942"/>
                  </a:lnTo>
                  <a:lnTo>
                    <a:pt x="316992" y="141744"/>
                  </a:lnTo>
                  <a:lnTo>
                    <a:pt x="344284" y="177279"/>
                  </a:lnTo>
                  <a:lnTo>
                    <a:pt x="376936" y="207873"/>
                  </a:lnTo>
                  <a:lnTo>
                    <a:pt x="414248" y="232854"/>
                  </a:lnTo>
                  <a:lnTo>
                    <a:pt x="455561"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38" name="object 36">
              <a:extLst>
                <a:ext uri="{FF2B5EF4-FFF2-40B4-BE49-F238E27FC236}">
                  <a16:creationId xmlns:a16="http://schemas.microsoft.com/office/drawing/2014/main" id="{1F03DECF-F350-5D36-4932-8973FF73E26D}"/>
                </a:ext>
              </a:extLst>
            </p:cNvPr>
            <p:cNvPicPr/>
            <p:nvPr/>
          </p:nvPicPr>
          <p:blipFill>
            <a:blip r:embed="rId15" cstate="print"/>
            <a:stretch>
              <a:fillRect/>
            </a:stretch>
          </p:blipFill>
          <p:spPr>
            <a:xfrm>
              <a:off x="11870481" y="6794307"/>
              <a:ext cx="260137" cy="63416"/>
            </a:xfrm>
            <a:prstGeom prst="rect">
              <a:avLst/>
            </a:prstGeom>
          </p:spPr>
        </p:pic>
        <p:sp>
          <p:nvSpPr>
            <p:cNvPr id="39" name="object 37">
              <a:extLst>
                <a:ext uri="{FF2B5EF4-FFF2-40B4-BE49-F238E27FC236}">
                  <a16:creationId xmlns:a16="http://schemas.microsoft.com/office/drawing/2014/main" id="{4ED62BD1-3763-48B6-3FFC-49E7A687E696}"/>
                </a:ext>
              </a:extLst>
            </p:cNvPr>
            <p:cNvSpPr/>
            <p:nvPr/>
          </p:nvSpPr>
          <p:spPr>
            <a:xfrm>
              <a:off x="11834385" y="5171198"/>
              <a:ext cx="332700" cy="477101"/>
            </a:xfrm>
            <a:custGeom>
              <a:avLst/>
              <a:gdLst/>
              <a:ahLst/>
              <a:cxnLst/>
              <a:rect l="l" t="t" r="r" b="b"/>
              <a:pathLst>
                <a:path w="548640" h="786765">
                  <a:moveTo>
                    <a:pt x="548081" y="786396"/>
                  </a:moveTo>
                  <a:lnTo>
                    <a:pt x="542632" y="738225"/>
                  </a:lnTo>
                  <a:lnTo>
                    <a:pt x="529234" y="692975"/>
                  </a:lnTo>
                  <a:lnTo>
                    <a:pt x="508622" y="651344"/>
                  </a:lnTo>
                  <a:lnTo>
                    <a:pt x="481533" y="614083"/>
                  </a:lnTo>
                  <a:lnTo>
                    <a:pt x="448691" y="581939"/>
                  </a:lnTo>
                  <a:lnTo>
                    <a:pt x="410832" y="555625"/>
                  </a:lnTo>
                  <a:lnTo>
                    <a:pt x="368706" y="535889"/>
                  </a:lnTo>
                  <a:lnTo>
                    <a:pt x="323037" y="523468"/>
                  </a:lnTo>
                  <a:lnTo>
                    <a:pt x="274561" y="519087"/>
                  </a:lnTo>
                  <a:lnTo>
                    <a:pt x="273342" y="519087"/>
                  </a:lnTo>
                  <a:lnTo>
                    <a:pt x="224993" y="523455"/>
                  </a:lnTo>
                  <a:lnTo>
                    <a:pt x="179438" y="535813"/>
                  </a:lnTo>
                  <a:lnTo>
                    <a:pt x="137401" y="555459"/>
                  </a:lnTo>
                  <a:lnTo>
                    <a:pt x="99618" y="581660"/>
                  </a:lnTo>
                  <a:lnTo>
                    <a:pt x="66814" y="613676"/>
                  </a:lnTo>
                  <a:lnTo>
                    <a:pt x="39725" y="650773"/>
                  </a:lnTo>
                  <a:lnTo>
                    <a:pt x="19088" y="692238"/>
                  </a:lnTo>
                  <a:lnTo>
                    <a:pt x="5613" y="737323"/>
                  </a:lnTo>
                  <a:lnTo>
                    <a:pt x="50" y="785317"/>
                  </a:lnTo>
                  <a:lnTo>
                    <a:pt x="47713" y="781278"/>
                  </a:lnTo>
                  <a:lnTo>
                    <a:pt x="92240" y="769620"/>
                  </a:lnTo>
                  <a:lnTo>
                    <a:pt x="133477" y="751027"/>
                  </a:lnTo>
                  <a:lnTo>
                    <a:pt x="170738" y="726147"/>
                  </a:lnTo>
                  <a:lnTo>
                    <a:pt x="203365" y="695680"/>
                  </a:lnTo>
                  <a:lnTo>
                    <a:pt x="230670" y="660298"/>
                  </a:lnTo>
                  <a:lnTo>
                    <a:pt x="252006" y="620674"/>
                  </a:lnTo>
                  <a:lnTo>
                    <a:pt x="266661" y="577481"/>
                  </a:lnTo>
                  <a:lnTo>
                    <a:pt x="274002" y="531393"/>
                  </a:lnTo>
                  <a:lnTo>
                    <a:pt x="281165" y="577672"/>
                  </a:lnTo>
                  <a:lnTo>
                    <a:pt x="295732" y="621042"/>
                  </a:lnTo>
                  <a:lnTo>
                    <a:pt x="316992" y="660831"/>
                  </a:lnTo>
                  <a:lnTo>
                    <a:pt x="344284" y="696366"/>
                  </a:lnTo>
                  <a:lnTo>
                    <a:pt x="376936" y="726960"/>
                  </a:lnTo>
                  <a:lnTo>
                    <a:pt x="414248" y="751941"/>
                  </a:lnTo>
                  <a:lnTo>
                    <a:pt x="455549" y="770623"/>
                  </a:lnTo>
                  <a:lnTo>
                    <a:pt x="500164" y="782332"/>
                  </a:lnTo>
                  <a:lnTo>
                    <a:pt x="548081" y="786396"/>
                  </a:lnTo>
                  <a:close/>
                </a:path>
                <a:path w="548640" h="786765">
                  <a:moveTo>
                    <a:pt x="548081" y="520865"/>
                  </a:moveTo>
                  <a:lnTo>
                    <a:pt x="542632" y="472706"/>
                  </a:lnTo>
                  <a:lnTo>
                    <a:pt x="529234" y="427443"/>
                  </a:lnTo>
                  <a:lnTo>
                    <a:pt x="508622" y="385813"/>
                  </a:lnTo>
                  <a:lnTo>
                    <a:pt x="481533" y="348551"/>
                  </a:lnTo>
                  <a:lnTo>
                    <a:pt x="448691" y="316407"/>
                  </a:lnTo>
                  <a:lnTo>
                    <a:pt x="410832" y="290093"/>
                  </a:lnTo>
                  <a:lnTo>
                    <a:pt x="368706" y="270357"/>
                  </a:lnTo>
                  <a:lnTo>
                    <a:pt x="323037" y="257937"/>
                  </a:lnTo>
                  <a:lnTo>
                    <a:pt x="274561" y="253568"/>
                  </a:lnTo>
                  <a:lnTo>
                    <a:pt x="273342" y="253568"/>
                  </a:lnTo>
                  <a:lnTo>
                    <a:pt x="224993" y="257924"/>
                  </a:lnTo>
                  <a:lnTo>
                    <a:pt x="179438" y="270281"/>
                  </a:lnTo>
                  <a:lnTo>
                    <a:pt x="137401" y="289928"/>
                  </a:lnTo>
                  <a:lnTo>
                    <a:pt x="99618" y="316128"/>
                  </a:lnTo>
                  <a:lnTo>
                    <a:pt x="66814" y="348132"/>
                  </a:lnTo>
                  <a:lnTo>
                    <a:pt x="39725" y="385241"/>
                  </a:lnTo>
                  <a:lnTo>
                    <a:pt x="19088" y="426694"/>
                  </a:lnTo>
                  <a:lnTo>
                    <a:pt x="5613" y="471792"/>
                  </a:lnTo>
                  <a:lnTo>
                    <a:pt x="50" y="519772"/>
                  </a:lnTo>
                  <a:lnTo>
                    <a:pt x="47713" y="515734"/>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40"/>
                  </a:lnTo>
                  <a:lnTo>
                    <a:pt x="295732" y="355511"/>
                  </a:lnTo>
                  <a:lnTo>
                    <a:pt x="316992" y="395300"/>
                  </a:lnTo>
                  <a:lnTo>
                    <a:pt x="344284" y="430834"/>
                  </a:lnTo>
                  <a:lnTo>
                    <a:pt x="376936" y="461441"/>
                  </a:lnTo>
                  <a:lnTo>
                    <a:pt x="414248" y="486410"/>
                  </a:lnTo>
                  <a:lnTo>
                    <a:pt x="455549" y="505104"/>
                  </a:lnTo>
                  <a:lnTo>
                    <a:pt x="500164" y="516813"/>
                  </a:lnTo>
                  <a:lnTo>
                    <a:pt x="548081" y="520865"/>
                  </a:lnTo>
                  <a:close/>
                </a:path>
                <a:path w="548640" h="786765">
                  <a:moveTo>
                    <a:pt x="548093" y="267322"/>
                  </a:moveTo>
                  <a:lnTo>
                    <a:pt x="542645" y="219151"/>
                  </a:lnTo>
                  <a:lnTo>
                    <a:pt x="529247" y="173875"/>
                  </a:lnTo>
                  <a:lnTo>
                    <a:pt x="508635" y="132245"/>
                  </a:lnTo>
                  <a:lnTo>
                    <a:pt x="481533" y="94996"/>
                  </a:lnTo>
                  <a:lnTo>
                    <a:pt x="448691" y="62852"/>
                  </a:lnTo>
                  <a:lnTo>
                    <a:pt x="426351" y="47332"/>
                  </a:lnTo>
                  <a:lnTo>
                    <a:pt x="410845" y="36537"/>
                  </a:lnTo>
                  <a:lnTo>
                    <a:pt x="391109" y="27305"/>
                  </a:lnTo>
                  <a:lnTo>
                    <a:pt x="368719" y="16814"/>
                  </a:lnTo>
                  <a:lnTo>
                    <a:pt x="323049" y="4394"/>
                  </a:lnTo>
                  <a:lnTo>
                    <a:pt x="274574" y="12"/>
                  </a:lnTo>
                  <a:lnTo>
                    <a:pt x="273342" y="0"/>
                  </a:lnTo>
                  <a:lnTo>
                    <a:pt x="224993" y="4356"/>
                  </a:lnTo>
                  <a:lnTo>
                    <a:pt x="179438" y="16725"/>
                  </a:lnTo>
                  <a:lnTo>
                    <a:pt x="137401" y="36372"/>
                  </a:lnTo>
                  <a:lnTo>
                    <a:pt x="99618" y="62560"/>
                  </a:lnTo>
                  <a:lnTo>
                    <a:pt x="66814" y="94576"/>
                  </a:lnTo>
                  <a:lnTo>
                    <a:pt x="39700" y="131686"/>
                  </a:lnTo>
                  <a:lnTo>
                    <a:pt x="19050" y="173139"/>
                  </a:lnTo>
                  <a:lnTo>
                    <a:pt x="5575" y="218211"/>
                  </a:lnTo>
                  <a:lnTo>
                    <a:pt x="0" y="266192"/>
                  </a:lnTo>
                  <a:lnTo>
                    <a:pt x="47713" y="262178"/>
                  </a:lnTo>
                  <a:lnTo>
                    <a:pt x="92240" y="250520"/>
                  </a:lnTo>
                  <a:lnTo>
                    <a:pt x="133477" y="231927"/>
                  </a:lnTo>
                  <a:lnTo>
                    <a:pt x="170738" y="207048"/>
                  </a:lnTo>
                  <a:lnTo>
                    <a:pt x="203365" y="176593"/>
                  </a:lnTo>
                  <a:lnTo>
                    <a:pt x="230682" y="141211"/>
                  </a:lnTo>
                  <a:lnTo>
                    <a:pt x="252006" y="101600"/>
                  </a:lnTo>
                  <a:lnTo>
                    <a:pt x="266674" y="58407"/>
                  </a:lnTo>
                  <a:lnTo>
                    <a:pt x="274002" y="12319"/>
                  </a:lnTo>
                  <a:lnTo>
                    <a:pt x="275107" y="19481"/>
                  </a:lnTo>
                  <a:lnTo>
                    <a:pt x="281165" y="58572"/>
                  </a:lnTo>
                  <a:lnTo>
                    <a:pt x="295732" y="101942"/>
                  </a:lnTo>
                  <a:lnTo>
                    <a:pt x="316992" y="141744"/>
                  </a:lnTo>
                  <a:lnTo>
                    <a:pt x="344284" y="177279"/>
                  </a:lnTo>
                  <a:lnTo>
                    <a:pt x="376936" y="207873"/>
                  </a:lnTo>
                  <a:lnTo>
                    <a:pt x="414248" y="232867"/>
                  </a:lnTo>
                  <a:lnTo>
                    <a:pt x="455561"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40" name="object 38">
              <a:extLst>
                <a:ext uri="{FF2B5EF4-FFF2-40B4-BE49-F238E27FC236}">
                  <a16:creationId xmlns:a16="http://schemas.microsoft.com/office/drawing/2014/main" id="{D11367A5-9D20-FCAF-CE42-A870B697CF44}"/>
                </a:ext>
              </a:extLst>
            </p:cNvPr>
            <p:cNvPicPr/>
            <p:nvPr/>
          </p:nvPicPr>
          <p:blipFill>
            <a:blip r:embed="rId16" cstate="print"/>
            <a:stretch>
              <a:fillRect/>
            </a:stretch>
          </p:blipFill>
          <p:spPr>
            <a:xfrm>
              <a:off x="11947657" y="5626898"/>
              <a:ext cx="106445" cy="107156"/>
            </a:xfrm>
            <a:prstGeom prst="rect">
              <a:avLst/>
            </a:prstGeom>
          </p:spPr>
        </p:pic>
        <p:sp>
          <p:nvSpPr>
            <p:cNvPr id="41" name="object 39">
              <a:extLst>
                <a:ext uri="{FF2B5EF4-FFF2-40B4-BE49-F238E27FC236}">
                  <a16:creationId xmlns:a16="http://schemas.microsoft.com/office/drawing/2014/main" id="{9B8F9BCA-4259-924C-10E1-DEA6B2BB375A}"/>
                </a:ext>
              </a:extLst>
            </p:cNvPr>
            <p:cNvSpPr/>
            <p:nvPr/>
          </p:nvSpPr>
          <p:spPr>
            <a:xfrm>
              <a:off x="11834385" y="5825360"/>
              <a:ext cx="332700" cy="477101"/>
            </a:xfrm>
            <a:custGeom>
              <a:avLst/>
              <a:gdLst/>
              <a:ahLst/>
              <a:cxnLst/>
              <a:rect l="l" t="t" r="r" b="b"/>
              <a:pathLst>
                <a:path w="548640" h="786765">
                  <a:moveTo>
                    <a:pt x="548081" y="786396"/>
                  </a:moveTo>
                  <a:lnTo>
                    <a:pt x="542632" y="738238"/>
                  </a:lnTo>
                  <a:lnTo>
                    <a:pt x="529234" y="692975"/>
                  </a:lnTo>
                  <a:lnTo>
                    <a:pt x="508622" y="651344"/>
                  </a:lnTo>
                  <a:lnTo>
                    <a:pt x="481533" y="614095"/>
                  </a:lnTo>
                  <a:lnTo>
                    <a:pt x="448691" y="581939"/>
                  </a:lnTo>
                  <a:lnTo>
                    <a:pt x="410832" y="555637"/>
                  </a:lnTo>
                  <a:lnTo>
                    <a:pt x="368706" y="535901"/>
                  </a:lnTo>
                  <a:lnTo>
                    <a:pt x="323037" y="523481"/>
                  </a:lnTo>
                  <a:lnTo>
                    <a:pt x="274561" y="519099"/>
                  </a:lnTo>
                  <a:lnTo>
                    <a:pt x="273342" y="519099"/>
                  </a:lnTo>
                  <a:lnTo>
                    <a:pt x="224993" y="523455"/>
                  </a:lnTo>
                  <a:lnTo>
                    <a:pt x="179438" y="535825"/>
                  </a:lnTo>
                  <a:lnTo>
                    <a:pt x="137401" y="555472"/>
                  </a:lnTo>
                  <a:lnTo>
                    <a:pt x="99618" y="581660"/>
                  </a:lnTo>
                  <a:lnTo>
                    <a:pt x="66814" y="613676"/>
                  </a:lnTo>
                  <a:lnTo>
                    <a:pt x="39725" y="650773"/>
                  </a:lnTo>
                  <a:lnTo>
                    <a:pt x="19088" y="692238"/>
                  </a:lnTo>
                  <a:lnTo>
                    <a:pt x="5613" y="737323"/>
                  </a:lnTo>
                  <a:lnTo>
                    <a:pt x="50" y="785304"/>
                  </a:lnTo>
                  <a:lnTo>
                    <a:pt x="47713" y="781278"/>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72"/>
                  </a:lnTo>
                  <a:lnTo>
                    <a:pt x="295732" y="621042"/>
                  </a:lnTo>
                  <a:lnTo>
                    <a:pt x="316992" y="660831"/>
                  </a:lnTo>
                  <a:lnTo>
                    <a:pt x="344284" y="696366"/>
                  </a:lnTo>
                  <a:lnTo>
                    <a:pt x="376936" y="726973"/>
                  </a:lnTo>
                  <a:lnTo>
                    <a:pt x="414248"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33" y="348564"/>
                  </a:lnTo>
                  <a:lnTo>
                    <a:pt x="448691" y="316407"/>
                  </a:lnTo>
                  <a:lnTo>
                    <a:pt x="410832" y="290093"/>
                  </a:lnTo>
                  <a:lnTo>
                    <a:pt x="368706" y="270370"/>
                  </a:lnTo>
                  <a:lnTo>
                    <a:pt x="323037" y="257937"/>
                  </a:lnTo>
                  <a:lnTo>
                    <a:pt x="274561" y="253555"/>
                  </a:lnTo>
                  <a:lnTo>
                    <a:pt x="273342" y="253555"/>
                  </a:lnTo>
                  <a:lnTo>
                    <a:pt x="224993" y="257924"/>
                  </a:lnTo>
                  <a:lnTo>
                    <a:pt x="179438" y="270294"/>
                  </a:lnTo>
                  <a:lnTo>
                    <a:pt x="137401" y="289928"/>
                  </a:lnTo>
                  <a:lnTo>
                    <a:pt x="99618" y="316128"/>
                  </a:lnTo>
                  <a:lnTo>
                    <a:pt x="66814" y="348145"/>
                  </a:lnTo>
                  <a:lnTo>
                    <a:pt x="39725" y="385241"/>
                  </a:lnTo>
                  <a:lnTo>
                    <a:pt x="19088" y="426694"/>
                  </a:lnTo>
                  <a:lnTo>
                    <a:pt x="5613" y="471792"/>
                  </a:lnTo>
                  <a:lnTo>
                    <a:pt x="50" y="519772"/>
                  </a:lnTo>
                  <a:lnTo>
                    <a:pt x="47713" y="515734"/>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40"/>
                  </a:lnTo>
                  <a:lnTo>
                    <a:pt x="295732" y="355511"/>
                  </a:lnTo>
                  <a:lnTo>
                    <a:pt x="316992" y="395300"/>
                  </a:lnTo>
                  <a:lnTo>
                    <a:pt x="344284" y="430834"/>
                  </a:lnTo>
                  <a:lnTo>
                    <a:pt x="376936" y="461441"/>
                  </a:lnTo>
                  <a:lnTo>
                    <a:pt x="414248" y="486410"/>
                  </a:lnTo>
                  <a:lnTo>
                    <a:pt x="455549" y="505104"/>
                  </a:lnTo>
                  <a:lnTo>
                    <a:pt x="500164" y="516813"/>
                  </a:lnTo>
                  <a:lnTo>
                    <a:pt x="548081" y="520865"/>
                  </a:lnTo>
                  <a:close/>
                </a:path>
                <a:path w="548640" h="786765">
                  <a:moveTo>
                    <a:pt x="548093" y="267322"/>
                  </a:moveTo>
                  <a:lnTo>
                    <a:pt x="542645" y="219151"/>
                  </a:lnTo>
                  <a:lnTo>
                    <a:pt x="529247" y="173888"/>
                  </a:lnTo>
                  <a:lnTo>
                    <a:pt x="508635" y="132257"/>
                  </a:lnTo>
                  <a:lnTo>
                    <a:pt x="481533" y="94996"/>
                  </a:lnTo>
                  <a:lnTo>
                    <a:pt x="448691" y="62852"/>
                  </a:lnTo>
                  <a:lnTo>
                    <a:pt x="410845" y="36550"/>
                  </a:lnTo>
                  <a:lnTo>
                    <a:pt x="368719" y="16814"/>
                  </a:lnTo>
                  <a:lnTo>
                    <a:pt x="323049" y="4394"/>
                  </a:lnTo>
                  <a:lnTo>
                    <a:pt x="274561" y="0"/>
                  </a:lnTo>
                  <a:lnTo>
                    <a:pt x="273342" y="0"/>
                  </a:lnTo>
                  <a:lnTo>
                    <a:pt x="224993" y="4356"/>
                  </a:lnTo>
                  <a:lnTo>
                    <a:pt x="179438" y="16725"/>
                  </a:lnTo>
                  <a:lnTo>
                    <a:pt x="137401" y="36372"/>
                  </a:lnTo>
                  <a:lnTo>
                    <a:pt x="99618" y="62572"/>
                  </a:lnTo>
                  <a:lnTo>
                    <a:pt x="66814" y="94576"/>
                  </a:lnTo>
                  <a:lnTo>
                    <a:pt x="39700" y="131686"/>
                  </a:lnTo>
                  <a:lnTo>
                    <a:pt x="19050" y="173139"/>
                  </a:lnTo>
                  <a:lnTo>
                    <a:pt x="5575" y="218224"/>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4002" y="12331"/>
                  </a:lnTo>
                  <a:lnTo>
                    <a:pt x="275691" y="23266"/>
                  </a:lnTo>
                  <a:lnTo>
                    <a:pt x="281165" y="58585"/>
                  </a:lnTo>
                  <a:lnTo>
                    <a:pt x="295732" y="101955"/>
                  </a:lnTo>
                  <a:lnTo>
                    <a:pt x="316992" y="141744"/>
                  </a:lnTo>
                  <a:lnTo>
                    <a:pt x="344284" y="177279"/>
                  </a:lnTo>
                  <a:lnTo>
                    <a:pt x="376936" y="207886"/>
                  </a:lnTo>
                  <a:lnTo>
                    <a:pt x="414248" y="232867"/>
                  </a:lnTo>
                  <a:lnTo>
                    <a:pt x="455561"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42" name="object 40">
              <a:extLst>
                <a:ext uri="{FF2B5EF4-FFF2-40B4-BE49-F238E27FC236}">
                  <a16:creationId xmlns:a16="http://schemas.microsoft.com/office/drawing/2014/main" id="{B7E5823E-21DB-305B-D890-58E43F78954E}"/>
                </a:ext>
              </a:extLst>
            </p:cNvPr>
            <p:cNvPicPr/>
            <p:nvPr/>
          </p:nvPicPr>
          <p:blipFill>
            <a:blip r:embed="rId17" cstate="print"/>
            <a:stretch>
              <a:fillRect/>
            </a:stretch>
          </p:blipFill>
          <p:spPr>
            <a:xfrm>
              <a:off x="11947657" y="6281064"/>
              <a:ext cx="106445" cy="107156"/>
            </a:xfrm>
            <a:prstGeom prst="rect">
              <a:avLst/>
            </a:prstGeom>
          </p:spPr>
        </p:pic>
        <p:sp>
          <p:nvSpPr>
            <p:cNvPr id="55" name="object 53">
              <a:extLst>
                <a:ext uri="{FF2B5EF4-FFF2-40B4-BE49-F238E27FC236}">
                  <a16:creationId xmlns:a16="http://schemas.microsoft.com/office/drawing/2014/main" id="{388DBC41-2F61-1F1A-6042-F2C6CFD3136A}"/>
                </a:ext>
              </a:extLst>
            </p:cNvPr>
            <p:cNvSpPr/>
            <p:nvPr/>
          </p:nvSpPr>
          <p:spPr>
            <a:xfrm>
              <a:off x="7598678" y="6037749"/>
              <a:ext cx="332700" cy="477101"/>
            </a:xfrm>
            <a:custGeom>
              <a:avLst/>
              <a:gdLst/>
              <a:ahLst/>
              <a:cxnLst/>
              <a:rect l="l" t="t" r="r" b="b"/>
              <a:pathLst>
                <a:path w="548640" h="786765">
                  <a:moveTo>
                    <a:pt x="548043" y="266611"/>
                  </a:moveTo>
                  <a:lnTo>
                    <a:pt x="500367" y="270649"/>
                  </a:lnTo>
                  <a:lnTo>
                    <a:pt x="455841" y="282308"/>
                  </a:lnTo>
                  <a:lnTo>
                    <a:pt x="414616" y="300901"/>
                  </a:lnTo>
                  <a:lnTo>
                    <a:pt x="377342" y="325780"/>
                  </a:lnTo>
                  <a:lnTo>
                    <a:pt x="344728" y="356235"/>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86"/>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26"/>
                  </a:lnTo>
                  <a:lnTo>
                    <a:pt x="225044" y="528459"/>
                  </a:lnTo>
                  <a:lnTo>
                    <a:pt x="273519" y="532841"/>
                  </a:lnTo>
                  <a:lnTo>
                    <a:pt x="274751" y="532841"/>
                  </a:lnTo>
                  <a:lnTo>
                    <a:pt x="323088" y="528472"/>
                  </a:lnTo>
                  <a:lnTo>
                    <a:pt x="368642" y="516102"/>
                  </a:lnTo>
                  <a:lnTo>
                    <a:pt x="410679" y="496468"/>
                  </a:lnTo>
                  <a:lnTo>
                    <a:pt x="448462" y="470268"/>
                  </a:lnTo>
                  <a:lnTo>
                    <a:pt x="481266" y="438251"/>
                  </a:lnTo>
                  <a:lnTo>
                    <a:pt x="508355" y="401154"/>
                  </a:lnTo>
                  <a:lnTo>
                    <a:pt x="529005" y="359689"/>
                  </a:lnTo>
                  <a:lnTo>
                    <a:pt x="542480" y="314604"/>
                  </a:lnTo>
                  <a:lnTo>
                    <a:pt x="548043" y="266611"/>
                  </a:lnTo>
                  <a:close/>
                </a:path>
                <a:path w="548640" h="786765">
                  <a:moveTo>
                    <a:pt x="548043" y="1092"/>
                  </a:moveTo>
                  <a:lnTo>
                    <a:pt x="500367" y="5130"/>
                  </a:lnTo>
                  <a:lnTo>
                    <a:pt x="455841" y="16789"/>
                  </a:lnTo>
                  <a:lnTo>
                    <a:pt x="414616" y="35382"/>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49"/>
                  </a:lnTo>
                  <a:lnTo>
                    <a:pt x="481266" y="172732"/>
                  </a:lnTo>
                  <a:lnTo>
                    <a:pt x="508355" y="135623"/>
                  </a:lnTo>
                  <a:lnTo>
                    <a:pt x="529005" y="94170"/>
                  </a:lnTo>
                  <a:lnTo>
                    <a:pt x="542480" y="49085"/>
                  </a:lnTo>
                  <a:lnTo>
                    <a:pt x="548043" y="1092"/>
                  </a:lnTo>
                  <a:close/>
                </a:path>
                <a:path w="548640" h="786765">
                  <a:moveTo>
                    <a:pt x="548081" y="520204"/>
                  </a:moveTo>
                  <a:lnTo>
                    <a:pt x="500367" y="524217"/>
                  </a:lnTo>
                  <a:lnTo>
                    <a:pt x="455841" y="535876"/>
                  </a:lnTo>
                  <a:lnTo>
                    <a:pt x="414616" y="554469"/>
                  </a:lnTo>
                  <a:lnTo>
                    <a:pt x="377342" y="579348"/>
                  </a:lnTo>
                  <a:lnTo>
                    <a:pt x="344728" y="609803"/>
                  </a:lnTo>
                  <a:lnTo>
                    <a:pt x="317398" y="645172"/>
                  </a:lnTo>
                  <a:lnTo>
                    <a:pt x="296075" y="684796"/>
                  </a:lnTo>
                  <a:lnTo>
                    <a:pt x="281419" y="727989"/>
                  </a:lnTo>
                  <a:lnTo>
                    <a:pt x="274078" y="774039"/>
                  </a:lnTo>
                  <a:lnTo>
                    <a:pt x="268224" y="736307"/>
                  </a:lnTo>
                  <a:lnTo>
                    <a:pt x="266915" y="727824"/>
                  </a:lnTo>
                  <a:lnTo>
                    <a:pt x="252361" y="684453"/>
                  </a:lnTo>
                  <a:lnTo>
                    <a:pt x="231089" y="644652"/>
                  </a:lnTo>
                  <a:lnTo>
                    <a:pt x="203796" y="609117"/>
                  </a:lnTo>
                  <a:lnTo>
                    <a:pt x="171157" y="578523"/>
                  </a:lnTo>
                  <a:lnTo>
                    <a:pt x="133845" y="553542"/>
                  </a:lnTo>
                  <a:lnTo>
                    <a:pt x="92532" y="534835"/>
                  </a:lnTo>
                  <a:lnTo>
                    <a:pt x="47904" y="523125"/>
                  </a:lnTo>
                  <a:lnTo>
                    <a:pt x="0" y="519074"/>
                  </a:lnTo>
                  <a:lnTo>
                    <a:pt x="5448" y="567258"/>
                  </a:lnTo>
                  <a:lnTo>
                    <a:pt x="9410" y="580644"/>
                  </a:lnTo>
                  <a:lnTo>
                    <a:pt x="18834" y="612508"/>
                  </a:lnTo>
                  <a:lnTo>
                    <a:pt x="39458" y="654138"/>
                  </a:lnTo>
                  <a:lnTo>
                    <a:pt x="66548" y="691400"/>
                  </a:lnTo>
                  <a:lnTo>
                    <a:pt x="99390" y="72354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2DB7EA"/>
            </a:solidFill>
          </p:spPr>
          <p:txBody>
            <a:bodyPr wrap="square" lIns="0" tIns="0" rIns="0" bIns="0" rtlCol="0"/>
            <a:lstStyle/>
            <a:p>
              <a:endParaRPr dirty="0"/>
            </a:p>
          </p:txBody>
        </p:sp>
        <p:pic>
          <p:nvPicPr>
            <p:cNvPr id="56" name="object 54">
              <a:extLst>
                <a:ext uri="{FF2B5EF4-FFF2-40B4-BE49-F238E27FC236}">
                  <a16:creationId xmlns:a16="http://schemas.microsoft.com/office/drawing/2014/main" id="{722FFCA4-6878-0B4C-989E-D2137C5CD07E}"/>
                </a:ext>
              </a:extLst>
            </p:cNvPr>
            <p:cNvPicPr/>
            <p:nvPr/>
          </p:nvPicPr>
          <p:blipFill>
            <a:blip r:embed="rId5" cstate="print"/>
            <a:stretch>
              <a:fillRect/>
            </a:stretch>
          </p:blipFill>
          <p:spPr>
            <a:xfrm>
              <a:off x="7711331" y="5951762"/>
              <a:ext cx="106445" cy="107156"/>
            </a:xfrm>
            <a:prstGeom prst="rect">
              <a:avLst/>
            </a:prstGeom>
          </p:spPr>
        </p:pic>
        <p:sp>
          <p:nvSpPr>
            <p:cNvPr id="57" name="object 55">
              <a:extLst>
                <a:ext uri="{FF2B5EF4-FFF2-40B4-BE49-F238E27FC236}">
                  <a16:creationId xmlns:a16="http://schemas.microsoft.com/office/drawing/2014/main" id="{C5AFB5B6-1876-B605-7155-7069B7F502CD}"/>
                </a:ext>
              </a:extLst>
            </p:cNvPr>
            <p:cNvSpPr/>
            <p:nvPr/>
          </p:nvSpPr>
          <p:spPr>
            <a:xfrm>
              <a:off x="7598678" y="5383587"/>
              <a:ext cx="332700" cy="477101"/>
            </a:xfrm>
            <a:custGeom>
              <a:avLst/>
              <a:gdLst/>
              <a:ahLst/>
              <a:cxnLst/>
              <a:rect l="l" t="t" r="r" b="b"/>
              <a:pathLst>
                <a:path w="548640" h="786765">
                  <a:moveTo>
                    <a:pt x="548043" y="266623"/>
                  </a:moveTo>
                  <a:lnTo>
                    <a:pt x="500367" y="270649"/>
                  </a:lnTo>
                  <a:lnTo>
                    <a:pt x="455841" y="282308"/>
                  </a:lnTo>
                  <a:lnTo>
                    <a:pt x="414616" y="300913"/>
                  </a:lnTo>
                  <a:lnTo>
                    <a:pt x="377342" y="325780"/>
                  </a:lnTo>
                  <a:lnTo>
                    <a:pt x="344728" y="356235"/>
                  </a:lnTo>
                  <a:lnTo>
                    <a:pt x="317411" y="391617"/>
                  </a:lnTo>
                  <a:lnTo>
                    <a:pt x="296087" y="431241"/>
                  </a:lnTo>
                  <a:lnTo>
                    <a:pt x="281419" y="474446"/>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54"/>
                  </a:lnTo>
                  <a:lnTo>
                    <a:pt x="529005" y="359689"/>
                  </a:lnTo>
                  <a:lnTo>
                    <a:pt x="542480" y="314604"/>
                  </a:lnTo>
                  <a:lnTo>
                    <a:pt x="548043" y="266623"/>
                  </a:lnTo>
                  <a:close/>
                </a:path>
                <a:path w="548640" h="786765">
                  <a:moveTo>
                    <a:pt x="548043" y="1079"/>
                  </a:moveTo>
                  <a:lnTo>
                    <a:pt x="500367" y="5118"/>
                  </a:lnTo>
                  <a:lnTo>
                    <a:pt x="455841" y="16764"/>
                  </a:lnTo>
                  <a:lnTo>
                    <a:pt x="414616" y="35369"/>
                  </a:lnTo>
                  <a:lnTo>
                    <a:pt x="377342" y="60236"/>
                  </a:lnTo>
                  <a:lnTo>
                    <a:pt x="344728" y="90703"/>
                  </a:lnTo>
                  <a:lnTo>
                    <a:pt x="317411" y="126085"/>
                  </a:lnTo>
                  <a:lnTo>
                    <a:pt x="296087" y="165722"/>
                  </a:lnTo>
                  <a:lnTo>
                    <a:pt x="281419" y="208915"/>
                  </a:lnTo>
                  <a:lnTo>
                    <a:pt x="274091" y="255003"/>
                  </a:lnTo>
                  <a:lnTo>
                    <a:pt x="266915" y="208724"/>
                  </a:lnTo>
                  <a:lnTo>
                    <a:pt x="252361" y="165354"/>
                  </a:lnTo>
                  <a:lnTo>
                    <a:pt x="231089"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80" y="49072"/>
                  </a:lnTo>
                  <a:lnTo>
                    <a:pt x="548043" y="1079"/>
                  </a:lnTo>
                  <a:close/>
                </a:path>
                <a:path w="548640" h="786765">
                  <a:moveTo>
                    <a:pt x="548081" y="520192"/>
                  </a:moveTo>
                  <a:lnTo>
                    <a:pt x="500367" y="524217"/>
                  </a:lnTo>
                  <a:lnTo>
                    <a:pt x="455841" y="535876"/>
                  </a:lnTo>
                  <a:lnTo>
                    <a:pt x="414616" y="554469"/>
                  </a:lnTo>
                  <a:lnTo>
                    <a:pt x="377342" y="579335"/>
                  </a:lnTo>
                  <a:lnTo>
                    <a:pt x="344716" y="609790"/>
                  </a:lnTo>
                  <a:lnTo>
                    <a:pt x="317398" y="645172"/>
                  </a:lnTo>
                  <a:lnTo>
                    <a:pt x="296075" y="684796"/>
                  </a:lnTo>
                  <a:lnTo>
                    <a:pt x="281419" y="727976"/>
                  </a:lnTo>
                  <a:lnTo>
                    <a:pt x="274078" y="774039"/>
                  </a:lnTo>
                  <a:lnTo>
                    <a:pt x="266915" y="727811"/>
                  </a:lnTo>
                  <a:lnTo>
                    <a:pt x="252361" y="684441"/>
                  </a:lnTo>
                  <a:lnTo>
                    <a:pt x="231089" y="644652"/>
                  </a:lnTo>
                  <a:lnTo>
                    <a:pt x="203796" y="609117"/>
                  </a:lnTo>
                  <a:lnTo>
                    <a:pt x="171157" y="578523"/>
                  </a:lnTo>
                  <a:lnTo>
                    <a:pt x="133845" y="553542"/>
                  </a:lnTo>
                  <a:lnTo>
                    <a:pt x="92532" y="534847"/>
                  </a:lnTo>
                  <a:lnTo>
                    <a:pt x="47904" y="523125"/>
                  </a:lnTo>
                  <a:lnTo>
                    <a:pt x="0" y="519061"/>
                  </a:lnTo>
                  <a:lnTo>
                    <a:pt x="5448" y="567258"/>
                  </a:lnTo>
                  <a:lnTo>
                    <a:pt x="18834" y="612508"/>
                  </a:lnTo>
                  <a:lnTo>
                    <a:pt x="39458" y="654138"/>
                  </a:lnTo>
                  <a:lnTo>
                    <a:pt x="66548" y="691388"/>
                  </a:lnTo>
                  <a:lnTo>
                    <a:pt x="67246" y="692073"/>
                  </a:lnTo>
                  <a:lnTo>
                    <a:pt x="99390" y="723544"/>
                  </a:lnTo>
                  <a:lnTo>
                    <a:pt x="137248" y="749858"/>
                  </a:lnTo>
                  <a:lnTo>
                    <a:pt x="179374" y="769594"/>
                  </a:lnTo>
                  <a:lnTo>
                    <a:pt x="225044" y="782015"/>
                  </a:lnTo>
                  <a:lnTo>
                    <a:pt x="273519" y="786396"/>
                  </a:lnTo>
                  <a:lnTo>
                    <a:pt x="274751" y="786396"/>
                  </a:lnTo>
                  <a:lnTo>
                    <a:pt x="323088" y="782027"/>
                  </a:lnTo>
                  <a:lnTo>
                    <a:pt x="368642" y="769670"/>
                  </a:lnTo>
                  <a:lnTo>
                    <a:pt x="410679" y="750023"/>
                  </a:lnTo>
                  <a:lnTo>
                    <a:pt x="448462" y="723823"/>
                  </a:lnTo>
                  <a:lnTo>
                    <a:pt x="481266" y="691819"/>
                  </a:lnTo>
                  <a:lnTo>
                    <a:pt x="508393" y="654697"/>
                  </a:lnTo>
                  <a:lnTo>
                    <a:pt x="529043" y="613244"/>
                  </a:lnTo>
                  <a:lnTo>
                    <a:pt x="542518" y="568172"/>
                  </a:lnTo>
                  <a:lnTo>
                    <a:pt x="548081" y="520192"/>
                  </a:lnTo>
                  <a:close/>
                </a:path>
              </a:pathLst>
            </a:custGeom>
            <a:solidFill>
              <a:srgbClr val="7ED3F1"/>
            </a:solidFill>
          </p:spPr>
          <p:txBody>
            <a:bodyPr wrap="square" lIns="0" tIns="0" rIns="0" bIns="0" rtlCol="0"/>
            <a:lstStyle/>
            <a:p>
              <a:endParaRPr dirty="0"/>
            </a:p>
          </p:txBody>
        </p:sp>
        <p:pic>
          <p:nvPicPr>
            <p:cNvPr id="58" name="object 56">
              <a:extLst>
                <a:ext uri="{FF2B5EF4-FFF2-40B4-BE49-F238E27FC236}">
                  <a16:creationId xmlns:a16="http://schemas.microsoft.com/office/drawing/2014/main" id="{279338BC-BAB7-4E92-FF1F-B20E6E7C7197}"/>
                </a:ext>
              </a:extLst>
            </p:cNvPr>
            <p:cNvPicPr/>
            <p:nvPr/>
          </p:nvPicPr>
          <p:blipFill>
            <a:blip r:embed="rId6" cstate="print"/>
            <a:stretch>
              <a:fillRect/>
            </a:stretch>
          </p:blipFill>
          <p:spPr>
            <a:xfrm>
              <a:off x="7711331" y="5297596"/>
              <a:ext cx="106445" cy="107156"/>
            </a:xfrm>
            <a:prstGeom prst="rect">
              <a:avLst/>
            </a:prstGeom>
          </p:spPr>
        </p:pic>
        <p:sp>
          <p:nvSpPr>
            <p:cNvPr id="59" name="object 57">
              <a:extLst>
                <a:ext uri="{FF2B5EF4-FFF2-40B4-BE49-F238E27FC236}">
                  <a16:creationId xmlns:a16="http://schemas.microsoft.com/office/drawing/2014/main" id="{093A03EC-D364-07DD-41DF-E2D2F5169B09}"/>
                </a:ext>
              </a:extLst>
            </p:cNvPr>
            <p:cNvSpPr/>
            <p:nvPr/>
          </p:nvSpPr>
          <p:spPr>
            <a:xfrm>
              <a:off x="7598678" y="6691912"/>
              <a:ext cx="332700" cy="165965"/>
            </a:xfrm>
            <a:custGeom>
              <a:avLst/>
              <a:gdLst/>
              <a:ahLst/>
              <a:cxnLst/>
              <a:rect l="l" t="t" r="r" b="b"/>
              <a:pathLst>
                <a:path w="548640" h="273684">
                  <a:moveTo>
                    <a:pt x="62560" y="273431"/>
                  </a:moveTo>
                  <a:lnTo>
                    <a:pt x="47917" y="269595"/>
                  </a:lnTo>
                  <a:lnTo>
                    <a:pt x="0" y="265544"/>
                  </a:lnTo>
                  <a:lnTo>
                    <a:pt x="901" y="273431"/>
                  </a:lnTo>
                  <a:lnTo>
                    <a:pt x="62560" y="273431"/>
                  </a:lnTo>
                  <a:close/>
                </a:path>
                <a:path w="548640" h="273684">
                  <a:moveTo>
                    <a:pt x="548043" y="266623"/>
                  </a:moveTo>
                  <a:lnTo>
                    <a:pt x="500367" y="270649"/>
                  </a:lnTo>
                  <a:lnTo>
                    <a:pt x="489737" y="273431"/>
                  </a:lnTo>
                  <a:lnTo>
                    <a:pt x="547243" y="273431"/>
                  </a:lnTo>
                  <a:lnTo>
                    <a:pt x="548043" y="266623"/>
                  </a:lnTo>
                  <a:close/>
                </a:path>
                <a:path w="548640" h="273684">
                  <a:moveTo>
                    <a:pt x="548043" y="1079"/>
                  </a:moveTo>
                  <a:lnTo>
                    <a:pt x="500367" y="5118"/>
                  </a:lnTo>
                  <a:lnTo>
                    <a:pt x="455841" y="16776"/>
                  </a:lnTo>
                  <a:lnTo>
                    <a:pt x="414616" y="35382"/>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21"/>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57"/>
                  </a:lnTo>
                  <a:lnTo>
                    <a:pt x="542480" y="49072"/>
                  </a:lnTo>
                  <a:lnTo>
                    <a:pt x="548043" y="1079"/>
                  </a:lnTo>
                  <a:close/>
                </a:path>
              </a:pathLst>
            </a:custGeom>
            <a:solidFill>
              <a:srgbClr val="7ED3F1"/>
            </a:solidFill>
          </p:spPr>
          <p:txBody>
            <a:bodyPr wrap="square" lIns="0" tIns="0" rIns="0" bIns="0" rtlCol="0"/>
            <a:lstStyle/>
            <a:p>
              <a:endParaRPr dirty="0"/>
            </a:p>
          </p:txBody>
        </p:sp>
        <p:pic>
          <p:nvPicPr>
            <p:cNvPr id="60" name="object 58">
              <a:extLst>
                <a:ext uri="{FF2B5EF4-FFF2-40B4-BE49-F238E27FC236}">
                  <a16:creationId xmlns:a16="http://schemas.microsoft.com/office/drawing/2014/main" id="{2DB2C72B-77CF-35EC-7405-9547340099C7}"/>
                </a:ext>
              </a:extLst>
            </p:cNvPr>
            <p:cNvPicPr/>
            <p:nvPr/>
          </p:nvPicPr>
          <p:blipFill>
            <a:blip r:embed="rId6" cstate="print"/>
            <a:stretch>
              <a:fillRect/>
            </a:stretch>
          </p:blipFill>
          <p:spPr>
            <a:xfrm>
              <a:off x="7711331" y="6605926"/>
              <a:ext cx="106445" cy="107156"/>
            </a:xfrm>
            <a:prstGeom prst="rect">
              <a:avLst/>
            </a:prstGeom>
          </p:spPr>
        </p:pic>
        <p:sp>
          <p:nvSpPr>
            <p:cNvPr id="61" name="object 59">
              <a:extLst>
                <a:ext uri="{FF2B5EF4-FFF2-40B4-BE49-F238E27FC236}">
                  <a16:creationId xmlns:a16="http://schemas.microsoft.com/office/drawing/2014/main" id="{0D85FB5C-BF35-2553-DEEC-1E6237B72832}"/>
                </a:ext>
              </a:extLst>
            </p:cNvPr>
            <p:cNvSpPr/>
            <p:nvPr/>
          </p:nvSpPr>
          <p:spPr>
            <a:xfrm>
              <a:off x="7226300" y="6479532"/>
              <a:ext cx="319992" cy="316141"/>
            </a:xfrm>
            <a:custGeom>
              <a:avLst/>
              <a:gdLst/>
              <a:ahLst/>
              <a:cxnLst/>
              <a:rect l="l" t="t" r="r" b="b"/>
              <a:pathLst>
                <a:path w="527684" h="521334">
                  <a:moveTo>
                    <a:pt x="527126" y="520852"/>
                  </a:moveTo>
                  <a:lnTo>
                    <a:pt x="521677" y="472694"/>
                  </a:lnTo>
                  <a:lnTo>
                    <a:pt x="508279" y="427431"/>
                  </a:lnTo>
                  <a:lnTo>
                    <a:pt x="487667" y="385800"/>
                  </a:lnTo>
                  <a:lnTo>
                    <a:pt x="460578" y="348551"/>
                  </a:lnTo>
                  <a:lnTo>
                    <a:pt x="427736" y="316395"/>
                  </a:lnTo>
                  <a:lnTo>
                    <a:pt x="389877" y="290093"/>
                  </a:lnTo>
                  <a:lnTo>
                    <a:pt x="347751" y="270357"/>
                  </a:lnTo>
                  <a:lnTo>
                    <a:pt x="302082" y="257924"/>
                  </a:lnTo>
                  <a:lnTo>
                    <a:pt x="253606" y="253555"/>
                  </a:lnTo>
                  <a:lnTo>
                    <a:pt x="252387" y="253555"/>
                  </a:lnTo>
                  <a:lnTo>
                    <a:pt x="204038" y="257911"/>
                  </a:lnTo>
                  <a:lnTo>
                    <a:pt x="158483" y="270281"/>
                  </a:lnTo>
                  <a:lnTo>
                    <a:pt x="116446" y="289915"/>
                  </a:lnTo>
                  <a:lnTo>
                    <a:pt x="78663" y="316115"/>
                  </a:lnTo>
                  <a:lnTo>
                    <a:pt x="45859" y="348132"/>
                  </a:lnTo>
                  <a:lnTo>
                    <a:pt x="18770" y="385229"/>
                  </a:lnTo>
                  <a:lnTo>
                    <a:pt x="0" y="422922"/>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27"/>
                  </a:lnTo>
                  <a:lnTo>
                    <a:pt x="274777" y="355498"/>
                  </a:lnTo>
                  <a:lnTo>
                    <a:pt x="296037" y="395300"/>
                  </a:lnTo>
                  <a:lnTo>
                    <a:pt x="323329" y="430834"/>
                  </a:lnTo>
                  <a:lnTo>
                    <a:pt x="355968" y="461429"/>
                  </a:lnTo>
                  <a:lnTo>
                    <a:pt x="393293" y="486410"/>
                  </a:lnTo>
                  <a:lnTo>
                    <a:pt x="434594" y="505091"/>
                  </a:lnTo>
                  <a:lnTo>
                    <a:pt x="479209" y="516801"/>
                  </a:lnTo>
                  <a:lnTo>
                    <a:pt x="527126" y="520852"/>
                  </a:lnTo>
                  <a:close/>
                </a:path>
                <a:path w="527684" h="521334">
                  <a:moveTo>
                    <a:pt x="527138" y="267322"/>
                  </a:moveTo>
                  <a:lnTo>
                    <a:pt x="521690" y="219138"/>
                  </a:lnTo>
                  <a:lnTo>
                    <a:pt x="508292" y="173875"/>
                  </a:lnTo>
                  <a:lnTo>
                    <a:pt x="487680" y="132245"/>
                  </a:lnTo>
                  <a:lnTo>
                    <a:pt x="460578" y="94996"/>
                  </a:lnTo>
                  <a:lnTo>
                    <a:pt x="427736" y="62839"/>
                  </a:lnTo>
                  <a:lnTo>
                    <a:pt x="389890" y="36537"/>
                  </a:lnTo>
                  <a:lnTo>
                    <a:pt x="347764" y="16814"/>
                  </a:lnTo>
                  <a:lnTo>
                    <a:pt x="302082" y="4368"/>
                  </a:lnTo>
                  <a:lnTo>
                    <a:pt x="253619" y="12"/>
                  </a:lnTo>
                  <a:lnTo>
                    <a:pt x="252387" y="0"/>
                  </a:lnTo>
                  <a:lnTo>
                    <a:pt x="204038" y="4356"/>
                  </a:lnTo>
                  <a:lnTo>
                    <a:pt x="158483" y="16713"/>
                  </a:lnTo>
                  <a:lnTo>
                    <a:pt x="116446" y="36360"/>
                  </a:lnTo>
                  <a:lnTo>
                    <a:pt x="78663" y="62560"/>
                  </a:lnTo>
                  <a:lnTo>
                    <a:pt x="45859" y="94576"/>
                  </a:lnTo>
                  <a:lnTo>
                    <a:pt x="18745" y="131686"/>
                  </a:lnTo>
                  <a:lnTo>
                    <a:pt x="0" y="169291"/>
                  </a:lnTo>
                  <a:lnTo>
                    <a:pt x="0" y="264439"/>
                  </a:lnTo>
                  <a:lnTo>
                    <a:pt x="26758" y="262178"/>
                  </a:lnTo>
                  <a:lnTo>
                    <a:pt x="71285" y="250520"/>
                  </a:lnTo>
                  <a:lnTo>
                    <a:pt x="112522" y="231914"/>
                  </a:lnTo>
                  <a:lnTo>
                    <a:pt x="149783" y="207048"/>
                  </a:lnTo>
                  <a:lnTo>
                    <a:pt x="182410" y="176593"/>
                  </a:lnTo>
                  <a:lnTo>
                    <a:pt x="209727" y="141211"/>
                  </a:lnTo>
                  <a:lnTo>
                    <a:pt x="231051" y="101600"/>
                  </a:lnTo>
                  <a:lnTo>
                    <a:pt x="245719" y="58407"/>
                  </a:lnTo>
                  <a:lnTo>
                    <a:pt x="253034" y="12357"/>
                  </a:lnTo>
                  <a:lnTo>
                    <a:pt x="260210" y="58572"/>
                  </a:lnTo>
                  <a:lnTo>
                    <a:pt x="274777" y="101942"/>
                  </a:lnTo>
                  <a:lnTo>
                    <a:pt x="296037" y="141744"/>
                  </a:lnTo>
                  <a:lnTo>
                    <a:pt x="323329" y="177279"/>
                  </a:lnTo>
                  <a:lnTo>
                    <a:pt x="355968" y="207873"/>
                  </a:lnTo>
                  <a:lnTo>
                    <a:pt x="393293" y="232854"/>
                  </a:lnTo>
                  <a:lnTo>
                    <a:pt x="434606" y="251548"/>
                  </a:lnTo>
                  <a:lnTo>
                    <a:pt x="479221" y="263258"/>
                  </a:lnTo>
                  <a:lnTo>
                    <a:pt x="527138" y="267322"/>
                  </a:lnTo>
                  <a:close/>
                </a:path>
              </a:pathLst>
            </a:custGeom>
            <a:solidFill>
              <a:srgbClr val="2DB7EA"/>
            </a:solidFill>
          </p:spPr>
          <p:txBody>
            <a:bodyPr wrap="square" lIns="0" tIns="0" rIns="0" bIns="0" rtlCol="0"/>
            <a:lstStyle/>
            <a:p>
              <a:endParaRPr dirty="0"/>
            </a:p>
          </p:txBody>
        </p:sp>
        <p:pic>
          <p:nvPicPr>
            <p:cNvPr id="62" name="object 60">
              <a:extLst>
                <a:ext uri="{FF2B5EF4-FFF2-40B4-BE49-F238E27FC236}">
                  <a16:creationId xmlns:a16="http://schemas.microsoft.com/office/drawing/2014/main" id="{B17C37E9-F0F6-B0D9-C97E-70EF94341413}"/>
                </a:ext>
              </a:extLst>
            </p:cNvPr>
            <p:cNvPicPr/>
            <p:nvPr/>
          </p:nvPicPr>
          <p:blipFill>
            <a:blip r:embed="rId18" cstate="print"/>
            <a:stretch>
              <a:fillRect/>
            </a:stretch>
          </p:blipFill>
          <p:spPr>
            <a:xfrm>
              <a:off x="7249688" y="6794307"/>
              <a:ext cx="260137" cy="63416"/>
            </a:xfrm>
            <a:prstGeom prst="rect">
              <a:avLst/>
            </a:prstGeom>
          </p:spPr>
        </p:pic>
        <p:sp>
          <p:nvSpPr>
            <p:cNvPr id="63" name="object 61">
              <a:extLst>
                <a:ext uri="{FF2B5EF4-FFF2-40B4-BE49-F238E27FC236}">
                  <a16:creationId xmlns:a16="http://schemas.microsoft.com/office/drawing/2014/main" id="{51B1A650-5F6B-4A6B-B327-4A3EFC9F54D2}"/>
                </a:ext>
              </a:extLst>
            </p:cNvPr>
            <p:cNvSpPr/>
            <p:nvPr/>
          </p:nvSpPr>
          <p:spPr>
            <a:xfrm>
              <a:off x="7226300" y="5171198"/>
              <a:ext cx="319992" cy="477101"/>
            </a:xfrm>
            <a:custGeom>
              <a:avLst/>
              <a:gdLst/>
              <a:ahLst/>
              <a:cxnLst/>
              <a:rect l="l" t="t" r="r" b="b"/>
              <a:pathLst>
                <a:path w="527684" h="786765">
                  <a:moveTo>
                    <a:pt x="527126" y="786396"/>
                  </a:moveTo>
                  <a:lnTo>
                    <a:pt x="521677" y="738225"/>
                  </a:lnTo>
                  <a:lnTo>
                    <a:pt x="508279" y="692975"/>
                  </a:lnTo>
                  <a:lnTo>
                    <a:pt x="487667" y="651344"/>
                  </a:lnTo>
                  <a:lnTo>
                    <a:pt x="460578" y="614083"/>
                  </a:lnTo>
                  <a:lnTo>
                    <a:pt x="427736" y="581939"/>
                  </a:lnTo>
                  <a:lnTo>
                    <a:pt x="389877" y="555625"/>
                  </a:lnTo>
                  <a:lnTo>
                    <a:pt x="347751" y="535889"/>
                  </a:lnTo>
                  <a:lnTo>
                    <a:pt x="302082" y="523468"/>
                  </a:lnTo>
                  <a:lnTo>
                    <a:pt x="253606" y="519087"/>
                  </a:lnTo>
                  <a:lnTo>
                    <a:pt x="252387" y="519087"/>
                  </a:lnTo>
                  <a:lnTo>
                    <a:pt x="204038" y="523455"/>
                  </a:lnTo>
                  <a:lnTo>
                    <a:pt x="158483" y="535813"/>
                  </a:lnTo>
                  <a:lnTo>
                    <a:pt x="116446" y="555459"/>
                  </a:lnTo>
                  <a:lnTo>
                    <a:pt x="78663" y="581660"/>
                  </a:lnTo>
                  <a:lnTo>
                    <a:pt x="45859" y="613676"/>
                  </a:lnTo>
                  <a:lnTo>
                    <a:pt x="18770" y="650773"/>
                  </a:lnTo>
                  <a:lnTo>
                    <a:pt x="0" y="688467"/>
                  </a:lnTo>
                  <a:lnTo>
                    <a:pt x="0" y="783564"/>
                  </a:lnTo>
                  <a:lnTo>
                    <a:pt x="71285" y="769620"/>
                  </a:lnTo>
                  <a:lnTo>
                    <a:pt x="112522" y="751027"/>
                  </a:lnTo>
                  <a:lnTo>
                    <a:pt x="149783" y="726147"/>
                  </a:lnTo>
                  <a:lnTo>
                    <a:pt x="182410" y="695680"/>
                  </a:lnTo>
                  <a:lnTo>
                    <a:pt x="209715" y="660298"/>
                  </a:lnTo>
                  <a:lnTo>
                    <a:pt x="231038" y="620674"/>
                  </a:lnTo>
                  <a:lnTo>
                    <a:pt x="245706" y="577481"/>
                  </a:lnTo>
                  <a:lnTo>
                    <a:pt x="253034" y="531393"/>
                  </a:lnTo>
                  <a:lnTo>
                    <a:pt x="260210" y="577672"/>
                  </a:lnTo>
                  <a:lnTo>
                    <a:pt x="274777" y="621042"/>
                  </a:lnTo>
                  <a:lnTo>
                    <a:pt x="296037" y="660831"/>
                  </a:lnTo>
                  <a:lnTo>
                    <a:pt x="323329" y="696366"/>
                  </a:lnTo>
                  <a:lnTo>
                    <a:pt x="355968" y="726960"/>
                  </a:lnTo>
                  <a:lnTo>
                    <a:pt x="393293" y="751941"/>
                  </a:lnTo>
                  <a:lnTo>
                    <a:pt x="434594" y="770623"/>
                  </a:lnTo>
                  <a:lnTo>
                    <a:pt x="479209" y="782332"/>
                  </a:lnTo>
                  <a:lnTo>
                    <a:pt x="527126" y="786396"/>
                  </a:lnTo>
                  <a:close/>
                </a:path>
                <a:path w="527684" h="786765">
                  <a:moveTo>
                    <a:pt x="527126" y="520865"/>
                  </a:moveTo>
                  <a:lnTo>
                    <a:pt x="521677" y="472706"/>
                  </a:lnTo>
                  <a:lnTo>
                    <a:pt x="508279" y="427443"/>
                  </a:lnTo>
                  <a:lnTo>
                    <a:pt x="487667" y="385813"/>
                  </a:lnTo>
                  <a:lnTo>
                    <a:pt x="460578" y="348551"/>
                  </a:lnTo>
                  <a:lnTo>
                    <a:pt x="427736" y="316407"/>
                  </a:lnTo>
                  <a:lnTo>
                    <a:pt x="389877" y="290093"/>
                  </a:lnTo>
                  <a:lnTo>
                    <a:pt x="347751" y="270357"/>
                  </a:lnTo>
                  <a:lnTo>
                    <a:pt x="302082" y="257937"/>
                  </a:lnTo>
                  <a:lnTo>
                    <a:pt x="253606" y="253568"/>
                  </a:lnTo>
                  <a:lnTo>
                    <a:pt x="252387" y="253568"/>
                  </a:lnTo>
                  <a:lnTo>
                    <a:pt x="204038" y="257924"/>
                  </a:lnTo>
                  <a:lnTo>
                    <a:pt x="158483" y="270281"/>
                  </a:lnTo>
                  <a:lnTo>
                    <a:pt x="116446" y="289928"/>
                  </a:lnTo>
                  <a:lnTo>
                    <a:pt x="78663" y="316128"/>
                  </a:lnTo>
                  <a:lnTo>
                    <a:pt x="45859" y="348132"/>
                  </a:lnTo>
                  <a:lnTo>
                    <a:pt x="18770" y="385241"/>
                  </a:lnTo>
                  <a:lnTo>
                    <a:pt x="0" y="422922"/>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40"/>
                  </a:lnTo>
                  <a:lnTo>
                    <a:pt x="274777" y="355511"/>
                  </a:lnTo>
                  <a:lnTo>
                    <a:pt x="296037" y="395300"/>
                  </a:lnTo>
                  <a:lnTo>
                    <a:pt x="323329" y="430834"/>
                  </a:lnTo>
                  <a:lnTo>
                    <a:pt x="355968" y="461441"/>
                  </a:lnTo>
                  <a:lnTo>
                    <a:pt x="393293" y="486410"/>
                  </a:lnTo>
                  <a:lnTo>
                    <a:pt x="434594" y="505104"/>
                  </a:lnTo>
                  <a:lnTo>
                    <a:pt x="479209" y="516813"/>
                  </a:lnTo>
                  <a:lnTo>
                    <a:pt x="527126" y="520865"/>
                  </a:lnTo>
                  <a:close/>
                </a:path>
                <a:path w="527684" h="786765">
                  <a:moveTo>
                    <a:pt x="527138" y="267322"/>
                  </a:moveTo>
                  <a:lnTo>
                    <a:pt x="521690" y="219151"/>
                  </a:lnTo>
                  <a:lnTo>
                    <a:pt x="508292" y="173875"/>
                  </a:lnTo>
                  <a:lnTo>
                    <a:pt x="487680" y="132245"/>
                  </a:lnTo>
                  <a:lnTo>
                    <a:pt x="460578" y="94996"/>
                  </a:lnTo>
                  <a:lnTo>
                    <a:pt x="427736" y="62852"/>
                  </a:lnTo>
                  <a:lnTo>
                    <a:pt x="405396" y="47332"/>
                  </a:lnTo>
                  <a:lnTo>
                    <a:pt x="389890" y="36537"/>
                  </a:lnTo>
                  <a:lnTo>
                    <a:pt x="370154" y="27305"/>
                  </a:lnTo>
                  <a:lnTo>
                    <a:pt x="347764" y="16814"/>
                  </a:lnTo>
                  <a:lnTo>
                    <a:pt x="302094" y="4394"/>
                  </a:lnTo>
                  <a:lnTo>
                    <a:pt x="253619" y="12"/>
                  </a:lnTo>
                  <a:lnTo>
                    <a:pt x="252387" y="0"/>
                  </a:lnTo>
                  <a:lnTo>
                    <a:pt x="204038" y="4356"/>
                  </a:lnTo>
                  <a:lnTo>
                    <a:pt x="158483" y="16725"/>
                  </a:lnTo>
                  <a:lnTo>
                    <a:pt x="116446" y="36372"/>
                  </a:lnTo>
                  <a:lnTo>
                    <a:pt x="78663" y="62560"/>
                  </a:lnTo>
                  <a:lnTo>
                    <a:pt x="45859" y="94576"/>
                  </a:lnTo>
                  <a:lnTo>
                    <a:pt x="18745" y="131686"/>
                  </a:lnTo>
                  <a:lnTo>
                    <a:pt x="0" y="169291"/>
                  </a:lnTo>
                  <a:lnTo>
                    <a:pt x="0" y="264439"/>
                  </a:lnTo>
                  <a:lnTo>
                    <a:pt x="26758" y="262178"/>
                  </a:lnTo>
                  <a:lnTo>
                    <a:pt x="71285" y="250520"/>
                  </a:lnTo>
                  <a:lnTo>
                    <a:pt x="112522" y="231927"/>
                  </a:lnTo>
                  <a:lnTo>
                    <a:pt x="149783" y="207048"/>
                  </a:lnTo>
                  <a:lnTo>
                    <a:pt x="182410" y="176593"/>
                  </a:lnTo>
                  <a:lnTo>
                    <a:pt x="209727" y="141211"/>
                  </a:lnTo>
                  <a:lnTo>
                    <a:pt x="231051" y="101600"/>
                  </a:lnTo>
                  <a:lnTo>
                    <a:pt x="245719" y="58407"/>
                  </a:lnTo>
                  <a:lnTo>
                    <a:pt x="253034" y="12357"/>
                  </a:lnTo>
                  <a:lnTo>
                    <a:pt x="260210" y="58572"/>
                  </a:lnTo>
                  <a:lnTo>
                    <a:pt x="274777" y="101942"/>
                  </a:lnTo>
                  <a:lnTo>
                    <a:pt x="296037" y="141744"/>
                  </a:lnTo>
                  <a:lnTo>
                    <a:pt x="323329" y="177279"/>
                  </a:lnTo>
                  <a:lnTo>
                    <a:pt x="355968" y="207873"/>
                  </a:lnTo>
                  <a:lnTo>
                    <a:pt x="393293" y="232867"/>
                  </a:lnTo>
                  <a:lnTo>
                    <a:pt x="434606" y="251548"/>
                  </a:lnTo>
                  <a:lnTo>
                    <a:pt x="479221" y="263258"/>
                  </a:lnTo>
                  <a:lnTo>
                    <a:pt x="527138" y="267322"/>
                  </a:lnTo>
                  <a:close/>
                </a:path>
              </a:pathLst>
            </a:custGeom>
            <a:solidFill>
              <a:srgbClr val="2DB7EA"/>
            </a:solidFill>
          </p:spPr>
          <p:txBody>
            <a:bodyPr wrap="square" lIns="0" tIns="0" rIns="0" bIns="0" rtlCol="0"/>
            <a:lstStyle/>
            <a:p>
              <a:endParaRPr dirty="0"/>
            </a:p>
          </p:txBody>
        </p:sp>
        <p:pic>
          <p:nvPicPr>
            <p:cNvPr id="64" name="object 62">
              <a:extLst>
                <a:ext uri="{FF2B5EF4-FFF2-40B4-BE49-F238E27FC236}">
                  <a16:creationId xmlns:a16="http://schemas.microsoft.com/office/drawing/2014/main" id="{5BFEFF9C-C3E5-FA5D-8761-7F0687B8B208}"/>
                </a:ext>
              </a:extLst>
            </p:cNvPr>
            <p:cNvPicPr/>
            <p:nvPr/>
          </p:nvPicPr>
          <p:blipFill>
            <a:blip r:embed="rId16" cstate="print"/>
            <a:stretch>
              <a:fillRect/>
            </a:stretch>
          </p:blipFill>
          <p:spPr>
            <a:xfrm>
              <a:off x="7326865" y="5626898"/>
              <a:ext cx="106445" cy="107156"/>
            </a:xfrm>
            <a:prstGeom prst="rect">
              <a:avLst/>
            </a:prstGeom>
          </p:spPr>
        </p:pic>
        <p:sp>
          <p:nvSpPr>
            <p:cNvPr id="65" name="object 63">
              <a:extLst>
                <a:ext uri="{FF2B5EF4-FFF2-40B4-BE49-F238E27FC236}">
                  <a16:creationId xmlns:a16="http://schemas.microsoft.com/office/drawing/2014/main" id="{4FEDD40E-4E86-C675-30EE-2A1F7A38DCF6}"/>
                </a:ext>
              </a:extLst>
            </p:cNvPr>
            <p:cNvSpPr/>
            <p:nvPr/>
          </p:nvSpPr>
          <p:spPr>
            <a:xfrm>
              <a:off x="7226300" y="5825360"/>
              <a:ext cx="319992" cy="477101"/>
            </a:xfrm>
            <a:custGeom>
              <a:avLst/>
              <a:gdLst/>
              <a:ahLst/>
              <a:cxnLst/>
              <a:rect l="l" t="t" r="r" b="b"/>
              <a:pathLst>
                <a:path w="527684" h="786765">
                  <a:moveTo>
                    <a:pt x="527126" y="786396"/>
                  </a:moveTo>
                  <a:lnTo>
                    <a:pt x="521677" y="738238"/>
                  </a:lnTo>
                  <a:lnTo>
                    <a:pt x="508279" y="692975"/>
                  </a:lnTo>
                  <a:lnTo>
                    <a:pt x="487667" y="651344"/>
                  </a:lnTo>
                  <a:lnTo>
                    <a:pt x="460578" y="614095"/>
                  </a:lnTo>
                  <a:lnTo>
                    <a:pt x="427736" y="581939"/>
                  </a:lnTo>
                  <a:lnTo>
                    <a:pt x="389877" y="555637"/>
                  </a:lnTo>
                  <a:lnTo>
                    <a:pt x="347751" y="535901"/>
                  </a:lnTo>
                  <a:lnTo>
                    <a:pt x="302082" y="523481"/>
                  </a:lnTo>
                  <a:lnTo>
                    <a:pt x="253606" y="519099"/>
                  </a:lnTo>
                  <a:lnTo>
                    <a:pt x="252387" y="519099"/>
                  </a:lnTo>
                  <a:lnTo>
                    <a:pt x="204038" y="523455"/>
                  </a:lnTo>
                  <a:lnTo>
                    <a:pt x="158483" y="535825"/>
                  </a:lnTo>
                  <a:lnTo>
                    <a:pt x="116446" y="555472"/>
                  </a:lnTo>
                  <a:lnTo>
                    <a:pt x="78663" y="581660"/>
                  </a:lnTo>
                  <a:lnTo>
                    <a:pt x="45859" y="613676"/>
                  </a:lnTo>
                  <a:lnTo>
                    <a:pt x="18770" y="650773"/>
                  </a:lnTo>
                  <a:lnTo>
                    <a:pt x="0" y="688467"/>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72"/>
                  </a:lnTo>
                  <a:lnTo>
                    <a:pt x="274777" y="621042"/>
                  </a:lnTo>
                  <a:lnTo>
                    <a:pt x="296037" y="660831"/>
                  </a:lnTo>
                  <a:lnTo>
                    <a:pt x="323329" y="696366"/>
                  </a:lnTo>
                  <a:lnTo>
                    <a:pt x="355968" y="726973"/>
                  </a:lnTo>
                  <a:lnTo>
                    <a:pt x="393293" y="751954"/>
                  </a:lnTo>
                  <a:lnTo>
                    <a:pt x="434594" y="770636"/>
                  </a:lnTo>
                  <a:lnTo>
                    <a:pt x="479209" y="782345"/>
                  </a:lnTo>
                  <a:lnTo>
                    <a:pt x="527126" y="786396"/>
                  </a:lnTo>
                  <a:close/>
                </a:path>
                <a:path w="527684" h="786765">
                  <a:moveTo>
                    <a:pt x="527126" y="520865"/>
                  </a:moveTo>
                  <a:lnTo>
                    <a:pt x="521677" y="472706"/>
                  </a:lnTo>
                  <a:lnTo>
                    <a:pt x="508279" y="427443"/>
                  </a:lnTo>
                  <a:lnTo>
                    <a:pt x="487667" y="385813"/>
                  </a:lnTo>
                  <a:lnTo>
                    <a:pt x="460578" y="348564"/>
                  </a:lnTo>
                  <a:lnTo>
                    <a:pt x="427736" y="316407"/>
                  </a:lnTo>
                  <a:lnTo>
                    <a:pt x="389877" y="290093"/>
                  </a:lnTo>
                  <a:lnTo>
                    <a:pt x="347751" y="270370"/>
                  </a:lnTo>
                  <a:lnTo>
                    <a:pt x="302082" y="257937"/>
                  </a:lnTo>
                  <a:lnTo>
                    <a:pt x="253606" y="253555"/>
                  </a:lnTo>
                  <a:lnTo>
                    <a:pt x="252387" y="253555"/>
                  </a:lnTo>
                  <a:lnTo>
                    <a:pt x="204038" y="257924"/>
                  </a:lnTo>
                  <a:lnTo>
                    <a:pt x="158483" y="270294"/>
                  </a:lnTo>
                  <a:lnTo>
                    <a:pt x="116446" y="289928"/>
                  </a:lnTo>
                  <a:lnTo>
                    <a:pt x="78663" y="316128"/>
                  </a:lnTo>
                  <a:lnTo>
                    <a:pt x="45859" y="348145"/>
                  </a:lnTo>
                  <a:lnTo>
                    <a:pt x="18770" y="385241"/>
                  </a:lnTo>
                  <a:lnTo>
                    <a:pt x="0" y="422935"/>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40"/>
                  </a:lnTo>
                  <a:lnTo>
                    <a:pt x="274777" y="355511"/>
                  </a:lnTo>
                  <a:lnTo>
                    <a:pt x="296037" y="395300"/>
                  </a:lnTo>
                  <a:lnTo>
                    <a:pt x="323329" y="430834"/>
                  </a:lnTo>
                  <a:lnTo>
                    <a:pt x="355968" y="461441"/>
                  </a:lnTo>
                  <a:lnTo>
                    <a:pt x="393293" y="486410"/>
                  </a:lnTo>
                  <a:lnTo>
                    <a:pt x="434594" y="505104"/>
                  </a:lnTo>
                  <a:lnTo>
                    <a:pt x="479209" y="516813"/>
                  </a:lnTo>
                  <a:lnTo>
                    <a:pt x="527126" y="520865"/>
                  </a:lnTo>
                  <a:close/>
                </a:path>
                <a:path w="527684" h="786765">
                  <a:moveTo>
                    <a:pt x="527138" y="267322"/>
                  </a:moveTo>
                  <a:lnTo>
                    <a:pt x="521690" y="219151"/>
                  </a:lnTo>
                  <a:lnTo>
                    <a:pt x="508292" y="173888"/>
                  </a:lnTo>
                  <a:lnTo>
                    <a:pt x="487680" y="132257"/>
                  </a:lnTo>
                  <a:lnTo>
                    <a:pt x="460578" y="94996"/>
                  </a:lnTo>
                  <a:lnTo>
                    <a:pt x="427736" y="62852"/>
                  </a:lnTo>
                  <a:lnTo>
                    <a:pt x="389890" y="36550"/>
                  </a:lnTo>
                  <a:lnTo>
                    <a:pt x="347764" y="16814"/>
                  </a:lnTo>
                  <a:lnTo>
                    <a:pt x="302094" y="4394"/>
                  </a:lnTo>
                  <a:lnTo>
                    <a:pt x="253606" y="0"/>
                  </a:lnTo>
                  <a:lnTo>
                    <a:pt x="252387" y="0"/>
                  </a:lnTo>
                  <a:lnTo>
                    <a:pt x="204038" y="4356"/>
                  </a:lnTo>
                  <a:lnTo>
                    <a:pt x="158483" y="16725"/>
                  </a:lnTo>
                  <a:lnTo>
                    <a:pt x="116446" y="36372"/>
                  </a:lnTo>
                  <a:lnTo>
                    <a:pt x="78663" y="62572"/>
                  </a:lnTo>
                  <a:lnTo>
                    <a:pt x="45859" y="94576"/>
                  </a:lnTo>
                  <a:lnTo>
                    <a:pt x="18745" y="131686"/>
                  </a:lnTo>
                  <a:lnTo>
                    <a:pt x="0" y="169303"/>
                  </a:lnTo>
                  <a:lnTo>
                    <a:pt x="0" y="264452"/>
                  </a:lnTo>
                  <a:lnTo>
                    <a:pt x="26758" y="262178"/>
                  </a:lnTo>
                  <a:lnTo>
                    <a:pt x="71285" y="250532"/>
                  </a:lnTo>
                  <a:lnTo>
                    <a:pt x="112522" y="231927"/>
                  </a:lnTo>
                  <a:lnTo>
                    <a:pt x="149783" y="207060"/>
                  </a:lnTo>
                  <a:lnTo>
                    <a:pt x="182410" y="176593"/>
                  </a:lnTo>
                  <a:lnTo>
                    <a:pt x="209727" y="141224"/>
                  </a:lnTo>
                  <a:lnTo>
                    <a:pt x="231051" y="101600"/>
                  </a:lnTo>
                  <a:lnTo>
                    <a:pt x="245719" y="58407"/>
                  </a:lnTo>
                  <a:lnTo>
                    <a:pt x="253034" y="12369"/>
                  </a:lnTo>
                  <a:lnTo>
                    <a:pt x="260210" y="58585"/>
                  </a:lnTo>
                  <a:lnTo>
                    <a:pt x="274777" y="101955"/>
                  </a:lnTo>
                  <a:lnTo>
                    <a:pt x="296037" y="141744"/>
                  </a:lnTo>
                  <a:lnTo>
                    <a:pt x="323329" y="177279"/>
                  </a:lnTo>
                  <a:lnTo>
                    <a:pt x="355981" y="207886"/>
                  </a:lnTo>
                  <a:lnTo>
                    <a:pt x="393293" y="232867"/>
                  </a:lnTo>
                  <a:lnTo>
                    <a:pt x="434606" y="251561"/>
                  </a:lnTo>
                  <a:lnTo>
                    <a:pt x="479221" y="263271"/>
                  </a:lnTo>
                  <a:lnTo>
                    <a:pt x="527138" y="267322"/>
                  </a:lnTo>
                  <a:close/>
                </a:path>
              </a:pathLst>
            </a:custGeom>
            <a:solidFill>
              <a:srgbClr val="7ED3F1"/>
            </a:solidFill>
          </p:spPr>
          <p:txBody>
            <a:bodyPr wrap="square" lIns="0" tIns="0" rIns="0" bIns="0" rtlCol="0"/>
            <a:lstStyle/>
            <a:p>
              <a:endParaRPr dirty="0"/>
            </a:p>
          </p:txBody>
        </p:sp>
        <p:pic>
          <p:nvPicPr>
            <p:cNvPr id="66" name="object 64">
              <a:extLst>
                <a:ext uri="{FF2B5EF4-FFF2-40B4-BE49-F238E27FC236}">
                  <a16:creationId xmlns:a16="http://schemas.microsoft.com/office/drawing/2014/main" id="{E503F6A6-58E9-133C-5EC5-3167B1701B5A}"/>
                </a:ext>
              </a:extLst>
            </p:cNvPr>
            <p:cNvPicPr/>
            <p:nvPr/>
          </p:nvPicPr>
          <p:blipFill>
            <a:blip r:embed="rId17" cstate="print"/>
            <a:stretch>
              <a:fillRect/>
            </a:stretch>
          </p:blipFill>
          <p:spPr>
            <a:xfrm>
              <a:off x="7326865" y="6281064"/>
              <a:ext cx="106445" cy="107156"/>
            </a:xfrm>
            <a:prstGeom prst="rect">
              <a:avLst/>
            </a:prstGeom>
          </p:spPr>
        </p:pic>
        <p:sp>
          <p:nvSpPr>
            <p:cNvPr id="67" name="object 65">
              <a:extLst>
                <a:ext uri="{FF2B5EF4-FFF2-40B4-BE49-F238E27FC236}">
                  <a16:creationId xmlns:a16="http://schemas.microsoft.com/office/drawing/2014/main" id="{BF572667-10B8-DC3C-88BE-46909546849C}"/>
                </a:ext>
              </a:extLst>
            </p:cNvPr>
            <p:cNvSpPr/>
            <p:nvPr/>
          </p:nvSpPr>
          <p:spPr>
            <a:xfrm>
              <a:off x="8368808" y="6037749"/>
              <a:ext cx="332700" cy="477101"/>
            </a:xfrm>
            <a:custGeom>
              <a:avLst/>
              <a:gdLst/>
              <a:ahLst/>
              <a:cxnLst/>
              <a:rect l="l" t="t" r="r" b="b"/>
              <a:pathLst>
                <a:path w="548640" h="786765">
                  <a:moveTo>
                    <a:pt x="548043" y="266611"/>
                  </a:moveTo>
                  <a:lnTo>
                    <a:pt x="500367" y="270649"/>
                  </a:lnTo>
                  <a:lnTo>
                    <a:pt x="455841" y="282308"/>
                  </a:lnTo>
                  <a:lnTo>
                    <a:pt x="414616" y="300901"/>
                  </a:lnTo>
                  <a:lnTo>
                    <a:pt x="377342" y="325780"/>
                  </a:lnTo>
                  <a:lnTo>
                    <a:pt x="344716" y="356235"/>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86"/>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26"/>
                  </a:lnTo>
                  <a:lnTo>
                    <a:pt x="225044" y="528459"/>
                  </a:lnTo>
                  <a:lnTo>
                    <a:pt x="273519" y="532841"/>
                  </a:lnTo>
                  <a:lnTo>
                    <a:pt x="274751" y="532841"/>
                  </a:lnTo>
                  <a:lnTo>
                    <a:pt x="323088" y="528472"/>
                  </a:lnTo>
                  <a:lnTo>
                    <a:pt x="368642" y="516102"/>
                  </a:lnTo>
                  <a:lnTo>
                    <a:pt x="410679" y="496468"/>
                  </a:lnTo>
                  <a:lnTo>
                    <a:pt x="448462" y="470268"/>
                  </a:lnTo>
                  <a:lnTo>
                    <a:pt x="481266" y="438251"/>
                  </a:lnTo>
                  <a:lnTo>
                    <a:pt x="508355" y="401154"/>
                  </a:lnTo>
                  <a:lnTo>
                    <a:pt x="529005" y="359689"/>
                  </a:lnTo>
                  <a:lnTo>
                    <a:pt x="542467" y="314604"/>
                  </a:lnTo>
                  <a:lnTo>
                    <a:pt x="548043" y="266611"/>
                  </a:lnTo>
                  <a:close/>
                </a:path>
                <a:path w="548640" h="786765">
                  <a:moveTo>
                    <a:pt x="548043" y="1092"/>
                  </a:moveTo>
                  <a:lnTo>
                    <a:pt x="500367" y="5130"/>
                  </a:lnTo>
                  <a:lnTo>
                    <a:pt x="455841" y="16789"/>
                  </a:lnTo>
                  <a:lnTo>
                    <a:pt x="414616" y="35382"/>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49"/>
                  </a:lnTo>
                  <a:lnTo>
                    <a:pt x="481266" y="172732"/>
                  </a:lnTo>
                  <a:lnTo>
                    <a:pt x="508355" y="135623"/>
                  </a:lnTo>
                  <a:lnTo>
                    <a:pt x="529005" y="94170"/>
                  </a:lnTo>
                  <a:lnTo>
                    <a:pt x="542467" y="49085"/>
                  </a:lnTo>
                  <a:lnTo>
                    <a:pt x="548043" y="1092"/>
                  </a:lnTo>
                  <a:close/>
                </a:path>
                <a:path w="548640" h="786765">
                  <a:moveTo>
                    <a:pt x="548093" y="520204"/>
                  </a:moveTo>
                  <a:lnTo>
                    <a:pt x="500367" y="524217"/>
                  </a:lnTo>
                  <a:lnTo>
                    <a:pt x="455841" y="535876"/>
                  </a:lnTo>
                  <a:lnTo>
                    <a:pt x="414616" y="554469"/>
                  </a:lnTo>
                  <a:lnTo>
                    <a:pt x="377342" y="579348"/>
                  </a:lnTo>
                  <a:lnTo>
                    <a:pt x="344716" y="609803"/>
                  </a:lnTo>
                  <a:lnTo>
                    <a:pt x="317411" y="645172"/>
                  </a:lnTo>
                  <a:lnTo>
                    <a:pt x="296087" y="684796"/>
                  </a:lnTo>
                  <a:lnTo>
                    <a:pt x="281419" y="727989"/>
                  </a:lnTo>
                  <a:lnTo>
                    <a:pt x="274091" y="774065"/>
                  </a:lnTo>
                  <a:lnTo>
                    <a:pt x="266915" y="727824"/>
                  </a:lnTo>
                  <a:lnTo>
                    <a:pt x="252361" y="684453"/>
                  </a:lnTo>
                  <a:lnTo>
                    <a:pt x="231089"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38"/>
                  </a:lnTo>
                  <a:lnTo>
                    <a:pt x="66548" y="691400"/>
                  </a:lnTo>
                  <a:lnTo>
                    <a:pt x="99390" y="72354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2DB7EA"/>
            </a:solidFill>
          </p:spPr>
          <p:txBody>
            <a:bodyPr wrap="square" lIns="0" tIns="0" rIns="0" bIns="0" rtlCol="0"/>
            <a:lstStyle/>
            <a:p>
              <a:endParaRPr dirty="0"/>
            </a:p>
          </p:txBody>
        </p:sp>
        <p:pic>
          <p:nvPicPr>
            <p:cNvPr id="68" name="object 66">
              <a:extLst>
                <a:ext uri="{FF2B5EF4-FFF2-40B4-BE49-F238E27FC236}">
                  <a16:creationId xmlns:a16="http://schemas.microsoft.com/office/drawing/2014/main" id="{9E559800-8911-0BAF-7746-D7CFC527D6F5}"/>
                </a:ext>
              </a:extLst>
            </p:cNvPr>
            <p:cNvPicPr/>
            <p:nvPr/>
          </p:nvPicPr>
          <p:blipFill>
            <a:blip r:embed="rId5" cstate="print"/>
            <a:stretch>
              <a:fillRect/>
            </a:stretch>
          </p:blipFill>
          <p:spPr>
            <a:xfrm>
              <a:off x="8481461" y="5951762"/>
              <a:ext cx="106445" cy="107156"/>
            </a:xfrm>
            <a:prstGeom prst="rect">
              <a:avLst/>
            </a:prstGeom>
          </p:spPr>
        </p:pic>
        <p:sp>
          <p:nvSpPr>
            <p:cNvPr id="69" name="object 67">
              <a:extLst>
                <a:ext uri="{FF2B5EF4-FFF2-40B4-BE49-F238E27FC236}">
                  <a16:creationId xmlns:a16="http://schemas.microsoft.com/office/drawing/2014/main" id="{6C396728-7F71-01E3-4ECA-F476CDB28123}"/>
                </a:ext>
              </a:extLst>
            </p:cNvPr>
            <p:cNvSpPr/>
            <p:nvPr/>
          </p:nvSpPr>
          <p:spPr>
            <a:xfrm>
              <a:off x="8368808" y="5383587"/>
              <a:ext cx="332700" cy="477101"/>
            </a:xfrm>
            <a:custGeom>
              <a:avLst/>
              <a:gdLst/>
              <a:ahLst/>
              <a:cxnLst/>
              <a:rect l="l" t="t" r="r" b="b"/>
              <a:pathLst>
                <a:path w="548640" h="786765">
                  <a:moveTo>
                    <a:pt x="548043" y="266623"/>
                  </a:moveTo>
                  <a:lnTo>
                    <a:pt x="500367" y="270649"/>
                  </a:lnTo>
                  <a:lnTo>
                    <a:pt x="455841" y="282308"/>
                  </a:lnTo>
                  <a:lnTo>
                    <a:pt x="414616" y="300913"/>
                  </a:lnTo>
                  <a:lnTo>
                    <a:pt x="377342" y="325780"/>
                  </a:lnTo>
                  <a:lnTo>
                    <a:pt x="344716" y="356235"/>
                  </a:lnTo>
                  <a:lnTo>
                    <a:pt x="317411" y="391617"/>
                  </a:lnTo>
                  <a:lnTo>
                    <a:pt x="296087" y="431241"/>
                  </a:lnTo>
                  <a:lnTo>
                    <a:pt x="281419" y="474446"/>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54"/>
                  </a:lnTo>
                  <a:lnTo>
                    <a:pt x="529005" y="359689"/>
                  </a:lnTo>
                  <a:lnTo>
                    <a:pt x="542467" y="314604"/>
                  </a:lnTo>
                  <a:lnTo>
                    <a:pt x="548043" y="266623"/>
                  </a:lnTo>
                  <a:close/>
                </a:path>
                <a:path w="548640" h="786765">
                  <a:moveTo>
                    <a:pt x="548043" y="1079"/>
                  </a:moveTo>
                  <a:lnTo>
                    <a:pt x="500367" y="5118"/>
                  </a:lnTo>
                  <a:lnTo>
                    <a:pt x="455841" y="16764"/>
                  </a:lnTo>
                  <a:lnTo>
                    <a:pt x="414616" y="35369"/>
                  </a:lnTo>
                  <a:lnTo>
                    <a:pt x="377342" y="60236"/>
                  </a:lnTo>
                  <a:lnTo>
                    <a:pt x="344716" y="90703"/>
                  </a:lnTo>
                  <a:lnTo>
                    <a:pt x="317411" y="126085"/>
                  </a:lnTo>
                  <a:lnTo>
                    <a:pt x="296087" y="165722"/>
                  </a:lnTo>
                  <a:lnTo>
                    <a:pt x="281419" y="208915"/>
                  </a:lnTo>
                  <a:lnTo>
                    <a:pt x="274091" y="255003"/>
                  </a:lnTo>
                  <a:lnTo>
                    <a:pt x="266915" y="208724"/>
                  </a:lnTo>
                  <a:lnTo>
                    <a:pt x="252361" y="165354"/>
                  </a:lnTo>
                  <a:lnTo>
                    <a:pt x="231089"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67" y="49072"/>
                  </a:lnTo>
                  <a:lnTo>
                    <a:pt x="548043" y="1079"/>
                  </a:lnTo>
                  <a:close/>
                </a:path>
                <a:path w="548640" h="786765">
                  <a:moveTo>
                    <a:pt x="548093" y="520192"/>
                  </a:moveTo>
                  <a:lnTo>
                    <a:pt x="500367" y="524217"/>
                  </a:lnTo>
                  <a:lnTo>
                    <a:pt x="455841" y="535876"/>
                  </a:lnTo>
                  <a:lnTo>
                    <a:pt x="414616" y="554469"/>
                  </a:lnTo>
                  <a:lnTo>
                    <a:pt x="377342" y="579335"/>
                  </a:lnTo>
                  <a:lnTo>
                    <a:pt x="344716" y="609790"/>
                  </a:lnTo>
                  <a:lnTo>
                    <a:pt x="317411" y="645172"/>
                  </a:lnTo>
                  <a:lnTo>
                    <a:pt x="296087" y="684796"/>
                  </a:lnTo>
                  <a:lnTo>
                    <a:pt x="281419" y="727976"/>
                  </a:lnTo>
                  <a:lnTo>
                    <a:pt x="274091" y="774065"/>
                  </a:lnTo>
                  <a:lnTo>
                    <a:pt x="266915" y="727811"/>
                  </a:lnTo>
                  <a:lnTo>
                    <a:pt x="252361" y="684441"/>
                  </a:lnTo>
                  <a:lnTo>
                    <a:pt x="231089" y="644652"/>
                  </a:lnTo>
                  <a:lnTo>
                    <a:pt x="203796" y="609117"/>
                  </a:lnTo>
                  <a:lnTo>
                    <a:pt x="171157" y="578523"/>
                  </a:lnTo>
                  <a:lnTo>
                    <a:pt x="133845" y="553542"/>
                  </a:lnTo>
                  <a:lnTo>
                    <a:pt x="92532" y="534847"/>
                  </a:lnTo>
                  <a:lnTo>
                    <a:pt x="47917" y="523125"/>
                  </a:lnTo>
                  <a:lnTo>
                    <a:pt x="0" y="519061"/>
                  </a:lnTo>
                  <a:lnTo>
                    <a:pt x="5448" y="567258"/>
                  </a:lnTo>
                  <a:lnTo>
                    <a:pt x="18846" y="612508"/>
                  </a:lnTo>
                  <a:lnTo>
                    <a:pt x="39458" y="654138"/>
                  </a:lnTo>
                  <a:lnTo>
                    <a:pt x="66548" y="691388"/>
                  </a:lnTo>
                  <a:lnTo>
                    <a:pt x="67246" y="692073"/>
                  </a:lnTo>
                  <a:lnTo>
                    <a:pt x="99390" y="723544"/>
                  </a:lnTo>
                  <a:lnTo>
                    <a:pt x="137248" y="749858"/>
                  </a:lnTo>
                  <a:lnTo>
                    <a:pt x="179374" y="769594"/>
                  </a:lnTo>
                  <a:lnTo>
                    <a:pt x="225044" y="782015"/>
                  </a:lnTo>
                  <a:lnTo>
                    <a:pt x="273519" y="786396"/>
                  </a:lnTo>
                  <a:lnTo>
                    <a:pt x="274751" y="786396"/>
                  </a:lnTo>
                  <a:lnTo>
                    <a:pt x="323088" y="782027"/>
                  </a:lnTo>
                  <a:lnTo>
                    <a:pt x="368642" y="769670"/>
                  </a:lnTo>
                  <a:lnTo>
                    <a:pt x="410679" y="750023"/>
                  </a:lnTo>
                  <a:lnTo>
                    <a:pt x="448462" y="723823"/>
                  </a:lnTo>
                  <a:lnTo>
                    <a:pt x="479691" y="693356"/>
                  </a:lnTo>
                  <a:lnTo>
                    <a:pt x="481266" y="691819"/>
                  </a:lnTo>
                  <a:lnTo>
                    <a:pt x="508393" y="654697"/>
                  </a:lnTo>
                  <a:lnTo>
                    <a:pt x="529043" y="613244"/>
                  </a:lnTo>
                  <a:lnTo>
                    <a:pt x="542518" y="568172"/>
                  </a:lnTo>
                  <a:lnTo>
                    <a:pt x="548093" y="520192"/>
                  </a:lnTo>
                  <a:close/>
                </a:path>
              </a:pathLst>
            </a:custGeom>
            <a:solidFill>
              <a:srgbClr val="7ED3F1"/>
            </a:solidFill>
          </p:spPr>
          <p:txBody>
            <a:bodyPr wrap="square" lIns="0" tIns="0" rIns="0" bIns="0" rtlCol="0"/>
            <a:lstStyle/>
            <a:p>
              <a:endParaRPr dirty="0"/>
            </a:p>
          </p:txBody>
        </p:sp>
        <p:pic>
          <p:nvPicPr>
            <p:cNvPr id="70" name="object 68">
              <a:extLst>
                <a:ext uri="{FF2B5EF4-FFF2-40B4-BE49-F238E27FC236}">
                  <a16:creationId xmlns:a16="http://schemas.microsoft.com/office/drawing/2014/main" id="{941B35C1-6813-F195-E716-B9306888FE5F}"/>
                </a:ext>
              </a:extLst>
            </p:cNvPr>
            <p:cNvPicPr/>
            <p:nvPr/>
          </p:nvPicPr>
          <p:blipFill>
            <a:blip r:embed="rId6" cstate="print"/>
            <a:stretch>
              <a:fillRect/>
            </a:stretch>
          </p:blipFill>
          <p:spPr>
            <a:xfrm>
              <a:off x="8481461" y="5297596"/>
              <a:ext cx="106445" cy="107156"/>
            </a:xfrm>
            <a:prstGeom prst="rect">
              <a:avLst/>
            </a:prstGeom>
          </p:spPr>
        </p:pic>
        <p:sp>
          <p:nvSpPr>
            <p:cNvPr id="71" name="object 69">
              <a:extLst>
                <a:ext uri="{FF2B5EF4-FFF2-40B4-BE49-F238E27FC236}">
                  <a16:creationId xmlns:a16="http://schemas.microsoft.com/office/drawing/2014/main" id="{A48B0919-8BE8-FBA3-F50E-37E0D445E6AF}"/>
                </a:ext>
              </a:extLst>
            </p:cNvPr>
            <p:cNvSpPr/>
            <p:nvPr/>
          </p:nvSpPr>
          <p:spPr>
            <a:xfrm>
              <a:off x="8368808" y="6691912"/>
              <a:ext cx="332700" cy="165965"/>
            </a:xfrm>
            <a:custGeom>
              <a:avLst/>
              <a:gdLst/>
              <a:ahLst/>
              <a:cxnLst/>
              <a:rect l="l" t="t" r="r" b="b"/>
              <a:pathLst>
                <a:path w="548640" h="273684">
                  <a:moveTo>
                    <a:pt x="62560" y="273431"/>
                  </a:moveTo>
                  <a:lnTo>
                    <a:pt x="47917" y="269595"/>
                  </a:lnTo>
                  <a:lnTo>
                    <a:pt x="0" y="265544"/>
                  </a:lnTo>
                  <a:lnTo>
                    <a:pt x="889" y="273431"/>
                  </a:lnTo>
                  <a:lnTo>
                    <a:pt x="62560" y="273431"/>
                  </a:lnTo>
                  <a:close/>
                </a:path>
                <a:path w="548640" h="273684">
                  <a:moveTo>
                    <a:pt x="548043" y="266623"/>
                  </a:moveTo>
                  <a:lnTo>
                    <a:pt x="500367" y="270649"/>
                  </a:lnTo>
                  <a:lnTo>
                    <a:pt x="489737" y="273431"/>
                  </a:lnTo>
                  <a:lnTo>
                    <a:pt x="547243" y="273431"/>
                  </a:lnTo>
                  <a:lnTo>
                    <a:pt x="548043" y="266623"/>
                  </a:lnTo>
                  <a:close/>
                </a:path>
                <a:path w="548640" h="273684">
                  <a:moveTo>
                    <a:pt x="548043" y="1079"/>
                  </a:moveTo>
                  <a:lnTo>
                    <a:pt x="500367" y="5118"/>
                  </a:lnTo>
                  <a:lnTo>
                    <a:pt x="455841" y="16776"/>
                  </a:lnTo>
                  <a:lnTo>
                    <a:pt x="414616" y="35382"/>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21"/>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57"/>
                  </a:lnTo>
                  <a:lnTo>
                    <a:pt x="542467" y="49072"/>
                  </a:lnTo>
                  <a:lnTo>
                    <a:pt x="548043" y="1079"/>
                  </a:lnTo>
                  <a:close/>
                </a:path>
              </a:pathLst>
            </a:custGeom>
            <a:solidFill>
              <a:srgbClr val="7ED3F1"/>
            </a:solidFill>
          </p:spPr>
          <p:txBody>
            <a:bodyPr wrap="square" lIns="0" tIns="0" rIns="0" bIns="0" rtlCol="0"/>
            <a:lstStyle/>
            <a:p>
              <a:endParaRPr dirty="0"/>
            </a:p>
          </p:txBody>
        </p:sp>
        <p:pic>
          <p:nvPicPr>
            <p:cNvPr id="72" name="object 70">
              <a:extLst>
                <a:ext uri="{FF2B5EF4-FFF2-40B4-BE49-F238E27FC236}">
                  <a16:creationId xmlns:a16="http://schemas.microsoft.com/office/drawing/2014/main" id="{B5DD022E-5023-035B-A92E-6E574FEC87FD}"/>
                </a:ext>
              </a:extLst>
            </p:cNvPr>
            <p:cNvPicPr/>
            <p:nvPr/>
          </p:nvPicPr>
          <p:blipFill>
            <a:blip r:embed="rId6" cstate="print"/>
            <a:stretch>
              <a:fillRect/>
            </a:stretch>
          </p:blipFill>
          <p:spPr>
            <a:xfrm>
              <a:off x="8481461" y="6605926"/>
              <a:ext cx="106445" cy="107156"/>
            </a:xfrm>
            <a:prstGeom prst="rect">
              <a:avLst/>
            </a:prstGeom>
          </p:spPr>
        </p:pic>
        <p:sp>
          <p:nvSpPr>
            <p:cNvPr id="73" name="object 71">
              <a:extLst>
                <a:ext uri="{FF2B5EF4-FFF2-40B4-BE49-F238E27FC236}">
                  <a16:creationId xmlns:a16="http://schemas.microsoft.com/office/drawing/2014/main" id="{6A36202A-14EC-F4FA-775C-F61DA83D4401}"/>
                </a:ext>
              </a:extLst>
            </p:cNvPr>
            <p:cNvSpPr/>
            <p:nvPr/>
          </p:nvSpPr>
          <p:spPr>
            <a:xfrm>
              <a:off x="7983731" y="6479532"/>
              <a:ext cx="332700" cy="316141"/>
            </a:xfrm>
            <a:custGeom>
              <a:avLst/>
              <a:gdLst/>
              <a:ahLst/>
              <a:cxnLst/>
              <a:rect l="l" t="t" r="r" b="b"/>
              <a:pathLst>
                <a:path w="548640" h="521334">
                  <a:moveTo>
                    <a:pt x="548068" y="520852"/>
                  </a:moveTo>
                  <a:lnTo>
                    <a:pt x="542632" y="472694"/>
                  </a:lnTo>
                  <a:lnTo>
                    <a:pt x="529234" y="427431"/>
                  </a:lnTo>
                  <a:lnTo>
                    <a:pt x="508609" y="385800"/>
                  </a:lnTo>
                  <a:lnTo>
                    <a:pt x="481520" y="348551"/>
                  </a:lnTo>
                  <a:lnTo>
                    <a:pt x="448678" y="316395"/>
                  </a:lnTo>
                  <a:lnTo>
                    <a:pt x="410819" y="290093"/>
                  </a:lnTo>
                  <a:lnTo>
                    <a:pt x="368693" y="270357"/>
                  </a:lnTo>
                  <a:lnTo>
                    <a:pt x="323024" y="257924"/>
                  </a:lnTo>
                  <a:lnTo>
                    <a:pt x="274548" y="253555"/>
                  </a:lnTo>
                  <a:lnTo>
                    <a:pt x="273329" y="253555"/>
                  </a:lnTo>
                  <a:lnTo>
                    <a:pt x="224980" y="257911"/>
                  </a:lnTo>
                  <a:lnTo>
                    <a:pt x="179438" y="270281"/>
                  </a:lnTo>
                  <a:lnTo>
                    <a:pt x="137401" y="289915"/>
                  </a:lnTo>
                  <a:lnTo>
                    <a:pt x="99618" y="316115"/>
                  </a:lnTo>
                  <a:lnTo>
                    <a:pt x="66814" y="348132"/>
                  </a:lnTo>
                  <a:lnTo>
                    <a:pt x="39725" y="385229"/>
                  </a:lnTo>
                  <a:lnTo>
                    <a:pt x="19075" y="426694"/>
                  </a:lnTo>
                  <a:lnTo>
                    <a:pt x="5600" y="471792"/>
                  </a:lnTo>
                  <a:lnTo>
                    <a:pt x="38" y="519772"/>
                  </a:lnTo>
                  <a:lnTo>
                    <a:pt x="47713" y="515747"/>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27"/>
                  </a:lnTo>
                  <a:lnTo>
                    <a:pt x="295719" y="355498"/>
                  </a:lnTo>
                  <a:lnTo>
                    <a:pt x="316979" y="395300"/>
                  </a:lnTo>
                  <a:lnTo>
                    <a:pt x="344271" y="430834"/>
                  </a:lnTo>
                  <a:lnTo>
                    <a:pt x="376923" y="461429"/>
                  </a:lnTo>
                  <a:lnTo>
                    <a:pt x="414235" y="486410"/>
                  </a:lnTo>
                  <a:lnTo>
                    <a:pt x="455536" y="505091"/>
                  </a:lnTo>
                  <a:lnTo>
                    <a:pt x="500164" y="516801"/>
                  </a:lnTo>
                  <a:lnTo>
                    <a:pt x="548068" y="520852"/>
                  </a:lnTo>
                  <a:close/>
                </a:path>
                <a:path w="548640" h="521334">
                  <a:moveTo>
                    <a:pt x="548081" y="267322"/>
                  </a:moveTo>
                  <a:lnTo>
                    <a:pt x="542632" y="219138"/>
                  </a:lnTo>
                  <a:lnTo>
                    <a:pt x="529234" y="173875"/>
                  </a:lnTo>
                  <a:lnTo>
                    <a:pt x="508622" y="132245"/>
                  </a:lnTo>
                  <a:lnTo>
                    <a:pt x="481533" y="94996"/>
                  </a:lnTo>
                  <a:lnTo>
                    <a:pt x="448691" y="62839"/>
                  </a:lnTo>
                  <a:lnTo>
                    <a:pt x="422376" y="44564"/>
                  </a:lnTo>
                  <a:lnTo>
                    <a:pt x="410832" y="36537"/>
                  </a:lnTo>
                  <a:lnTo>
                    <a:pt x="368706" y="16814"/>
                  </a:lnTo>
                  <a:lnTo>
                    <a:pt x="323024" y="4368"/>
                  </a:lnTo>
                  <a:lnTo>
                    <a:pt x="274561" y="12"/>
                  </a:lnTo>
                  <a:lnTo>
                    <a:pt x="273329" y="0"/>
                  </a:lnTo>
                  <a:lnTo>
                    <a:pt x="224980" y="4356"/>
                  </a:lnTo>
                  <a:lnTo>
                    <a:pt x="179438" y="16713"/>
                  </a:lnTo>
                  <a:lnTo>
                    <a:pt x="137401" y="36360"/>
                  </a:lnTo>
                  <a:lnTo>
                    <a:pt x="108216" y="56591"/>
                  </a:lnTo>
                  <a:lnTo>
                    <a:pt x="99618" y="62560"/>
                  </a:lnTo>
                  <a:lnTo>
                    <a:pt x="66814" y="94576"/>
                  </a:lnTo>
                  <a:lnTo>
                    <a:pt x="39687" y="131686"/>
                  </a:lnTo>
                  <a:lnTo>
                    <a:pt x="19037" y="173139"/>
                  </a:lnTo>
                  <a:lnTo>
                    <a:pt x="5562" y="218211"/>
                  </a:lnTo>
                  <a:lnTo>
                    <a:pt x="0" y="266192"/>
                  </a:lnTo>
                  <a:lnTo>
                    <a:pt x="47713" y="262178"/>
                  </a:lnTo>
                  <a:lnTo>
                    <a:pt x="92227" y="250520"/>
                  </a:lnTo>
                  <a:lnTo>
                    <a:pt x="133464" y="231914"/>
                  </a:lnTo>
                  <a:lnTo>
                    <a:pt x="170738" y="207048"/>
                  </a:lnTo>
                  <a:lnTo>
                    <a:pt x="203365" y="176593"/>
                  </a:lnTo>
                  <a:lnTo>
                    <a:pt x="230670" y="141211"/>
                  </a:lnTo>
                  <a:lnTo>
                    <a:pt x="251993" y="101600"/>
                  </a:lnTo>
                  <a:lnTo>
                    <a:pt x="266661" y="58407"/>
                  </a:lnTo>
                  <a:lnTo>
                    <a:pt x="273989" y="12319"/>
                  </a:lnTo>
                  <a:lnTo>
                    <a:pt x="281165" y="58572"/>
                  </a:lnTo>
                  <a:lnTo>
                    <a:pt x="295719" y="101942"/>
                  </a:lnTo>
                  <a:lnTo>
                    <a:pt x="316979" y="141744"/>
                  </a:lnTo>
                  <a:lnTo>
                    <a:pt x="344271" y="177279"/>
                  </a:lnTo>
                  <a:lnTo>
                    <a:pt x="376923" y="207873"/>
                  </a:lnTo>
                  <a:lnTo>
                    <a:pt x="414235" y="232854"/>
                  </a:lnTo>
                  <a:lnTo>
                    <a:pt x="455549" y="251548"/>
                  </a:lnTo>
                  <a:lnTo>
                    <a:pt x="500164" y="263258"/>
                  </a:lnTo>
                  <a:lnTo>
                    <a:pt x="548081" y="267322"/>
                  </a:lnTo>
                  <a:close/>
                </a:path>
              </a:pathLst>
            </a:custGeom>
            <a:solidFill>
              <a:srgbClr val="2DB7EA"/>
            </a:solidFill>
          </p:spPr>
          <p:txBody>
            <a:bodyPr wrap="square" lIns="0" tIns="0" rIns="0" bIns="0" rtlCol="0"/>
            <a:lstStyle/>
            <a:p>
              <a:endParaRPr dirty="0"/>
            </a:p>
          </p:txBody>
        </p:sp>
        <p:pic>
          <p:nvPicPr>
            <p:cNvPr id="74" name="object 72">
              <a:extLst>
                <a:ext uri="{FF2B5EF4-FFF2-40B4-BE49-F238E27FC236}">
                  <a16:creationId xmlns:a16="http://schemas.microsoft.com/office/drawing/2014/main" id="{D12B4C92-6030-05BA-02C8-54A116872631}"/>
                </a:ext>
              </a:extLst>
            </p:cNvPr>
            <p:cNvPicPr/>
            <p:nvPr/>
          </p:nvPicPr>
          <p:blipFill>
            <a:blip r:embed="rId7" cstate="print"/>
            <a:stretch>
              <a:fillRect/>
            </a:stretch>
          </p:blipFill>
          <p:spPr>
            <a:xfrm>
              <a:off x="8019821" y="6794307"/>
              <a:ext cx="260137" cy="63416"/>
            </a:xfrm>
            <a:prstGeom prst="rect">
              <a:avLst/>
            </a:prstGeom>
          </p:spPr>
        </p:pic>
        <p:sp>
          <p:nvSpPr>
            <p:cNvPr id="75" name="object 73">
              <a:extLst>
                <a:ext uri="{FF2B5EF4-FFF2-40B4-BE49-F238E27FC236}">
                  <a16:creationId xmlns:a16="http://schemas.microsoft.com/office/drawing/2014/main" id="{3B9C79B6-641C-04F8-FF98-7FBB41144E75}"/>
                </a:ext>
              </a:extLst>
            </p:cNvPr>
            <p:cNvSpPr/>
            <p:nvPr/>
          </p:nvSpPr>
          <p:spPr>
            <a:xfrm>
              <a:off x="7983731" y="5171198"/>
              <a:ext cx="332700" cy="477101"/>
            </a:xfrm>
            <a:custGeom>
              <a:avLst/>
              <a:gdLst/>
              <a:ahLst/>
              <a:cxnLst/>
              <a:rect l="l" t="t" r="r" b="b"/>
              <a:pathLst>
                <a:path w="548640" h="786765">
                  <a:moveTo>
                    <a:pt x="548068" y="786396"/>
                  </a:moveTo>
                  <a:lnTo>
                    <a:pt x="542632" y="738225"/>
                  </a:lnTo>
                  <a:lnTo>
                    <a:pt x="529234" y="692975"/>
                  </a:lnTo>
                  <a:lnTo>
                    <a:pt x="508609" y="651344"/>
                  </a:lnTo>
                  <a:lnTo>
                    <a:pt x="481520" y="614083"/>
                  </a:lnTo>
                  <a:lnTo>
                    <a:pt x="448678" y="581939"/>
                  </a:lnTo>
                  <a:lnTo>
                    <a:pt x="410819" y="555625"/>
                  </a:lnTo>
                  <a:lnTo>
                    <a:pt x="368693" y="535889"/>
                  </a:lnTo>
                  <a:lnTo>
                    <a:pt x="323024" y="523468"/>
                  </a:lnTo>
                  <a:lnTo>
                    <a:pt x="274548" y="519087"/>
                  </a:lnTo>
                  <a:lnTo>
                    <a:pt x="273329" y="519087"/>
                  </a:lnTo>
                  <a:lnTo>
                    <a:pt x="224980" y="523455"/>
                  </a:lnTo>
                  <a:lnTo>
                    <a:pt x="179438" y="535813"/>
                  </a:lnTo>
                  <a:lnTo>
                    <a:pt x="137401" y="555459"/>
                  </a:lnTo>
                  <a:lnTo>
                    <a:pt x="99618" y="581660"/>
                  </a:lnTo>
                  <a:lnTo>
                    <a:pt x="66814" y="613676"/>
                  </a:lnTo>
                  <a:lnTo>
                    <a:pt x="39725" y="650773"/>
                  </a:lnTo>
                  <a:lnTo>
                    <a:pt x="19075" y="692238"/>
                  </a:lnTo>
                  <a:lnTo>
                    <a:pt x="5600" y="737323"/>
                  </a:lnTo>
                  <a:lnTo>
                    <a:pt x="38" y="785317"/>
                  </a:lnTo>
                  <a:lnTo>
                    <a:pt x="47713" y="781278"/>
                  </a:lnTo>
                  <a:lnTo>
                    <a:pt x="92227" y="769620"/>
                  </a:lnTo>
                  <a:lnTo>
                    <a:pt x="133464" y="751027"/>
                  </a:lnTo>
                  <a:lnTo>
                    <a:pt x="170726" y="726147"/>
                  </a:lnTo>
                  <a:lnTo>
                    <a:pt x="203352" y="695680"/>
                  </a:lnTo>
                  <a:lnTo>
                    <a:pt x="230670" y="660298"/>
                  </a:lnTo>
                  <a:lnTo>
                    <a:pt x="251993" y="620674"/>
                  </a:lnTo>
                  <a:lnTo>
                    <a:pt x="266649" y="577481"/>
                  </a:lnTo>
                  <a:lnTo>
                    <a:pt x="273989" y="531393"/>
                  </a:lnTo>
                  <a:lnTo>
                    <a:pt x="281165" y="577672"/>
                  </a:lnTo>
                  <a:lnTo>
                    <a:pt x="295719" y="621042"/>
                  </a:lnTo>
                  <a:lnTo>
                    <a:pt x="316979" y="660831"/>
                  </a:lnTo>
                  <a:lnTo>
                    <a:pt x="344271" y="696366"/>
                  </a:lnTo>
                  <a:lnTo>
                    <a:pt x="376923" y="726960"/>
                  </a:lnTo>
                  <a:lnTo>
                    <a:pt x="414235" y="751941"/>
                  </a:lnTo>
                  <a:lnTo>
                    <a:pt x="455536" y="770623"/>
                  </a:lnTo>
                  <a:lnTo>
                    <a:pt x="500164" y="782332"/>
                  </a:lnTo>
                  <a:lnTo>
                    <a:pt x="548068" y="786396"/>
                  </a:lnTo>
                  <a:close/>
                </a:path>
                <a:path w="548640" h="786765">
                  <a:moveTo>
                    <a:pt x="548068" y="520865"/>
                  </a:moveTo>
                  <a:lnTo>
                    <a:pt x="542632" y="472706"/>
                  </a:lnTo>
                  <a:lnTo>
                    <a:pt x="529234" y="427443"/>
                  </a:lnTo>
                  <a:lnTo>
                    <a:pt x="508609" y="385813"/>
                  </a:lnTo>
                  <a:lnTo>
                    <a:pt x="481520" y="348551"/>
                  </a:lnTo>
                  <a:lnTo>
                    <a:pt x="448678" y="316407"/>
                  </a:lnTo>
                  <a:lnTo>
                    <a:pt x="410819" y="290093"/>
                  </a:lnTo>
                  <a:lnTo>
                    <a:pt x="368693" y="270357"/>
                  </a:lnTo>
                  <a:lnTo>
                    <a:pt x="323024" y="257937"/>
                  </a:lnTo>
                  <a:lnTo>
                    <a:pt x="274548" y="253568"/>
                  </a:lnTo>
                  <a:lnTo>
                    <a:pt x="273329" y="253568"/>
                  </a:lnTo>
                  <a:lnTo>
                    <a:pt x="224980" y="257924"/>
                  </a:lnTo>
                  <a:lnTo>
                    <a:pt x="179438" y="270281"/>
                  </a:lnTo>
                  <a:lnTo>
                    <a:pt x="137401" y="289928"/>
                  </a:lnTo>
                  <a:lnTo>
                    <a:pt x="99618" y="316128"/>
                  </a:lnTo>
                  <a:lnTo>
                    <a:pt x="66814" y="348132"/>
                  </a:lnTo>
                  <a:lnTo>
                    <a:pt x="39725" y="385241"/>
                  </a:lnTo>
                  <a:lnTo>
                    <a:pt x="19075" y="426694"/>
                  </a:lnTo>
                  <a:lnTo>
                    <a:pt x="5600" y="471792"/>
                  </a:lnTo>
                  <a:lnTo>
                    <a:pt x="38" y="519772"/>
                  </a:lnTo>
                  <a:lnTo>
                    <a:pt x="47713" y="515734"/>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40"/>
                  </a:lnTo>
                  <a:lnTo>
                    <a:pt x="295719" y="355511"/>
                  </a:lnTo>
                  <a:lnTo>
                    <a:pt x="316979" y="395300"/>
                  </a:lnTo>
                  <a:lnTo>
                    <a:pt x="344271" y="430834"/>
                  </a:lnTo>
                  <a:lnTo>
                    <a:pt x="376923" y="461441"/>
                  </a:lnTo>
                  <a:lnTo>
                    <a:pt x="414235" y="486410"/>
                  </a:lnTo>
                  <a:lnTo>
                    <a:pt x="455536" y="505104"/>
                  </a:lnTo>
                  <a:lnTo>
                    <a:pt x="500164" y="516813"/>
                  </a:lnTo>
                  <a:lnTo>
                    <a:pt x="548068" y="520865"/>
                  </a:lnTo>
                  <a:close/>
                </a:path>
                <a:path w="548640" h="786765">
                  <a:moveTo>
                    <a:pt x="548081" y="267322"/>
                  </a:moveTo>
                  <a:lnTo>
                    <a:pt x="543318" y="225285"/>
                  </a:lnTo>
                  <a:lnTo>
                    <a:pt x="542632" y="219151"/>
                  </a:lnTo>
                  <a:lnTo>
                    <a:pt x="529234" y="173875"/>
                  </a:lnTo>
                  <a:lnTo>
                    <a:pt x="508622" y="132245"/>
                  </a:lnTo>
                  <a:lnTo>
                    <a:pt x="481533" y="94996"/>
                  </a:lnTo>
                  <a:lnTo>
                    <a:pt x="449376" y="63525"/>
                  </a:lnTo>
                  <a:lnTo>
                    <a:pt x="448691" y="62852"/>
                  </a:lnTo>
                  <a:lnTo>
                    <a:pt x="437134" y="54825"/>
                  </a:lnTo>
                  <a:lnTo>
                    <a:pt x="410832" y="36537"/>
                  </a:lnTo>
                  <a:lnTo>
                    <a:pt x="391096" y="27305"/>
                  </a:lnTo>
                  <a:lnTo>
                    <a:pt x="368706" y="16814"/>
                  </a:lnTo>
                  <a:lnTo>
                    <a:pt x="323037" y="4394"/>
                  </a:lnTo>
                  <a:lnTo>
                    <a:pt x="274561" y="12"/>
                  </a:lnTo>
                  <a:lnTo>
                    <a:pt x="273329" y="0"/>
                  </a:lnTo>
                  <a:lnTo>
                    <a:pt x="224980" y="4356"/>
                  </a:lnTo>
                  <a:lnTo>
                    <a:pt x="179438" y="16725"/>
                  </a:lnTo>
                  <a:lnTo>
                    <a:pt x="137401" y="36372"/>
                  </a:lnTo>
                  <a:lnTo>
                    <a:pt x="120650" y="47980"/>
                  </a:lnTo>
                  <a:lnTo>
                    <a:pt x="99618" y="62560"/>
                  </a:lnTo>
                  <a:lnTo>
                    <a:pt x="66814" y="94576"/>
                  </a:lnTo>
                  <a:lnTo>
                    <a:pt x="39687" y="131686"/>
                  </a:lnTo>
                  <a:lnTo>
                    <a:pt x="19037" y="173139"/>
                  </a:lnTo>
                  <a:lnTo>
                    <a:pt x="5562" y="218211"/>
                  </a:lnTo>
                  <a:lnTo>
                    <a:pt x="0" y="266192"/>
                  </a:lnTo>
                  <a:lnTo>
                    <a:pt x="47713" y="262178"/>
                  </a:lnTo>
                  <a:lnTo>
                    <a:pt x="92227" y="250520"/>
                  </a:lnTo>
                  <a:lnTo>
                    <a:pt x="133464" y="231927"/>
                  </a:lnTo>
                  <a:lnTo>
                    <a:pt x="155803" y="217004"/>
                  </a:lnTo>
                  <a:lnTo>
                    <a:pt x="170738" y="207048"/>
                  </a:lnTo>
                  <a:lnTo>
                    <a:pt x="203365" y="176593"/>
                  </a:lnTo>
                  <a:lnTo>
                    <a:pt x="230670" y="141211"/>
                  </a:lnTo>
                  <a:lnTo>
                    <a:pt x="251993" y="101600"/>
                  </a:lnTo>
                  <a:lnTo>
                    <a:pt x="266661" y="58407"/>
                  </a:lnTo>
                  <a:lnTo>
                    <a:pt x="273989" y="12319"/>
                  </a:lnTo>
                  <a:lnTo>
                    <a:pt x="281165" y="58585"/>
                  </a:lnTo>
                  <a:lnTo>
                    <a:pt x="295719" y="101942"/>
                  </a:lnTo>
                  <a:lnTo>
                    <a:pt x="316979" y="141744"/>
                  </a:lnTo>
                  <a:lnTo>
                    <a:pt x="344271" y="177279"/>
                  </a:lnTo>
                  <a:lnTo>
                    <a:pt x="376923" y="207873"/>
                  </a:lnTo>
                  <a:lnTo>
                    <a:pt x="414235" y="232867"/>
                  </a:lnTo>
                  <a:lnTo>
                    <a:pt x="455549" y="251548"/>
                  </a:lnTo>
                  <a:lnTo>
                    <a:pt x="500164" y="263258"/>
                  </a:lnTo>
                  <a:lnTo>
                    <a:pt x="548081" y="267322"/>
                  </a:lnTo>
                  <a:close/>
                </a:path>
              </a:pathLst>
            </a:custGeom>
            <a:solidFill>
              <a:srgbClr val="2DB7EA"/>
            </a:solidFill>
          </p:spPr>
          <p:txBody>
            <a:bodyPr wrap="square" lIns="0" tIns="0" rIns="0" bIns="0" rtlCol="0"/>
            <a:lstStyle/>
            <a:p>
              <a:endParaRPr dirty="0"/>
            </a:p>
          </p:txBody>
        </p:sp>
        <p:pic>
          <p:nvPicPr>
            <p:cNvPr id="76" name="object 74">
              <a:extLst>
                <a:ext uri="{FF2B5EF4-FFF2-40B4-BE49-F238E27FC236}">
                  <a16:creationId xmlns:a16="http://schemas.microsoft.com/office/drawing/2014/main" id="{6A260AD1-B4B3-0368-1A7B-8457393AC8F8}"/>
                </a:ext>
              </a:extLst>
            </p:cNvPr>
            <p:cNvPicPr/>
            <p:nvPr/>
          </p:nvPicPr>
          <p:blipFill>
            <a:blip r:embed="rId16" cstate="print"/>
            <a:stretch>
              <a:fillRect/>
            </a:stretch>
          </p:blipFill>
          <p:spPr>
            <a:xfrm>
              <a:off x="8096998" y="5626898"/>
              <a:ext cx="106445" cy="107156"/>
            </a:xfrm>
            <a:prstGeom prst="rect">
              <a:avLst/>
            </a:prstGeom>
          </p:spPr>
        </p:pic>
        <p:sp>
          <p:nvSpPr>
            <p:cNvPr id="77" name="object 75">
              <a:extLst>
                <a:ext uri="{FF2B5EF4-FFF2-40B4-BE49-F238E27FC236}">
                  <a16:creationId xmlns:a16="http://schemas.microsoft.com/office/drawing/2014/main" id="{1A23A83F-9457-72CD-696B-2DB5C4683C38}"/>
                </a:ext>
              </a:extLst>
            </p:cNvPr>
            <p:cNvSpPr/>
            <p:nvPr/>
          </p:nvSpPr>
          <p:spPr>
            <a:xfrm>
              <a:off x="7983731" y="5825360"/>
              <a:ext cx="332700" cy="477101"/>
            </a:xfrm>
            <a:custGeom>
              <a:avLst/>
              <a:gdLst/>
              <a:ahLst/>
              <a:cxnLst/>
              <a:rect l="l" t="t" r="r" b="b"/>
              <a:pathLst>
                <a:path w="548640" h="786765">
                  <a:moveTo>
                    <a:pt x="548068" y="786396"/>
                  </a:moveTo>
                  <a:lnTo>
                    <a:pt x="542632" y="738238"/>
                  </a:lnTo>
                  <a:lnTo>
                    <a:pt x="529234" y="692975"/>
                  </a:lnTo>
                  <a:lnTo>
                    <a:pt x="508609" y="651344"/>
                  </a:lnTo>
                  <a:lnTo>
                    <a:pt x="481520" y="614095"/>
                  </a:lnTo>
                  <a:lnTo>
                    <a:pt x="448678" y="581939"/>
                  </a:lnTo>
                  <a:lnTo>
                    <a:pt x="410819" y="555637"/>
                  </a:lnTo>
                  <a:lnTo>
                    <a:pt x="368693" y="535901"/>
                  </a:lnTo>
                  <a:lnTo>
                    <a:pt x="323024" y="523481"/>
                  </a:lnTo>
                  <a:lnTo>
                    <a:pt x="274548" y="519099"/>
                  </a:lnTo>
                  <a:lnTo>
                    <a:pt x="273329" y="519099"/>
                  </a:lnTo>
                  <a:lnTo>
                    <a:pt x="224980" y="523455"/>
                  </a:lnTo>
                  <a:lnTo>
                    <a:pt x="179438" y="535825"/>
                  </a:lnTo>
                  <a:lnTo>
                    <a:pt x="137401" y="555472"/>
                  </a:lnTo>
                  <a:lnTo>
                    <a:pt x="99618" y="581660"/>
                  </a:lnTo>
                  <a:lnTo>
                    <a:pt x="66814" y="613676"/>
                  </a:lnTo>
                  <a:lnTo>
                    <a:pt x="39725" y="650773"/>
                  </a:lnTo>
                  <a:lnTo>
                    <a:pt x="19075" y="692238"/>
                  </a:lnTo>
                  <a:lnTo>
                    <a:pt x="5600" y="737323"/>
                  </a:lnTo>
                  <a:lnTo>
                    <a:pt x="38" y="785304"/>
                  </a:lnTo>
                  <a:lnTo>
                    <a:pt x="47713" y="781278"/>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72"/>
                  </a:lnTo>
                  <a:lnTo>
                    <a:pt x="295719" y="621042"/>
                  </a:lnTo>
                  <a:lnTo>
                    <a:pt x="316979" y="660831"/>
                  </a:lnTo>
                  <a:lnTo>
                    <a:pt x="344271" y="696366"/>
                  </a:lnTo>
                  <a:lnTo>
                    <a:pt x="376923" y="726973"/>
                  </a:lnTo>
                  <a:lnTo>
                    <a:pt x="414235" y="751954"/>
                  </a:lnTo>
                  <a:lnTo>
                    <a:pt x="455536" y="770636"/>
                  </a:lnTo>
                  <a:lnTo>
                    <a:pt x="500164" y="782345"/>
                  </a:lnTo>
                  <a:lnTo>
                    <a:pt x="548068" y="786396"/>
                  </a:lnTo>
                  <a:close/>
                </a:path>
                <a:path w="548640" h="786765">
                  <a:moveTo>
                    <a:pt x="548068" y="520865"/>
                  </a:moveTo>
                  <a:lnTo>
                    <a:pt x="542632" y="472706"/>
                  </a:lnTo>
                  <a:lnTo>
                    <a:pt x="529234" y="427443"/>
                  </a:lnTo>
                  <a:lnTo>
                    <a:pt x="508609" y="385813"/>
                  </a:lnTo>
                  <a:lnTo>
                    <a:pt x="481520" y="348564"/>
                  </a:lnTo>
                  <a:lnTo>
                    <a:pt x="448678" y="316407"/>
                  </a:lnTo>
                  <a:lnTo>
                    <a:pt x="410819" y="290093"/>
                  </a:lnTo>
                  <a:lnTo>
                    <a:pt x="368693" y="270370"/>
                  </a:lnTo>
                  <a:lnTo>
                    <a:pt x="323024" y="257937"/>
                  </a:lnTo>
                  <a:lnTo>
                    <a:pt x="274548" y="253555"/>
                  </a:lnTo>
                  <a:lnTo>
                    <a:pt x="273329" y="253555"/>
                  </a:lnTo>
                  <a:lnTo>
                    <a:pt x="224980" y="257924"/>
                  </a:lnTo>
                  <a:lnTo>
                    <a:pt x="179438" y="270294"/>
                  </a:lnTo>
                  <a:lnTo>
                    <a:pt x="137401" y="289928"/>
                  </a:lnTo>
                  <a:lnTo>
                    <a:pt x="99618" y="316128"/>
                  </a:lnTo>
                  <a:lnTo>
                    <a:pt x="66814" y="348145"/>
                  </a:lnTo>
                  <a:lnTo>
                    <a:pt x="39725" y="385241"/>
                  </a:lnTo>
                  <a:lnTo>
                    <a:pt x="19075" y="426694"/>
                  </a:lnTo>
                  <a:lnTo>
                    <a:pt x="5600" y="471792"/>
                  </a:lnTo>
                  <a:lnTo>
                    <a:pt x="38" y="519772"/>
                  </a:lnTo>
                  <a:lnTo>
                    <a:pt x="47713" y="515734"/>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40"/>
                  </a:lnTo>
                  <a:lnTo>
                    <a:pt x="295719" y="355511"/>
                  </a:lnTo>
                  <a:lnTo>
                    <a:pt x="316979" y="395300"/>
                  </a:lnTo>
                  <a:lnTo>
                    <a:pt x="344271" y="430834"/>
                  </a:lnTo>
                  <a:lnTo>
                    <a:pt x="376923" y="461441"/>
                  </a:lnTo>
                  <a:lnTo>
                    <a:pt x="414235" y="486410"/>
                  </a:lnTo>
                  <a:lnTo>
                    <a:pt x="455536" y="505104"/>
                  </a:lnTo>
                  <a:lnTo>
                    <a:pt x="500164" y="516813"/>
                  </a:lnTo>
                  <a:lnTo>
                    <a:pt x="548068" y="520865"/>
                  </a:lnTo>
                  <a:close/>
                </a:path>
                <a:path w="548640" h="786765">
                  <a:moveTo>
                    <a:pt x="548081" y="267322"/>
                  </a:moveTo>
                  <a:lnTo>
                    <a:pt x="543242" y="224586"/>
                  </a:lnTo>
                  <a:lnTo>
                    <a:pt x="542632" y="219151"/>
                  </a:lnTo>
                  <a:lnTo>
                    <a:pt x="529234" y="173888"/>
                  </a:lnTo>
                  <a:lnTo>
                    <a:pt x="508622" y="132257"/>
                  </a:lnTo>
                  <a:lnTo>
                    <a:pt x="481533" y="94996"/>
                  </a:lnTo>
                  <a:lnTo>
                    <a:pt x="448691" y="62852"/>
                  </a:lnTo>
                  <a:lnTo>
                    <a:pt x="422376" y="44577"/>
                  </a:lnTo>
                  <a:lnTo>
                    <a:pt x="410832" y="36550"/>
                  </a:lnTo>
                  <a:lnTo>
                    <a:pt x="368706" y="16814"/>
                  </a:lnTo>
                  <a:lnTo>
                    <a:pt x="323037" y="4394"/>
                  </a:lnTo>
                  <a:lnTo>
                    <a:pt x="274548" y="0"/>
                  </a:lnTo>
                  <a:lnTo>
                    <a:pt x="273329" y="0"/>
                  </a:lnTo>
                  <a:lnTo>
                    <a:pt x="224980" y="4356"/>
                  </a:lnTo>
                  <a:lnTo>
                    <a:pt x="179438" y="16725"/>
                  </a:lnTo>
                  <a:lnTo>
                    <a:pt x="137401" y="36372"/>
                  </a:lnTo>
                  <a:lnTo>
                    <a:pt x="120675" y="47967"/>
                  </a:lnTo>
                  <a:lnTo>
                    <a:pt x="99618" y="62572"/>
                  </a:lnTo>
                  <a:lnTo>
                    <a:pt x="66814" y="94576"/>
                  </a:lnTo>
                  <a:lnTo>
                    <a:pt x="39687" y="131686"/>
                  </a:lnTo>
                  <a:lnTo>
                    <a:pt x="19037" y="173139"/>
                  </a:lnTo>
                  <a:lnTo>
                    <a:pt x="5562" y="218224"/>
                  </a:lnTo>
                  <a:lnTo>
                    <a:pt x="0" y="266192"/>
                  </a:lnTo>
                  <a:lnTo>
                    <a:pt x="47713" y="262178"/>
                  </a:lnTo>
                  <a:lnTo>
                    <a:pt x="92227" y="250532"/>
                  </a:lnTo>
                  <a:lnTo>
                    <a:pt x="133464" y="231927"/>
                  </a:lnTo>
                  <a:lnTo>
                    <a:pt x="170726" y="207060"/>
                  </a:lnTo>
                  <a:lnTo>
                    <a:pt x="172897" y="205041"/>
                  </a:lnTo>
                  <a:lnTo>
                    <a:pt x="203365" y="176593"/>
                  </a:lnTo>
                  <a:lnTo>
                    <a:pt x="230670" y="141224"/>
                  </a:lnTo>
                  <a:lnTo>
                    <a:pt x="251993" y="101600"/>
                  </a:lnTo>
                  <a:lnTo>
                    <a:pt x="266661" y="58407"/>
                  </a:lnTo>
                  <a:lnTo>
                    <a:pt x="273989" y="12331"/>
                  </a:lnTo>
                  <a:lnTo>
                    <a:pt x="281165" y="58585"/>
                  </a:lnTo>
                  <a:lnTo>
                    <a:pt x="295719" y="101955"/>
                  </a:lnTo>
                  <a:lnTo>
                    <a:pt x="316979" y="141744"/>
                  </a:lnTo>
                  <a:lnTo>
                    <a:pt x="344271" y="177279"/>
                  </a:lnTo>
                  <a:lnTo>
                    <a:pt x="360070" y="192087"/>
                  </a:lnTo>
                  <a:lnTo>
                    <a:pt x="376923" y="207886"/>
                  </a:lnTo>
                  <a:lnTo>
                    <a:pt x="414235" y="232867"/>
                  </a:lnTo>
                  <a:lnTo>
                    <a:pt x="455549" y="251561"/>
                  </a:lnTo>
                  <a:lnTo>
                    <a:pt x="500164" y="263271"/>
                  </a:lnTo>
                  <a:lnTo>
                    <a:pt x="548081" y="267322"/>
                  </a:lnTo>
                  <a:close/>
                </a:path>
              </a:pathLst>
            </a:custGeom>
            <a:solidFill>
              <a:srgbClr val="7ED3F1"/>
            </a:solidFill>
          </p:spPr>
          <p:txBody>
            <a:bodyPr wrap="square" lIns="0" tIns="0" rIns="0" bIns="0" rtlCol="0"/>
            <a:lstStyle/>
            <a:p>
              <a:endParaRPr dirty="0"/>
            </a:p>
          </p:txBody>
        </p:sp>
        <p:pic>
          <p:nvPicPr>
            <p:cNvPr id="78" name="object 76">
              <a:extLst>
                <a:ext uri="{FF2B5EF4-FFF2-40B4-BE49-F238E27FC236}">
                  <a16:creationId xmlns:a16="http://schemas.microsoft.com/office/drawing/2014/main" id="{F3998477-21A0-88E4-F6F5-E46C382C8417}"/>
                </a:ext>
              </a:extLst>
            </p:cNvPr>
            <p:cNvPicPr/>
            <p:nvPr/>
          </p:nvPicPr>
          <p:blipFill>
            <a:blip r:embed="rId17" cstate="print"/>
            <a:stretch>
              <a:fillRect/>
            </a:stretch>
          </p:blipFill>
          <p:spPr>
            <a:xfrm>
              <a:off x="8096998" y="6281064"/>
              <a:ext cx="106445" cy="107156"/>
            </a:xfrm>
            <a:prstGeom prst="rect">
              <a:avLst/>
            </a:prstGeom>
          </p:spPr>
        </p:pic>
        <p:sp>
          <p:nvSpPr>
            <p:cNvPr id="79" name="object 77">
              <a:extLst>
                <a:ext uri="{FF2B5EF4-FFF2-40B4-BE49-F238E27FC236}">
                  <a16:creationId xmlns:a16="http://schemas.microsoft.com/office/drawing/2014/main" id="{694F2911-A6B7-50C8-2532-5805EBAD2840}"/>
                </a:ext>
              </a:extLst>
            </p:cNvPr>
            <p:cNvSpPr/>
            <p:nvPr/>
          </p:nvSpPr>
          <p:spPr>
            <a:xfrm>
              <a:off x="9138939" y="6037749"/>
              <a:ext cx="332700" cy="477101"/>
            </a:xfrm>
            <a:custGeom>
              <a:avLst/>
              <a:gdLst/>
              <a:ahLst/>
              <a:cxnLst/>
              <a:rect l="l" t="t" r="r" b="b"/>
              <a:pathLst>
                <a:path w="548640" h="786765">
                  <a:moveTo>
                    <a:pt x="548081" y="520179"/>
                  </a:moveTo>
                  <a:lnTo>
                    <a:pt x="500367" y="524217"/>
                  </a:lnTo>
                  <a:lnTo>
                    <a:pt x="455841" y="535876"/>
                  </a:lnTo>
                  <a:lnTo>
                    <a:pt x="414616" y="554469"/>
                  </a:lnTo>
                  <a:lnTo>
                    <a:pt x="402221" y="562749"/>
                  </a:lnTo>
                  <a:lnTo>
                    <a:pt x="377355" y="579348"/>
                  </a:lnTo>
                  <a:lnTo>
                    <a:pt x="344728" y="609803"/>
                  </a:lnTo>
                  <a:lnTo>
                    <a:pt x="317411" y="645172"/>
                  </a:lnTo>
                  <a:lnTo>
                    <a:pt x="296087" y="684796"/>
                  </a:lnTo>
                  <a:lnTo>
                    <a:pt x="281419" y="727989"/>
                  </a:lnTo>
                  <a:lnTo>
                    <a:pt x="274078" y="774039"/>
                  </a:lnTo>
                  <a:lnTo>
                    <a:pt x="268224" y="736307"/>
                  </a:lnTo>
                  <a:lnTo>
                    <a:pt x="266915" y="727824"/>
                  </a:lnTo>
                  <a:lnTo>
                    <a:pt x="252361" y="684453"/>
                  </a:lnTo>
                  <a:lnTo>
                    <a:pt x="244944" y="670598"/>
                  </a:lnTo>
                  <a:lnTo>
                    <a:pt x="231101"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38"/>
                  </a:lnTo>
                  <a:lnTo>
                    <a:pt x="66548" y="691400"/>
                  </a:lnTo>
                  <a:lnTo>
                    <a:pt x="99390" y="723544"/>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5">
                  <a:moveTo>
                    <a:pt x="548081" y="266611"/>
                  </a:moveTo>
                  <a:lnTo>
                    <a:pt x="500367" y="270649"/>
                  </a:lnTo>
                  <a:lnTo>
                    <a:pt x="455841" y="282308"/>
                  </a:lnTo>
                  <a:lnTo>
                    <a:pt x="414616" y="300901"/>
                  </a:lnTo>
                  <a:lnTo>
                    <a:pt x="377355" y="325780"/>
                  </a:lnTo>
                  <a:lnTo>
                    <a:pt x="344728" y="356235"/>
                  </a:lnTo>
                  <a:lnTo>
                    <a:pt x="317411" y="391629"/>
                  </a:lnTo>
                  <a:lnTo>
                    <a:pt x="296087" y="431253"/>
                  </a:lnTo>
                  <a:lnTo>
                    <a:pt x="281419" y="474446"/>
                  </a:lnTo>
                  <a:lnTo>
                    <a:pt x="274091" y="520534"/>
                  </a:lnTo>
                  <a:lnTo>
                    <a:pt x="266915" y="474256"/>
                  </a:lnTo>
                  <a:lnTo>
                    <a:pt x="252361" y="430885"/>
                  </a:lnTo>
                  <a:lnTo>
                    <a:pt x="231101" y="391096"/>
                  </a:lnTo>
                  <a:lnTo>
                    <a:pt x="203796" y="355561"/>
                  </a:lnTo>
                  <a:lnTo>
                    <a:pt x="171157" y="324954"/>
                  </a:lnTo>
                  <a:lnTo>
                    <a:pt x="133845" y="299986"/>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87" y="516026"/>
                  </a:lnTo>
                  <a:lnTo>
                    <a:pt x="225056" y="528459"/>
                  </a:lnTo>
                  <a:lnTo>
                    <a:pt x="273532" y="532841"/>
                  </a:lnTo>
                  <a:lnTo>
                    <a:pt x="274751" y="532841"/>
                  </a:lnTo>
                  <a:lnTo>
                    <a:pt x="323088" y="528472"/>
                  </a:lnTo>
                  <a:lnTo>
                    <a:pt x="368642" y="516102"/>
                  </a:lnTo>
                  <a:lnTo>
                    <a:pt x="410679" y="496468"/>
                  </a:lnTo>
                  <a:lnTo>
                    <a:pt x="448475" y="470268"/>
                  </a:lnTo>
                  <a:lnTo>
                    <a:pt x="481279" y="438251"/>
                  </a:lnTo>
                  <a:lnTo>
                    <a:pt x="508368" y="401154"/>
                  </a:lnTo>
                  <a:lnTo>
                    <a:pt x="529031" y="359689"/>
                  </a:lnTo>
                  <a:lnTo>
                    <a:pt x="542505" y="314604"/>
                  </a:lnTo>
                  <a:lnTo>
                    <a:pt x="548081" y="266611"/>
                  </a:lnTo>
                  <a:close/>
                </a:path>
                <a:path w="548640" h="786765">
                  <a:moveTo>
                    <a:pt x="548081" y="1092"/>
                  </a:moveTo>
                  <a:lnTo>
                    <a:pt x="500367" y="5130"/>
                  </a:lnTo>
                  <a:lnTo>
                    <a:pt x="455841" y="16789"/>
                  </a:lnTo>
                  <a:lnTo>
                    <a:pt x="414616" y="35382"/>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87" y="250507"/>
                  </a:lnTo>
                  <a:lnTo>
                    <a:pt x="225056" y="262928"/>
                  </a:lnTo>
                  <a:lnTo>
                    <a:pt x="273532" y="267309"/>
                  </a:lnTo>
                  <a:lnTo>
                    <a:pt x="274751" y="267309"/>
                  </a:lnTo>
                  <a:lnTo>
                    <a:pt x="323088" y="262953"/>
                  </a:lnTo>
                  <a:lnTo>
                    <a:pt x="368642" y="250583"/>
                  </a:lnTo>
                  <a:lnTo>
                    <a:pt x="410679" y="230936"/>
                  </a:lnTo>
                  <a:lnTo>
                    <a:pt x="448475" y="204749"/>
                  </a:lnTo>
                  <a:lnTo>
                    <a:pt x="481279" y="172732"/>
                  </a:lnTo>
                  <a:lnTo>
                    <a:pt x="508368" y="135623"/>
                  </a:lnTo>
                  <a:lnTo>
                    <a:pt x="529031" y="94170"/>
                  </a:lnTo>
                  <a:lnTo>
                    <a:pt x="542505" y="49085"/>
                  </a:lnTo>
                  <a:lnTo>
                    <a:pt x="548081" y="1092"/>
                  </a:lnTo>
                  <a:close/>
                </a:path>
              </a:pathLst>
            </a:custGeom>
            <a:solidFill>
              <a:srgbClr val="2DB7EA"/>
            </a:solidFill>
          </p:spPr>
          <p:txBody>
            <a:bodyPr wrap="square" lIns="0" tIns="0" rIns="0" bIns="0" rtlCol="0"/>
            <a:lstStyle/>
            <a:p>
              <a:endParaRPr dirty="0"/>
            </a:p>
          </p:txBody>
        </p:sp>
        <p:pic>
          <p:nvPicPr>
            <p:cNvPr id="80" name="object 78">
              <a:extLst>
                <a:ext uri="{FF2B5EF4-FFF2-40B4-BE49-F238E27FC236}">
                  <a16:creationId xmlns:a16="http://schemas.microsoft.com/office/drawing/2014/main" id="{1EF9F6D5-A7BB-8DB8-58D8-917DC0F4BA1A}"/>
                </a:ext>
              </a:extLst>
            </p:cNvPr>
            <p:cNvPicPr/>
            <p:nvPr/>
          </p:nvPicPr>
          <p:blipFill>
            <a:blip r:embed="rId10" cstate="print"/>
            <a:stretch>
              <a:fillRect/>
            </a:stretch>
          </p:blipFill>
          <p:spPr>
            <a:xfrm>
              <a:off x="9251594" y="5951762"/>
              <a:ext cx="106445" cy="107156"/>
            </a:xfrm>
            <a:prstGeom prst="rect">
              <a:avLst/>
            </a:prstGeom>
          </p:spPr>
        </p:pic>
        <p:sp>
          <p:nvSpPr>
            <p:cNvPr id="81" name="object 79">
              <a:extLst>
                <a:ext uri="{FF2B5EF4-FFF2-40B4-BE49-F238E27FC236}">
                  <a16:creationId xmlns:a16="http://schemas.microsoft.com/office/drawing/2014/main" id="{0AE0ECD0-B98E-9586-2BCB-41F30B1ED545}"/>
                </a:ext>
              </a:extLst>
            </p:cNvPr>
            <p:cNvSpPr/>
            <p:nvPr/>
          </p:nvSpPr>
          <p:spPr>
            <a:xfrm>
              <a:off x="9138939" y="5383587"/>
              <a:ext cx="332700" cy="477101"/>
            </a:xfrm>
            <a:custGeom>
              <a:avLst/>
              <a:gdLst/>
              <a:ahLst/>
              <a:cxnLst/>
              <a:rect l="l" t="t" r="r" b="b"/>
              <a:pathLst>
                <a:path w="548640" h="786765">
                  <a:moveTo>
                    <a:pt x="548081" y="520179"/>
                  </a:moveTo>
                  <a:lnTo>
                    <a:pt x="500367" y="524217"/>
                  </a:lnTo>
                  <a:lnTo>
                    <a:pt x="455841" y="535876"/>
                  </a:lnTo>
                  <a:lnTo>
                    <a:pt x="414616" y="554469"/>
                  </a:lnTo>
                  <a:lnTo>
                    <a:pt x="402209" y="562749"/>
                  </a:lnTo>
                  <a:lnTo>
                    <a:pt x="377355" y="579335"/>
                  </a:lnTo>
                  <a:lnTo>
                    <a:pt x="344716" y="609790"/>
                  </a:lnTo>
                  <a:lnTo>
                    <a:pt x="317411" y="645172"/>
                  </a:lnTo>
                  <a:lnTo>
                    <a:pt x="296087" y="684796"/>
                  </a:lnTo>
                  <a:lnTo>
                    <a:pt x="281419" y="727976"/>
                  </a:lnTo>
                  <a:lnTo>
                    <a:pt x="274078" y="774039"/>
                  </a:lnTo>
                  <a:lnTo>
                    <a:pt x="266915" y="727811"/>
                  </a:lnTo>
                  <a:lnTo>
                    <a:pt x="252361" y="684441"/>
                  </a:lnTo>
                  <a:lnTo>
                    <a:pt x="231101" y="644652"/>
                  </a:lnTo>
                  <a:lnTo>
                    <a:pt x="203796" y="609117"/>
                  </a:lnTo>
                  <a:lnTo>
                    <a:pt x="171157" y="578523"/>
                  </a:lnTo>
                  <a:lnTo>
                    <a:pt x="133845" y="553542"/>
                  </a:lnTo>
                  <a:lnTo>
                    <a:pt x="92532" y="534847"/>
                  </a:lnTo>
                  <a:lnTo>
                    <a:pt x="47917" y="523125"/>
                  </a:lnTo>
                  <a:lnTo>
                    <a:pt x="0" y="519061"/>
                  </a:lnTo>
                  <a:lnTo>
                    <a:pt x="5448" y="567258"/>
                  </a:lnTo>
                  <a:lnTo>
                    <a:pt x="18846" y="612508"/>
                  </a:lnTo>
                  <a:lnTo>
                    <a:pt x="39458" y="654138"/>
                  </a:lnTo>
                  <a:lnTo>
                    <a:pt x="66548" y="691388"/>
                  </a:lnTo>
                  <a:lnTo>
                    <a:pt x="67246" y="692073"/>
                  </a:lnTo>
                  <a:lnTo>
                    <a:pt x="99390" y="723544"/>
                  </a:lnTo>
                  <a:lnTo>
                    <a:pt x="137248" y="749858"/>
                  </a:lnTo>
                  <a:lnTo>
                    <a:pt x="179387" y="769594"/>
                  </a:lnTo>
                  <a:lnTo>
                    <a:pt x="225056" y="782015"/>
                  </a:lnTo>
                  <a:lnTo>
                    <a:pt x="273532" y="786396"/>
                  </a:lnTo>
                  <a:lnTo>
                    <a:pt x="274751" y="786396"/>
                  </a:lnTo>
                  <a:lnTo>
                    <a:pt x="323088" y="782027"/>
                  </a:lnTo>
                  <a:lnTo>
                    <a:pt x="368642" y="769670"/>
                  </a:lnTo>
                  <a:lnTo>
                    <a:pt x="410679" y="750023"/>
                  </a:lnTo>
                  <a:lnTo>
                    <a:pt x="448475" y="723823"/>
                  </a:lnTo>
                  <a:lnTo>
                    <a:pt x="481279" y="691819"/>
                  </a:lnTo>
                  <a:lnTo>
                    <a:pt x="488492" y="681939"/>
                  </a:lnTo>
                  <a:lnTo>
                    <a:pt x="508393" y="654697"/>
                  </a:lnTo>
                  <a:lnTo>
                    <a:pt x="529031" y="613257"/>
                  </a:lnTo>
                  <a:lnTo>
                    <a:pt x="542518" y="568172"/>
                  </a:lnTo>
                  <a:lnTo>
                    <a:pt x="548068" y="520204"/>
                  </a:lnTo>
                  <a:close/>
                </a:path>
                <a:path w="548640" h="786765">
                  <a:moveTo>
                    <a:pt x="548081" y="266623"/>
                  </a:moveTo>
                  <a:lnTo>
                    <a:pt x="500367" y="270649"/>
                  </a:lnTo>
                  <a:lnTo>
                    <a:pt x="455841" y="282308"/>
                  </a:lnTo>
                  <a:lnTo>
                    <a:pt x="414616" y="300913"/>
                  </a:lnTo>
                  <a:lnTo>
                    <a:pt x="377355" y="325780"/>
                  </a:lnTo>
                  <a:lnTo>
                    <a:pt x="344728" y="356235"/>
                  </a:lnTo>
                  <a:lnTo>
                    <a:pt x="317411" y="391617"/>
                  </a:lnTo>
                  <a:lnTo>
                    <a:pt x="296087" y="431241"/>
                  </a:lnTo>
                  <a:lnTo>
                    <a:pt x="281419" y="474446"/>
                  </a:lnTo>
                  <a:lnTo>
                    <a:pt x="274091" y="520522"/>
                  </a:lnTo>
                  <a:lnTo>
                    <a:pt x="266915" y="474256"/>
                  </a:lnTo>
                  <a:lnTo>
                    <a:pt x="252361" y="430885"/>
                  </a:lnTo>
                  <a:lnTo>
                    <a:pt x="231101"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76"/>
                  </a:lnTo>
                  <a:lnTo>
                    <a:pt x="137248" y="496290"/>
                  </a:lnTo>
                  <a:lnTo>
                    <a:pt x="179387" y="516026"/>
                  </a:lnTo>
                  <a:lnTo>
                    <a:pt x="225056" y="528447"/>
                  </a:lnTo>
                  <a:lnTo>
                    <a:pt x="273532" y="532828"/>
                  </a:lnTo>
                  <a:lnTo>
                    <a:pt x="274751" y="532828"/>
                  </a:lnTo>
                  <a:lnTo>
                    <a:pt x="323088" y="528472"/>
                  </a:lnTo>
                  <a:lnTo>
                    <a:pt x="368642" y="516102"/>
                  </a:lnTo>
                  <a:lnTo>
                    <a:pt x="410679" y="496455"/>
                  </a:lnTo>
                  <a:lnTo>
                    <a:pt x="448475" y="470268"/>
                  </a:lnTo>
                  <a:lnTo>
                    <a:pt x="481279" y="438251"/>
                  </a:lnTo>
                  <a:lnTo>
                    <a:pt x="508368" y="401154"/>
                  </a:lnTo>
                  <a:lnTo>
                    <a:pt x="529031" y="359689"/>
                  </a:lnTo>
                  <a:lnTo>
                    <a:pt x="542505" y="314604"/>
                  </a:lnTo>
                  <a:lnTo>
                    <a:pt x="548081" y="266623"/>
                  </a:lnTo>
                  <a:close/>
                </a:path>
                <a:path w="548640" h="786765">
                  <a:moveTo>
                    <a:pt x="548081" y="1079"/>
                  </a:moveTo>
                  <a:lnTo>
                    <a:pt x="500367" y="5118"/>
                  </a:lnTo>
                  <a:lnTo>
                    <a:pt x="455841" y="16764"/>
                  </a:lnTo>
                  <a:lnTo>
                    <a:pt x="414616" y="35369"/>
                  </a:lnTo>
                  <a:lnTo>
                    <a:pt x="377355" y="60236"/>
                  </a:lnTo>
                  <a:lnTo>
                    <a:pt x="344728" y="90703"/>
                  </a:lnTo>
                  <a:lnTo>
                    <a:pt x="317411" y="126085"/>
                  </a:lnTo>
                  <a:lnTo>
                    <a:pt x="296087" y="165722"/>
                  </a:lnTo>
                  <a:lnTo>
                    <a:pt x="281419" y="208915"/>
                  </a:lnTo>
                  <a:lnTo>
                    <a:pt x="274091" y="255003"/>
                  </a:lnTo>
                  <a:lnTo>
                    <a:pt x="266915" y="208724"/>
                  </a:lnTo>
                  <a:lnTo>
                    <a:pt x="252361" y="165354"/>
                  </a:lnTo>
                  <a:lnTo>
                    <a:pt x="231101"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36"/>
                  </a:lnTo>
                  <a:lnTo>
                    <a:pt x="481279" y="172720"/>
                  </a:lnTo>
                  <a:lnTo>
                    <a:pt x="508368" y="135623"/>
                  </a:lnTo>
                  <a:lnTo>
                    <a:pt x="529031" y="94157"/>
                  </a:lnTo>
                  <a:lnTo>
                    <a:pt x="542505" y="49072"/>
                  </a:lnTo>
                  <a:lnTo>
                    <a:pt x="548081" y="1079"/>
                  </a:lnTo>
                  <a:close/>
                </a:path>
              </a:pathLst>
            </a:custGeom>
            <a:solidFill>
              <a:srgbClr val="7ED3F1"/>
            </a:solidFill>
          </p:spPr>
          <p:txBody>
            <a:bodyPr wrap="square" lIns="0" tIns="0" rIns="0" bIns="0" rtlCol="0"/>
            <a:lstStyle/>
            <a:p>
              <a:endParaRPr dirty="0"/>
            </a:p>
          </p:txBody>
        </p:sp>
        <p:pic>
          <p:nvPicPr>
            <p:cNvPr id="82" name="object 80">
              <a:extLst>
                <a:ext uri="{FF2B5EF4-FFF2-40B4-BE49-F238E27FC236}">
                  <a16:creationId xmlns:a16="http://schemas.microsoft.com/office/drawing/2014/main" id="{4C22D238-01E7-4AFC-0708-55F253703F0E}"/>
                </a:ext>
              </a:extLst>
            </p:cNvPr>
            <p:cNvPicPr/>
            <p:nvPr/>
          </p:nvPicPr>
          <p:blipFill>
            <a:blip r:embed="rId11" cstate="print"/>
            <a:stretch>
              <a:fillRect/>
            </a:stretch>
          </p:blipFill>
          <p:spPr>
            <a:xfrm>
              <a:off x="9251594" y="5297596"/>
              <a:ext cx="106445" cy="107156"/>
            </a:xfrm>
            <a:prstGeom prst="rect">
              <a:avLst/>
            </a:prstGeom>
          </p:spPr>
        </p:pic>
        <p:sp>
          <p:nvSpPr>
            <p:cNvPr id="83" name="object 81">
              <a:extLst>
                <a:ext uri="{FF2B5EF4-FFF2-40B4-BE49-F238E27FC236}">
                  <a16:creationId xmlns:a16="http://schemas.microsoft.com/office/drawing/2014/main" id="{B85EBF18-A33C-0AA9-8F38-D542F1CF429E}"/>
                </a:ext>
              </a:extLst>
            </p:cNvPr>
            <p:cNvSpPr/>
            <p:nvPr/>
          </p:nvSpPr>
          <p:spPr>
            <a:xfrm>
              <a:off x="9138939" y="6691912"/>
              <a:ext cx="332700" cy="165965"/>
            </a:xfrm>
            <a:custGeom>
              <a:avLst/>
              <a:gdLst/>
              <a:ahLst/>
              <a:cxnLst/>
              <a:rect l="l" t="t" r="r" b="b"/>
              <a:pathLst>
                <a:path w="548640" h="273684">
                  <a:moveTo>
                    <a:pt x="62572" y="273431"/>
                  </a:moveTo>
                  <a:lnTo>
                    <a:pt x="47917" y="269595"/>
                  </a:lnTo>
                  <a:lnTo>
                    <a:pt x="0" y="265544"/>
                  </a:lnTo>
                  <a:lnTo>
                    <a:pt x="901" y="273431"/>
                  </a:lnTo>
                  <a:lnTo>
                    <a:pt x="62572" y="273431"/>
                  </a:lnTo>
                  <a:close/>
                </a:path>
                <a:path w="548640" h="273684">
                  <a:moveTo>
                    <a:pt x="548081" y="266623"/>
                  </a:moveTo>
                  <a:lnTo>
                    <a:pt x="500367" y="270649"/>
                  </a:lnTo>
                  <a:lnTo>
                    <a:pt x="489737" y="273431"/>
                  </a:lnTo>
                  <a:lnTo>
                    <a:pt x="547293" y="273431"/>
                  </a:lnTo>
                  <a:lnTo>
                    <a:pt x="548081" y="266623"/>
                  </a:lnTo>
                  <a:close/>
                </a:path>
                <a:path w="548640" h="273684">
                  <a:moveTo>
                    <a:pt x="548081" y="1079"/>
                  </a:moveTo>
                  <a:lnTo>
                    <a:pt x="500367" y="5118"/>
                  </a:lnTo>
                  <a:lnTo>
                    <a:pt x="455841" y="16776"/>
                  </a:lnTo>
                  <a:lnTo>
                    <a:pt x="414616" y="35382"/>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73"/>
                  </a:lnTo>
                  <a:lnTo>
                    <a:pt x="47917" y="4064"/>
                  </a:lnTo>
                  <a:lnTo>
                    <a:pt x="0" y="0"/>
                  </a:lnTo>
                  <a:lnTo>
                    <a:pt x="5448" y="48171"/>
                  </a:lnTo>
                  <a:lnTo>
                    <a:pt x="18846" y="93421"/>
                  </a:lnTo>
                  <a:lnTo>
                    <a:pt x="39458" y="135051"/>
                  </a:lnTo>
                  <a:lnTo>
                    <a:pt x="66560" y="172313"/>
                  </a:lnTo>
                  <a:lnTo>
                    <a:pt x="99402" y="204457"/>
                  </a:lnTo>
                  <a:lnTo>
                    <a:pt x="137248" y="230771"/>
                  </a:lnTo>
                  <a:lnTo>
                    <a:pt x="179387" y="250507"/>
                  </a:lnTo>
                  <a:lnTo>
                    <a:pt x="225056" y="262928"/>
                  </a:lnTo>
                  <a:lnTo>
                    <a:pt x="273532" y="267309"/>
                  </a:lnTo>
                  <a:lnTo>
                    <a:pt x="274751" y="267309"/>
                  </a:lnTo>
                  <a:lnTo>
                    <a:pt x="323088" y="262940"/>
                  </a:lnTo>
                  <a:lnTo>
                    <a:pt x="368642" y="250583"/>
                  </a:lnTo>
                  <a:lnTo>
                    <a:pt x="410679" y="230936"/>
                  </a:lnTo>
                  <a:lnTo>
                    <a:pt x="448475" y="204736"/>
                  </a:lnTo>
                  <a:lnTo>
                    <a:pt x="481279" y="172720"/>
                  </a:lnTo>
                  <a:lnTo>
                    <a:pt x="508368" y="135623"/>
                  </a:lnTo>
                  <a:lnTo>
                    <a:pt x="529031" y="94157"/>
                  </a:lnTo>
                  <a:lnTo>
                    <a:pt x="542505" y="49072"/>
                  </a:lnTo>
                  <a:lnTo>
                    <a:pt x="548081" y="1079"/>
                  </a:lnTo>
                  <a:close/>
                </a:path>
              </a:pathLst>
            </a:custGeom>
            <a:solidFill>
              <a:srgbClr val="7ED3F1"/>
            </a:solidFill>
          </p:spPr>
          <p:txBody>
            <a:bodyPr wrap="square" lIns="0" tIns="0" rIns="0" bIns="0" rtlCol="0"/>
            <a:lstStyle/>
            <a:p>
              <a:endParaRPr dirty="0"/>
            </a:p>
          </p:txBody>
        </p:sp>
        <p:pic>
          <p:nvPicPr>
            <p:cNvPr id="84" name="object 82">
              <a:extLst>
                <a:ext uri="{FF2B5EF4-FFF2-40B4-BE49-F238E27FC236}">
                  <a16:creationId xmlns:a16="http://schemas.microsoft.com/office/drawing/2014/main" id="{659E30E9-43BA-AD50-911E-FAA31985B0DF}"/>
                </a:ext>
              </a:extLst>
            </p:cNvPr>
            <p:cNvPicPr/>
            <p:nvPr/>
          </p:nvPicPr>
          <p:blipFill>
            <a:blip r:embed="rId11" cstate="print"/>
            <a:stretch>
              <a:fillRect/>
            </a:stretch>
          </p:blipFill>
          <p:spPr>
            <a:xfrm>
              <a:off x="9251594" y="6605926"/>
              <a:ext cx="106445" cy="107156"/>
            </a:xfrm>
            <a:prstGeom prst="rect">
              <a:avLst/>
            </a:prstGeom>
          </p:spPr>
        </p:pic>
        <p:sp>
          <p:nvSpPr>
            <p:cNvPr id="85" name="object 83">
              <a:extLst>
                <a:ext uri="{FF2B5EF4-FFF2-40B4-BE49-F238E27FC236}">
                  <a16:creationId xmlns:a16="http://schemas.microsoft.com/office/drawing/2014/main" id="{77CE04BA-76D3-41B1-93CA-FAC55F4E5527}"/>
                </a:ext>
              </a:extLst>
            </p:cNvPr>
            <p:cNvSpPr/>
            <p:nvPr/>
          </p:nvSpPr>
          <p:spPr>
            <a:xfrm>
              <a:off x="8753854" y="6479532"/>
              <a:ext cx="332700" cy="316141"/>
            </a:xfrm>
            <a:custGeom>
              <a:avLst/>
              <a:gdLst/>
              <a:ahLst/>
              <a:cxnLst/>
              <a:rect l="l" t="t" r="r" b="b"/>
              <a:pathLst>
                <a:path w="548640" h="521334">
                  <a:moveTo>
                    <a:pt x="548081" y="520852"/>
                  </a:moveTo>
                  <a:lnTo>
                    <a:pt x="542645" y="472694"/>
                  </a:lnTo>
                  <a:lnTo>
                    <a:pt x="529247" y="427431"/>
                  </a:lnTo>
                  <a:lnTo>
                    <a:pt x="508622" y="385800"/>
                  </a:lnTo>
                  <a:lnTo>
                    <a:pt x="481533" y="348551"/>
                  </a:lnTo>
                  <a:lnTo>
                    <a:pt x="448691" y="316395"/>
                  </a:lnTo>
                  <a:lnTo>
                    <a:pt x="410832" y="290093"/>
                  </a:lnTo>
                  <a:lnTo>
                    <a:pt x="368706" y="270357"/>
                  </a:lnTo>
                  <a:lnTo>
                    <a:pt x="323037" y="257924"/>
                  </a:lnTo>
                  <a:lnTo>
                    <a:pt x="274561" y="253555"/>
                  </a:lnTo>
                  <a:lnTo>
                    <a:pt x="273342" y="253555"/>
                  </a:lnTo>
                  <a:lnTo>
                    <a:pt x="224993" y="257911"/>
                  </a:lnTo>
                  <a:lnTo>
                    <a:pt x="179438" y="270281"/>
                  </a:lnTo>
                  <a:lnTo>
                    <a:pt x="137414" y="289915"/>
                  </a:lnTo>
                  <a:lnTo>
                    <a:pt x="99618" y="316115"/>
                  </a:lnTo>
                  <a:lnTo>
                    <a:pt x="66827" y="348132"/>
                  </a:lnTo>
                  <a:lnTo>
                    <a:pt x="39738" y="385229"/>
                  </a:lnTo>
                  <a:lnTo>
                    <a:pt x="19088" y="426694"/>
                  </a:lnTo>
                  <a:lnTo>
                    <a:pt x="5613" y="471792"/>
                  </a:lnTo>
                  <a:lnTo>
                    <a:pt x="50" y="519772"/>
                  </a:lnTo>
                  <a:lnTo>
                    <a:pt x="47713" y="515747"/>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27"/>
                  </a:lnTo>
                  <a:lnTo>
                    <a:pt x="295732" y="355498"/>
                  </a:lnTo>
                  <a:lnTo>
                    <a:pt x="316992" y="395300"/>
                  </a:lnTo>
                  <a:lnTo>
                    <a:pt x="344284" y="430834"/>
                  </a:lnTo>
                  <a:lnTo>
                    <a:pt x="376936" y="461429"/>
                  </a:lnTo>
                  <a:lnTo>
                    <a:pt x="414248" y="486410"/>
                  </a:lnTo>
                  <a:lnTo>
                    <a:pt x="455549" y="505091"/>
                  </a:lnTo>
                  <a:lnTo>
                    <a:pt x="500176" y="516801"/>
                  </a:lnTo>
                  <a:lnTo>
                    <a:pt x="548081" y="520852"/>
                  </a:lnTo>
                  <a:close/>
                </a:path>
                <a:path w="548640" h="521334">
                  <a:moveTo>
                    <a:pt x="548093" y="267322"/>
                  </a:moveTo>
                  <a:lnTo>
                    <a:pt x="542645" y="219138"/>
                  </a:lnTo>
                  <a:lnTo>
                    <a:pt x="529247" y="173875"/>
                  </a:lnTo>
                  <a:lnTo>
                    <a:pt x="508635" y="132245"/>
                  </a:lnTo>
                  <a:lnTo>
                    <a:pt x="481533" y="94996"/>
                  </a:lnTo>
                  <a:lnTo>
                    <a:pt x="448691" y="62839"/>
                  </a:lnTo>
                  <a:lnTo>
                    <a:pt x="410845" y="36537"/>
                  </a:lnTo>
                  <a:lnTo>
                    <a:pt x="368719" y="16814"/>
                  </a:lnTo>
                  <a:lnTo>
                    <a:pt x="323037" y="4368"/>
                  </a:lnTo>
                  <a:lnTo>
                    <a:pt x="274574" y="12"/>
                  </a:lnTo>
                  <a:lnTo>
                    <a:pt x="273342" y="0"/>
                  </a:lnTo>
                  <a:lnTo>
                    <a:pt x="224993" y="4356"/>
                  </a:lnTo>
                  <a:lnTo>
                    <a:pt x="179438" y="16713"/>
                  </a:lnTo>
                  <a:lnTo>
                    <a:pt x="137414" y="36360"/>
                  </a:lnTo>
                  <a:lnTo>
                    <a:pt x="99618" y="62560"/>
                  </a:lnTo>
                  <a:lnTo>
                    <a:pt x="98806" y="63347"/>
                  </a:lnTo>
                  <a:lnTo>
                    <a:pt x="66827" y="94576"/>
                  </a:lnTo>
                  <a:lnTo>
                    <a:pt x="39700" y="131686"/>
                  </a:lnTo>
                  <a:lnTo>
                    <a:pt x="19050" y="173139"/>
                  </a:lnTo>
                  <a:lnTo>
                    <a:pt x="5575" y="218211"/>
                  </a:lnTo>
                  <a:lnTo>
                    <a:pt x="0" y="266192"/>
                  </a:lnTo>
                  <a:lnTo>
                    <a:pt x="47713" y="262178"/>
                  </a:lnTo>
                  <a:lnTo>
                    <a:pt x="92240" y="250520"/>
                  </a:lnTo>
                  <a:lnTo>
                    <a:pt x="133477" y="231914"/>
                  </a:lnTo>
                  <a:lnTo>
                    <a:pt x="170751" y="207048"/>
                  </a:lnTo>
                  <a:lnTo>
                    <a:pt x="203377" y="176593"/>
                  </a:lnTo>
                  <a:lnTo>
                    <a:pt x="230682" y="141211"/>
                  </a:lnTo>
                  <a:lnTo>
                    <a:pt x="252006" y="101600"/>
                  </a:lnTo>
                  <a:lnTo>
                    <a:pt x="266674" y="58407"/>
                  </a:lnTo>
                  <a:lnTo>
                    <a:pt x="274002" y="12319"/>
                  </a:lnTo>
                  <a:lnTo>
                    <a:pt x="281178" y="58572"/>
                  </a:lnTo>
                  <a:lnTo>
                    <a:pt x="295732" y="101942"/>
                  </a:lnTo>
                  <a:lnTo>
                    <a:pt x="316992" y="141744"/>
                  </a:lnTo>
                  <a:lnTo>
                    <a:pt x="344284" y="177279"/>
                  </a:lnTo>
                  <a:lnTo>
                    <a:pt x="376936" y="207873"/>
                  </a:lnTo>
                  <a:lnTo>
                    <a:pt x="414248" y="232854"/>
                  </a:lnTo>
                  <a:lnTo>
                    <a:pt x="455561"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86" name="object 84">
              <a:extLst>
                <a:ext uri="{FF2B5EF4-FFF2-40B4-BE49-F238E27FC236}">
                  <a16:creationId xmlns:a16="http://schemas.microsoft.com/office/drawing/2014/main" id="{601931BC-A749-2AE2-E50B-791AA0F3E602}"/>
                </a:ext>
              </a:extLst>
            </p:cNvPr>
            <p:cNvPicPr/>
            <p:nvPr/>
          </p:nvPicPr>
          <p:blipFill>
            <a:blip r:embed="rId7" cstate="print"/>
            <a:stretch>
              <a:fillRect/>
            </a:stretch>
          </p:blipFill>
          <p:spPr>
            <a:xfrm>
              <a:off x="8789951" y="6794307"/>
              <a:ext cx="260137" cy="63416"/>
            </a:xfrm>
            <a:prstGeom prst="rect">
              <a:avLst/>
            </a:prstGeom>
          </p:spPr>
        </p:pic>
        <p:sp>
          <p:nvSpPr>
            <p:cNvPr id="87" name="object 85">
              <a:extLst>
                <a:ext uri="{FF2B5EF4-FFF2-40B4-BE49-F238E27FC236}">
                  <a16:creationId xmlns:a16="http://schemas.microsoft.com/office/drawing/2014/main" id="{62137A0F-1698-F9C9-8564-E8BDF46F73B0}"/>
                </a:ext>
              </a:extLst>
            </p:cNvPr>
            <p:cNvSpPr/>
            <p:nvPr/>
          </p:nvSpPr>
          <p:spPr>
            <a:xfrm>
              <a:off x="8753854" y="5171198"/>
              <a:ext cx="332700" cy="477101"/>
            </a:xfrm>
            <a:custGeom>
              <a:avLst/>
              <a:gdLst/>
              <a:ahLst/>
              <a:cxnLst/>
              <a:rect l="l" t="t" r="r" b="b"/>
              <a:pathLst>
                <a:path w="548640" h="786765">
                  <a:moveTo>
                    <a:pt x="548081" y="786396"/>
                  </a:moveTo>
                  <a:lnTo>
                    <a:pt x="542645" y="738225"/>
                  </a:lnTo>
                  <a:lnTo>
                    <a:pt x="529247" y="692975"/>
                  </a:lnTo>
                  <a:lnTo>
                    <a:pt x="508622" y="651344"/>
                  </a:lnTo>
                  <a:lnTo>
                    <a:pt x="481533" y="614083"/>
                  </a:lnTo>
                  <a:lnTo>
                    <a:pt x="448691" y="581939"/>
                  </a:lnTo>
                  <a:lnTo>
                    <a:pt x="410832" y="555625"/>
                  </a:lnTo>
                  <a:lnTo>
                    <a:pt x="368706" y="535889"/>
                  </a:lnTo>
                  <a:lnTo>
                    <a:pt x="323037" y="523468"/>
                  </a:lnTo>
                  <a:lnTo>
                    <a:pt x="274561" y="519087"/>
                  </a:lnTo>
                  <a:lnTo>
                    <a:pt x="273342" y="519087"/>
                  </a:lnTo>
                  <a:lnTo>
                    <a:pt x="224993" y="523455"/>
                  </a:lnTo>
                  <a:lnTo>
                    <a:pt x="179438" y="535813"/>
                  </a:lnTo>
                  <a:lnTo>
                    <a:pt x="137414" y="555459"/>
                  </a:lnTo>
                  <a:lnTo>
                    <a:pt x="99618" y="581660"/>
                  </a:lnTo>
                  <a:lnTo>
                    <a:pt x="66827" y="613676"/>
                  </a:lnTo>
                  <a:lnTo>
                    <a:pt x="39738" y="650773"/>
                  </a:lnTo>
                  <a:lnTo>
                    <a:pt x="19088" y="692238"/>
                  </a:lnTo>
                  <a:lnTo>
                    <a:pt x="5613" y="737323"/>
                  </a:lnTo>
                  <a:lnTo>
                    <a:pt x="50" y="785317"/>
                  </a:lnTo>
                  <a:lnTo>
                    <a:pt x="47713" y="781278"/>
                  </a:lnTo>
                  <a:lnTo>
                    <a:pt x="92240" y="769620"/>
                  </a:lnTo>
                  <a:lnTo>
                    <a:pt x="133477" y="751027"/>
                  </a:lnTo>
                  <a:lnTo>
                    <a:pt x="170738" y="726147"/>
                  </a:lnTo>
                  <a:lnTo>
                    <a:pt x="203365" y="695680"/>
                  </a:lnTo>
                  <a:lnTo>
                    <a:pt x="230682" y="660298"/>
                  </a:lnTo>
                  <a:lnTo>
                    <a:pt x="252006" y="620674"/>
                  </a:lnTo>
                  <a:lnTo>
                    <a:pt x="266661" y="577481"/>
                  </a:lnTo>
                  <a:lnTo>
                    <a:pt x="274002" y="531393"/>
                  </a:lnTo>
                  <a:lnTo>
                    <a:pt x="281178" y="577672"/>
                  </a:lnTo>
                  <a:lnTo>
                    <a:pt x="295732" y="621042"/>
                  </a:lnTo>
                  <a:lnTo>
                    <a:pt x="316992" y="660831"/>
                  </a:lnTo>
                  <a:lnTo>
                    <a:pt x="344284" y="696366"/>
                  </a:lnTo>
                  <a:lnTo>
                    <a:pt x="376936" y="726960"/>
                  </a:lnTo>
                  <a:lnTo>
                    <a:pt x="414248" y="751941"/>
                  </a:lnTo>
                  <a:lnTo>
                    <a:pt x="455549" y="770623"/>
                  </a:lnTo>
                  <a:lnTo>
                    <a:pt x="500176" y="782332"/>
                  </a:lnTo>
                  <a:lnTo>
                    <a:pt x="548081" y="786396"/>
                  </a:lnTo>
                  <a:close/>
                </a:path>
                <a:path w="548640" h="786765">
                  <a:moveTo>
                    <a:pt x="548081" y="520865"/>
                  </a:moveTo>
                  <a:lnTo>
                    <a:pt x="542645" y="472706"/>
                  </a:lnTo>
                  <a:lnTo>
                    <a:pt x="529247" y="427443"/>
                  </a:lnTo>
                  <a:lnTo>
                    <a:pt x="508622" y="385813"/>
                  </a:lnTo>
                  <a:lnTo>
                    <a:pt x="481533" y="348551"/>
                  </a:lnTo>
                  <a:lnTo>
                    <a:pt x="448691" y="316407"/>
                  </a:lnTo>
                  <a:lnTo>
                    <a:pt x="410832" y="290093"/>
                  </a:lnTo>
                  <a:lnTo>
                    <a:pt x="368706" y="270357"/>
                  </a:lnTo>
                  <a:lnTo>
                    <a:pt x="323037" y="257937"/>
                  </a:lnTo>
                  <a:lnTo>
                    <a:pt x="274561" y="253568"/>
                  </a:lnTo>
                  <a:lnTo>
                    <a:pt x="273342" y="253568"/>
                  </a:lnTo>
                  <a:lnTo>
                    <a:pt x="224993" y="257924"/>
                  </a:lnTo>
                  <a:lnTo>
                    <a:pt x="179438" y="270281"/>
                  </a:lnTo>
                  <a:lnTo>
                    <a:pt x="137414" y="289928"/>
                  </a:lnTo>
                  <a:lnTo>
                    <a:pt x="99618" y="316128"/>
                  </a:lnTo>
                  <a:lnTo>
                    <a:pt x="66827" y="348132"/>
                  </a:lnTo>
                  <a:lnTo>
                    <a:pt x="39738" y="385241"/>
                  </a:lnTo>
                  <a:lnTo>
                    <a:pt x="19088" y="426694"/>
                  </a:lnTo>
                  <a:lnTo>
                    <a:pt x="5613" y="471792"/>
                  </a:lnTo>
                  <a:lnTo>
                    <a:pt x="50" y="519772"/>
                  </a:lnTo>
                  <a:lnTo>
                    <a:pt x="47713" y="515734"/>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40"/>
                  </a:lnTo>
                  <a:lnTo>
                    <a:pt x="295732" y="355511"/>
                  </a:lnTo>
                  <a:lnTo>
                    <a:pt x="316992" y="395300"/>
                  </a:lnTo>
                  <a:lnTo>
                    <a:pt x="344284" y="430834"/>
                  </a:lnTo>
                  <a:lnTo>
                    <a:pt x="376936" y="461441"/>
                  </a:lnTo>
                  <a:lnTo>
                    <a:pt x="414248" y="486410"/>
                  </a:lnTo>
                  <a:lnTo>
                    <a:pt x="455549" y="505104"/>
                  </a:lnTo>
                  <a:lnTo>
                    <a:pt x="500176" y="516813"/>
                  </a:lnTo>
                  <a:lnTo>
                    <a:pt x="548081" y="520865"/>
                  </a:lnTo>
                  <a:close/>
                </a:path>
                <a:path w="548640" h="786765">
                  <a:moveTo>
                    <a:pt x="548093" y="267322"/>
                  </a:moveTo>
                  <a:lnTo>
                    <a:pt x="543331" y="225285"/>
                  </a:lnTo>
                  <a:lnTo>
                    <a:pt x="542645" y="219151"/>
                  </a:lnTo>
                  <a:lnTo>
                    <a:pt x="529247" y="173875"/>
                  </a:lnTo>
                  <a:lnTo>
                    <a:pt x="508635" y="132245"/>
                  </a:lnTo>
                  <a:lnTo>
                    <a:pt x="481533" y="94996"/>
                  </a:lnTo>
                  <a:lnTo>
                    <a:pt x="448691" y="62852"/>
                  </a:lnTo>
                  <a:lnTo>
                    <a:pt x="426351" y="47332"/>
                  </a:lnTo>
                  <a:lnTo>
                    <a:pt x="410845" y="36537"/>
                  </a:lnTo>
                  <a:lnTo>
                    <a:pt x="391109" y="27305"/>
                  </a:lnTo>
                  <a:lnTo>
                    <a:pt x="368719" y="16814"/>
                  </a:lnTo>
                  <a:lnTo>
                    <a:pt x="323049" y="4394"/>
                  </a:lnTo>
                  <a:lnTo>
                    <a:pt x="274574" y="12"/>
                  </a:lnTo>
                  <a:lnTo>
                    <a:pt x="273342" y="0"/>
                  </a:lnTo>
                  <a:lnTo>
                    <a:pt x="224993" y="4356"/>
                  </a:lnTo>
                  <a:lnTo>
                    <a:pt x="179438" y="16725"/>
                  </a:lnTo>
                  <a:lnTo>
                    <a:pt x="137414" y="36372"/>
                  </a:lnTo>
                  <a:lnTo>
                    <a:pt x="99618" y="62560"/>
                  </a:lnTo>
                  <a:lnTo>
                    <a:pt x="98806" y="63347"/>
                  </a:lnTo>
                  <a:lnTo>
                    <a:pt x="66827" y="94576"/>
                  </a:lnTo>
                  <a:lnTo>
                    <a:pt x="39700" y="131686"/>
                  </a:lnTo>
                  <a:lnTo>
                    <a:pt x="19050" y="173139"/>
                  </a:lnTo>
                  <a:lnTo>
                    <a:pt x="5575" y="218211"/>
                  </a:lnTo>
                  <a:lnTo>
                    <a:pt x="0" y="266192"/>
                  </a:lnTo>
                  <a:lnTo>
                    <a:pt x="47713" y="262178"/>
                  </a:lnTo>
                  <a:lnTo>
                    <a:pt x="92240" y="250520"/>
                  </a:lnTo>
                  <a:lnTo>
                    <a:pt x="133477" y="231927"/>
                  </a:lnTo>
                  <a:lnTo>
                    <a:pt x="155816" y="217004"/>
                  </a:lnTo>
                  <a:lnTo>
                    <a:pt x="170751" y="207048"/>
                  </a:lnTo>
                  <a:lnTo>
                    <a:pt x="203377" y="176593"/>
                  </a:lnTo>
                  <a:lnTo>
                    <a:pt x="230682" y="141211"/>
                  </a:lnTo>
                  <a:lnTo>
                    <a:pt x="252006" y="101600"/>
                  </a:lnTo>
                  <a:lnTo>
                    <a:pt x="266674" y="58407"/>
                  </a:lnTo>
                  <a:lnTo>
                    <a:pt x="274002" y="12319"/>
                  </a:lnTo>
                  <a:lnTo>
                    <a:pt x="281178" y="58585"/>
                  </a:lnTo>
                  <a:lnTo>
                    <a:pt x="295732" y="101942"/>
                  </a:lnTo>
                  <a:lnTo>
                    <a:pt x="316992" y="141744"/>
                  </a:lnTo>
                  <a:lnTo>
                    <a:pt x="344284" y="177279"/>
                  </a:lnTo>
                  <a:lnTo>
                    <a:pt x="376936" y="207873"/>
                  </a:lnTo>
                  <a:lnTo>
                    <a:pt x="414248" y="232867"/>
                  </a:lnTo>
                  <a:lnTo>
                    <a:pt x="455561"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88" name="object 86">
              <a:extLst>
                <a:ext uri="{FF2B5EF4-FFF2-40B4-BE49-F238E27FC236}">
                  <a16:creationId xmlns:a16="http://schemas.microsoft.com/office/drawing/2014/main" id="{005F4E42-2833-E7DF-C0DC-3DE93F2659BE}"/>
                </a:ext>
              </a:extLst>
            </p:cNvPr>
            <p:cNvPicPr/>
            <p:nvPr/>
          </p:nvPicPr>
          <p:blipFill>
            <a:blip r:embed="rId13" cstate="print"/>
            <a:stretch>
              <a:fillRect/>
            </a:stretch>
          </p:blipFill>
          <p:spPr>
            <a:xfrm>
              <a:off x="8867131" y="5626898"/>
              <a:ext cx="106445" cy="107156"/>
            </a:xfrm>
            <a:prstGeom prst="rect">
              <a:avLst/>
            </a:prstGeom>
          </p:spPr>
        </p:pic>
        <p:sp>
          <p:nvSpPr>
            <p:cNvPr id="89" name="object 87">
              <a:extLst>
                <a:ext uri="{FF2B5EF4-FFF2-40B4-BE49-F238E27FC236}">
                  <a16:creationId xmlns:a16="http://schemas.microsoft.com/office/drawing/2014/main" id="{A25E2D6A-F55B-C87D-E682-D5ABBDC0843F}"/>
                </a:ext>
              </a:extLst>
            </p:cNvPr>
            <p:cNvSpPr/>
            <p:nvPr/>
          </p:nvSpPr>
          <p:spPr>
            <a:xfrm>
              <a:off x="8753854" y="5825360"/>
              <a:ext cx="332700" cy="477101"/>
            </a:xfrm>
            <a:custGeom>
              <a:avLst/>
              <a:gdLst/>
              <a:ahLst/>
              <a:cxnLst/>
              <a:rect l="l" t="t" r="r" b="b"/>
              <a:pathLst>
                <a:path w="548640" h="786765">
                  <a:moveTo>
                    <a:pt x="548081" y="786396"/>
                  </a:moveTo>
                  <a:lnTo>
                    <a:pt x="542645" y="738238"/>
                  </a:lnTo>
                  <a:lnTo>
                    <a:pt x="529247" y="692975"/>
                  </a:lnTo>
                  <a:lnTo>
                    <a:pt x="508622" y="651344"/>
                  </a:lnTo>
                  <a:lnTo>
                    <a:pt x="481533" y="614095"/>
                  </a:lnTo>
                  <a:lnTo>
                    <a:pt x="448691" y="581939"/>
                  </a:lnTo>
                  <a:lnTo>
                    <a:pt x="410832" y="555637"/>
                  </a:lnTo>
                  <a:lnTo>
                    <a:pt x="368706" y="535901"/>
                  </a:lnTo>
                  <a:lnTo>
                    <a:pt x="323037" y="523481"/>
                  </a:lnTo>
                  <a:lnTo>
                    <a:pt x="274561" y="519099"/>
                  </a:lnTo>
                  <a:lnTo>
                    <a:pt x="273342" y="519099"/>
                  </a:lnTo>
                  <a:lnTo>
                    <a:pt x="224993" y="523455"/>
                  </a:lnTo>
                  <a:lnTo>
                    <a:pt x="179438" y="535825"/>
                  </a:lnTo>
                  <a:lnTo>
                    <a:pt x="137414" y="555472"/>
                  </a:lnTo>
                  <a:lnTo>
                    <a:pt x="99618" y="581660"/>
                  </a:lnTo>
                  <a:lnTo>
                    <a:pt x="66827" y="613676"/>
                  </a:lnTo>
                  <a:lnTo>
                    <a:pt x="39738" y="650773"/>
                  </a:lnTo>
                  <a:lnTo>
                    <a:pt x="19088" y="692238"/>
                  </a:lnTo>
                  <a:lnTo>
                    <a:pt x="5613" y="737323"/>
                  </a:lnTo>
                  <a:lnTo>
                    <a:pt x="50" y="785304"/>
                  </a:lnTo>
                  <a:lnTo>
                    <a:pt x="47713" y="781278"/>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72"/>
                  </a:lnTo>
                  <a:lnTo>
                    <a:pt x="295732" y="621042"/>
                  </a:lnTo>
                  <a:lnTo>
                    <a:pt x="316992" y="660831"/>
                  </a:lnTo>
                  <a:lnTo>
                    <a:pt x="344284" y="696366"/>
                  </a:lnTo>
                  <a:lnTo>
                    <a:pt x="376936" y="726973"/>
                  </a:lnTo>
                  <a:lnTo>
                    <a:pt x="414248" y="751954"/>
                  </a:lnTo>
                  <a:lnTo>
                    <a:pt x="455549" y="770636"/>
                  </a:lnTo>
                  <a:lnTo>
                    <a:pt x="500176" y="782345"/>
                  </a:lnTo>
                  <a:lnTo>
                    <a:pt x="548081" y="786396"/>
                  </a:lnTo>
                  <a:close/>
                </a:path>
                <a:path w="548640" h="786765">
                  <a:moveTo>
                    <a:pt x="548081" y="520865"/>
                  </a:moveTo>
                  <a:lnTo>
                    <a:pt x="542645" y="472706"/>
                  </a:lnTo>
                  <a:lnTo>
                    <a:pt x="529247" y="427443"/>
                  </a:lnTo>
                  <a:lnTo>
                    <a:pt x="508622" y="385813"/>
                  </a:lnTo>
                  <a:lnTo>
                    <a:pt x="481533" y="348564"/>
                  </a:lnTo>
                  <a:lnTo>
                    <a:pt x="448691" y="316407"/>
                  </a:lnTo>
                  <a:lnTo>
                    <a:pt x="410832" y="290093"/>
                  </a:lnTo>
                  <a:lnTo>
                    <a:pt x="368706" y="270370"/>
                  </a:lnTo>
                  <a:lnTo>
                    <a:pt x="323037" y="257937"/>
                  </a:lnTo>
                  <a:lnTo>
                    <a:pt x="274561" y="253555"/>
                  </a:lnTo>
                  <a:lnTo>
                    <a:pt x="273342" y="253555"/>
                  </a:lnTo>
                  <a:lnTo>
                    <a:pt x="224993" y="257924"/>
                  </a:lnTo>
                  <a:lnTo>
                    <a:pt x="179438" y="270294"/>
                  </a:lnTo>
                  <a:lnTo>
                    <a:pt x="137414" y="289928"/>
                  </a:lnTo>
                  <a:lnTo>
                    <a:pt x="99618" y="316128"/>
                  </a:lnTo>
                  <a:lnTo>
                    <a:pt x="66827" y="348145"/>
                  </a:lnTo>
                  <a:lnTo>
                    <a:pt x="39738" y="385241"/>
                  </a:lnTo>
                  <a:lnTo>
                    <a:pt x="19088" y="426694"/>
                  </a:lnTo>
                  <a:lnTo>
                    <a:pt x="5613" y="471792"/>
                  </a:lnTo>
                  <a:lnTo>
                    <a:pt x="50" y="519772"/>
                  </a:lnTo>
                  <a:lnTo>
                    <a:pt x="47713" y="515734"/>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40"/>
                  </a:lnTo>
                  <a:lnTo>
                    <a:pt x="295732" y="355511"/>
                  </a:lnTo>
                  <a:lnTo>
                    <a:pt x="316992" y="395300"/>
                  </a:lnTo>
                  <a:lnTo>
                    <a:pt x="344284" y="430834"/>
                  </a:lnTo>
                  <a:lnTo>
                    <a:pt x="376936" y="461441"/>
                  </a:lnTo>
                  <a:lnTo>
                    <a:pt x="414248" y="486410"/>
                  </a:lnTo>
                  <a:lnTo>
                    <a:pt x="455549" y="505104"/>
                  </a:lnTo>
                  <a:lnTo>
                    <a:pt x="500176" y="516813"/>
                  </a:lnTo>
                  <a:lnTo>
                    <a:pt x="548081" y="520865"/>
                  </a:lnTo>
                  <a:close/>
                </a:path>
                <a:path w="548640" h="786765">
                  <a:moveTo>
                    <a:pt x="548093" y="267322"/>
                  </a:moveTo>
                  <a:lnTo>
                    <a:pt x="543255" y="224586"/>
                  </a:lnTo>
                  <a:lnTo>
                    <a:pt x="542645" y="219151"/>
                  </a:lnTo>
                  <a:lnTo>
                    <a:pt x="529247" y="173888"/>
                  </a:lnTo>
                  <a:lnTo>
                    <a:pt x="508635" y="132257"/>
                  </a:lnTo>
                  <a:lnTo>
                    <a:pt x="481533" y="94996"/>
                  </a:lnTo>
                  <a:lnTo>
                    <a:pt x="448691" y="62852"/>
                  </a:lnTo>
                  <a:lnTo>
                    <a:pt x="410845" y="36550"/>
                  </a:lnTo>
                  <a:lnTo>
                    <a:pt x="368719" y="16814"/>
                  </a:lnTo>
                  <a:lnTo>
                    <a:pt x="323049" y="4394"/>
                  </a:lnTo>
                  <a:lnTo>
                    <a:pt x="274561" y="0"/>
                  </a:lnTo>
                  <a:lnTo>
                    <a:pt x="273342" y="0"/>
                  </a:lnTo>
                  <a:lnTo>
                    <a:pt x="224993" y="4356"/>
                  </a:lnTo>
                  <a:lnTo>
                    <a:pt x="179438" y="16725"/>
                  </a:lnTo>
                  <a:lnTo>
                    <a:pt x="137414" y="36372"/>
                  </a:lnTo>
                  <a:lnTo>
                    <a:pt x="99618" y="62572"/>
                  </a:lnTo>
                  <a:lnTo>
                    <a:pt x="98793" y="63373"/>
                  </a:lnTo>
                  <a:lnTo>
                    <a:pt x="66827" y="94576"/>
                  </a:lnTo>
                  <a:lnTo>
                    <a:pt x="39700" y="131686"/>
                  </a:lnTo>
                  <a:lnTo>
                    <a:pt x="19050" y="173139"/>
                  </a:lnTo>
                  <a:lnTo>
                    <a:pt x="5575" y="218224"/>
                  </a:lnTo>
                  <a:lnTo>
                    <a:pt x="0" y="266192"/>
                  </a:lnTo>
                  <a:lnTo>
                    <a:pt x="47713" y="262178"/>
                  </a:lnTo>
                  <a:lnTo>
                    <a:pt x="92240" y="250532"/>
                  </a:lnTo>
                  <a:lnTo>
                    <a:pt x="133477" y="231927"/>
                  </a:lnTo>
                  <a:lnTo>
                    <a:pt x="170738" y="207060"/>
                  </a:lnTo>
                  <a:lnTo>
                    <a:pt x="172910" y="205041"/>
                  </a:lnTo>
                  <a:lnTo>
                    <a:pt x="203377" y="176593"/>
                  </a:lnTo>
                  <a:lnTo>
                    <a:pt x="230682" y="141224"/>
                  </a:lnTo>
                  <a:lnTo>
                    <a:pt x="252006" y="101600"/>
                  </a:lnTo>
                  <a:lnTo>
                    <a:pt x="266674" y="58407"/>
                  </a:lnTo>
                  <a:lnTo>
                    <a:pt x="274002" y="12331"/>
                  </a:lnTo>
                  <a:lnTo>
                    <a:pt x="281178" y="58585"/>
                  </a:lnTo>
                  <a:lnTo>
                    <a:pt x="295732" y="101955"/>
                  </a:lnTo>
                  <a:lnTo>
                    <a:pt x="316992" y="141744"/>
                  </a:lnTo>
                  <a:lnTo>
                    <a:pt x="344284" y="177279"/>
                  </a:lnTo>
                  <a:lnTo>
                    <a:pt x="360083" y="192087"/>
                  </a:lnTo>
                  <a:lnTo>
                    <a:pt x="376936" y="207886"/>
                  </a:lnTo>
                  <a:lnTo>
                    <a:pt x="414248" y="232867"/>
                  </a:lnTo>
                  <a:lnTo>
                    <a:pt x="455561"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90" name="object 88">
              <a:extLst>
                <a:ext uri="{FF2B5EF4-FFF2-40B4-BE49-F238E27FC236}">
                  <a16:creationId xmlns:a16="http://schemas.microsoft.com/office/drawing/2014/main" id="{D6F531B8-EF59-01B8-C159-1EFDAEC691B2}"/>
                </a:ext>
              </a:extLst>
            </p:cNvPr>
            <p:cNvPicPr/>
            <p:nvPr/>
          </p:nvPicPr>
          <p:blipFill>
            <a:blip r:embed="rId14" cstate="print"/>
            <a:stretch>
              <a:fillRect/>
            </a:stretch>
          </p:blipFill>
          <p:spPr>
            <a:xfrm>
              <a:off x="8867131" y="6281064"/>
              <a:ext cx="106445" cy="107156"/>
            </a:xfrm>
            <a:prstGeom prst="rect">
              <a:avLst/>
            </a:prstGeom>
          </p:spPr>
        </p:pic>
        <p:sp>
          <p:nvSpPr>
            <p:cNvPr id="91" name="object 89">
              <a:extLst>
                <a:ext uri="{FF2B5EF4-FFF2-40B4-BE49-F238E27FC236}">
                  <a16:creationId xmlns:a16="http://schemas.microsoft.com/office/drawing/2014/main" id="{B5DE4107-50F7-7074-B726-FBD2CD6DE526}"/>
                </a:ext>
              </a:extLst>
            </p:cNvPr>
            <p:cNvSpPr/>
            <p:nvPr/>
          </p:nvSpPr>
          <p:spPr>
            <a:xfrm>
              <a:off x="9909070" y="6037749"/>
              <a:ext cx="332700" cy="477101"/>
            </a:xfrm>
            <a:custGeom>
              <a:avLst/>
              <a:gdLst/>
              <a:ahLst/>
              <a:cxnLst/>
              <a:rect l="l" t="t" r="r" b="b"/>
              <a:pathLst>
                <a:path w="548640" h="786765">
                  <a:moveTo>
                    <a:pt x="548093" y="520179"/>
                  </a:moveTo>
                  <a:lnTo>
                    <a:pt x="500380" y="524217"/>
                  </a:lnTo>
                  <a:lnTo>
                    <a:pt x="455853" y="535876"/>
                  </a:lnTo>
                  <a:lnTo>
                    <a:pt x="414616" y="554469"/>
                  </a:lnTo>
                  <a:lnTo>
                    <a:pt x="392264" y="569404"/>
                  </a:lnTo>
                  <a:lnTo>
                    <a:pt x="377355" y="579348"/>
                  </a:lnTo>
                  <a:lnTo>
                    <a:pt x="344728" y="609803"/>
                  </a:lnTo>
                  <a:lnTo>
                    <a:pt x="317411" y="645172"/>
                  </a:lnTo>
                  <a:lnTo>
                    <a:pt x="296087" y="684796"/>
                  </a:lnTo>
                  <a:lnTo>
                    <a:pt x="281419" y="727989"/>
                  </a:lnTo>
                  <a:lnTo>
                    <a:pt x="274091" y="774065"/>
                  </a:lnTo>
                  <a:lnTo>
                    <a:pt x="272161" y="761669"/>
                  </a:lnTo>
                  <a:lnTo>
                    <a:pt x="266928" y="727824"/>
                  </a:lnTo>
                  <a:lnTo>
                    <a:pt x="257238" y="699008"/>
                  </a:lnTo>
                  <a:lnTo>
                    <a:pt x="252361" y="684453"/>
                  </a:lnTo>
                  <a:lnTo>
                    <a:pt x="231101" y="644652"/>
                  </a:lnTo>
                  <a:lnTo>
                    <a:pt x="203809" y="609117"/>
                  </a:lnTo>
                  <a:lnTo>
                    <a:pt x="187998" y="594321"/>
                  </a:lnTo>
                  <a:lnTo>
                    <a:pt x="171157" y="578523"/>
                  </a:lnTo>
                  <a:lnTo>
                    <a:pt x="133845" y="553542"/>
                  </a:lnTo>
                  <a:lnTo>
                    <a:pt x="92532" y="534835"/>
                  </a:lnTo>
                  <a:lnTo>
                    <a:pt x="47917" y="523125"/>
                  </a:lnTo>
                  <a:lnTo>
                    <a:pt x="0" y="519074"/>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81" y="654723"/>
                  </a:lnTo>
                  <a:lnTo>
                    <a:pt x="529043" y="613257"/>
                  </a:lnTo>
                  <a:lnTo>
                    <a:pt x="542518" y="568172"/>
                  </a:lnTo>
                  <a:lnTo>
                    <a:pt x="548081" y="520217"/>
                  </a:lnTo>
                  <a:close/>
                </a:path>
                <a:path w="548640" h="786765">
                  <a:moveTo>
                    <a:pt x="548093" y="266611"/>
                  </a:moveTo>
                  <a:lnTo>
                    <a:pt x="500380" y="270649"/>
                  </a:lnTo>
                  <a:lnTo>
                    <a:pt x="455853" y="282308"/>
                  </a:lnTo>
                  <a:lnTo>
                    <a:pt x="414616" y="300901"/>
                  </a:lnTo>
                  <a:lnTo>
                    <a:pt x="377355" y="325780"/>
                  </a:lnTo>
                  <a:lnTo>
                    <a:pt x="344728" y="356235"/>
                  </a:lnTo>
                  <a:lnTo>
                    <a:pt x="317423" y="391629"/>
                  </a:lnTo>
                  <a:lnTo>
                    <a:pt x="296087" y="431253"/>
                  </a:lnTo>
                  <a:lnTo>
                    <a:pt x="281432" y="474446"/>
                  </a:lnTo>
                  <a:lnTo>
                    <a:pt x="274091" y="520534"/>
                  </a:lnTo>
                  <a:lnTo>
                    <a:pt x="266928" y="474256"/>
                  </a:lnTo>
                  <a:lnTo>
                    <a:pt x="252361" y="430885"/>
                  </a:lnTo>
                  <a:lnTo>
                    <a:pt x="231101" y="391096"/>
                  </a:lnTo>
                  <a:lnTo>
                    <a:pt x="203809" y="355561"/>
                  </a:lnTo>
                  <a:lnTo>
                    <a:pt x="171157" y="324954"/>
                  </a:lnTo>
                  <a:lnTo>
                    <a:pt x="133845" y="299986"/>
                  </a:lnTo>
                  <a:lnTo>
                    <a:pt x="92544" y="281292"/>
                  </a:lnTo>
                  <a:lnTo>
                    <a:pt x="47917" y="269582"/>
                  </a:lnTo>
                  <a:lnTo>
                    <a:pt x="12" y="265531"/>
                  </a:lnTo>
                  <a:lnTo>
                    <a:pt x="5461" y="313690"/>
                  </a:lnTo>
                  <a:lnTo>
                    <a:pt x="18859" y="358952"/>
                  </a:lnTo>
                  <a:lnTo>
                    <a:pt x="39471" y="400583"/>
                  </a:lnTo>
                  <a:lnTo>
                    <a:pt x="66560" y="437832"/>
                  </a:lnTo>
                  <a:lnTo>
                    <a:pt x="99402" y="469988"/>
                  </a:lnTo>
                  <a:lnTo>
                    <a:pt x="137261" y="496303"/>
                  </a:lnTo>
                  <a:lnTo>
                    <a:pt x="179387" y="516026"/>
                  </a:lnTo>
                  <a:lnTo>
                    <a:pt x="225056" y="528459"/>
                  </a:lnTo>
                  <a:lnTo>
                    <a:pt x="273532" y="532841"/>
                  </a:lnTo>
                  <a:lnTo>
                    <a:pt x="274751" y="532841"/>
                  </a:lnTo>
                  <a:lnTo>
                    <a:pt x="323100" y="528472"/>
                  </a:lnTo>
                  <a:lnTo>
                    <a:pt x="368655" y="516102"/>
                  </a:lnTo>
                  <a:lnTo>
                    <a:pt x="410692" y="496468"/>
                  </a:lnTo>
                  <a:lnTo>
                    <a:pt x="448475" y="470268"/>
                  </a:lnTo>
                  <a:lnTo>
                    <a:pt x="481279" y="438251"/>
                  </a:lnTo>
                  <a:lnTo>
                    <a:pt x="508381" y="401154"/>
                  </a:lnTo>
                  <a:lnTo>
                    <a:pt x="529031" y="359689"/>
                  </a:lnTo>
                  <a:lnTo>
                    <a:pt x="542505" y="314604"/>
                  </a:lnTo>
                  <a:lnTo>
                    <a:pt x="548093" y="266611"/>
                  </a:lnTo>
                  <a:close/>
                </a:path>
                <a:path w="548640" h="786765">
                  <a:moveTo>
                    <a:pt x="548093" y="1092"/>
                  </a:moveTo>
                  <a:lnTo>
                    <a:pt x="500380" y="5130"/>
                  </a:lnTo>
                  <a:lnTo>
                    <a:pt x="455853" y="16789"/>
                  </a:lnTo>
                  <a:lnTo>
                    <a:pt x="414616" y="35382"/>
                  </a:lnTo>
                  <a:lnTo>
                    <a:pt x="377355" y="60248"/>
                  </a:lnTo>
                  <a:lnTo>
                    <a:pt x="344728" y="90716"/>
                  </a:lnTo>
                  <a:lnTo>
                    <a:pt x="317423" y="126098"/>
                  </a:lnTo>
                  <a:lnTo>
                    <a:pt x="296087" y="165722"/>
                  </a:lnTo>
                  <a:lnTo>
                    <a:pt x="281432" y="208915"/>
                  </a:lnTo>
                  <a:lnTo>
                    <a:pt x="274091" y="255003"/>
                  </a:lnTo>
                  <a:lnTo>
                    <a:pt x="266928" y="208724"/>
                  </a:lnTo>
                  <a:lnTo>
                    <a:pt x="252361" y="165354"/>
                  </a:lnTo>
                  <a:lnTo>
                    <a:pt x="231101" y="125564"/>
                  </a:lnTo>
                  <a:lnTo>
                    <a:pt x="203809" y="90030"/>
                  </a:lnTo>
                  <a:lnTo>
                    <a:pt x="171157" y="59436"/>
                  </a:lnTo>
                  <a:lnTo>
                    <a:pt x="133845" y="34455"/>
                  </a:lnTo>
                  <a:lnTo>
                    <a:pt x="92544" y="15773"/>
                  </a:lnTo>
                  <a:lnTo>
                    <a:pt x="47917" y="4064"/>
                  </a:lnTo>
                  <a:lnTo>
                    <a:pt x="12" y="0"/>
                  </a:lnTo>
                  <a:lnTo>
                    <a:pt x="5461" y="48171"/>
                  </a:lnTo>
                  <a:lnTo>
                    <a:pt x="18859"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92" y="230936"/>
                  </a:lnTo>
                  <a:lnTo>
                    <a:pt x="448475" y="204749"/>
                  </a:lnTo>
                  <a:lnTo>
                    <a:pt x="481279" y="172732"/>
                  </a:lnTo>
                  <a:lnTo>
                    <a:pt x="508381" y="135623"/>
                  </a:lnTo>
                  <a:lnTo>
                    <a:pt x="529031" y="94170"/>
                  </a:lnTo>
                  <a:lnTo>
                    <a:pt x="542505" y="49085"/>
                  </a:lnTo>
                  <a:lnTo>
                    <a:pt x="548093" y="1092"/>
                  </a:lnTo>
                  <a:close/>
                </a:path>
              </a:pathLst>
            </a:custGeom>
            <a:solidFill>
              <a:srgbClr val="2DB7EA"/>
            </a:solidFill>
          </p:spPr>
          <p:txBody>
            <a:bodyPr wrap="square" lIns="0" tIns="0" rIns="0" bIns="0" rtlCol="0"/>
            <a:lstStyle/>
            <a:p>
              <a:endParaRPr dirty="0"/>
            </a:p>
          </p:txBody>
        </p:sp>
        <p:pic>
          <p:nvPicPr>
            <p:cNvPr id="92" name="object 90">
              <a:extLst>
                <a:ext uri="{FF2B5EF4-FFF2-40B4-BE49-F238E27FC236}">
                  <a16:creationId xmlns:a16="http://schemas.microsoft.com/office/drawing/2014/main" id="{4D490325-F61E-56FD-BD82-EA8FD3DA2CBF}"/>
                </a:ext>
              </a:extLst>
            </p:cNvPr>
            <p:cNvPicPr/>
            <p:nvPr/>
          </p:nvPicPr>
          <p:blipFill>
            <a:blip r:embed="rId5" cstate="print"/>
            <a:stretch>
              <a:fillRect/>
            </a:stretch>
          </p:blipFill>
          <p:spPr>
            <a:xfrm>
              <a:off x="10021726" y="5951762"/>
              <a:ext cx="106445" cy="107156"/>
            </a:xfrm>
            <a:prstGeom prst="rect">
              <a:avLst/>
            </a:prstGeom>
          </p:spPr>
        </p:pic>
        <p:sp>
          <p:nvSpPr>
            <p:cNvPr id="93" name="object 91">
              <a:extLst>
                <a:ext uri="{FF2B5EF4-FFF2-40B4-BE49-F238E27FC236}">
                  <a16:creationId xmlns:a16="http://schemas.microsoft.com/office/drawing/2014/main" id="{04368018-21C1-0742-27A7-0704D017515B}"/>
                </a:ext>
              </a:extLst>
            </p:cNvPr>
            <p:cNvSpPr/>
            <p:nvPr/>
          </p:nvSpPr>
          <p:spPr>
            <a:xfrm>
              <a:off x="9909070" y="5383587"/>
              <a:ext cx="332700" cy="477101"/>
            </a:xfrm>
            <a:custGeom>
              <a:avLst/>
              <a:gdLst/>
              <a:ahLst/>
              <a:cxnLst/>
              <a:rect l="l" t="t" r="r" b="b"/>
              <a:pathLst>
                <a:path w="548640" h="786765">
                  <a:moveTo>
                    <a:pt x="548093" y="520179"/>
                  </a:moveTo>
                  <a:lnTo>
                    <a:pt x="500380" y="524217"/>
                  </a:lnTo>
                  <a:lnTo>
                    <a:pt x="465074" y="533463"/>
                  </a:lnTo>
                  <a:lnTo>
                    <a:pt x="455853" y="535876"/>
                  </a:lnTo>
                  <a:lnTo>
                    <a:pt x="443026" y="541667"/>
                  </a:lnTo>
                  <a:lnTo>
                    <a:pt x="414616" y="554469"/>
                  </a:lnTo>
                  <a:lnTo>
                    <a:pt x="392252" y="569391"/>
                  </a:lnTo>
                  <a:lnTo>
                    <a:pt x="377355" y="579335"/>
                  </a:lnTo>
                  <a:lnTo>
                    <a:pt x="344716" y="609790"/>
                  </a:lnTo>
                  <a:lnTo>
                    <a:pt x="317411" y="645172"/>
                  </a:lnTo>
                  <a:lnTo>
                    <a:pt x="296087" y="684796"/>
                  </a:lnTo>
                  <a:lnTo>
                    <a:pt x="281419" y="727976"/>
                  </a:lnTo>
                  <a:lnTo>
                    <a:pt x="274091" y="774065"/>
                  </a:lnTo>
                  <a:lnTo>
                    <a:pt x="272389" y="763143"/>
                  </a:lnTo>
                  <a:lnTo>
                    <a:pt x="266928" y="727811"/>
                  </a:lnTo>
                  <a:lnTo>
                    <a:pt x="252361" y="684441"/>
                  </a:lnTo>
                  <a:lnTo>
                    <a:pt x="231101" y="644652"/>
                  </a:lnTo>
                  <a:lnTo>
                    <a:pt x="203809" y="609117"/>
                  </a:lnTo>
                  <a:lnTo>
                    <a:pt x="187998" y="594321"/>
                  </a:lnTo>
                  <a:lnTo>
                    <a:pt x="171157" y="578523"/>
                  </a:lnTo>
                  <a:lnTo>
                    <a:pt x="133845" y="553542"/>
                  </a:lnTo>
                  <a:lnTo>
                    <a:pt x="92544" y="534847"/>
                  </a:lnTo>
                  <a:lnTo>
                    <a:pt x="47917" y="523125"/>
                  </a:lnTo>
                  <a:lnTo>
                    <a:pt x="0" y="519061"/>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27"/>
                  </a:lnTo>
                  <a:lnTo>
                    <a:pt x="368655" y="769670"/>
                  </a:lnTo>
                  <a:lnTo>
                    <a:pt x="410692" y="750023"/>
                  </a:lnTo>
                  <a:lnTo>
                    <a:pt x="448475" y="723823"/>
                  </a:lnTo>
                  <a:lnTo>
                    <a:pt x="481279" y="691819"/>
                  </a:lnTo>
                  <a:lnTo>
                    <a:pt x="498386" y="668401"/>
                  </a:lnTo>
                  <a:lnTo>
                    <a:pt x="508381" y="654710"/>
                  </a:lnTo>
                  <a:lnTo>
                    <a:pt x="529031" y="613257"/>
                  </a:lnTo>
                  <a:lnTo>
                    <a:pt x="542518" y="568172"/>
                  </a:lnTo>
                  <a:lnTo>
                    <a:pt x="548081" y="520204"/>
                  </a:lnTo>
                  <a:close/>
                </a:path>
                <a:path w="548640" h="786765">
                  <a:moveTo>
                    <a:pt x="548093" y="266623"/>
                  </a:moveTo>
                  <a:lnTo>
                    <a:pt x="500380" y="270649"/>
                  </a:lnTo>
                  <a:lnTo>
                    <a:pt x="455853" y="282308"/>
                  </a:lnTo>
                  <a:lnTo>
                    <a:pt x="414616" y="300913"/>
                  </a:lnTo>
                  <a:lnTo>
                    <a:pt x="377355" y="325780"/>
                  </a:lnTo>
                  <a:lnTo>
                    <a:pt x="344728" y="356235"/>
                  </a:lnTo>
                  <a:lnTo>
                    <a:pt x="317423" y="391617"/>
                  </a:lnTo>
                  <a:lnTo>
                    <a:pt x="296087" y="431241"/>
                  </a:lnTo>
                  <a:lnTo>
                    <a:pt x="281432" y="474446"/>
                  </a:lnTo>
                  <a:lnTo>
                    <a:pt x="274091" y="520522"/>
                  </a:lnTo>
                  <a:lnTo>
                    <a:pt x="266928"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59" y="358952"/>
                  </a:lnTo>
                  <a:lnTo>
                    <a:pt x="39471" y="400583"/>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92" y="496455"/>
                  </a:lnTo>
                  <a:lnTo>
                    <a:pt x="448475" y="470268"/>
                  </a:lnTo>
                  <a:lnTo>
                    <a:pt x="481279" y="438251"/>
                  </a:lnTo>
                  <a:lnTo>
                    <a:pt x="508381" y="401154"/>
                  </a:lnTo>
                  <a:lnTo>
                    <a:pt x="529031" y="359689"/>
                  </a:lnTo>
                  <a:lnTo>
                    <a:pt x="542505" y="314604"/>
                  </a:lnTo>
                  <a:lnTo>
                    <a:pt x="548093" y="266623"/>
                  </a:lnTo>
                  <a:close/>
                </a:path>
                <a:path w="548640" h="786765">
                  <a:moveTo>
                    <a:pt x="548093" y="1079"/>
                  </a:moveTo>
                  <a:lnTo>
                    <a:pt x="500380" y="5118"/>
                  </a:lnTo>
                  <a:lnTo>
                    <a:pt x="455853" y="16764"/>
                  </a:lnTo>
                  <a:lnTo>
                    <a:pt x="414616" y="35369"/>
                  </a:lnTo>
                  <a:lnTo>
                    <a:pt x="377355" y="60236"/>
                  </a:lnTo>
                  <a:lnTo>
                    <a:pt x="344728" y="90703"/>
                  </a:lnTo>
                  <a:lnTo>
                    <a:pt x="317423" y="126085"/>
                  </a:lnTo>
                  <a:lnTo>
                    <a:pt x="296087" y="165722"/>
                  </a:lnTo>
                  <a:lnTo>
                    <a:pt x="281432" y="208915"/>
                  </a:lnTo>
                  <a:lnTo>
                    <a:pt x="274091" y="255003"/>
                  </a:lnTo>
                  <a:lnTo>
                    <a:pt x="266928" y="208724"/>
                  </a:lnTo>
                  <a:lnTo>
                    <a:pt x="252361" y="165354"/>
                  </a:lnTo>
                  <a:lnTo>
                    <a:pt x="231101" y="125564"/>
                  </a:lnTo>
                  <a:lnTo>
                    <a:pt x="203809" y="90030"/>
                  </a:lnTo>
                  <a:lnTo>
                    <a:pt x="171157" y="59423"/>
                  </a:lnTo>
                  <a:lnTo>
                    <a:pt x="133845" y="34442"/>
                  </a:lnTo>
                  <a:lnTo>
                    <a:pt x="92544" y="15760"/>
                  </a:lnTo>
                  <a:lnTo>
                    <a:pt x="47917" y="4051"/>
                  </a:lnTo>
                  <a:lnTo>
                    <a:pt x="12" y="0"/>
                  </a:lnTo>
                  <a:lnTo>
                    <a:pt x="5461" y="48158"/>
                  </a:lnTo>
                  <a:lnTo>
                    <a:pt x="18859"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36"/>
                  </a:lnTo>
                  <a:lnTo>
                    <a:pt x="481279" y="172720"/>
                  </a:lnTo>
                  <a:lnTo>
                    <a:pt x="508381" y="135623"/>
                  </a:lnTo>
                  <a:lnTo>
                    <a:pt x="529031" y="94157"/>
                  </a:lnTo>
                  <a:lnTo>
                    <a:pt x="542505" y="49072"/>
                  </a:lnTo>
                  <a:lnTo>
                    <a:pt x="548093" y="1079"/>
                  </a:lnTo>
                  <a:close/>
                </a:path>
              </a:pathLst>
            </a:custGeom>
            <a:solidFill>
              <a:srgbClr val="7ED3F1"/>
            </a:solidFill>
          </p:spPr>
          <p:txBody>
            <a:bodyPr wrap="square" lIns="0" tIns="0" rIns="0" bIns="0" rtlCol="0"/>
            <a:lstStyle/>
            <a:p>
              <a:endParaRPr dirty="0"/>
            </a:p>
          </p:txBody>
        </p:sp>
        <p:pic>
          <p:nvPicPr>
            <p:cNvPr id="94" name="object 92">
              <a:extLst>
                <a:ext uri="{FF2B5EF4-FFF2-40B4-BE49-F238E27FC236}">
                  <a16:creationId xmlns:a16="http://schemas.microsoft.com/office/drawing/2014/main" id="{8923705C-9829-D088-84DE-71C8CF64C6B3}"/>
                </a:ext>
              </a:extLst>
            </p:cNvPr>
            <p:cNvPicPr/>
            <p:nvPr/>
          </p:nvPicPr>
          <p:blipFill>
            <a:blip r:embed="rId6" cstate="print"/>
            <a:stretch>
              <a:fillRect/>
            </a:stretch>
          </p:blipFill>
          <p:spPr>
            <a:xfrm>
              <a:off x="10021726" y="5297596"/>
              <a:ext cx="106445" cy="107156"/>
            </a:xfrm>
            <a:prstGeom prst="rect">
              <a:avLst/>
            </a:prstGeom>
          </p:spPr>
        </p:pic>
        <p:sp>
          <p:nvSpPr>
            <p:cNvPr id="95" name="object 93">
              <a:extLst>
                <a:ext uri="{FF2B5EF4-FFF2-40B4-BE49-F238E27FC236}">
                  <a16:creationId xmlns:a16="http://schemas.microsoft.com/office/drawing/2014/main" id="{8D460DE3-EF7F-CDC6-704B-A65425F2A736}"/>
                </a:ext>
              </a:extLst>
            </p:cNvPr>
            <p:cNvSpPr/>
            <p:nvPr/>
          </p:nvSpPr>
          <p:spPr>
            <a:xfrm>
              <a:off x="9909078" y="6691912"/>
              <a:ext cx="332700" cy="165965"/>
            </a:xfrm>
            <a:custGeom>
              <a:avLst/>
              <a:gdLst/>
              <a:ahLst/>
              <a:cxnLst/>
              <a:rect l="l" t="t" r="r" b="b"/>
              <a:pathLst>
                <a:path w="548640" h="273684">
                  <a:moveTo>
                    <a:pt x="62560" y="273431"/>
                  </a:moveTo>
                  <a:lnTo>
                    <a:pt x="47904" y="269595"/>
                  </a:lnTo>
                  <a:lnTo>
                    <a:pt x="0" y="265544"/>
                  </a:lnTo>
                  <a:lnTo>
                    <a:pt x="889" y="273431"/>
                  </a:lnTo>
                  <a:lnTo>
                    <a:pt x="62560" y="273431"/>
                  </a:lnTo>
                  <a:close/>
                </a:path>
                <a:path w="548640" h="273684">
                  <a:moveTo>
                    <a:pt x="548081" y="266623"/>
                  </a:moveTo>
                  <a:lnTo>
                    <a:pt x="500367" y="270649"/>
                  </a:lnTo>
                  <a:lnTo>
                    <a:pt x="489724" y="273431"/>
                  </a:lnTo>
                  <a:lnTo>
                    <a:pt x="547281" y="273431"/>
                  </a:lnTo>
                  <a:lnTo>
                    <a:pt x="548081" y="266623"/>
                  </a:lnTo>
                  <a:close/>
                </a:path>
                <a:path w="548640" h="273684">
                  <a:moveTo>
                    <a:pt x="548081" y="1079"/>
                  </a:moveTo>
                  <a:lnTo>
                    <a:pt x="500367" y="5118"/>
                  </a:lnTo>
                  <a:lnTo>
                    <a:pt x="455841" y="16776"/>
                  </a:lnTo>
                  <a:lnTo>
                    <a:pt x="414604" y="35382"/>
                  </a:lnTo>
                  <a:lnTo>
                    <a:pt x="377342" y="60248"/>
                  </a:lnTo>
                  <a:lnTo>
                    <a:pt x="344716" y="90716"/>
                  </a:lnTo>
                  <a:lnTo>
                    <a:pt x="317411" y="126098"/>
                  </a:lnTo>
                  <a:lnTo>
                    <a:pt x="296075" y="165722"/>
                  </a:lnTo>
                  <a:lnTo>
                    <a:pt x="281419" y="208915"/>
                  </a:lnTo>
                  <a:lnTo>
                    <a:pt x="274078" y="255003"/>
                  </a:lnTo>
                  <a:lnTo>
                    <a:pt x="266915" y="208724"/>
                  </a:lnTo>
                  <a:lnTo>
                    <a:pt x="252349" y="165354"/>
                  </a:lnTo>
                  <a:lnTo>
                    <a:pt x="231089" y="125564"/>
                  </a:lnTo>
                  <a:lnTo>
                    <a:pt x="203796" y="90030"/>
                  </a:lnTo>
                  <a:lnTo>
                    <a:pt x="171145" y="59436"/>
                  </a:lnTo>
                  <a:lnTo>
                    <a:pt x="133832" y="34455"/>
                  </a:lnTo>
                  <a:lnTo>
                    <a:pt x="92532" y="15773"/>
                  </a:lnTo>
                  <a:lnTo>
                    <a:pt x="47904" y="4064"/>
                  </a:lnTo>
                  <a:lnTo>
                    <a:pt x="0" y="0"/>
                  </a:lnTo>
                  <a:lnTo>
                    <a:pt x="5448" y="48171"/>
                  </a:lnTo>
                  <a:lnTo>
                    <a:pt x="18846" y="93421"/>
                  </a:lnTo>
                  <a:lnTo>
                    <a:pt x="39458" y="135051"/>
                  </a:lnTo>
                  <a:lnTo>
                    <a:pt x="66548" y="172313"/>
                  </a:lnTo>
                  <a:lnTo>
                    <a:pt x="99390" y="204457"/>
                  </a:lnTo>
                  <a:lnTo>
                    <a:pt x="137248" y="230771"/>
                  </a:lnTo>
                  <a:lnTo>
                    <a:pt x="179374" y="250507"/>
                  </a:lnTo>
                  <a:lnTo>
                    <a:pt x="225044" y="262928"/>
                  </a:lnTo>
                  <a:lnTo>
                    <a:pt x="273519" y="267309"/>
                  </a:lnTo>
                  <a:lnTo>
                    <a:pt x="274739" y="267309"/>
                  </a:lnTo>
                  <a:lnTo>
                    <a:pt x="323088" y="262940"/>
                  </a:lnTo>
                  <a:lnTo>
                    <a:pt x="368642" y="250583"/>
                  </a:lnTo>
                  <a:lnTo>
                    <a:pt x="410679" y="230936"/>
                  </a:lnTo>
                  <a:lnTo>
                    <a:pt x="448462" y="204736"/>
                  </a:lnTo>
                  <a:lnTo>
                    <a:pt x="481266" y="172720"/>
                  </a:lnTo>
                  <a:lnTo>
                    <a:pt x="508368" y="135623"/>
                  </a:lnTo>
                  <a:lnTo>
                    <a:pt x="529018" y="94157"/>
                  </a:lnTo>
                  <a:lnTo>
                    <a:pt x="542493" y="49072"/>
                  </a:lnTo>
                  <a:lnTo>
                    <a:pt x="548081" y="1079"/>
                  </a:lnTo>
                  <a:close/>
                </a:path>
              </a:pathLst>
            </a:custGeom>
            <a:solidFill>
              <a:srgbClr val="7ED3F1"/>
            </a:solidFill>
          </p:spPr>
          <p:txBody>
            <a:bodyPr wrap="square" lIns="0" tIns="0" rIns="0" bIns="0" rtlCol="0"/>
            <a:lstStyle/>
            <a:p>
              <a:endParaRPr dirty="0"/>
            </a:p>
          </p:txBody>
        </p:sp>
        <p:pic>
          <p:nvPicPr>
            <p:cNvPr id="96" name="object 94">
              <a:extLst>
                <a:ext uri="{FF2B5EF4-FFF2-40B4-BE49-F238E27FC236}">
                  <a16:creationId xmlns:a16="http://schemas.microsoft.com/office/drawing/2014/main" id="{E797BE87-5F1B-89D0-E30C-A082BA3156A8}"/>
                </a:ext>
              </a:extLst>
            </p:cNvPr>
            <p:cNvPicPr/>
            <p:nvPr/>
          </p:nvPicPr>
          <p:blipFill>
            <a:blip r:embed="rId6" cstate="print"/>
            <a:stretch>
              <a:fillRect/>
            </a:stretch>
          </p:blipFill>
          <p:spPr>
            <a:xfrm>
              <a:off x="10021726" y="6605926"/>
              <a:ext cx="106445" cy="107156"/>
            </a:xfrm>
            <a:prstGeom prst="rect">
              <a:avLst/>
            </a:prstGeom>
          </p:spPr>
        </p:pic>
        <p:sp>
          <p:nvSpPr>
            <p:cNvPr id="97" name="object 95">
              <a:extLst>
                <a:ext uri="{FF2B5EF4-FFF2-40B4-BE49-F238E27FC236}">
                  <a16:creationId xmlns:a16="http://schemas.microsoft.com/office/drawing/2014/main" id="{BC8A69C2-E22F-CA90-7571-B0C8DDE491D5}"/>
                </a:ext>
              </a:extLst>
            </p:cNvPr>
            <p:cNvSpPr/>
            <p:nvPr/>
          </p:nvSpPr>
          <p:spPr>
            <a:xfrm>
              <a:off x="9523993" y="6479532"/>
              <a:ext cx="332700" cy="316141"/>
            </a:xfrm>
            <a:custGeom>
              <a:avLst/>
              <a:gdLst/>
              <a:ahLst/>
              <a:cxnLst/>
              <a:rect l="l" t="t" r="r" b="b"/>
              <a:pathLst>
                <a:path w="548640" h="521334">
                  <a:moveTo>
                    <a:pt x="548081" y="520852"/>
                  </a:moveTo>
                  <a:lnTo>
                    <a:pt x="542632" y="472694"/>
                  </a:lnTo>
                  <a:lnTo>
                    <a:pt x="529234" y="427431"/>
                  </a:lnTo>
                  <a:lnTo>
                    <a:pt x="508622" y="385800"/>
                  </a:lnTo>
                  <a:lnTo>
                    <a:pt x="481520" y="348551"/>
                  </a:lnTo>
                  <a:lnTo>
                    <a:pt x="448678" y="316395"/>
                  </a:lnTo>
                  <a:lnTo>
                    <a:pt x="410832" y="290093"/>
                  </a:lnTo>
                  <a:lnTo>
                    <a:pt x="368693" y="270357"/>
                  </a:lnTo>
                  <a:lnTo>
                    <a:pt x="323024" y="257924"/>
                  </a:lnTo>
                  <a:lnTo>
                    <a:pt x="274561" y="253555"/>
                  </a:lnTo>
                  <a:lnTo>
                    <a:pt x="273329" y="253555"/>
                  </a:lnTo>
                  <a:lnTo>
                    <a:pt x="224993" y="257911"/>
                  </a:lnTo>
                  <a:lnTo>
                    <a:pt x="179438" y="270281"/>
                  </a:lnTo>
                  <a:lnTo>
                    <a:pt x="137401" y="289915"/>
                  </a:lnTo>
                  <a:lnTo>
                    <a:pt x="99606" y="316115"/>
                  </a:lnTo>
                  <a:lnTo>
                    <a:pt x="66802" y="348132"/>
                  </a:lnTo>
                  <a:lnTo>
                    <a:pt x="39712" y="385229"/>
                  </a:lnTo>
                  <a:lnTo>
                    <a:pt x="19062" y="426694"/>
                  </a:lnTo>
                  <a:lnTo>
                    <a:pt x="5575" y="471792"/>
                  </a:lnTo>
                  <a:lnTo>
                    <a:pt x="0" y="519772"/>
                  </a:lnTo>
                  <a:lnTo>
                    <a:pt x="47713" y="515747"/>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27"/>
                  </a:lnTo>
                  <a:lnTo>
                    <a:pt x="295719" y="355498"/>
                  </a:lnTo>
                  <a:lnTo>
                    <a:pt x="316992" y="395300"/>
                  </a:lnTo>
                  <a:lnTo>
                    <a:pt x="344284" y="430834"/>
                  </a:lnTo>
                  <a:lnTo>
                    <a:pt x="376923" y="461429"/>
                  </a:lnTo>
                  <a:lnTo>
                    <a:pt x="414235" y="486410"/>
                  </a:lnTo>
                  <a:lnTo>
                    <a:pt x="455549" y="505091"/>
                  </a:lnTo>
                  <a:lnTo>
                    <a:pt x="500164" y="516801"/>
                  </a:lnTo>
                  <a:lnTo>
                    <a:pt x="548081" y="520852"/>
                  </a:lnTo>
                  <a:close/>
                </a:path>
                <a:path w="548640" h="521334">
                  <a:moveTo>
                    <a:pt x="548081" y="267322"/>
                  </a:moveTo>
                  <a:lnTo>
                    <a:pt x="542632" y="219138"/>
                  </a:lnTo>
                  <a:lnTo>
                    <a:pt x="529234" y="173875"/>
                  </a:lnTo>
                  <a:lnTo>
                    <a:pt x="508622" y="132245"/>
                  </a:lnTo>
                  <a:lnTo>
                    <a:pt x="481533" y="94996"/>
                  </a:lnTo>
                  <a:lnTo>
                    <a:pt x="448691" y="62839"/>
                  </a:lnTo>
                  <a:lnTo>
                    <a:pt x="433158" y="52057"/>
                  </a:lnTo>
                  <a:lnTo>
                    <a:pt x="410832" y="36537"/>
                  </a:lnTo>
                  <a:lnTo>
                    <a:pt x="368706" y="16814"/>
                  </a:lnTo>
                  <a:lnTo>
                    <a:pt x="323024" y="4368"/>
                  </a:lnTo>
                  <a:lnTo>
                    <a:pt x="274561" y="12"/>
                  </a:lnTo>
                  <a:lnTo>
                    <a:pt x="273329" y="0"/>
                  </a:lnTo>
                  <a:lnTo>
                    <a:pt x="224993" y="4356"/>
                  </a:lnTo>
                  <a:lnTo>
                    <a:pt x="179438" y="16713"/>
                  </a:lnTo>
                  <a:lnTo>
                    <a:pt x="137401" y="36360"/>
                  </a:lnTo>
                  <a:lnTo>
                    <a:pt x="99606" y="62560"/>
                  </a:lnTo>
                  <a:lnTo>
                    <a:pt x="66802" y="94576"/>
                  </a:lnTo>
                  <a:lnTo>
                    <a:pt x="39687" y="131686"/>
                  </a:lnTo>
                  <a:lnTo>
                    <a:pt x="19037" y="173139"/>
                  </a:lnTo>
                  <a:lnTo>
                    <a:pt x="5562" y="218211"/>
                  </a:lnTo>
                  <a:lnTo>
                    <a:pt x="0" y="266192"/>
                  </a:lnTo>
                  <a:lnTo>
                    <a:pt x="47713" y="262178"/>
                  </a:lnTo>
                  <a:lnTo>
                    <a:pt x="92240" y="250520"/>
                  </a:lnTo>
                  <a:lnTo>
                    <a:pt x="133464" y="231914"/>
                  </a:lnTo>
                  <a:lnTo>
                    <a:pt x="170738" y="207048"/>
                  </a:lnTo>
                  <a:lnTo>
                    <a:pt x="203365" y="176593"/>
                  </a:lnTo>
                  <a:lnTo>
                    <a:pt x="230670" y="141211"/>
                  </a:lnTo>
                  <a:lnTo>
                    <a:pt x="252006" y="101600"/>
                  </a:lnTo>
                  <a:lnTo>
                    <a:pt x="266661" y="58407"/>
                  </a:lnTo>
                  <a:lnTo>
                    <a:pt x="273989" y="12357"/>
                  </a:lnTo>
                  <a:lnTo>
                    <a:pt x="281165" y="58572"/>
                  </a:lnTo>
                  <a:lnTo>
                    <a:pt x="295719" y="101942"/>
                  </a:lnTo>
                  <a:lnTo>
                    <a:pt x="316992" y="141744"/>
                  </a:lnTo>
                  <a:lnTo>
                    <a:pt x="344284" y="177279"/>
                  </a:lnTo>
                  <a:lnTo>
                    <a:pt x="376923" y="207873"/>
                  </a:lnTo>
                  <a:lnTo>
                    <a:pt x="414235" y="232854"/>
                  </a:lnTo>
                  <a:lnTo>
                    <a:pt x="455549" y="251548"/>
                  </a:lnTo>
                  <a:lnTo>
                    <a:pt x="500176" y="263258"/>
                  </a:lnTo>
                  <a:lnTo>
                    <a:pt x="548081" y="267322"/>
                  </a:lnTo>
                  <a:close/>
                </a:path>
              </a:pathLst>
            </a:custGeom>
            <a:solidFill>
              <a:srgbClr val="2DB7EA"/>
            </a:solidFill>
          </p:spPr>
          <p:txBody>
            <a:bodyPr wrap="square" lIns="0" tIns="0" rIns="0" bIns="0" rtlCol="0"/>
            <a:lstStyle/>
            <a:p>
              <a:endParaRPr dirty="0"/>
            </a:p>
          </p:txBody>
        </p:sp>
        <p:pic>
          <p:nvPicPr>
            <p:cNvPr id="98" name="object 96">
              <a:extLst>
                <a:ext uri="{FF2B5EF4-FFF2-40B4-BE49-F238E27FC236}">
                  <a16:creationId xmlns:a16="http://schemas.microsoft.com/office/drawing/2014/main" id="{E35056FC-CA14-F42D-6E86-D906D861D75F}"/>
                </a:ext>
              </a:extLst>
            </p:cNvPr>
            <p:cNvPicPr/>
            <p:nvPr/>
          </p:nvPicPr>
          <p:blipFill>
            <a:blip r:embed="rId19" cstate="print"/>
            <a:stretch>
              <a:fillRect/>
            </a:stretch>
          </p:blipFill>
          <p:spPr>
            <a:xfrm>
              <a:off x="9560079" y="6794307"/>
              <a:ext cx="260142" cy="63416"/>
            </a:xfrm>
            <a:prstGeom prst="rect">
              <a:avLst/>
            </a:prstGeom>
          </p:spPr>
        </p:pic>
        <p:sp>
          <p:nvSpPr>
            <p:cNvPr id="99" name="object 97">
              <a:extLst>
                <a:ext uri="{FF2B5EF4-FFF2-40B4-BE49-F238E27FC236}">
                  <a16:creationId xmlns:a16="http://schemas.microsoft.com/office/drawing/2014/main" id="{EC147AC1-2447-AA73-4B11-ED87DFD3F31E}"/>
                </a:ext>
              </a:extLst>
            </p:cNvPr>
            <p:cNvSpPr/>
            <p:nvPr/>
          </p:nvSpPr>
          <p:spPr>
            <a:xfrm>
              <a:off x="9523993" y="5171198"/>
              <a:ext cx="332700" cy="477101"/>
            </a:xfrm>
            <a:custGeom>
              <a:avLst/>
              <a:gdLst/>
              <a:ahLst/>
              <a:cxnLst/>
              <a:rect l="l" t="t" r="r" b="b"/>
              <a:pathLst>
                <a:path w="548640" h="786765">
                  <a:moveTo>
                    <a:pt x="548081" y="786396"/>
                  </a:moveTo>
                  <a:lnTo>
                    <a:pt x="542632" y="738225"/>
                  </a:lnTo>
                  <a:lnTo>
                    <a:pt x="529234" y="692975"/>
                  </a:lnTo>
                  <a:lnTo>
                    <a:pt x="508622" y="651344"/>
                  </a:lnTo>
                  <a:lnTo>
                    <a:pt x="481520" y="614083"/>
                  </a:lnTo>
                  <a:lnTo>
                    <a:pt x="448678" y="581939"/>
                  </a:lnTo>
                  <a:lnTo>
                    <a:pt x="410832" y="555625"/>
                  </a:lnTo>
                  <a:lnTo>
                    <a:pt x="368693" y="535889"/>
                  </a:lnTo>
                  <a:lnTo>
                    <a:pt x="323024" y="523468"/>
                  </a:lnTo>
                  <a:lnTo>
                    <a:pt x="274561" y="519087"/>
                  </a:lnTo>
                  <a:lnTo>
                    <a:pt x="273329" y="519087"/>
                  </a:lnTo>
                  <a:lnTo>
                    <a:pt x="224993" y="523455"/>
                  </a:lnTo>
                  <a:lnTo>
                    <a:pt x="179438" y="535813"/>
                  </a:lnTo>
                  <a:lnTo>
                    <a:pt x="137401" y="555459"/>
                  </a:lnTo>
                  <a:lnTo>
                    <a:pt x="99606" y="581660"/>
                  </a:lnTo>
                  <a:lnTo>
                    <a:pt x="66802" y="613676"/>
                  </a:lnTo>
                  <a:lnTo>
                    <a:pt x="39712" y="650773"/>
                  </a:lnTo>
                  <a:lnTo>
                    <a:pt x="19062" y="692238"/>
                  </a:lnTo>
                  <a:lnTo>
                    <a:pt x="5575" y="737323"/>
                  </a:lnTo>
                  <a:lnTo>
                    <a:pt x="0" y="785317"/>
                  </a:lnTo>
                  <a:lnTo>
                    <a:pt x="47713" y="781278"/>
                  </a:lnTo>
                  <a:lnTo>
                    <a:pt x="92240" y="769620"/>
                  </a:lnTo>
                  <a:lnTo>
                    <a:pt x="133464" y="751027"/>
                  </a:lnTo>
                  <a:lnTo>
                    <a:pt x="170738" y="726147"/>
                  </a:lnTo>
                  <a:lnTo>
                    <a:pt x="203352"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35" y="751941"/>
                  </a:lnTo>
                  <a:lnTo>
                    <a:pt x="455549" y="770623"/>
                  </a:lnTo>
                  <a:lnTo>
                    <a:pt x="500164" y="782332"/>
                  </a:lnTo>
                  <a:lnTo>
                    <a:pt x="548081" y="786396"/>
                  </a:lnTo>
                  <a:close/>
                </a:path>
                <a:path w="548640" h="786765">
                  <a:moveTo>
                    <a:pt x="548081" y="520865"/>
                  </a:moveTo>
                  <a:lnTo>
                    <a:pt x="542632" y="472706"/>
                  </a:lnTo>
                  <a:lnTo>
                    <a:pt x="529234" y="427443"/>
                  </a:lnTo>
                  <a:lnTo>
                    <a:pt x="508622" y="385813"/>
                  </a:lnTo>
                  <a:lnTo>
                    <a:pt x="481520" y="348551"/>
                  </a:lnTo>
                  <a:lnTo>
                    <a:pt x="448678" y="316407"/>
                  </a:lnTo>
                  <a:lnTo>
                    <a:pt x="410832" y="290093"/>
                  </a:lnTo>
                  <a:lnTo>
                    <a:pt x="368693" y="270357"/>
                  </a:lnTo>
                  <a:lnTo>
                    <a:pt x="323024" y="257937"/>
                  </a:lnTo>
                  <a:lnTo>
                    <a:pt x="274561" y="253568"/>
                  </a:lnTo>
                  <a:lnTo>
                    <a:pt x="273329" y="253568"/>
                  </a:lnTo>
                  <a:lnTo>
                    <a:pt x="224993" y="257924"/>
                  </a:lnTo>
                  <a:lnTo>
                    <a:pt x="179438" y="270281"/>
                  </a:lnTo>
                  <a:lnTo>
                    <a:pt x="137401" y="289928"/>
                  </a:lnTo>
                  <a:lnTo>
                    <a:pt x="99606" y="316128"/>
                  </a:lnTo>
                  <a:lnTo>
                    <a:pt x="66802" y="348132"/>
                  </a:lnTo>
                  <a:lnTo>
                    <a:pt x="39712" y="385241"/>
                  </a:lnTo>
                  <a:lnTo>
                    <a:pt x="19062" y="426694"/>
                  </a:lnTo>
                  <a:lnTo>
                    <a:pt x="5575" y="471792"/>
                  </a:lnTo>
                  <a:lnTo>
                    <a:pt x="0" y="519772"/>
                  </a:lnTo>
                  <a:lnTo>
                    <a:pt x="47713" y="515734"/>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5">
                  <a:moveTo>
                    <a:pt x="548081" y="267322"/>
                  </a:moveTo>
                  <a:lnTo>
                    <a:pt x="542632" y="219151"/>
                  </a:lnTo>
                  <a:lnTo>
                    <a:pt x="529234" y="173875"/>
                  </a:lnTo>
                  <a:lnTo>
                    <a:pt x="508622" y="132245"/>
                  </a:lnTo>
                  <a:lnTo>
                    <a:pt x="481533" y="94996"/>
                  </a:lnTo>
                  <a:lnTo>
                    <a:pt x="449376" y="63525"/>
                  </a:lnTo>
                  <a:lnTo>
                    <a:pt x="448691" y="62852"/>
                  </a:lnTo>
                  <a:lnTo>
                    <a:pt x="410832" y="36537"/>
                  </a:lnTo>
                  <a:lnTo>
                    <a:pt x="368706" y="16814"/>
                  </a:lnTo>
                  <a:lnTo>
                    <a:pt x="323037" y="4394"/>
                  </a:lnTo>
                  <a:lnTo>
                    <a:pt x="274561" y="12"/>
                  </a:lnTo>
                  <a:lnTo>
                    <a:pt x="273329" y="0"/>
                  </a:lnTo>
                  <a:lnTo>
                    <a:pt x="224993" y="4356"/>
                  </a:lnTo>
                  <a:lnTo>
                    <a:pt x="179438" y="16725"/>
                  </a:lnTo>
                  <a:lnTo>
                    <a:pt x="137401" y="36372"/>
                  </a:lnTo>
                  <a:lnTo>
                    <a:pt x="99606" y="62560"/>
                  </a:lnTo>
                  <a:lnTo>
                    <a:pt x="66802" y="94576"/>
                  </a:lnTo>
                  <a:lnTo>
                    <a:pt x="39687" y="131686"/>
                  </a:lnTo>
                  <a:lnTo>
                    <a:pt x="19037" y="173139"/>
                  </a:lnTo>
                  <a:lnTo>
                    <a:pt x="5562" y="218211"/>
                  </a:lnTo>
                  <a:lnTo>
                    <a:pt x="0" y="266192"/>
                  </a:lnTo>
                  <a:lnTo>
                    <a:pt x="47713" y="262178"/>
                  </a:lnTo>
                  <a:lnTo>
                    <a:pt x="92240" y="250520"/>
                  </a:lnTo>
                  <a:lnTo>
                    <a:pt x="133464" y="231927"/>
                  </a:lnTo>
                  <a:lnTo>
                    <a:pt x="170738" y="207048"/>
                  </a:lnTo>
                  <a:lnTo>
                    <a:pt x="203365" y="176593"/>
                  </a:lnTo>
                  <a:lnTo>
                    <a:pt x="230670" y="141211"/>
                  </a:lnTo>
                  <a:lnTo>
                    <a:pt x="252006" y="101600"/>
                  </a:lnTo>
                  <a:lnTo>
                    <a:pt x="266661" y="58407"/>
                  </a:lnTo>
                  <a:lnTo>
                    <a:pt x="273989" y="12357"/>
                  </a:lnTo>
                  <a:lnTo>
                    <a:pt x="280047" y="51409"/>
                  </a:lnTo>
                  <a:lnTo>
                    <a:pt x="295719" y="101942"/>
                  </a:lnTo>
                  <a:lnTo>
                    <a:pt x="316992" y="141744"/>
                  </a:lnTo>
                  <a:lnTo>
                    <a:pt x="344284" y="177279"/>
                  </a:lnTo>
                  <a:lnTo>
                    <a:pt x="376923" y="207873"/>
                  </a:lnTo>
                  <a:lnTo>
                    <a:pt x="414248" y="232867"/>
                  </a:lnTo>
                  <a:lnTo>
                    <a:pt x="455549" y="251548"/>
                  </a:lnTo>
                  <a:lnTo>
                    <a:pt x="500176" y="263258"/>
                  </a:lnTo>
                  <a:lnTo>
                    <a:pt x="548081" y="267322"/>
                  </a:lnTo>
                  <a:close/>
                </a:path>
              </a:pathLst>
            </a:custGeom>
            <a:solidFill>
              <a:srgbClr val="2DB7EA"/>
            </a:solidFill>
          </p:spPr>
          <p:txBody>
            <a:bodyPr wrap="square" lIns="0" tIns="0" rIns="0" bIns="0" rtlCol="0"/>
            <a:lstStyle/>
            <a:p>
              <a:endParaRPr dirty="0"/>
            </a:p>
          </p:txBody>
        </p:sp>
        <p:pic>
          <p:nvPicPr>
            <p:cNvPr id="100" name="object 98">
              <a:extLst>
                <a:ext uri="{FF2B5EF4-FFF2-40B4-BE49-F238E27FC236}">
                  <a16:creationId xmlns:a16="http://schemas.microsoft.com/office/drawing/2014/main" id="{4D867446-D4E5-BF8C-E51C-4129DBF9BD06}"/>
                </a:ext>
              </a:extLst>
            </p:cNvPr>
            <p:cNvPicPr/>
            <p:nvPr/>
          </p:nvPicPr>
          <p:blipFill>
            <a:blip r:embed="rId8" cstate="print"/>
            <a:stretch>
              <a:fillRect/>
            </a:stretch>
          </p:blipFill>
          <p:spPr>
            <a:xfrm>
              <a:off x="9637261" y="5626898"/>
              <a:ext cx="106445" cy="107156"/>
            </a:xfrm>
            <a:prstGeom prst="rect">
              <a:avLst/>
            </a:prstGeom>
          </p:spPr>
        </p:pic>
        <p:sp>
          <p:nvSpPr>
            <p:cNvPr id="101" name="object 99">
              <a:extLst>
                <a:ext uri="{FF2B5EF4-FFF2-40B4-BE49-F238E27FC236}">
                  <a16:creationId xmlns:a16="http://schemas.microsoft.com/office/drawing/2014/main" id="{6F1DED9E-ADAE-4581-3119-94C5AAA5C754}"/>
                </a:ext>
              </a:extLst>
            </p:cNvPr>
            <p:cNvSpPr/>
            <p:nvPr/>
          </p:nvSpPr>
          <p:spPr>
            <a:xfrm>
              <a:off x="9523993" y="5825360"/>
              <a:ext cx="332700" cy="477101"/>
            </a:xfrm>
            <a:custGeom>
              <a:avLst/>
              <a:gdLst/>
              <a:ahLst/>
              <a:cxnLst/>
              <a:rect l="l" t="t" r="r" b="b"/>
              <a:pathLst>
                <a:path w="548640" h="786765">
                  <a:moveTo>
                    <a:pt x="548081" y="786396"/>
                  </a:moveTo>
                  <a:lnTo>
                    <a:pt x="542632" y="738238"/>
                  </a:lnTo>
                  <a:lnTo>
                    <a:pt x="529234" y="692975"/>
                  </a:lnTo>
                  <a:lnTo>
                    <a:pt x="508622" y="651344"/>
                  </a:lnTo>
                  <a:lnTo>
                    <a:pt x="481520" y="614095"/>
                  </a:lnTo>
                  <a:lnTo>
                    <a:pt x="448678" y="581939"/>
                  </a:lnTo>
                  <a:lnTo>
                    <a:pt x="410832" y="555637"/>
                  </a:lnTo>
                  <a:lnTo>
                    <a:pt x="368693" y="535901"/>
                  </a:lnTo>
                  <a:lnTo>
                    <a:pt x="323024" y="523481"/>
                  </a:lnTo>
                  <a:lnTo>
                    <a:pt x="274561" y="519099"/>
                  </a:lnTo>
                  <a:lnTo>
                    <a:pt x="273329" y="519099"/>
                  </a:lnTo>
                  <a:lnTo>
                    <a:pt x="224993" y="523455"/>
                  </a:lnTo>
                  <a:lnTo>
                    <a:pt x="179438" y="535825"/>
                  </a:lnTo>
                  <a:lnTo>
                    <a:pt x="137401" y="555472"/>
                  </a:lnTo>
                  <a:lnTo>
                    <a:pt x="99606" y="581660"/>
                  </a:lnTo>
                  <a:lnTo>
                    <a:pt x="66802" y="613676"/>
                  </a:lnTo>
                  <a:lnTo>
                    <a:pt x="39712" y="650773"/>
                  </a:lnTo>
                  <a:lnTo>
                    <a:pt x="19062" y="692238"/>
                  </a:lnTo>
                  <a:lnTo>
                    <a:pt x="5575" y="737323"/>
                  </a:lnTo>
                  <a:lnTo>
                    <a:pt x="0" y="785304"/>
                  </a:lnTo>
                  <a:lnTo>
                    <a:pt x="47713" y="781278"/>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35"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78" y="316407"/>
                  </a:lnTo>
                  <a:lnTo>
                    <a:pt x="410832" y="290093"/>
                  </a:lnTo>
                  <a:lnTo>
                    <a:pt x="368693" y="270370"/>
                  </a:lnTo>
                  <a:lnTo>
                    <a:pt x="323024" y="257937"/>
                  </a:lnTo>
                  <a:lnTo>
                    <a:pt x="274561" y="253555"/>
                  </a:lnTo>
                  <a:lnTo>
                    <a:pt x="273329" y="253555"/>
                  </a:lnTo>
                  <a:lnTo>
                    <a:pt x="224993" y="257924"/>
                  </a:lnTo>
                  <a:lnTo>
                    <a:pt x="179438" y="270294"/>
                  </a:lnTo>
                  <a:lnTo>
                    <a:pt x="137401" y="289928"/>
                  </a:lnTo>
                  <a:lnTo>
                    <a:pt x="99606" y="316128"/>
                  </a:lnTo>
                  <a:lnTo>
                    <a:pt x="66802" y="348145"/>
                  </a:lnTo>
                  <a:lnTo>
                    <a:pt x="39712" y="385241"/>
                  </a:lnTo>
                  <a:lnTo>
                    <a:pt x="19062" y="426694"/>
                  </a:lnTo>
                  <a:lnTo>
                    <a:pt x="5575" y="471792"/>
                  </a:lnTo>
                  <a:lnTo>
                    <a:pt x="0" y="519772"/>
                  </a:lnTo>
                  <a:lnTo>
                    <a:pt x="47713" y="515734"/>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5">
                  <a:moveTo>
                    <a:pt x="548081" y="267322"/>
                  </a:moveTo>
                  <a:lnTo>
                    <a:pt x="542632" y="219151"/>
                  </a:lnTo>
                  <a:lnTo>
                    <a:pt x="529234" y="173888"/>
                  </a:lnTo>
                  <a:lnTo>
                    <a:pt x="508622" y="132257"/>
                  </a:lnTo>
                  <a:lnTo>
                    <a:pt x="481533" y="94996"/>
                  </a:lnTo>
                  <a:lnTo>
                    <a:pt x="448691" y="62852"/>
                  </a:lnTo>
                  <a:lnTo>
                    <a:pt x="433158" y="52070"/>
                  </a:lnTo>
                  <a:lnTo>
                    <a:pt x="410832" y="36550"/>
                  </a:lnTo>
                  <a:lnTo>
                    <a:pt x="368706" y="16814"/>
                  </a:lnTo>
                  <a:lnTo>
                    <a:pt x="323037" y="4394"/>
                  </a:lnTo>
                  <a:lnTo>
                    <a:pt x="274561" y="0"/>
                  </a:lnTo>
                  <a:lnTo>
                    <a:pt x="273329" y="0"/>
                  </a:lnTo>
                  <a:lnTo>
                    <a:pt x="224993" y="4356"/>
                  </a:lnTo>
                  <a:lnTo>
                    <a:pt x="179438" y="16725"/>
                  </a:lnTo>
                  <a:lnTo>
                    <a:pt x="137401" y="36372"/>
                  </a:lnTo>
                  <a:lnTo>
                    <a:pt x="99606" y="62572"/>
                  </a:lnTo>
                  <a:lnTo>
                    <a:pt x="66802" y="94576"/>
                  </a:lnTo>
                  <a:lnTo>
                    <a:pt x="39687" y="131686"/>
                  </a:lnTo>
                  <a:lnTo>
                    <a:pt x="19037" y="173139"/>
                  </a:lnTo>
                  <a:lnTo>
                    <a:pt x="5562" y="218224"/>
                  </a:lnTo>
                  <a:lnTo>
                    <a:pt x="0" y="266192"/>
                  </a:lnTo>
                  <a:lnTo>
                    <a:pt x="47713" y="262178"/>
                  </a:lnTo>
                  <a:lnTo>
                    <a:pt x="92240" y="250532"/>
                  </a:lnTo>
                  <a:lnTo>
                    <a:pt x="133464" y="231927"/>
                  </a:lnTo>
                  <a:lnTo>
                    <a:pt x="170738" y="207060"/>
                  </a:lnTo>
                  <a:lnTo>
                    <a:pt x="187604" y="191312"/>
                  </a:lnTo>
                  <a:lnTo>
                    <a:pt x="203365" y="176593"/>
                  </a:lnTo>
                  <a:lnTo>
                    <a:pt x="230670" y="141224"/>
                  </a:lnTo>
                  <a:lnTo>
                    <a:pt x="252006" y="101600"/>
                  </a:lnTo>
                  <a:lnTo>
                    <a:pt x="266661" y="58407"/>
                  </a:lnTo>
                  <a:lnTo>
                    <a:pt x="273989" y="12369"/>
                  </a:lnTo>
                  <a:lnTo>
                    <a:pt x="281165" y="58585"/>
                  </a:lnTo>
                  <a:lnTo>
                    <a:pt x="295719" y="101955"/>
                  </a:lnTo>
                  <a:lnTo>
                    <a:pt x="316992" y="141744"/>
                  </a:lnTo>
                  <a:lnTo>
                    <a:pt x="344284" y="177279"/>
                  </a:lnTo>
                  <a:lnTo>
                    <a:pt x="376923" y="207886"/>
                  </a:lnTo>
                  <a:lnTo>
                    <a:pt x="414248" y="232867"/>
                  </a:lnTo>
                  <a:lnTo>
                    <a:pt x="455549" y="251561"/>
                  </a:lnTo>
                  <a:lnTo>
                    <a:pt x="500176" y="263271"/>
                  </a:lnTo>
                  <a:lnTo>
                    <a:pt x="548081" y="267322"/>
                  </a:lnTo>
                  <a:close/>
                </a:path>
              </a:pathLst>
            </a:custGeom>
            <a:solidFill>
              <a:srgbClr val="7ED3F1"/>
            </a:solidFill>
          </p:spPr>
          <p:txBody>
            <a:bodyPr wrap="square" lIns="0" tIns="0" rIns="0" bIns="0" rtlCol="0"/>
            <a:lstStyle/>
            <a:p>
              <a:endParaRPr dirty="0"/>
            </a:p>
          </p:txBody>
        </p:sp>
        <p:pic>
          <p:nvPicPr>
            <p:cNvPr id="102" name="object 100">
              <a:extLst>
                <a:ext uri="{FF2B5EF4-FFF2-40B4-BE49-F238E27FC236}">
                  <a16:creationId xmlns:a16="http://schemas.microsoft.com/office/drawing/2014/main" id="{F009D35C-62E7-C234-8CC6-B656418DD984}"/>
                </a:ext>
              </a:extLst>
            </p:cNvPr>
            <p:cNvPicPr/>
            <p:nvPr/>
          </p:nvPicPr>
          <p:blipFill>
            <a:blip r:embed="rId9" cstate="print"/>
            <a:stretch>
              <a:fillRect/>
            </a:stretch>
          </p:blipFill>
          <p:spPr>
            <a:xfrm>
              <a:off x="9637261" y="6281064"/>
              <a:ext cx="106445" cy="107156"/>
            </a:xfrm>
            <a:prstGeom prst="rect">
              <a:avLst/>
            </a:prstGeom>
          </p:spPr>
        </p:pic>
        <p:sp>
          <p:nvSpPr>
            <p:cNvPr id="103" name="object 101">
              <a:extLst>
                <a:ext uri="{FF2B5EF4-FFF2-40B4-BE49-F238E27FC236}">
                  <a16:creationId xmlns:a16="http://schemas.microsoft.com/office/drawing/2014/main" id="{04559601-95AB-4115-5F7B-5DB2DEFD9DA1}"/>
                </a:ext>
              </a:extLst>
            </p:cNvPr>
            <p:cNvSpPr/>
            <p:nvPr/>
          </p:nvSpPr>
          <p:spPr>
            <a:xfrm>
              <a:off x="10679200" y="804428"/>
              <a:ext cx="332700" cy="477101"/>
            </a:xfrm>
            <a:custGeom>
              <a:avLst/>
              <a:gdLst/>
              <a:ahLst/>
              <a:cxnLst/>
              <a:rect l="l" t="t" r="r" b="b"/>
              <a:pathLst>
                <a:path w="548640" h="786764">
                  <a:moveTo>
                    <a:pt x="548043" y="266598"/>
                  </a:moveTo>
                  <a:lnTo>
                    <a:pt x="500380" y="270637"/>
                  </a:lnTo>
                  <a:lnTo>
                    <a:pt x="455853" y="282295"/>
                  </a:lnTo>
                  <a:lnTo>
                    <a:pt x="414616" y="300901"/>
                  </a:lnTo>
                  <a:lnTo>
                    <a:pt x="377355" y="325767"/>
                  </a:lnTo>
                  <a:lnTo>
                    <a:pt x="344728" y="356235"/>
                  </a:lnTo>
                  <a:lnTo>
                    <a:pt x="317411" y="391617"/>
                  </a:lnTo>
                  <a:lnTo>
                    <a:pt x="296087" y="431241"/>
                  </a:lnTo>
                  <a:lnTo>
                    <a:pt x="281432" y="474433"/>
                  </a:lnTo>
                  <a:lnTo>
                    <a:pt x="274091" y="520522"/>
                  </a:lnTo>
                  <a:lnTo>
                    <a:pt x="266915" y="474256"/>
                  </a:lnTo>
                  <a:lnTo>
                    <a:pt x="252361" y="430872"/>
                  </a:lnTo>
                  <a:lnTo>
                    <a:pt x="231101" y="391083"/>
                  </a:lnTo>
                  <a:lnTo>
                    <a:pt x="203809" y="355549"/>
                  </a:lnTo>
                  <a:lnTo>
                    <a:pt x="171157" y="324954"/>
                  </a:lnTo>
                  <a:lnTo>
                    <a:pt x="133845" y="299974"/>
                  </a:lnTo>
                  <a:lnTo>
                    <a:pt x="92544" y="281292"/>
                  </a:lnTo>
                  <a:lnTo>
                    <a:pt x="47917" y="269582"/>
                  </a:lnTo>
                  <a:lnTo>
                    <a:pt x="12" y="265531"/>
                  </a:lnTo>
                  <a:lnTo>
                    <a:pt x="5461" y="313690"/>
                  </a:lnTo>
                  <a:lnTo>
                    <a:pt x="18846" y="358952"/>
                  </a:lnTo>
                  <a:lnTo>
                    <a:pt x="39471" y="400570"/>
                  </a:lnTo>
                  <a:lnTo>
                    <a:pt x="66560" y="437832"/>
                  </a:lnTo>
                  <a:lnTo>
                    <a:pt x="99402" y="469988"/>
                  </a:lnTo>
                  <a:lnTo>
                    <a:pt x="137261" y="496290"/>
                  </a:lnTo>
                  <a:lnTo>
                    <a:pt x="179387" y="516026"/>
                  </a:lnTo>
                  <a:lnTo>
                    <a:pt x="225056" y="528447"/>
                  </a:lnTo>
                  <a:lnTo>
                    <a:pt x="273532" y="532828"/>
                  </a:lnTo>
                  <a:lnTo>
                    <a:pt x="274751" y="532828"/>
                  </a:lnTo>
                  <a:lnTo>
                    <a:pt x="323100" y="528472"/>
                  </a:lnTo>
                  <a:lnTo>
                    <a:pt x="368655" y="516102"/>
                  </a:lnTo>
                  <a:lnTo>
                    <a:pt x="410679" y="496455"/>
                  </a:lnTo>
                  <a:lnTo>
                    <a:pt x="448475" y="470268"/>
                  </a:lnTo>
                  <a:lnTo>
                    <a:pt x="481266" y="438251"/>
                  </a:lnTo>
                  <a:lnTo>
                    <a:pt x="508368" y="401142"/>
                  </a:lnTo>
                  <a:lnTo>
                    <a:pt x="529005" y="359689"/>
                  </a:lnTo>
                  <a:lnTo>
                    <a:pt x="542480" y="314591"/>
                  </a:lnTo>
                  <a:lnTo>
                    <a:pt x="548043" y="266598"/>
                  </a:lnTo>
                  <a:close/>
                </a:path>
                <a:path w="548640" h="786764">
                  <a:moveTo>
                    <a:pt x="548043" y="1079"/>
                  </a:moveTo>
                  <a:lnTo>
                    <a:pt x="500380" y="5105"/>
                  </a:lnTo>
                  <a:lnTo>
                    <a:pt x="455853" y="16764"/>
                  </a:lnTo>
                  <a:lnTo>
                    <a:pt x="414616" y="35369"/>
                  </a:lnTo>
                  <a:lnTo>
                    <a:pt x="377355" y="60236"/>
                  </a:lnTo>
                  <a:lnTo>
                    <a:pt x="344728" y="90703"/>
                  </a:lnTo>
                  <a:lnTo>
                    <a:pt x="317411" y="126085"/>
                  </a:lnTo>
                  <a:lnTo>
                    <a:pt x="296087" y="165709"/>
                  </a:lnTo>
                  <a:lnTo>
                    <a:pt x="281432" y="208902"/>
                  </a:lnTo>
                  <a:lnTo>
                    <a:pt x="274091" y="254990"/>
                  </a:lnTo>
                  <a:lnTo>
                    <a:pt x="266915"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46"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36"/>
                  </a:lnTo>
                  <a:lnTo>
                    <a:pt x="481266" y="172720"/>
                  </a:lnTo>
                  <a:lnTo>
                    <a:pt x="508368" y="135623"/>
                  </a:lnTo>
                  <a:lnTo>
                    <a:pt x="529005" y="94157"/>
                  </a:lnTo>
                  <a:lnTo>
                    <a:pt x="542480" y="49060"/>
                  </a:lnTo>
                  <a:lnTo>
                    <a:pt x="548043" y="1079"/>
                  </a:lnTo>
                  <a:close/>
                </a:path>
                <a:path w="548640" h="786764">
                  <a:moveTo>
                    <a:pt x="548093" y="520192"/>
                  </a:moveTo>
                  <a:lnTo>
                    <a:pt x="500380" y="524205"/>
                  </a:lnTo>
                  <a:lnTo>
                    <a:pt x="455853" y="535851"/>
                  </a:lnTo>
                  <a:lnTo>
                    <a:pt x="414616" y="554456"/>
                  </a:lnTo>
                  <a:lnTo>
                    <a:pt x="377355" y="579323"/>
                  </a:lnTo>
                  <a:lnTo>
                    <a:pt x="344728" y="609790"/>
                  </a:lnTo>
                  <a:lnTo>
                    <a:pt x="317411" y="645160"/>
                  </a:lnTo>
                  <a:lnTo>
                    <a:pt x="296087" y="684784"/>
                  </a:lnTo>
                  <a:lnTo>
                    <a:pt x="281419" y="727976"/>
                  </a:lnTo>
                  <a:lnTo>
                    <a:pt x="274091" y="774065"/>
                  </a:lnTo>
                  <a:lnTo>
                    <a:pt x="266915" y="727811"/>
                  </a:lnTo>
                  <a:lnTo>
                    <a:pt x="252361" y="684441"/>
                  </a:lnTo>
                  <a:lnTo>
                    <a:pt x="231101" y="644652"/>
                  </a:lnTo>
                  <a:lnTo>
                    <a:pt x="203809" y="609117"/>
                  </a:lnTo>
                  <a:lnTo>
                    <a:pt x="171157" y="578510"/>
                  </a:lnTo>
                  <a:lnTo>
                    <a:pt x="133845" y="553529"/>
                  </a:lnTo>
                  <a:lnTo>
                    <a:pt x="92544" y="534847"/>
                  </a:lnTo>
                  <a:lnTo>
                    <a:pt x="47917" y="523113"/>
                  </a:lnTo>
                  <a:lnTo>
                    <a:pt x="0" y="519061"/>
                  </a:lnTo>
                  <a:lnTo>
                    <a:pt x="5448" y="567232"/>
                  </a:lnTo>
                  <a:lnTo>
                    <a:pt x="18846" y="612508"/>
                  </a:lnTo>
                  <a:lnTo>
                    <a:pt x="39458" y="654126"/>
                  </a:lnTo>
                  <a:lnTo>
                    <a:pt x="66560" y="691388"/>
                  </a:lnTo>
                  <a:lnTo>
                    <a:pt x="99402" y="723544"/>
                  </a:lnTo>
                  <a:lnTo>
                    <a:pt x="137261" y="749858"/>
                  </a:lnTo>
                  <a:lnTo>
                    <a:pt x="179387" y="769594"/>
                  </a:lnTo>
                  <a:lnTo>
                    <a:pt x="225056" y="782015"/>
                  </a:lnTo>
                  <a:lnTo>
                    <a:pt x="273532" y="786384"/>
                  </a:lnTo>
                  <a:lnTo>
                    <a:pt x="274751" y="786384"/>
                  </a:lnTo>
                  <a:lnTo>
                    <a:pt x="323100" y="782027"/>
                  </a:lnTo>
                  <a:lnTo>
                    <a:pt x="368655" y="769670"/>
                  </a:lnTo>
                  <a:lnTo>
                    <a:pt x="410679" y="750023"/>
                  </a:lnTo>
                  <a:lnTo>
                    <a:pt x="448475" y="723823"/>
                  </a:lnTo>
                  <a:lnTo>
                    <a:pt x="448881" y="723430"/>
                  </a:lnTo>
                  <a:lnTo>
                    <a:pt x="481304" y="691794"/>
                  </a:lnTo>
                  <a:lnTo>
                    <a:pt x="508393" y="654697"/>
                  </a:lnTo>
                  <a:lnTo>
                    <a:pt x="529056"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104" name="object 102">
              <a:extLst>
                <a:ext uri="{FF2B5EF4-FFF2-40B4-BE49-F238E27FC236}">
                  <a16:creationId xmlns:a16="http://schemas.microsoft.com/office/drawing/2014/main" id="{E0E9480F-074A-CFA1-C374-03951A5DACCA}"/>
                </a:ext>
              </a:extLst>
            </p:cNvPr>
            <p:cNvPicPr/>
            <p:nvPr/>
          </p:nvPicPr>
          <p:blipFill>
            <a:blip r:embed="rId5" cstate="print"/>
            <a:stretch>
              <a:fillRect/>
            </a:stretch>
          </p:blipFill>
          <p:spPr>
            <a:xfrm>
              <a:off x="10791857" y="718433"/>
              <a:ext cx="106445" cy="107156"/>
            </a:xfrm>
            <a:prstGeom prst="rect">
              <a:avLst/>
            </a:prstGeom>
          </p:spPr>
        </p:pic>
        <p:sp>
          <p:nvSpPr>
            <p:cNvPr id="105" name="object 103">
              <a:extLst>
                <a:ext uri="{FF2B5EF4-FFF2-40B4-BE49-F238E27FC236}">
                  <a16:creationId xmlns:a16="http://schemas.microsoft.com/office/drawing/2014/main" id="{98E08A04-4A1C-5A77-D5C4-C358FC549B92}"/>
                </a:ext>
              </a:extLst>
            </p:cNvPr>
            <p:cNvSpPr/>
            <p:nvPr/>
          </p:nvSpPr>
          <p:spPr>
            <a:xfrm>
              <a:off x="10679200" y="150257"/>
              <a:ext cx="332700" cy="477101"/>
            </a:xfrm>
            <a:custGeom>
              <a:avLst/>
              <a:gdLst/>
              <a:ahLst/>
              <a:cxnLst/>
              <a:rect l="l" t="t" r="r" b="b"/>
              <a:pathLst>
                <a:path w="548640" h="786765">
                  <a:moveTo>
                    <a:pt x="548043" y="266611"/>
                  </a:moveTo>
                  <a:lnTo>
                    <a:pt x="500380" y="270649"/>
                  </a:lnTo>
                  <a:lnTo>
                    <a:pt x="455853" y="282308"/>
                  </a:lnTo>
                  <a:lnTo>
                    <a:pt x="414616" y="300901"/>
                  </a:lnTo>
                  <a:lnTo>
                    <a:pt x="377355" y="325767"/>
                  </a:lnTo>
                  <a:lnTo>
                    <a:pt x="344728" y="356235"/>
                  </a:lnTo>
                  <a:lnTo>
                    <a:pt x="317411" y="391617"/>
                  </a:lnTo>
                  <a:lnTo>
                    <a:pt x="296087" y="431253"/>
                  </a:lnTo>
                  <a:lnTo>
                    <a:pt x="281432" y="474446"/>
                  </a:lnTo>
                  <a:lnTo>
                    <a:pt x="274091" y="520534"/>
                  </a:lnTo>
                  <a:lnTo>
                    <a:pt x="266915" y="474256"/>
                  </a:lnTo>
                  <a:lnTo>
                    <a:pt x="252361" y="430885"/>
                  </a:lnTo>
                  <a:lnTo>
                    <a:pt x="231101" y="391096"/>
                  </a:lnTo>
                  <a:lnTo>
                    <a:pt x="203809" y="355561"/>
                  </a:lnTo>
                  <a:lnTo>
                    <a:pt x="171157" y="324954"/>
                  </a:lnTo>
                  <a:lnTo>
                    <a:pt x="133845" y="299974"/>
                  </a:lnTo>
                  <a:lnTo>
                    <a:pt x="92544" y="281292"/>
                  </a:lnTo>
                  <a:lnTo>
                    <a:pt x="47917" y="269582"/>
                  </a:lnTo>
                  <a:lnTo>
                    <a:pt x="12" y="265531"/>
                  </a:lnTo>
                  <a:lnTo>
                    <a:pt x="5461" y="313690"/>
                  </a:lnTo>
                  <a:lnTo>
                    <a:pt x="18846" y="358952"/>
                  </a:lnTo>
                  <a:lnTo>
                    <a:pt x="39471" y="400583"/>
                  </a:lnTo>
                  <a:lnTo>
                    <a:pt x="66560" y="437832"/>
                  </a:lnTo>
                  <a:lnTo>
                    <a:pt x="99402" y="469988"/>
                  </a:lnTo>
                  <a:lnTo>
                    <a:pt x="137261" y="496303"/>
                  </a:lnTo>
                  <a:lnTo>
                    <a:pt x="179387" y="516039"/>
                  </a:lnTo>
                  <a:lnTo>
                    <a:pt x="225056" y="528459"/>
                  </a:lnTo>
                  <a:lnTo>
                    <a:pt x="273532" y="532828"/>
                  </a:lnTo>
                  <a:lnTo>
                    <a:pt x="274751" y="532828"/>
                  </a:lnTo>
                  <a:lnTo>
                    <a:pt x="323100" y="528472"/>
                  </a:lnTo>
                  <a:lnTo>
                    <a:pt x="368655" y="516115"/>
                  </a:lnTo>
                  <a:lnTo>
                    <a:pt x="410679" y="496468"/>
                  </a:lnTo>
                  <a:lnTo>
                    <a:pt x="448475" y="470268"/>
                  </a:lnTo>
                  <a:lnTo>
                    <a:pt x="481266" y="438251"/>
                  </a:lnTo>
                  <a:lnTo>
                    <a:pt x="508368" y="401154"/>
                  </a:lnTo>
                  <a:lnTo>
                    <a:pt x="529005" y="359689"/>
                  </a:lnTo>
                  <a:lnTo>
                    <a:pt x="542480" y="314604"/>
                  </a:lnTo>
                  <a:lnTo>
                    <a:pt x="548043" y="266611"/>
                  </a:lnTo>
                  <a:close/>
                </a:path>
                <a:path w="548640" h="786765">
                  <a:moveTo>
                    <a:pt x="548043" y="1079"/>
                  </a:moveTo>
                  <a:lnTo>
                    <a:pt x="500380" y="5118"/>
                  </a:lnTo>
                  <a:lnTo>
                    <a:pt x="455853" y="16776"/>
                  </a:lnTo>
                  <a:lnTo>
                    <a:pt x="414616" y="35369"/>
                  </a:lnTo>
                  <a:lnTo>
                    <a:pt x="377355" y="60248"/>
                  </a:lnTo>
                  <a:lnTo>
                    <a:pt x="344728" y="90716"/>
                  </a:lnTo>
                  <a:lnTo>
                    <a:pt x="317411" y="126098"/>
                  </a:lnTo>
                  <a:lnTo>
                    <a:pt x="296087" y="165722"/>
                  </a:lnTo>
                  <a:lnTo>
                    <a:pt x="281432" y="208915"/>
                  </a:lnTo>
                  <a:lnTo>
                    <a:pt x="274091" y="255003"/>
                  </a:lnTo>
                  <a:lnTo>
                    <a:pt x="266915" y="208724"/>
                  </a:lnTo>
                  <a:lnTo>
                    <a:pt x="252361" y="165354"/>
                  </a:lnTo>
                  <a:lnTo>
                    <a:pt x="231101" y="125564"/>
                  </a:lnTo>
                  <a:lnTo>
                    <a:pt x="203809" y="90030"/>
                  </a:lnTo>
                  <a:lnTo>
                    <a:pt x="171157" y="59436"/>
                  </a:lnTo>
                  <a:lnTo>
                    <a:pt x="133845" y="34455"/>
                  </a:lnTo>
                  <a:lnTo>
                    <a:pt x="92544" y="15760"/>
                  </a:lnTo>
                  <a:lnTo>
                    <a:pt x="47917" y="4064"/>
                  </a:lnTo>
                  <a:lnTo>
                    <a:pt x="12" y="0"/>
                  </a:lnTo>
                  <a:lnTo>
                    <a:pt x="5461" y="48171"/>
                  </a:lnTo>
                  <a:lnTo>
                    <a:pt x="18846"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79" y="230936"/>
                  </a:lnTo>
                  <a:lnTo>
                    <a:pt x="448475" y="204736"/>
                  </a:lnTo>
                  <a:lnTo>
                    <a:pt x="481266" y="172732"/>
                  </a:lnTo>
                  <a:lnTo>
                    <a:pt x="508368" y="135623"/>
                  </a:lnTo>
                  <a:lnTo>
                    <a:pt x="529005" y="94157"/>
                  </a:lnTo>
                  <a:lnTo>
                    <a:pt x="542480" y="49072"/>
                  </a:lnTo>
                  <a:lnTo>
                    <a:pt x="548043" y="1079"/>
                  </a:lnTo>
                  <a:close/>
                </a:path>
                <a:path w="548640" h="786765">
                  <a:moveTo>
                    <a:pt x="548093" y="520204"/>
                  </a:moveTo>
                  <a:lnTo>
                    <a:pt x="500380" y="524205"/>
                  </a:lnTo>
                  <a:lnTo>
                    <a:pt x="455853" y="535863"/>
                  </a:lnTo>
                  <a:lnTo>
                    <a:pt x="414616" y="554469"/>
                  </a:lnTo>
                  <a:lnTo>
                    <a:pt x="377355" y="579335"/>
                  </a:lnTo>
                  <a:lnTo>
                    <a:pt x="344728" y="609803"/>
                  </a:lnTo>
                  <a:lnTo>
                    <a:pt x="317411" y="645172"/>
                  </a:lnTo>
                  <a:lnTo>
                    <a:pt x="296087" y="684796"/>
                  </a:lnTo>
                  <a:lnTo>
                    <a:pt x="281419" y="727976"/>
                  </a:lnTo>
                  <a:lnTo>
                    <a:pt x="274091" y="774065"/>
                  </a:lnTo>
                  <a:lnTo>
                    <a:pt x="266915" y="727824"/>
                  </a:lnTo>
                  <a:lnTo>
                    <a:pt x="252361" y="684453"/>
                  </a:lnTo>
                  <a:lnTo>
                    <a:pt x="231101" y="644652"/>
                  </a:lnTo>
                  <a:lnTo>
                    <a:pt x="203809" y="609117"/>
                  </a:lnTo>
                  <a:lnTo>
                    <a:pt x="171157" y="578523"/>
                  </a:lnTo>
                  <a:lnTo>
                    <a:pt x="133845" y="553542"/>
                  </a:lnTo>
                  <a:lnTo>
                    <a:pt x="92544" y="534835"/>
                  </a:lnTo>
                  <a:lnTo>
                    <a:pt x="47917" y="523125"/>
                  </a:lnTo>
                  <a:lnTo>
                    <a:pt x="0" y="519074"/>
                  </a:lnTo>
                  <a:lnTo>
                    <a:pt x="5448" y="567245"/>
                  </a:lnTo>
                  <a:lnTo>
                    <a:pt x="14871" y="599122"/>
                  </a:lnTo>
                  <a:lnTo>
                    <a:pt x="18846" y="612521"/>
                  </a:lnTo>
                  <a:lnTo>
                    <a:pt x="29057" y="633133"/>
                  </a:lnTo>
                  <a:lnTo>
                    <a:pt x="39458" y="654138"/>
                  </a:lnTo>
                  <a:lnTo>
                    <a:pt x="46850" y="66429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106" name="object 104">
              <a:extLst>
                <a:ext uri="{FF2B5EF4-FFF2-40B4-BE49-F238E27FC236}">
                  <a16:creationId xmlns:a16="http://schemas.microsoft.com/office/drawing/2014/main" id="{D8F13FB3-8E61-AD4D-D852-730D17A5443F}"/>
                </a:ext>
              </a:extLst>
            </p:cNvPr>
            <p:cNvPicPr/>
            <p:nvPr/>
          </p:nvPicPr>
          <p:blipFill>
            <a:blip r:embed="rId6" cstate="print"/>
            <a:stretch>
              <a:fillRect/>
            </a:stretch>
          </p:blipFill>
          <p:spPr>
            <a:xfrm>
              <a:off x="10791857" y="64269"/>
              <a:ext cx="106445" cy="107156"/>
            </a:xfrm>
            <a:prstGeom prst="rect">
              <a:avLst/>
            </a:prstGeom>
          </p:spPr>
        </p:pic>
        <p:sp>
          <p:nvSpPr>
            <p:cNvPr id="107" name="object 105">
              <a:extLst>
                <a:ext uri="{FF2B5EF4-FFF2-40B4-BE49-F238E27FC236}">
                  <a16:creationId xmlns:a16="http://schemas.microsoft.com/office/drawing/2014/main" id="{D9D1649F-A479-A82E-DEF1-5CF6C2D2E252}"/>
                </a:ext>
              </a:extLst>
            </p:cNvPr>
            <p:cNvSpPr/>
            <p:nvPr/>
          </p:nvSpPr>
          <p:spPr>
            <a:xfrm>
              <a:off x="10679200" y="2112754"/>
              <a:ext cx="332700" cy="477101"/>
            </a:xfrm>
            <a:custGeom>
              <a:avLst/>
              <a:gdLst/>
              <a:ahLst/>
              <a:cxnLst/>
              <a:rect l="l" t="t" r="r" b="b"/>
              <a:pathLst>
                <a:path w="548640" h="786764">
                  <a:moveTo>
                    <a:pt x="548043" y="266611"/>
                  </a:moveTo>
                  <a:lnTo>
                    <a:pt x="500380" y="270649"/>
                  </a:lnTo>
                  <a:lnTo>
                    <a:pt x="455853" y="282308"/>
                  </a:lnTo>
                  <a:lnTo>
                    <a:pt x="414616" y="300901"/>
                  </a:lnTo>
                  <a:lnTo>
                    <a:pt x="377355" y="325780"/>
                  </a:lnTo>
                  <a:lnTo>
                    <a:pt x="344728" y="356247"/>
                  </a:lnTo>
                  <a:lnTo>
                    <a:pt x="317411" y="391629"/>
                  </a:lnTo>
                  <a:lnTo>
                    <a:pt x="296087" y="431253"/>
                  </a:lnTo>
                  <a:lnTo>
                    <a:pt x="281432" y="474446"/>
                  </a:lnTo>
                  <a:lnTo>
                    <a:pt x="274091" y="520534"/>
                  </a:lnTo>
                  <a:lnTo>
                    <a:pt x="266915" y="474256"/>
                  </a:lnTo>
                  <a:lnTo>
                    <a:pt x="252361" y="430885"/>
                  </a:lnTo>
                  <a:lnTo>
                    <a:pt x="231101" y="391096"/>
                  </a:lnTo>
                  <a:lnTo>
                    <a:pt x="203809" y="355561"/>
                  </a:lnTo>
                  <a:lnTo>
                    <a:pt x="171157" y="324967"/>
                  </a:lnTo>
                  <a:lnTo>
                    <a:pt x="133845" y="299986"/>
                  </a:lnTo>
                  <a:lnTo>
                    <a:pt x="92544" y="281292"/>
                  </a:lnTo>
                  <a:lnTo>
                    <a:pt x="47917" y="269582"/>
                  </a:lnTo>
                  <a:lnTo>
                    <a:pt x="12" y="265531"/>
                  </a:lnTo>
                  <a:lnTo>
                    <a:pt x="5461" y="313702"/>
                  </a:lnTo>
                  <a:lnTo>
                    <a:pt x="18846" y="358952"/>
                  </a:lnTo>
                  <a:lnTo>
                    <a:pt x="39471" y="400583"/>
                  </a:lnTo>
                  <a:lnTo>
                    <a:pt x="66560" y="437845"/>
                  </a:lnTo>
                  <a:lnTo>
                    <a:pt x="99402" y="469988"/>
                  </a:lnTo>
                  <a:lnTo>
                    <a:pt x="137261" y="496303"/>
                  </a:lnTo>
                  <a:lnTo>
                    <a:pt x="179387" y="516039"/>
                  </a:lnTo>
                  <a:lnTo>
                    <a:pt x="225056" y="528459"/>
                  </a:lnTo>
                  <a:lnTo>
                    <a:pt x="273532" y="532841"/>
                  </a:lnTo>
                  <a:lnTo>
                    <a:pt x="274751" y="532841"/>
                  </a:lnTo>
                  <a:lnTo>
                    <a:pt x="323100" y="528485"/>
                  </a:lnTo>
                  <a:lnTo>
                    <a:pt x="368655" y="516115"/>
                  </a:lnTo>
                  <a:lnTo>
                    <a:pt x="410679" y="496468"/>
                  </a:lnTo>
                  <a:lnTo>
                    <a:pt x="448475" y="470268"/>
                  </a:lnTo>
                  <a:lnTo>
                    <a:pt x="481266" y="438264"/>
                  </a:lnTo>
                  <a:lnTo>
                    <a:pt x="508368" y="401154"/>
                  </a:lnTo>
                  <a:lnTo>
                    <a:pt x="529005" y="359689"/>
                  </a:lnTo>
                  <a:lnTo>
                    <a:pt x="542480" y="314604"/>
                  </a:lnTo>
                  <a:lnTo>
                    <a:pt x="548043" y="266611"/>
                  </a:lnTo>
                  <a:close/>
                </a:path>
                <a:path w="548640" h="786764">
                  <a:moveTo>
                    <a:pt x="548043" y="1079"/>
                  </a:moveTo>
                  <a:lnTo>
                    <a:pt x="500380" y="5118"/>
                  </a:lnTo>
                  <a:lnTo>
                    <a:pt x="455853" y="16776"/>
                  </a:lnTo>
                  <a:lnTo>
                    <a:pt x="414616" y="35369"/>
                  </a:lnTo>
                  <a:lnTo>
                    <a:pt x="377355" y="60248"/>
                  </a:lnTo>
                  <a:lnTo>
                    <a:pt x="344728" y="90703"/>
                  </a:lnTo>
                  <a:lnTo>
                    <a:pt x="317411" y="126085"/>
                  </a:lnTo>
                  <a:lnTo>
                    <a:pt x="296087" y="165722"/>
                  </a:lnTo>
                  <a:lnTo>
                    <a:pt x="281432" y="208915"/>
                  </a:lnTo>
                  <a:lnTo>
                    <a:pt x="274091" y="255003"/>
                  </a:lnTo>
                  <a:lnTo>
                    <a:pt x="266915" y="208724"/>
                  </a:lnTo>
                  <a:lnTo>
                    <a:pt x="252361" y="165354"/>
                  </a:lnTo>
                  <a:lnTo>
                    <a:pt x="231101" y="125564"/>
                  </a:lnTo>
                  <a:lnTo>
                    <a:pt x="203809" y="90030"/>
                  </a:lnTo>
                  <a:lnTo>
                    <a:pt x="171157" y="59423"/>
                  </a:lnTo>
                  <a:lnTo>
                    <a:pt x="133845" y="34442"/>
                  </a:lnTo>
                  <a:lnTo>
                    <a:pt x="92544" y="15760"/>
                  </a:lnTo>
                  <a:lnTo>
                    <a:pt x="47917" y="4051"/>
                  </a:lnTo>
                  <a:lnTo>
                    <a:pt x="12" y="0"/>
                  </a:lnTo>
                  <a:lnTo>
                    <a:pt x="5461" y="48158"/>
                  </a:lnTo>
                  <a:lnTo>
                    <a:pt x="18846" y="93421"/>
                  </a:lnTo>
                  <a:lnTo>
                    <a:pt x="39471" y="135051"/>
                  </a:lnTo>
                  <a:lnTo>
                    <a:pt x="66560" y="172313"/>
                  </a:lnTo>
                  <a:lnTo>
                    <a:pt x="99402" y="204457"/>
                  </a:lnTo>
                  <a:lnTo>
                    <a:pt x="137261" y="230771"/>
                  </a:lnTo>
                  <a:lnTo>
                    <a:pt x="179387" y="250507"/>
                  </a:lnTo>
                  <a:lnTo>
                    <a:pt x="225056" y="262928"/>
                  </a:lnTo>
                  <a:lnTo>
                    <a:pt x="273532" y="267296"/>
                  </a:lnTo>
                  <a:lnTo>
                    <a:pt x="274751" y="267296"/>
                  </a:lnTo>
                  <a:lnTo>
                    <a:pt x="323100" y="262940"/>
                  </a:lnTo>
                  <a:lnTo>
                    <a:pt x="368655" y="250583"/>
                  </a:lnTo>
                  <a:lnTo>
                    <a:pt x="410679" y="230936"/>
                  </a:lnTo>
                  <a:lnTo>
                    <a:pt x="448475" y="204736"/>
                  </a:lnTo>
                  <a:lnTo>
                    <a:pt x="481266" y="172720"/>
                  </a:lnTo>
                  <a:lnTo>
                    <a:pt x="508368" y="135623"/>
                  </a:lnTo>
                  <a:lnTo>
                    <a:pt x="529005" y="94157"/>
                  </a:lnTo>
                  <a:lnTo>
                    <a:pt x="542480" y="49072"/>
                  </a:lnTo>
                  <a:lnTo>
                    <a:pt x="548043" y="1079"/>
                  </a:lnTo>
                  <a:close/>
                </a:path>
                <a:path w="548640" h="786764">
                  <a:moveTo>
                    <a:pt x="548093" y="520204"/>
                  </a:moveTo>
                  <a:lnTo>
                    <a:pt x="500380" y="524205"/>
                  </a:lnTo>
                  <a:lnTo>
                    <a:pt x="455853" y="535863"/>
                  </a:lnTo>
                  <a:lnTo>
                    <a:pt x="414616" y="554456"/>
                  </a:lnTo>
                  <a:lnTo>
                    <a:pt x="377355" y="579335"/>
                  </a:lnTo>
                  <a:lnTo>
                    <a:pt x="344728" y="609803"/>
                  </a:lnTo>
                  <a:lnTo>
                    <a:pt x="317411" y="645172"/>
                  </a:lnTo>
                  <a:lnTo>
                    <a:pt x="296087" y="684796"/>
                  </a:lnTo>
                  <a:lnTo>
                    <a:pt x="281419" y="727989"/>
                  </a:lnTo>
                  <a:lnTo>
                    <a:pt x="274091" y="774065"/>
                  </a:lnTo>
                  <a:lnTo>
                    <a:pt x="266915" y="727811"/>
                  </a:lnTo>
                  <a:lnTo>
                    <a:pt x="252361" y="684441"/>
                  </a:lnTo>
                  <a:lnTo>
                    <a:pt x="231101" y="644652"/>
                  </a:lnTo>
                  <a:lnTo>
                    <a:pt x="203809" y="609117"/>
                  </a:lnTo>
                  <a:lnTo>
                    <a:pt x="171157" y="578523"/>
                  </a:lnTo>
                  <a:lnTo>
                    <a:pt x="133845" y="553542"/>
                  </a:lnTo>
                  <a:lnTo>
                    <a:pt x="92544" y="534860"/>
                  </a:lnTo>
                  <a:lnTo>
                    <a:pt x="47917" y="523125"/>
                  </a:lnTo>
                  <a:lnTo>
                    <a:pt x="12" y="519087"/>
                  </a:lnTo>
                  <a:lnTo>
                    <a:pt x="5448" y="567245"/>
                  </a:lnTo>
                  <a:lnTo>
                    <a:pt x="18846" y="612521"/>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2DB7EA"/>
            </a:solidFill>
          </p:spPr>
          <p:txBody>
            <a:bodyPr wrap="square" lIns="0" tIns="0" rIns="0" bIns="0" rtlCol="0"/>
            <a:lstStyle/>
            <a:p>
              <a:endParaRPr dirty="0"/>
            </a:p>
          </p:txBody>
        </p:sp>
        <p:pic>
          <p:nvPicPr>
            <p:cNvPr id="108" name="object 106">
              <a:extLst>
                <a:ext uri="{FF2B5EF4-FFF2-40B4-BE49-F238E27FC236}">
                  <a16:creationId xmlns:a16="http://schemas.microsoft.com/office/drawing/2014/main" id="{CEC02E58-2FBC-265B-C669-FCB053DAD41D}"/>
                </a:ext>
              </a:extLst>
            </p:cNvPr>
            <p:cNvPicPr/>
            <p:nvPr/>
          </p:nvPicPr>
          <p:blipFill>
            <a:blip r:embed="rId5" cstate="print"/>
            <a:stretch>
              <a:fillRect/>
            </a:stretch>
          </p:blipFill>
          <p:spPr>
            <a:xfrm>
              <a:off x="10791857" y="2026765"/>
              <a:ext cx="106445" cy="107156"/>
            </a:xfrm>
            <a:prstGeom prst="rect">
              <a:avLst/>
            </a:prstGeom>
          </p:spPr>
        </p:pic>
        <p:sp>
          <p:nvSpPr>
            <p:cNvPr id="109" name="object 107">
              <a:extLst>
                <a:ext uri="{FF2B5EF4-FFF2-40B4-BE49-F238E27FC236}">
                  <a16:creationId xmlns:a16="http://schemas.microsoft.com/office/drawing/2014/main" id="{5EA8C0C6-8B51-02E3-F1EA-E989587988B0}"/>
                </a:ext>
              </a:extLst>
            </p:cNvPr>
            <p:cNvSpPr/>
            <p:nvPr/>
          </p:nvSpPr>
          <p:spPr>
            <a:xfrm>
              <a:off x="10679200" y="1458591"/>
              <a:ext cx="332700" cy="477101"/>
            </a:xfrm>
            <a:custGeom>
              <a:avLst/>
              <a:gdLst/>
              <a:ahLst/>
              <a:cxnLst/>
              <a:rect l="l" t="t" r="r" b="b"/>
              <a:pathLst>
                <a:path w="548640" h="786764">
                  <a:moveTo>
                    <a:pt x="548043" y="266611"/>
                  </a:moveTo>
                  <a:lnTo>
                    <a:pt x="500380" y="270649"/>
                  </a:lnTo>
                  <a:lnTo>
                    <a:pt x="455853" y="282295"/>
                  </a:lnTo>
                  <a:lnTo>
                    <a:pt x="414616" y="300901"/>
                  </a:lnTo>
                  <a:lnTo>
                    <a:pt x="377355" y="325767"/>
                  </a:lnTo>
                  <a:lnTo>
                    <a:pt x="344728" y="356235"/>
                  </a:lnTo>
                  <a:lnTo>
                    <a:pt x="317411" y="391617"/>
                  </a:lnTo>
                  <a:lnTo>
                    <a:pt x="296087" y="431241"/>
                  </a:lnTo>
                  <a:lnTo>
                    <a:pt x="281432" y="474446"/>
                  </a:lnTo>
                  <a:lnTo>
                    <a:pt x="274091" y="520522"/>
                  </a:lnTo>
                  <a:lnTo>
                    <a:pt x="266915"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46" y="358952"/>
                  </a:lnTo>
                  <a:lnTo>
                    <a:pt x="39471" y="400583"/>
                  </a:lnTo>
                  <a:lnTo>
                    <a:pt x="66560" y="437832"/>
                  </a:lnTo>
                  <a:lnTo>
                    <a:pt x="99402" y="469988"/>
                  </a:lnTo>
                  <a:lnTo>
                    <a:pt x="137261" y="496303"/>
                  </a:lnTo>
                  <a:lnTo>
                    <a:pt x="179387" y="516026"/>
                  </a:lnTo>
                  <a:lnTo>
                    <a:pt x="225056" y="528459"/>
                  </a:lnTo>
                  <a:lnTo>
                    <a:pt x="273532" y="532828"/>
                  </a:lnTo>
                  <a:lnTo>
                    <a:pt x="274751" y="532828"/>
                  </a:lnTo>
                  <a:lnTo>
                    <a:pt x="323100" y="528472"/>
                  </a:lnTo>
                  <a:lnTo>
                    <a:pt x="368655" y="516102"/>
                  </a:lnTo>
                  <a:lnTo>
                    <a:pt x="410679" y="496468"/>
                  </a:lnTo>
                  <a:lnTo>
                    <a:pt x="448475" y="470268"/>
                  </a:lnTo>
                  <a:lnTo>
                    <a:pt x="481266" y="438251"/>
                  </a:lnTo>
                  <a:lnTo>
                    <a:pt x="508368" y="401154"/>
                  </a:lnTo>
                  <a:lnTo>
                    <a:pt x="529005" y="359689"/>
                  </a:lnTo>
                  <a:lnTo>
                    <a:pt x="542480" y="314604"/>
                  </a:lnTo>
                  <a:lnTo>
                    <a:pt x="548043" y="266611"/>
                  </a:lnTo>
                  <a:close/>
                </a:path>
                <a:path w="548640" h="786764">
                  <a:moveTo>
                    <a:pt x="548043" y="1079"/>
                  </a:moveTo>
                  <a:lnTo>
                    <a:pt x="500380" y="5105"/>
                  </a:lnTo>
                  <a:lnTo>
                    <a:pt x="455853" y="16764"/>
                  </a:lnTo>
                  <a:lnTo>
                    <a:pt x="414616" y="35369"/>
                  </a:lnTo>
                  <a:lnTo>
                    <a:pt x="377355" y="60236"/>
                  </a:lnTo>
                  <a:lnTo>
                    <a:pt x="344728" y="90703"/>
                  </a:lnTo>
                  <a:lnTo>
                    <a:pt x="317411" y="126085"/>
                  </a:lnTo>
                  <a:lnTo>
                    <a:pt x="296087" y="165709"/>
                  </a:lnTo>
                  <a:lnTo>
                    <a:pt x="281432" y="208902"/>
                  </a:lnTo>
                  <a:lnTo>
                    <a:pt x="274091" y="254990"/>
                  </a:lnTo>
                  <a:lnTo>
                    <a:pt x="266915"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46"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36"/>
                  </a:lnTo>
                  <a:lnTo>
                    <a:pt x="481266" y="172720"/>
                  </a:lnTo>
                  <a:lnTo>
                    <a:pt x="508368" y="135623"/>
                  </a:lnTo>
                  <a:lnTo>
                    <a:pt x="529005" y="94157"/>
                  </a:lnTo>
                  <a:lnTo>
                    <a:pt x="542480" y="49060"/>
                  </a:lnTo>
                  <a:lnTo>
                    <a:pt x="548043" y="1079"/>
                  </a:lnTo>
                  <a:close/>
                </a:path>
                <a:path w="548640" h="786764">
                  <a:moveTo>
                    <a:pt x="548093" y="520192"/>
                  </a:moveTo>
                  <a:lnTo>
                    <a:pt x="500380" y="524205"/>
                  </a:lnTo>
                  <a:lnTo>
                    <a:pt x="455853" y="535863"/>
                  </a:lnTo>
                  <a:lnTo>
                    <a:pt x="414616" y="554456"/>
                  </a:lnTo>
                  <a:lnTo>
                    <a:pt x="377355" y="579335"/>
                  </a:lnTo>
                  <a:lnTo>
                    <a:pt x="344728" y="609790"/>
                  </a:lnTo>
                  <a:lnTo>
                    <a:pt x="317411" y="645172"/>
                  </a:lnTo>
                  <a:lnTo>
                    <a:pt x="296087" y="684784"/>
                  </a:lnTo>
                  <a:lnTo>
                    <a:pt x="281419" y="727976"/>
                  </a:lnTo>
                  <a:lnTo>
                    <a:pt x="274091" y="774065"/>
                  </a:lnTo>
                  <a:lnTo>
                    <a:pt x="266915" y="727811"/>
                  </a:lnTo>
                  <a:lnTo>
                    <a:pt x="252361" y="684441"/>
                  </a:lnTo>
                  <a:lnTo>
                    <a:pt x="231101" y="644652"/>
                  </a:lnTo>
                  <a:lnTo>
                    <a:pt x="203809" y="609117"/>
                  </a:lnTo>
                  <a:lnTo>
                    <a:pt x="171157" y="578510"/>
                  </a:lnTo>
                  <a:lnTo>
                    <a:pt x="133845" y="553529"/>
                  </a:lnTo>
                  <a:lnTo>
                    <a:pt x="92544" y="534847"/>
                  </a:lnTo>
                  <a:lnTo>
                    <a:pt x="47917" y="523138"/>
                  </a:lnTo>
                  <a:lnTo>
                    <a:pt x="0" y="519061"/>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84"/>
                  </a:lnTo>
                  <a:lnTo>
                    <a:pt x="274751" y="786384"/>
                  </a:lnTo>
                  <a:lnTo>
                    <a:pt x="323100" y="782027"/>
                  </a:lnTo>
                  <a:lnTo>
                    <a:pt x="368655" y="769670"/>
                  </a:lnTo>
                  <a:lnTo>
                    <a:pt x="410679" y="750023"/>
                  </a:lnTo>
                  <a:lnTo>
                    <a:pt x="448475" y="723823"/>
                  </a:lnTo>
                  <a:lnTo>
                    <a:pt x="448881" y="723430"/>
                  </a:lnTo>
                  <a:lnTo>
                    <a:pt x="481304" y="691794"/>
                  </a:lnTo>
                  <a:lnTo>
                    <a:pt x="508393" y="654697"/>
                  </a:lnTo>
                  <a:lnTo>
                    <a:pt x="529056" y="613244"/>
                  </a:lnTo>
                  <a:lnTo>
                    <a:pt x="542531" y="568172"/>
                  </a:lnTo>
                  <a:lnTo>
                    <a:pt x="548093" y="520192"/>
                  </a:lnTo>
                  <a:close/>
                </a:path>
              </a:pathLst>
            </a:custGeom>
            <a:solidFill>
              <a:srgbClr val="7ED3F1"/>
            </a:solidFill>
          </p:spPr>
          <p:txBody>
            <a:bodyPr wrap="square" lIns="0" tIns="0" rIns="0" bIns="0" rtlCol="0"/>
            <a:lstStyle/>
            <a:p>
              <a:endParaRPr dirty="0"/>
            </a:p>
          </p:txBody>
        </p:sp>
        <p:pic>
          <p:nvPicPr>
            <p:cNvPr id="110" name="object 108">
              <a:extLst>
                <a:ext uri="{FF2B5EF4-FFF2-40B4-BE49-F238E27FC236}">
                  <a16:creationId xmlns:a16="http://schemas.microsoft.com/office/drawing/2014/main" id="{EFBA086A-0152-2169-DB66-67581060DD6D}"/>
                </a:ext>
              </a:extLst>
            </p:cNvPr>
            <p:cNvPicPr/>
            <p:nvPr/>
          </p:nvPicPr>
          <p:blipFill>
            <a:blip r:embed="rId6" cstate="print"/>
            <a:stretch>
              <a:fillRect/>
            </a:stretch>
          </p:blipFill>
          <p:spPr>
            <a:xfrm>
              <a:off x="10791857" y="1372599"/>
              <a:ext cx="106445" cy="107156"/>
            </a:xfrm>
            <a:prstGeom prst="rect">
              <a:avLst/>
            </a:prstGeom>
          </p:spPr>
        </p:pic>
        <p:sp>
          <p:nvSpPr>
            <p:cNvPr id="111" name="object 109">
              <a:extLst>
                <a:ext uri="{FF2B5EF4-FFF2-40B4-BE49-F238E27FC236}">
                  <a16:creationId xmlns:a16="http://schemas.microsoft.com/office/drawing/2014/main" id="{EB2E1CF9-43A2-AEB9-A279-F924A7C8998A}"/>
                </a:ext>
              </a:extLst>
            </p:cNvPr>
            <p:cNvSpPr/>
            <p:nvPr/>
          </p:nvSpPr>
          <p:spPr>
            <a:xfrm>
              <a:off x="10679200" y="3421088"/>
              <a:ext cx="332700" cy="477101"/>
            </a:xfrm>
            <a:custGeom>
              <a:avLst/>
              <a:gdLst/>
              <a:ahLst/>
              <a:cxnLst/>
              <a:rect l="l" t="t" r="r" b="b"/>
              <a:pathLst>
                <a:path w="548640" h="786764">
                  <a:moveTo>
                    <a:pt x="548043" y="266611"/>
                  </a:moveTo>
                  <a:lnTo>
                    <a:pt x="500380" y="270637"/>
                  </a:lnTo>
                  <a:lnTo>
                    <a:pt x="455853" y="282295"/>
                  </a:lnTo>
                  <a:lnTo>
                    <a:pt x="414616" y="300901"/>
                  </a:lnTo>
                  <a:lnTo>
                    <a:pt x="377355" y="325767"/>
                  </a:lnTo>
                  <a:lnTo>
                    <a:pt x="344728" y="356235"/>
                  </a:lnTo>
                  <a:lnTo>
                    <a:pt x="317411" y="391617"/>
                  </a:lnTo>
                  <a:lnTo>
                    <a:pt x="296087" y="431241"/>
                  </a:lnTo>
                  <a:lnTo>
                    <a:pt x="281432" y="474433"/>
                  </a:lnTo>
                  <a:lnTo>
                    <a:pt x="274091" y="520522"/>
                  </a:lnTo>
                  <a:lnTo>
                    <a:pt x="266915"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46" y="358952"/>
                  </a:lnTo>
                  <a:lnTo>
                    <a:pt x="39471" y="400570"/>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79" y="496455"/>
                  </a:lnTo>
                  <a:lnTo>
                    <a:pt x="448475" y="470255"/>
                  </a:lnTo>
                  <a:lnTo>
                    <a:pt x="481266" y="438251"/>
                  </a:lnTo>
                  <a:lnTo>
                    <a:pt x="508368" y="401142"/>
                  </a:lnTo>
                  <a:lnTo>
                    <a:pt x="529005" y="359689"/>
                  </a:lnTo>
                  <a:lnTo>
                    <a:pt x="542480" y="314591"/>
                  </a:lnTo>
                  <a:lnTo>
                    <a:pt x="548043" y="266611"/>
                  </a:lnTo>
                  <a:close/>
                </a:path>
                <a:path w="548640" h="786764">
                  <a:moveTo>
                    <a:pt x="548043" y="1079"/>
                  </a:moveTo>
                  <a:lnTo>
                    <a:pt x="500380" y="5118"/>
                  </a:lnTo>
                  <a:lnTo>
                    <a:pt x="455853" y="16764"/>
                  </a:lnTo>
                  <a:lnTo>
                    <a:pt x="414616" y="35369"/>
                  </a:lnTo>
                  <a:lnTo>
                    <a:pt x="377355" y="60236"/>
                  </a:lnTo>
                  <a:lnTo>
                    <a:pt x="344728" y="90703"/>
                  </a:lnTo>
                  <a:lnTo>
                    <a:pt x="317411" y="126085"/>
                  </a:lnTo>
                  <a:lnTo>
                    <a:pt x="296087" y="165709"/>
                  </a:lnTo>
                  <a:lnTo>
                    <a:pt x="281432" y="208915"/>
                  </a:lnTo>
                  <a:lnTo>
                    <a:pt x="274091" y="254990"/>
                  </a:lnTo>
                  <a:lnTo>
                    <a:pt x="266915"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46"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36"/>
                  </a:lnTo>
                  <a:lnTo>
                    <a:pt x="481266" y="172720"/>
                  </a:lnTo>
                  <a:lnTo>
                    <a:pt x="508368" y="135623"/>
                  </a:lnTo>
                  <a:lnTo>
                    <a:pt x="529005" y="94157"/>
                  </a:lnTo>
                  <a:lnTo>
                    <a:pt x="542480" y="49072"/>
                  </a:lnTo>
                  <a:lnTo>
                    <a:pt x="548043" y="1079"/>
                  </a:lnTo>
                  <a:close/>
                </a:path>
                <a:path w="548640" h="786764">
                  <a:moveTo>
                    <a:pt x="548093" y="520192"/>
                  </a:moveTo>
                  <a:lnTo>
                    <a:pt x="500380" y="524217"/>
                  </a:lnTo>
                  <a:lnTo>
                    <a:pt x="455853" y="535863"/>
                  </a:lnTo>
                  <a:lnTo>
                    <a:pt x="414616" y="554469"/>
                  </a:lnTo>
                  <a:lnTo>
                    <a:pt x="377355" y="579335"/>
                  </a:lnTo>
                  <a:lnTo>
                    <a:pt x="344728" y="609790"/>
                  </a:lnTo>
                  <a:lnTo>
                    <a:pt x="317411" y="645172"/>
                  </a:lnTo>
                  <a:lnTo>
                    <a:pt x="296087" y="684784"/>
                  </a:lnTo>
                  <a:lnTo>
                    <a:pt x="281419" y="727976"/>
                  </a:lnTo>
                  <a:lnTo>
                    <a:pt x="274091" y="774065"/>
                  </a:lnTo>
                  <a:lnTo>
                    <a:pt x="266915" y="727811"/>
                  </a:lnTo>
                  <a:lnTo>
                    <a:pt x="252361" y="684441"/>
                  </a:lnTo>
                  <a:lnTo>
                    <a:pt x="231101" y="644652"/>
                  </a:lnTo>
                  <a:lnTo>
                    <a:pt x="203809" y="609117"/>
                  </a:lnTo>
                  <a:lnTo>
                    <a:pt x="171157" y="578510"/>
                  </a:lnTo>
                  <a:lnTo>
                    <a:pt x="133845" y="553529"/>
                  </a:lnTo>
                  <a:lnTo>
                    <a:pt x="92544" y="534847"/>
                  </a:lnTo>
                  <a:lnTo>
                    <a:pt x="47917" y="523138"/>
                  </a:lnTo>
                  <a:lnTo>
                    <a:pt x="0" y="519061"/>
                  </a:lnTo>
                  <a:lnTo>
                    <a:pt x="5448" y="567232"/>
                  </a:lnTo>
                  <a:lnTo>
                    <a:pt x="18846" y="612508"/>
                  </a:lnTo>
                  <a:lnTo>
                    <a:pt x="39458" y="654138"/>
                  </a:lnTo>
                  <a:lnTo>
                    <a:pt x="66560" y="691400"/>
                  </a:lnTo>
                  <a:lnTo>
                    <a:pt x="99402" y="723544"/>
                  </a:lnTo>
                  <a:lnTo>
                    <a:pt x="137261" y="749858"/>
                  </a:lnTo>
                  <a:lnTo>
                    <a:pt x="179387" y="769594"/>
                  </a:lnTo>
                  <a:lnTo>
                    <a:pt x="225056" y="782015"/>
                  </a:lnTo>
                  <a:lnTo>
                    <a:pt x="273532" y="786384"/>
                  </a:lnTo>
                  <a:lnTo>
                    <a:pt x="274751" y="786384"/>
                  </a:lnTo>
                  <a:lnTo>
                    <a:pt x="323100" y="782027"/>
                  </a:lnTo>
                  <a:lnTo>
                    <a:pt x="368655" y="769670"/>
                  </a:lnTo>
                  <a:lnTo>
                    <a:pt x="410679" y="750023"/>
                  </a:lnTo>
                  <a:lnTo>
                    <a:pt x="448475" y="723823"/>
                  </a:lnTo>
                  <a:lnTo>
                    <a:pt x="449313" y="723011"/>
                  </a:lnTo>
                  <a:lnTo>
                    <a:pt x="481266" y="691819"/>
                  </a:lnTo>
                  <a:lnTo>
                    <a:pt x="508393" y="654697"/>
                  </a:lnTo>
                  <a:lnTo>
                    <a:pt x="529056"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112" name="object 110">
              <a:extLst>
                <a:ext uri="{FF2B5EF4-FFF2-40B4-BE49-F238E27FC236}">
                  <a16:creationId xmlns:a16="http://schemas.microsoft.com/office/drawing/2014/main" id="{7DE67DE2-33AE-7998-B330-8AC01EF3BF0A}"/>
                </a:ext>
              </a:extLst>
            </p:cNvPr>
            <p:cNvPicPr/>
            <p:nvPr/>
          </p:nvPicPr>
          <p:blipFill>
            <a:blip r:embed="rId5" cstate="print"/>
            <a:stretch>
              <a:fillRect/>
            </a:stretch>
          </p:blipFill>
          <p:spPr>
            <a:xfrm>
              <a:off x="10791857" y="3335097"/>
              <a:ext cx="106445" cy="107156"/>
            </a:xfrm>
            <a:prstGeom prst="rect">
              <a:avLst/>
            </a:prstGeom>
          </p:spPr>
        </p:pic>
        <p:sp>
          <p:nvSpPr>
            <p:cNvPr id="113" name="object 111">
              <a:extLst>
                <a:ext uri="{FF2B5EF4-FFF2-40B4-BE49-F238E27FC236}">
                  <a16:creationId xmlns:a16="http://schemas.microsoft.com/office/drawing/2014/main" id="{6D543309-1CAD-ACFF-1BB2-4A72794E3E8B}"/>
                </a:ext>
              </a:extLst>
            </p:cNvPr>
            <p:cNvSpPr/>
            <p:nvPr/>
          </p:nvSpPr>
          <p:spPr>
            <a:xfrm>
              <a:off x="10679200" y="2766918"/>
              <a:ext cx="332700" cy="477101"/>
            </a:xfrm>
            <a:custGeom>
              <a:avLst/>
              <a:gdLst/>
              <a:ahLst/>
              <a:cxnLst/>
              <a:rect l="l" t="t" r="r" b="b"/>
              <a:pathLst>
                <a:path w="548640" h="786764">
                  <a:moveTo>
                    <a:pt x="548043" y="266611"/>
                  </a:moveTo>
                  <a:lnTo>
                    <a:pt x="500380" y="270649"/>
                  </a:lnTo>
                  <a:lnTo>
                    <a:pt x="455853" y="282308"/>
                  </a:lnTo>
                  <a:lnTo>
                    <a:pt x="414616" y="300901"/>
                  </a:lnTo>
                  <a:lnTo>
                    <a:pt x="377355" y="325780"/>
                  </a:lnTo>
                  <a:lnTo>
                    <a:pt x="344728" y="356247"/>
                  </a:lnTo>
                  <a:lnTo>
                    <a:pt x="317411" y="391629"/>
                  </a:lnTo>
                  <a:lnTo>
                    <a:pt x="296087" y="431253"/>
                  </a:lnTo>
                  <a:lnTo>
                    <a:pt x="281432" y="474446"/>
                  </a:lnTo>
                  <a:lnTo>
                    <a:pt x="274091" y="520534"/>
                  </a:lnTo>
                  <a:lnTo>
                    <a:pt x="266915" y="474256"/>
                  </a:lnTo>
                  <a:lnTo>
                    <a:pt x="252361" y="430885"/>
                  </a:lnTo>
                  <a:lnTo>
                    <a:pt x="231101" y="391096"/>
                  </a:lnTo>
                  <a:lnTo>
                    <a:pt x="203809" y="355561"/>
                  </a:lnTo>
                  <a:lnTo>
                    <a:pt x="171157" y="324967"/>
                  </a:lnTo>
                  <a:lnTo>
                    <a:pt x="133845" y="299986"/>
                  </a:lnTo>
                  <a:lnTo>
                    <a:pt x="92544" y="281292"/>
                  </a:lnTo>
                  <a:lnTo>
                    <a:pt x="47917" y="269582"/>
                  </a:lnTo>
                  <a:lnTo>
                    <a:pt x="12" y="265531"/>
                  </a:lnTo>
                  <a:lnTo>
                    <a:pt x="5461" y="313702"/>
                  </a:lnTo>
                  <a:lnTo>
                    <a:pt x="18846" y="358952"/>
                  </a:lnTo>
                  <a:lnTo>
                    <a:pt x="39471" y="400583"/>
                  </a:lnTo>
                  <a:lnTo>
                    <a:pt x="66560" y="437845"/>
                  </a:lnTo>
                  <a:lnTo>
                    <a:pt x="99402" y="469988"/>
                  </a:lnTo>
                  <a:lnTo>
                    <a:pt x="137261" y="496303"/>
                  </a:lnTo>
                  <a:lnTo>
                    <a:pt x="179387" y="516039"/>
                  </a:lnTo>
                  <a:lnTo>
                    <a:pt x="225056" y="528459"/>
                  </a:lnTo>
                  <a:lnTo>
                    <a:pt x="273532" y="532841"/>
                  </a:lnTo>
                  <a:lnTo>
                    <a:pt x="274751" y="532841"/>
                  </a:lnTo>
                  <a:lnTo>
                    <a:pt x="323100" y="528485"/>
                  </a:lnTo>
                  <a:lnTo>
                    <a:pt x="368655" y="516115"/>
                  </a:lnTo>
                  <a:lnTo>
                    <a:pt x="410679" y="496468"/>
                  </a:lnTo>
                  <a:lnTo>
                    <a:pt x="448475" y="470268"/>
                  </a:lnTo>
                  <a:lnTo>
                    <a:pt x="481266" y="438264"/>
                  </a:lnTo>
                  <a:lnTo>
                    <a:pt x="508368" y="401154"/>
                  </a:lnTo>
                  <a:lnTo>
                    <a:pt x="529005" y="359689"/>
                  </a:lnTo>
                  <a:lnTo>
                    <a:pt x="542480" y="314604"/>
                  </a:lnTo>
                  <a:lnTo>
                    <a:pt x="548043" y="266611"/>
                  </a:lnTo>
                  <a:close/>
                </a:path>
                <a:path w="548640" h="786764">
                  <a:moveTo>
                    <a:pt x="548043" y="1079"/>
                  </a:moveTo>
                  <a:lnTo>
                    <a:pt x="500380" y="5118"/>
                  </a:lnTo>
                  <a:lnTo>
                    <a:pt x="455853" y="16776"/>
                  </a:lnTo>
                  <a:lnTo>
                    <a:pt x="414616" y="35369"/>
                  </a:lnTo>
                  <a:lnTo>
                    <a:pt x="377355" y="60248"/>
                  </a:lnTo>
                  <a:lnTo>
                    <a:pt x="344728" y="90716"/>
                  </a:lnTo>
                  <a:lnTo>
                    <a:pt x="317411" y="126098"/>
                  </a:lnTo>
                  <a:lnTo>
                    <a:pt x="296087" y="165722"/>
                  </a:lnTo>
                  <a:lnTo>
                    <a:pt x="281432" y="208915"/>
                  </a:lnTo>
                  <a:lnTo>
                    <a:pt x="274091" y="255003"/>
                  </a:lnTo>
                  <a:lnTo>
                    <a:pt x="266915" y="208724"/>
                  </a:lnTo>
                  <a:lnTo>
                    <a:pt x="252361" y="165354"/>
                  </a:lnTo>
                  <a:lnTo>
                    <a:pt x="231101" y="125564"/>
                  </a:lnTo>
                  <a:lnTo>
                    <a:pt x="203809" y="90030"/>
                  </a:lnTo>
                  <a:lnTo>
                    <a:pt x="171157" y="59436"/>
                  </a:lnTo>
                  <a:lnTo>
                    <a:pt x="133845" y="34455"/>
                  </a:lnTo>
                  <a:lnTo>
                    <a:pt x="92544" y="15773"/>
                  </a:lnTo>
                  <a:lnTo>
                    <a:pt x="47917" y="4064"/>
                  </a:lnTo>
                  <a:lnTo>
                    <a:pt x="12" y="0"/>
                  </a:lnTo>
                  <a:lnTo>
                    <a:pt x="5461" y="48171"/>
                  </a:lnTo>
                  <a:lnTo>
                    <a:pt x="18846"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79" y="230936"/>
                  </a:lnTo>
                  <a:lnTo>
                    <a:pt x="448475" y="204749"/>
                  </a:lnTo>
                  <a:lnTo>
                    <a:pt x="481266" y="172732"/>
                  </a:lnTo>
                  <a:lnTo>
                    <a:pt x="508368" y="135623"/>
                  </a:lnTo>
                  <a:lnTo>
                    <a:pt x="529005" y="94157"/>
                  </a:lnTo>
                  <a:lnTo>
                    <a:pt x="542480" y="49072"/>
                  </a:lnTo>
                  <a:lnTo>
                    <a:pt x="548043" y="1079"/>
                  </a:lnTo>
                  <a:close/>
                </a:path>
                <a:path w="548640" h="786764">
                  <a:moveTo>
                    <a:pt x="548093" y="520204"/>
                  </a:moveTo>
                  <a:lnTo>
                    <a:pt x="500380" y="524205"/>
                  </a:lnTo>
                  <a:lnTo>
                    <a:pt x="455853" y="535863"/>
                  </a:lnTo>
                  <a:lnTo>
                    <a:pt x="414616" y="554469"/>
                  </a:lnTo>
                  <a:lnTo>
                    <a:pt x="377355" y="579335"/>
                  </a:lnTo>
                  <a:lnTo>
                    <a:pt x="344728" y="609803"/>
                  </a:lnTo>
                  <a:lnTo>
                    <a:pt x="317411" y="645172"/>
                  </a:lnTo>
                  <a:lnTo>
                    <a:pt x="296087" y="684796"/>
                  </a:lnTo>
                  <a:lnTo>
                    <a:pt x="281419" y="727989"/>
                  </a:lnTo>
                  <a:lnTo>
                    <a:pt x="274091" y="774065"/>
                  </a:lnTo>
                  <a:lnTo>
                    <a:pt x="266915" y="727824"/>
                  </a:lnTo>
                  <a:lnTo>
                    <a:pt x="252361" y="684453"/>
                  </a:lnTo>
                  <a:lnTo>
                    <a:pt x="231101" y="644652"/>
                  </a:lnTo>
                  <a:lnTo>
                    <a:pt x="203809" y="609117"/>
                  </a:lnTo>
                  <a:lnTo>
                    <a:pt x="171157" y="578523"/>
                  </a:lnTo>
                  <a:lnTo>
                    <a:pt x="133845" y="553542"/>
                  </a:lnTo>
                  <a:lnTo>
                    <a:pt x="92544" y="534835"/>
                  </a:lnTo>
                  <a:lnTo>
                    <a:pt x="47917" y="523125"/>
                  </a:lnTo>
                  <a:lnTo>
                    <a:pt x="0" y="519074"/>
                  </a:lnTo>
                  <a:lnTo>
                    <a:pt x="5448" y="567245"/>
                  </a:lnTo>
                  <a:lnTo>
                    <a:pt x="14871" y="599122"/>
                  </a:lnTo>
                  <a:lnTo>
                    <a:pt x="18846" y="612521"/>
                  </a:lnTo>
                  <a:lnTo>
                    <a:pt x="29057" y="633133"/>
                  </a:lnTo>
                  <a:lnTo>
                    <a:pt x="39458" y="65413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114" name="object 112">
              <a:extLst>
                <a:ext uri="{FF2B5EF4-FFF2-40B4-BE49-F238E27FC236}">
                  <a16:creationId xmlns:a16="http://schemas.microsoft.com/office/drawing/2014/main" id="{33716FBE-34B2-EB56-56B9-133FFA331E36}"/>
                </a:ext>
              </a:extLst>
            </p:cNvPr>
            <p:cNvPicPr/>
            <p:nvPr/>
          </p:nvPicPr>
          <p:blipFill>
            <a:blip r:embed="rId6" cstate="print"/>
            <a:stretch>
              <a:fillRect/>
            </a:stretch>
          </p:blipFill>
          <p:spPr>
            <a:xfrm>
              <a:off x="10791857" y="2680931"/>
              <a:ext cx="106445" cy="107156"/>
            </a:xfrm>
            <a:prstGeom prst="rect">
              <a:avLst/>
            </a:prstGeom>
          </p:spPr>
        </p:pic>
        <p:sp>
          <p:nvSpPr>
            <p:cNvPr id="115" name="object 113">
              <a:extLst>
                <a:ext uri="{FF2B5EF4-FFF2-40B4-BE49-F238E27FC236}">
                  <a16:creationId xmlns:a16="http://schemas.microsoft.com/office/drawing/2014/main" id="{EF8B89CE-81F2-DF58-1257-3EDE0372CD88}"/>
                </a:ext>
              </a:extLst>
            </p:cNvPr>
            <p:cNvSpPr/>
            <p:nvPr/>
          </p:nvSpPr>
          <p:spPr>
            <a:xfrm>
              <a:off x="10679200" y="4729423"/>
              <a:ext cx="332700" cy="477101"/>
            </a:xfrm>
            <a:custGeom>
              <a:avLst/>
              <a:gdLst/>
              <a:ahLst/>
              <a:cxnLst/>
              <a:rect l="l" t="t" r="r" b="b"/>
              <a:pathLst>
                <a:path w="548640" h="786765">
                  <a:moveTo>
                    <a:pt x="548043" y="266611"/>
                  </a:moveTo>
                  <a:lnTo>
                    <a:pt x="500380" y="270649"/>
                  </a:lnTo>
                  <a:lnTo>
                    <a:pt x="455853" y="282308"/>
                  </a:lnTo>
                  <a:lnTo>
                    <a:pt x="414616" y="300901"/>
                  </a:lnTo>
                  <a:lnTo>
                    <a:pt x="377355" y="325767"/>
                  </a:lnTo>
                  <a:lnTo>
                    <a:pt x="344728" y="356235"/>
                  </a:lnTo>
                  <a:lnTo>
                    <a:pt x="317411" y="391617"/>
                  </a:lnTo>
                  <a:lnTo>
                    <a:pt x="296087" y="431241"/>
                  </a:lnTo>
                  <a:lnTo>
                    <a:pt x="281432" y="474433"/>
                  </a:lnTo>
                  <a:lnTo>
                    <a:pt x="274091" y="520522"/>
                  </a:lnTo>
                  <a:lnTo>
                    <a:pt x="266915" y="474243"/>
                  </a:lnTo>
                  <a:lnTo>
                    <a:pt x="252361" y="430872"/>
                  </a:lnTo>
                  <a:lnTo>
                    <a:pt x="231101" y="391083"/>
                  </a:lnTo>
                  <a:lnTo>
                    <a:pt x="203809" y="355549"/>
                  </a:lnTo>
                  <a:lnTo>
                    <a:pt x="171157" y="324954"/>
                  </a:lnTo>
                  <a:lnTo>
                    <a:pt x="133845" y="299974"/>
                  </a:lnTo>
                  <a:lnTo>
                    <a:pt x="92544" y="281292"/>
                  </a:lnTo>
                  <a:lnTo>
                    <a:pt x="47917" y="269582"/>
                  </a:lnTo>
                  <a:lnTo>
                    <a:pt x="12" y="265518"/>
                  </a:lnTo>
                  <a:lnTo>
                    <a:pt x="5461" y="313690"/>
                  </a:lnTo>
                  <a:lnTo>
                    <a:pt x="18846" y="358952"/>
                  </a:lnTo>
                  <a:lnTo>
                    <a:pt x="39471" y="400570"/>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79" y="496455"/>
                  </a:lnTo>
                  <a:lnTo>
                    <a:pt x="448475" y="470268"/>
                  </a:lnTo>
                  <a:lnTo>
                    <a:pt x="481266" y="438251"/>
                  </a:lnTo>
                  <a:lnTo>
                    <a:pt x="508368" y="401154"/>
                  </a:lnTo>
                  <a:lnTo>
                    <a:pt x="529005" y="359689"/>
                  </a:lnTo>
                  <a:lnTo>
                    <a:pt x="542480" y="314604"/>
                  </a:lnTo>
                  <a:lnTo>
                    <a:pt x="548043" y="266611"/>
                  </a:lnTo>
                  <a:close/>
                </a:path>
                <a:path w="548640" h="786765">
                  <a:moveTo>
                    <a:pt x="548043" y="1079"/>
                  </a:moveTo>
                  <a:lnTo>
                    <a:pt x="500380" y="5105"/>
                  </a:lnTo>
                  <a:lnTo>
                    <a:pt x="455853" y="16764"/>
                  </a:lnTo>
                  <a:lnTo>
                    <a:pt x="414616" y="35369"/>
                  </a:lnTo>
                  <a:lnTo>
                    <a:pt x="377355" y="60236"/>
                  </a:lnTo>
                  <a:lnTo>
                    <a:pt x="344728" y="90703"/>
                  </a:lnTo>
                  <a:lnTo>
                    <a:pt x="317411" y="126085"/>
                  </a:lnTo>
                  <a:lnTo>
                    <a:pt x="296087" y="165709"/>
                  </a:lnTo>
                  <a:lnTo>
                    <a:pt x="281432" y="208902"/>
                  </a:lnTo>
                  <a:lnTo>
                    <a:pt x="274091" y="254990"/>
                  </a:lnTo>
                  <a:lnTo>
                    <a:pt x="266915"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46" y="93421"/>
                  </a:lnTo>
                  <a:lnTo>
                    <a:pt x="39471" y="135039"/>
                  </a:lnTo>
                  <a:lnTo>
                    <a:pt x="66560" y="172300"/>
                  </a:lnTo>
                  <a:lnTo>
                    <a:pt x="99402" y="204444"/>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24"/>
                  </a:lnTo>
                  <a:lnTo>
                    <a:pt x="481266" y="172720"/>
                  </a:lnTo>
                  <a:lnTo>
                    <a:pt x="508368" y="135610"/>
                  </a:lnTo>
                  <a:lnTo>
                    <a:pt x="529005" y="94157"/>
                  </a:lnTo>
                  <a:lnTo>
                    <a:pt x="542480" y="49060"/>
                  </a:lnTo>
                  <a:lnTo>
                    <a:pt x="548043" y="1079"/>
                  </a:lnTo>
                  <a:close/>
                </a:path>
                <a:path w="548640" h="786765">
                  <a:moveTo>
                    <a:pt x="548093" y="520192"/>
                  </a:moveTo>
                  <a:lnTo>
                    <a:pt x="500380" y="524205"/>
                  </a:lnTo>
                  <a:lnTo>
                    <a:pt x="455853" y="535863"/>
                  </a:lnTo>
                  <a:lnTo>
                    <a:pt x="414616" y="554469"/>
                  </a:lnTo>
                  <a:lnTo>
                    <a:pt x="377355" y="579335"/>
                  </a:lnTo>
                  <a:lnTo>
                    <a:pt x="344728" y="609790"/>
                  </a:lnTo>
                  <a:lnTo>
                    <a:pt x="317411" y="645160"/>
                  </a:lnTo>
                  <a:lnTo>
                    <a:pt x="296087" y="684784"/>
                  </a:lnTo>
                  <a:lnTo>
                    <a:pt x="281419" y="727976"/>
                  </a:lnTo>
                  <a:lnTo>
                    <a:pt x="274091" y="774065"/>
                  </a:lnTo>
                  <a:lnTo>
                    <a:pt x="266915" y="727811"/>
                  </a:lnTo>
                  <a:lnTo>
                    <a:pt x="252361" y="684441"/>
                  </a:lnTo>
                  <a:lnTo>
                    <a:pt x="231101" y="644639"/>
                  </a:lnTo>
                  <a:lnTo>
                    <a:pt x="203809" y="609104"/>
                  </a:lnTo>
                  <a:lnTo>
                    <a:pt x="171157" y="578510"/>
                  </a:lnTo>
                  <a:lnTo>
                    <a:pt x="133845" y="553529"/>
                  </a:lnTo>
                  <a:lnTo>
                    <a:pt x="92544" y="534847"/>
                  </a:lnTo>
                  <a:lnTo>
                    <a:pt x="47917" y="523113"/>
                  </a:lnTo>
                  <a:lnTo>
                    <a:pt x="0" y="519061"/>
                  </a:lnTo>
                  <a:lnTo>
                    <a:pt x="5448" y="567232"/>
                  </a:lnTo>
                  <a:lnTo>
                    <a:pt x="18846" y="612508"/>
                  </a:lnTo>
                  <a:lnTo>
                    <a:pt x="39458" y="654126"/>
                  </a:lnTo>
                  <a:lnTo>
                    <a:pt x="66560" y="691388"/>
                  </a:lnTo>
                  <a:lnTo>
                    <a:pt x="99402" y="723544"/>
                  </a:lnTo>
                  <a:lnTo>
                    <a:pt x="137261" y="749858"/>
                  </a:lnTo>
                  <a:lnTo>
                    <a:pt x="179387" y="769581"/>
                  </a:lnTo>
                  <a:lnTo>
                    <a:pt x="225056" y="782015"/>
                  </a:lnTo>
                  <a:lnTo>
                    <a:pt x="273532" y="786384"/>
                  </a:lnTo>
                  <a:lnTo>
                    <a:pt x="274751" y="786384"/>
                  </a:lnTo>
                  <a:lnTo>
                    <a:pt x="323100" y="782027"/>
                  </a:lnTo>
                  <a:lnTo>
                    <a:pt x="368655" y="769670"/>
                  </a:lnTo>
                  <a:lnTo>
                    <a:pt x="410679" y="750023"/>
                  </a:lnTo>
                  <a:lnTo>
                    <a:pt x="448475" y="723823"/>
                  </a:lnTo>
                  <a:lnTo>
                    <a:pt x="448881" y="723430"/>
                  </a:lnTo>
                  <a:lnTo>
                    <a:pt x="481304" y="691794"/>
                  </a:lnTo>
                  <a:lnTo>
                    <a:pt x="508393" y="654697"/>
                  </a:lnTo>
                  <a:lnTo>
                    <a:pt x="529056"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116" name="object 114">
              <a:extLst>
                <a:ext uri="{FF2B5EF4-FFF2-40B4-BE49-F238E27FC236}">
                  <a16:creationId xmlns:a16="http://schemas.microsoft.com/office/drawing/2014/main" id="{DF31FE06-C60F-BB77-225B-4EBBF5665B87}"/>
                </a:ext>
              </a:extLst>
            </p:cNvPr>
            <p:cNvPicPr/>
            <p:nvPr/>
          </p:nvPicPr>
          <p:blipFill>
            <a:blip r:embed="rId5" cstate="print"/>
            <a:stretch>
              <a:fillRect/>
            </a:stretch>
          </p:blipFill>
          <p:spPr>
            <a:xfrm>
              <a:off x="10791857" y="4643430"/>
              <a:ext cx="106445" cy="107156"/>
            </a:xfrm>
            <a:prstGeom prst="rect">
              <a:avLst/>
            </a:prstGeom>
          </p:spPr>
        </p:pic>
        <p:sp>
          <p:nvSpPr>
            <p:cNvPr id="117" name="object 115">
              <a:extLst>
                <a:ext uri="{FF2B5EF4-FFF2-40B4-BE49-F238E27FC236}">
                  <a16:creationId xmlns:a16="http://schemas.microsoft.com/office/drawing/2014/main" id="{2C2D262E-4CDC-062A-D685-92E17C83AD62}"/>
                </a:ext>
              </a:extLst>
            </p:cNvPr>
            <p:cNvSpPr/>
            <p:nvPr/>
          </p:nvSpPr>
          <p:spPr>
            <a:xfrm>
              <a:off x="10679200" y="4075252"/>
              <a:ext cx="332700" cy="477101"/>
            </a:xfrm>
            <a:custGeom>
              <a:avLst/>
              <a:gdLst/>
              <a:ahLst/>
              <a:cxnLst/>
              <a:rect l="l" t="t" r="r" b="b"/>
              <a:pathLst>
                <a:path w="548640" h="786765">
                  <a:moveTo>
                    <a:pt x="548043" y="266623"/>
                  </a:moveTo>
                  <a:lnTo>
                    <a:pt x="500380" y="270662"/>
                  </a:lnTo>
                  <a:lnTo>
                    <a:pt x="455853" y="282308"/>
                  </a:lnTo>
                  <a:lnTo>
                    <a:pt x="414616" y="300913"/>
                  </a:lnTo>
                  <a:lnTo>
                    <a:pt x="377355" y="325780"/>
                  </a:lnTo>
                  <a:lnTo>
                    <a:pt x="344728" y="356247"/>
                  </a:lnTo>
                  <a:lnTo>
                    <a:pt x="317411" y="391629"/>
                  </a:lnTo>
                  <a:lnTo>
                    <a:pt x="296087" y="431253"/>
                  </a:lnTo>
                  <a:lnTo>
                    <a:pt x="281432" y="474446"/>
                  </a:lnTo>
                  <a:lnTo>
                    <a:pt x="274091" y="520534"/>
                  </a:lnTo>
                  <a:lnTo>
                    <a:pt x="266915" y="474256"/>
                  </a:lnTo>
                  <a:lnTo>
                    <a:pt x="252361" y="430885"/>
                  </a:lnTo>
                  <a:lnTo>
                    <a:pt x="231101" y="391096"/>
                  </a:lnTo>
                  <a:lnTo>
                    <a:pt x="203809" y="355561"/>
                  </a:lnTo>
                  <a:lnTo>
                    <a:pt x="171157" y="324954"/>
                  </a:lnTo>
                  <a:lnTo>
                    <a:pt x="133845" y="299974"/>
                  </a:lnTo>
                  <a:lnTo>
                    <a:pt x="92544" y="281292"/>
                  </a:lnTo>
                  <a:lnTo>
                    <a:pt x="47917" y="269582"/>
                  </a:lnTo>
                  <a:lnTo>
                    <a:pt x="12" y="265531"/>
                  </a:lnTo>
                  <a:lnTo>
                    <a:pt x="5461" y="313690"/>
                  </a:lnTo>
                  <a:lnTo>
                    <a:pt x="18846" y="358952"/>
                  </a:lnTo>
                  <a:lnTo>
                    <a:pt x="39471" y="400583"/>
                  </a:lnTo>
                  <a:lnTo>
                    <a:pt x="66560" y="437832"/>
                  </a:lnTo>
                  <a:lnTo>
                    <a:pt x="99402" y="469988"/>
                  </a:lnTo>
                  <a:lnTo>
                    <a:pt x="137261" y="496303"/>
                  </a:lnTo>
                  <a:lnTo>
                    <a:pt x="179387" y="516039"/>
                  </a:lnTo>
                  <a:lnTo>
                    <a:pt x="225056" y="528459"/>
                  </a:lnTo>
                  <a:lnTo>
                    <a:pt x="273532" y="532828"/>
                  </a:lnTo>
                  <a:lnTo>
                    <a:pt x="274751" y="532828"/>
                  </a:lnTo>
                  <a:lnTo>
                    <a:pt x="323100" y="528472"/>
                  </a:lnTo>
                  <a:lnTo>
                    <a:pt x="368655" y="516115"/>
                  </a:lnTo>
                  <a:lnTo>
                    <a:pt x="410679" y="496468"/>
                  </a:lnTo>
                  <a:lnTo>
                    <a:pt x="448475" y="470268"/>
                  </a:lnTo>
                  <a:lnTo>
                    <a:pt x="481266" y="438264"/>
                  </a:lnTo>
                  <a:lnTo>
                    <a:pt x="508368" y="401154"/>
                  </a:lnTo>
                  <a:lnTo>
                    <a:pt x="529005" y="359702"/>
                  </a:lnTo>
                  <a:lnTo>
                    <a:pt x="542480" y="314604"/>
                  </a:lnTo>
                  <a:lnTo>
                    <a:pt x="548043" y="266623"/>
                  </a:lnTo>
                  <a:close/>
                </a:path>
                <a:path w="548640" h="786765">
                  <a:moveTo>
                    <a:pt x="548043" y="1092"/>
                  </a:moveTo>
                  <a:lnTo>
                    <a:pt x="500380" y="5130"/>
                  </a:lnTo>
                  <a:lnTo>
                    <a:pt x="455853" y="16776"/>
                  </a:lnTo>
                  <a:lnTo>
                    <a:pt x="414616" y="35382"/>
                  </a:lnTo>
                  <a:lnTo>
                    <a:pt x="377355" y="60248"/>
                  </a:lnTo>
                  <a:lnTo>
                    <a:pt x="344728" y="90716"/>
                  </a:lnTo>
                  <a:lnTo>
                    <a:pt x="317411" y="126098"/>
                  </a:lnTo>
                  <a:lnTo>
                    <a:pt x="296087" y="165722"/>
                  </a:lnTo>
                  <a:lnTo>
                    <a:pt x="281432" y="208915"/>
                  </a:lnTo>
                  <a:lnTo>
                    <a:pt x="274091" y="255003"/>
                  </a:lnTo>
                  <a:lnTo>
                    <a:pt x="266915" y="208724"/>
                  </a:lnTo>
                  <a:lnTo>
                    <a:pt x="252361" y="165354"/>
                  </a:lnTo>
                  <a:lnTo>
                    <a:pt x="231101" y="125564"/>
                  </a:lnTo>
                  <a:lnTo>
                    <a:pt x="203809" y="90030"/>
                  </a:lnTo>
                  <a:lnTo>
                    <a:pt x="171157" y="59436"/>
                  </a:lnTo>
                  <a:lnTo>
                    <a:pt x="133845" y="34455"/>
                  </a:lnTo>
                  <a:lnTo>
                    <a:pt x="92544" y="15760"/>
                  </a:lnTo>
                  <a:lnTo>
                    <a:pt x="47917" y="4051"/>
                  </a:lnTo>
                  <a:lnTo>
                    <a:pt x="12" y="0"/>
                  </a:lnTo>
                  <a:lnTo>
                    <a:pt x="5461" y="48158"/>
                  </a:lnTo>
                  <a:lnTo>
                    <a:pt x="18846" y="93421"/>
                  </a:lnTo>
                  <a:lnTo>
                    <a:pt x="39471" y="135051"/>
                  </a:lnTo>
                  <a:lnTo>
                    <a:pt x="66560" y="172300"/>
                  </a:lnTo>
                  <a:lnTo>
                    <a:pt x="99402" y="204457"/>
                  </a:lnTo>
                  <a:lnTo>
                    <a:pt x="137261" y="230771"/>
                  </a:lnTo>
                  <a:lnTo>
                    <a:pt x="179387" y="250494"/>
                  </a:lnTo>
                  <a:lnTo>
                    <a:pt x="225056" y="262928"/>
                  </a:lnTo>
                  <a:lnTo>
                    <a:pt x="273532" y="267309"/>
                  </a:lnTo>
                  <a:lnTo>
                    <a:pt x="274751" y="267309"/>
                  </a:lnTo>
                  <a:lnTo>
                    <a:pt x="323100" y="262940"/>
                  </a:lnTo>
                  <a:lnTo>
                    <a:pt x="368655" y="250583"/>
                  </a:lnTo>
                  <a:lnTo>
                    <a:pt x="410679" y="230936"/>
                  </a:lnTo>
                  <a:lnTo>
                    <a:pt x="448475" y="204736"/>
                  </a:lnTo>
                  <a:lnTo>
                    <a:pt x="481266" y="172720"/>
                  </a:lnTo>
                  <a:lnTo>
                    <a:pt x="508368" y="135623"/>
                  </a:lnTo>
                  <a:lnTo>
                    <a:pt x="529005" y="94170"/>
                  </a:lnTo>
                  <a:lnTo>
                    <a:pt x="542480" y="49072"/>
                  </a:lnTo>
                  <a:lnTo>
                    <a:pt x="548043" y="1092"/>
                  </a:lnTo>
                  <a:close/>
                </a:path>
                <a:path w="548640" h="786765">
                  <a:moveTo>
                    <a:pt x="548093" y="520204"/>
                  </a:moveTo>
                  <a:lnTo>
                    <a:pt x="500380" y="524217"/>
                  </a:lnTo>
                  <a:lnTo>
                    <a:pt x="455853" y="535876"/>
                  </a:lnTo>
                  <a:lnTo>
                    <a:pt x="414616" y="554469"/>
                  </a:lnTo>
                  <a:lnTo>
                    <a:pt x="377355" y="579335"/>
                  </a:lnTo>
                  <a:lnTo>
                    <a:pt x="344728" y="609803"/>
                  </a:lnTo>
                  <a:lnTo>
                    <a:pt x="317411" y="645172"/>
                  </a:lnTo>
                  <a:lnTo>
                    <a:pt x="296087" y="684796"/>
                  </a:lnTo>
                  <a:lnTo>
                    <a:pt x="281419" y="727976"/>
                  </a:lnTo>
                  <a:lnTo>
                    <a:pt x="274091" y="774065"/>
                  </a:lnTo>
                  <a:lnTo>
                    <a:pt x="266915" y="727824"/>
                  </a:lnTo>
                  <a:lnTo>
                    <a:pt x="252361" y="684441"/>
                  </a:lnTo>
                  <a:lnTo>
                    <a:pt x="231101" y="644652"/>
                  </a:lnTo>
                  <a:lnTo>
                    <a:pt x="203809" y="609117"/>
                  </a:lnTo>
                  <a:lnTo>
                    <a:pt x="171157" y="578523"/>
                  </a:lnTo>
                  <a:lnTo>
                    <a:pt x="133845" y="553542"/>
                  </a:lnTo>
                  <a:lnTo>
                    <a:pt x="92544" y="534835"/>
                  </a:lnTo>
                  <a:lnTo>
                    <a:pt x="47917" y="523125"/>
                  </a:lnTo>
                  <a:lnTo>
                    <a:pt x="0" y="519074"/>
                  </a:lnTo>
                  <a:lnTo>
                    <a:pt x="5448" y="567245"/>
                  </a:lnTo>
                  <a:lnTo>
                    <a:pt x="18846" y="612521"/>
                  </a:lnTo>
                  <a:lnTo>
                    <a:pt x="39458" y="65413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118" name="object 116">
              <a:extLst>
                <a:ext uri="{FF2B5EF4-FFF2-40B4-BE49-F238E27FC236}">
                  <a16:creationId xmlns:a16="http://schemas.microsoft.com/office/drawing/2014/main" id="{2ABFAC01-2319-129D-8757-C31C873CB66C}"/>
                </a:ext>
              </a:extLst>
            </p:cNvPr>
            <p:cNvPicPr/>
            <p:nvPr/>
          </p:nvPicPr>
          <p:blipFill>
            <a:blip r:embed="rId6" cstate="print"/>
            <a:stretch>
              <a:fillRect/>
            </a:stretch>
          </p:blipFill>
          <p:spPr>
            <a:xfrm>
              <a:off x="10791857" y="3989263"/>
              <a:ext cx="106445" cy="107156"/>
            </a:xfrm>
            <a:prstGeom prst="rect">
              <a:avLst/>
            </a:prstGeom>
          </p:spPr>
        </p:pic>
        <p:sp>
          <p:nvSpPr>
            <p:cNvPr id="119" name="object 117">
              <a:extLst>
                <a:ext uri="{FF2B5EF4-FFF2-40B4-BE49-F238E27FC236}">
                  <a16:creationId xmlns:a16="http://schemas.microsoft.com/office/drawing/2014/main" id="{F536798C-8F43-E1A7-0B66-6EFBFDEFB1E8}"/>
                </a:ext>
              </a:extLst>
            </p:cNvPr>
            <p:cNvSpPr/>
            <p:nvPr/>
          </p:nvSpPr>
          <p:spPr>
            <a:xfrm>
              <a:off x="10294123" y="3862863"/>
              <a:ext cx="332700" cy="477101"/>
            </a:xfrm>
            <a:custGeom>
              <a:avLst/>
              <a:gdLst/>
              <a:ahLst/>
              <a:cxnLst/>
              <a:rect l="l" t="t" r="r" b="b"/>
              <a:pathLst>
                <a:path w="548640" h="786765">
                  <a:moveTo>
                    <a:pt x="548081" y="786396"/>
                  </a:moveTo>
                  <a:lnTo>
                    <a:pt x="542632" y="738238"/>
                  </a:lnTo>
                  <a:lnTo>
                    <a:pt x="529234" y="692975"/>
                  </a:lnTo>
                  <a:lnTo>
                    <a:pt x="508622" y="651344"/>
                  </a:lnTo>
                  <a:lnTo>
                    <a:pt x="481520" y="614083"/>
                  </a:lnTo>
                  <a:lnTo>
                    <a:pt x="448691" y="581939"/>
                  </a:lnTo>
                  <a:lnTo>
                    <a:pt x="410832" y="555625"/>
                  </a:lnTo>
                  <a:lnTo>
                    <a:pt x="368706" y="535889"/>
                  </a:lnTo>
                  <a:lnTo>
                    <a:pt x="323037" y="523468"/>
                  </a:lnTo>
                  <a:lnTo>
                    <a:pt x="274561" y="519099"/>
                  </a:lnTo>
                  <a:lnTo>
                    <a:pt x="273329" y="519099"/>
                  </a:lnTo>
                  <a:lnTo>
                    <a:pt x="224993" y="523455"/>
                  </a:lnTo>
                  <a:lnTo>
                    <a:pt x="179438" y="535813"/>
                  </a:lnTo>
                  <a:lnTo>
                    <a:pt x="137401" y="555459"/>
                  </a:lnTo>
                  <a:lnTo>
                    <a:pt x="99618" y="581660"/>
                  </a:lnTo>
                  <a:lnTo>
                    <a:pt x="66814" y="613664"/>
                  </a:lnTo>
                  <a:lnTo>
                    <a:pt x="39725" y="650773"/>
                  </a:lnTo>
                  <a:lnTo>
                    <a:pt x="19075" y="692226"/>
                  </a:lnTo>
                  <a:lnTo>
                    <a:pt x="5613" y="737323"/>
                  </a:lnTo>
                  <a:lnTo>
                    <a:pt x="50" y="785304"/>
                  </a:lnTo>
                  <a:lnTo>
                    <a:pt x="47713" y="781265"/>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48"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91" y="316407"/>
                  </a:lnTo>
                  <a:lnTo>
                    <a:pt x="410832" y="290106"/>
                  </a:lnTo>
                  <a:lnTo>
                    <a:pt x="368706" y="270370"/>
                  </a:lnTo>
                  <a:lnTo>
                    <a:pt x="323037" y="257949"/>
                  </a:lnTo>
                  <a:lnTo>
                    <a:pt x="274561" y="253568"/>
                  </a:lnTo>
                  <a:lnTo>
                    <a:pt x="273329" y="253568"/>
                  </a:lnTo>
                  <a:lnTo>
                    <a:pt x="224993" y="257924"/>
                  </a:lnTo>
                  <a:lnTo>
                    <a:pt x="179438" y="270294"/>
                  </a:lnTo>
                  <a:lnTo>
                    <a:pt x="137401" y="289941"/>
                  </a:lnTo>
                  <a:lnTo>
                    <a:pt x="99618" y="316128"/>
                  </a:lnTo>
                  <a:lnTo>
                    <a:pt x="66814" y="348145"/>
                  </a:lnTo>
                  <a:lnTo>
                    <a:pt x="39725" y="385241"/>
                  </a:lnTo>
                  <a:lnTo>
                    <a:pt x="19075" y="426707"/>
                  </a:lnTo>
                  <a:lnTo>
                    <a:pt x="5613" y="471792"/>
                  </a:lnTo>
                  <a:lnTo>
                    <a:pt x="50" y="519785"/>
                  </a:lnTo>
                  <a:lnTo>
                    <a:pt x="47713" y="515747"/>
                  </a:lnTo>
                  <a:lnTo>
                    <a:pt x="92240" y="504101"/>
                  </a:lnTo>
                  <a:lnTo>
                    <a:pt x="133477" y="485495"/>
                  </a:lnTo>
                  <a:lnTo>
                    <a:pt x="170738" y="460629"/>
                  </a:lnTo>
                  <a:lnTo>
                    <a:pt x="203365" y="430161"/>
                  </a:lnTo>
                  <a:lnTo>
                    <a:pt x="230670" y="394779"/>
                  </a:lnTo>
                  <a:lnTo>
                    <a:pt x="251993" y="355142"/>
                  </a:lnTo>
                  <a:lnTo>
                    <a:pt x="266661" y="311950"/>
                  </a:lnTo>
                  <a:lnTo>
                    <a:pt x="273989" y="265874"/>
                  </a:lnTo>
                  <a:lnTo>
                    <a:pt x="281165" y="312140"/>
                  </a:lnTo>
                  <a:lnTo>
                    <a:pt x="295719" y="355511"/>
                  </a:lnTo>
                  <a:lnTo>
                    <a:pt x="316992" y="395300"/>
                  </a:lnTo>
                  <a:lnTo>
                    <a:pt x="344284" y="430847"/>
                  </a:lnTo>
                  <a:lnTo>
                    <a:pt x="376923" y="461441"/>
                  </a:lnTo>
                  <a:lnTo>
                    <a:pt x="414248" y="486422"/>
                  </a:lnTo>
                  <a:lnTo>
                    <a:pt x="455549" y="505104"/>
                  </a:lnTo>
                  <a:lnTo>
                    <a:pt x="500164" y="516813"/>
                  </a:lnTo>
                  <a:lnTo>
                    <a:pt x="548081" y="520865"/>
                  </a:lnTo>
                  <a:close/>
                </a:path>
                <a:path w="548640" h="786765">
                  <a:moveTo>
                    <a:pt x="548093" y="267322"/>
                  </a:moveTo>
                  <a:lnTo>
                    <a:pt x="542645" y="219151"/>
                  </a:lnTo>
                  <a:lnTo>
                    <a:pt x="529247" y="173888"/>
                  </a:lnTo>
                  <a:lnTo>
                    <a:pt x="508635" y="132257"/>
                  </a:lnTo>
                  <a:lnTo>
                    <a:pt x="481533" y="95008"/>
                  </a:lnTo>
                  <a:lnTo>
                    <a:pt x="448691" y="62852"/>
                  </a:lnTo>
                  <a:lnTo>
                    <a:pt x="410845" y="36550"/>
                  </a:lnTo>
                  <a:lnTo>
                    <a:pt x="368706" y="16802"/>
                  </a:lnTo>
                  <a:lnTo>
                    <a:pt x="323037" y="4381"/>
                  </a:lnTo>
                  <a:lnTo>
                    <a:pt x="274561" y="0"/>
                  </a:lnTo>
                  <a:lnTo>
                    <a:pt x="273329" y="0"/>
                  </a:lnTo>
                  <a:lnTo>
                    <a:pt x="224993" y="4356"/>
                  </a:lnTo>
                  <a:lnTo>
                    <a:pt x="179438" y="16725"/>
                  </a:lnTo>
                  <a:lnTo>
                    <a:pt x="137401" y="36372"/>
                  </a:lnTo>
                  <a:lnTo>
                    <a:pt x="99618" y="62560"/>
                  </a:lnTo>
                  <a:lnTo>
                    <a:pt x="66814" y="94576"/>
                  </a:lnTo>
                  <a:lnTo>
                    <a:pt x="39700" y="131686"/>
                  </a:lnTo>
                  <a:lnTo>
                    <a:pt x="19037" y="173139"/>
                  </a:lnTo>
                  <a:lnTo>
                    <a:pt x="5562" y="218224"/>
                  </a:lnTo>
                  <a:lnTo>
                    <a:pt x="0" y="266192"/>
                  </a:lnTo>
                  <a:lnTo>
                    <a:pt x="47713" y="262178"/>
                  </a:lnTo>
                  <a:lnTo>
                    <a:pt x="92240" y="250520"/>
                  </a:lnTo>
                  <a:lnTo>
                    <a:pt x="133477" y="231927"/>
                  </a:lnTo>
                  <a:lnTo>
                    <a:pt x="170738" y="207060"/>
                  </a:lnTo>
                  <a:lnTo>
                    <a:pt x="203365" y="176593"/>
                  </a:lnTo>
                  <a:lnTo>
                    <a:pt x="230682" y="141224"/>
                  </a:lnTo>
                  <a:lnTo>
                    <a:pt x="252006" y="101600"/>
                  </a:lnTo>
                  <a:lnTo>
                    <a:pt x="266674" y="58420"/>
                  </a:lnTo>
                  <a:lnTo>
                    <a:pt x="273989" y="12369"/>
                  </a:lnTo>
                  <a:lnTo>
                    <a:pt x="279844" y="50101"/>
                  </a:lnTo>
                  <a:lnTo>
                    <a:pt x="281165" y="58585"/>
                  </a:lnTo>
                  <a:lnTo>
                    <a:pt x="284822" y="69481"/>
                  </a:lnTo>
                  <a:lnTo>
                    <a:pt x="295719" y="101955"/>
                  </a:lnTo>
                  <a:lnTo>
                    <a:pt x="316992" y="141744"/>
                  </a:lnTo>
                  <a:lnTo>
                    <a:pt x="344284" y="177279"/>
                  </a:lnTo>
                  <a:lnTo>
                    <a:pt x="376936" y="207886"/>
                  </a:lnTo>
                  <a:lnTo>
                    <a:pt x="414248" y="232867"/>
                  </a:lnTo>
                  <a:lnTo>
                    <a:pt x="455549" y="251561"/>
                  </a:lnTo>
                  <a:lnTo>
                    <a:pt x="500176" y="263271"/>
                  </a:lnTo>
                  <a:lnTo>
                    <a:pt x="548093" y="267322"/>
                  </a:lnTo>
                  <a:close/>
                </a:path>
              </a:pathLst>
            </a:custGeom>
            <a:solidFill>
              <a:srgbClr val="2DB7EA"/>
            </a:solidFill>
          </p:spPr>
          <p:txBody>
            <a:bodyPr wrap="square" lIns="0" tIns="0" rIns="0" bIns="0" rtlCol="0"/>
            <a:lstStyle/>
            <a:p>
              <a:endParaRPr dirty="0"/>
            </a:p>
          </p:txBody>
        </p:sp>
        <p:pic>
          <p:nvPicPr>
            <p:cNvPr id="120" name="object 118">
              <a:extLst>
                <a:ext uri="{FF2B5EF4-FFF2-40B4-BE49-F238E27FC236}">
                  <a16:creationId xmlns:a16="http://schemas.microsoft.com/office/drawing/2014/main" id="{F5452193-3483-6720-1EBC-C268F422BFB2}"/>
                </a:ext>
              </a:extLst>
            </p:cNvPr>
            <p:cNvPicPr/>
            <p:nvPr/>
          </p:nvPicPr>
          <p:blipFill>
            <a:blip r:embed="rId8" cstate="print"/>
            <a:stretch>
              <a:fillRect/>
            </a:stretch>
          </p:blipFill>
          <p:spPr>
            <a:xfrm>
              <a:off x="10407394" y="4318566"/>
              <a:ext cx="106445" cy="107156"/>
            </a:xfrm>
            <a:prstGeom prst="rect">
              <a:avLst/>
            </a:prstGeom>
          </p:spPr>
        </p:pic>
        <p:sp>
          <p:nvSpPr>
            <p:cNvPr id="121" name="object 119">
              <a:extLst>
                <a:ext uri="{FF2B5EF4-FFF2-40B4-BE49-F238E27FC236}">
                  <a16:creationId xmlns:a16="http://schemas.microsoft.com/office/drawing/2014/main" id="{231FBC9E-6840-CB2B-23A4-1386575B07BD}"/>
                </a:ext>
              </a:extLst>
            </p:cNvPr>
            <p:cNvSpPr/>
            <p:nvPr/>
          </p:nvSpPr>
          <p:spPr>
            <a:xfrm>
              <a:off x="10294123" y="4517034"/>
              <a:ext cx="332700" cy="477101"/>
            </a:xfrm>
            <a:custGeom>
              <a:avLst/>
              <a:gdLst/>
              <a:ahLst/>
              <a:cxnLst/>
              <a:rect l="l" t="t" r="r" b="b"/>
              <a:pathLst>
                <a:path w="548640" h="786765">
                  <a:moveTo>
                    <a:pt x="548081" y="786384"/>
                  </a:moveTo>
                  <a:lnTo>
                    <a:pt x="542632" y="738225"/>
                  </a:lnTo>
                  <a:lnTo>
                    <a:pt x="529234" y="692962"/>
                  </a:lnTo>
                  <a:lnTo>
                    <a:pt x="508622" y="651332"/>
                  </a:lnTo>
                  <a:lnTo>
                    <a:pt x="481520" y="614083"/>
                  </a:lnTo>
                  <a:lnTo>
                    <a:pt x="448691"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50" y="785304"/>
                  </a:lnTo>
                  <a:lnTo>
                    <a:pt x="47713" y="781265"/>
                  </a:lnTo>
                  <a:lnTo>
                    <a:pt x="92240" y="769620"/>
                  </a:lnTo>
                  <a:lnTo>
                    <a:pt x="133477" y="751014"/>
                  </a:lnTo>
                  <a:lnTo>
                    <a:pt x="170738" y="726147"/>
                  </a:lnTo>
                  <a:lnTo>
                    <a:pt x="203365" y="695680"/>
                  </a:lnTo>
                  <a:lnTo>
                    <a:pt x="230670" y="660298"/>
                  </a:lnTo>
                  <a:lnTo>
                    <a:pt x="251993" y="620674"/>
                  </a:lnTo>
                  <a:lnTo>
                    <a:pt x="266661" y="577469"/>
                  </a:lnTo>
                  <a:lnTo>
                    <a:pt x="273989" y="531393"/>
                  </a:lnTo>
                  <a:lnTo>
                    <a:pt x="281165" y="577659"/>
                  </a:lnTo>
                  <a:lnTo>
                    <a:pt x="295719" y="621030"/>
                  </a:lnTo>
                  <a:lnTo>
                    <a:pt x="316992" y="660831"/>
                  </a:lnTo>
                  <a:lnTo>
                    <a:pt x="344284" y="696366"/>
                  </a:lnTo>
                  <a:lnTo>
                    <a:pt x="376923" y="726960"/>
                  </a:lnTo>
                  <a:lnTo>
                    <a:pt x="414248" y="751941"/>
                  </a:lnTo>
                  <a:lnTo>
                    <a:pt x="455549" y="770623"/>
                  </a:lnTo>
                  <a:lnTo>
                    <a:pt x="500164" y="782332"/>
                  </a:lnTo>
                  <a:lnTo>
                    <a:pt x="548081" y="786384"/>
                  </a:lnTo>
                  <a:close/>
                </a:path>
                <a:path w="548640" h="786765">
                  <a:moveTo>
                    <a:pt x="548081" y="520852"/>
                  </a:moveTo>
                  <a:lnTo>
                    <a:pt x="542632" y="472694"/>
                  </a:lnTo>
                  <a:lnTo>
                    <a:pt x="529234" y="427431"/>
                  </a:lnTo>
                  <a:lnTo>
                    <a:pt x="508622" y="385813"/>
                  </a:lnTo>
                  <a:lnTo>
                    <a:pt x="481520" y="348551"/>
                  </a:lnTo>
                  <a:lnTo>
                    <a:pt x="448691" y="316407"/>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28"/>
                  </a:lnTo>
                  <a:lnTo>
                    <a:pt x="66814" y="348132"/>
                  </a:lnTo>
                  <a:lnTo>
                    <a:pt x="39725" y="385241"/>
                  </a:lnTo>
                  <a:lnTo>
                    <a:pt x="19075" y="426694"/>
                  </a:lnTo>
                  <a:lnTo>
                    <a:pt x="5613" y="471779"/>
                  </a:lnTo>
                  <a:lnTo>
                    <a:pt x="50" y="519772"/>
                  </a:lnTo>
                  <a:lnTo>
                    <a:pt x="47713" y="515734"/>
                  </a:lnTo>
                  <a:lnTo>
                    <a:pt x="92240" y="504075"/>
                  </a:lnTo>
                  <a:lnTo>
                    <a:pt x="133477" y="485482"/>
                  </a:lnTo>
                  <a:lnTo>
                    <a:pt x="170738" y="460616"/>
                  </a:lnTo>
                  <a:lnTo>
                    <a:pt x="203365"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48" y="486410"/>
                  </a:lnTo>
                  <a:lnTo>
                    <a:pt x="455549" y="505091"/>
                  </a:lnTo>
                  <a:lnTo>
                    <a:pt x="500164" y="516801"/>
                  </a:lnTo>
                  <a:lnTo>
                    <a:pt x="548081" y="520852"/>
                  </a:lnTo>
                  <a:close/>
                </a:path>
                <a:path w="548640" h="786765">
                  <a:moveTo>
                    <a:pt x="548093" y="267322"/>
                  </a:moveTo>
                  <a:lnTo>
                    <a:pt x="542645" y="219151"/>
                  </a:lnTo>
                  <a:lnTo>
                    <a:pt x="529247" y="173875"/>
                  </a:lnTo>
                  <a:lnTo>
                    <a:pt x="508635" y="132245"/>
                  </a:lnTo>
                  <a:lnTo>
                    <a:pt x="481533" y="94996"/>
                  </a:lnTo>
                  <a:lnTo>
                    <a:pt x="465277" y="79095"/>
                  </a:lnTo>
                  <a:lnTo>
                    <a:pt x="448691" y="62852"/>
                  </a:lnTo>
                  <a:lnTo>
                    <a:pt x="426351" y="47332"/>
                  </a:lnTo>
                  <a:lnTo>
                    <a:pt x="410845" y="36537"/>
                  </a:lnTo>
                  <a:lnTo>
                    <a:pt x="397395" y="30251"/>
                  </a:lnTo>
                  <a:lnTo>
                    <a:pt x="368706" y="16814"/>
                  </a:lnTo>
                  <a:lnTo>
                    <a:pt x="323037" y="4368"/>
                  </a:lnTo>
                  <a:lnTo>
                    <a:pt x="274561" y="0"/>
                  </a:lnTo>
                  <a:lnTo>
                    <a:pt x="273329" y="0"/>
                  </a:lnTo>
                  <a:lnTo>
                    <a:pt x="224993" y="4356"/>
                  </a:lnTo>
                  <a:lnTo>
                    <a:pt x="179438" y="16725"/>
                  </a:lnTo>
                  <a:lnTo>
                    <a:pt x="137401" y="36372"/>
                  </a:lnTo>
                  <a:lnTo>
                    <a:pt x="99618" y="62560"/>
                  </a:lnTo>
                  <a:lnTo>
                    <a:pt x="98793" y="63360"/>
                  </a:lnTo>
                  <a:lnTo>
                    <a:pt x="66814" y="94576"/>
                  </a:lnTo>
                  <a:lnTo>
                    <a:pt x="39700" y="131686"/>
                  </a:lnTo>
                  <a:lnTo>
                    <a:pt x="19037" y="173139"/>
                  </a:lnTo>
                  <a:lnTo>
                    <a:pt x="5562" y="218211"/>
                  </a:lnTo>
                  <a:lnTo>
                    <a:pt x="0" y="266192"/>
                  </a:lnTo>
                  <a:lnTo>
                    <a:pt x="47713" y="262166"/>
                  </a:lnTo>
                  <a:lnTo>
                    <a:pt x="92240" y="250520"/>
                  </a:lnTo>
                  <a:lnTo>
                    <a:pt x="133477" y="231914"/>
                  </a:lnTo>
                  <a:lnTo>
                    <a:pt x="170738" y="207048"/>
                  </a:lnTo>
                  <a:lnTo>
                    <a:pt x="203365" y="176593"/>
                  </a:lnTo>
                  <a:lnTo>
                    <a:pt x="230682" y="141211"/>
                  </a:lnTo>
                  <a:lnTo>
                    <a:pt x="252006" y="101600"/>
                  </a:lnTo>
                  <a:lnTo>
                    <a:pt x="266674" y="58407"/>
                  </a:lnTo>
                  <a:lnTo>
                    <a:pt x="273989" y="12357"/>
                  </a:lnTo>
                  <a:lnTo>
                    <a:pt x="279844" y="50101"/>
                  </a:lnTo>
                  <a:lnTo>
                    <a:pt x="295719" y="101942"/>
                  </a:lnTo>
                  <a:lnTo>
                    <a:pt x="316992" y="141732"/>
                  </a:lnTo>
                  <a:lnTo>
                    <a:pt x="344284" y="177279"/>
                  </a:lnTo>
                  <a:lnTo>
                    <a:pt x="376923" y="207873"/>
                  </a:lnTo>
                  <a:lnTo>
                    <a:pt x="414248" y="232867"/>
                  </a:lnTo>
                  <a:lnTo>
                    <a:pt x="455549"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122" name="object 120">
              <a:extLst>
                <a:ext uri="{FF2B5EF4-FFF2-40B4-BE49-F238E27FC236}">
                  <a16:creationId xmlns:a16="http://schemas.microsoft.com/office/drawing/2014/main" id="{A3338496-B138-3346-443C-0419433FD2AB}"/>
                </a:ext>
              </a:extLst>
            </p:cNvPr>
            <p:cNvPicPr/>
            <p:nvPr/>
          </p:nvPicPr>
          <p:blipFill>
            <a:blip r:embed="rId9" cstate="print"/>
            <a:stretch>
              <a:fillRect/>
            </a:stretch>
          </p:blipFill>
          <p:spPr>
            <a:xfrm>
              <a:off x="10407394" y="4972731"/>
              <a:ext cx="106445" cy="107156"/>
            </a:xfrm>
            <a:prstGeom prst="rect">
              <a:avLst/>
            </a:prstGeom>
          </p:spPr>
        </p:pic>
        <p:sp>
          <p:nvSpPr>
            <p:cNvPr id="123" name="object 121">
              <a:extLst>
                <a:ext uri="{FF2B5EF4-FFF2-40B4-BE49-F238E27FC236}">
                  <a16:creationId xmlns:a16="http://schemas.microsoft.com/office/drawing/2014/main" id="{7AEB43D6-30E4-117D-8189-D32DEBFE6A2F}"/>
                </a:ext>
              </a:extLst>
            </p:cNvPr>
            <p:cNvSpPr/>
            <p:nvPr/>
          </p:nvSpPr>
          <p:spPr>
            <a:xfrm>
              <a:off x="10294123" y="2554529"/>
              <a:ext cx="332700" cy="477101"/>
            </a:xfrm>
            <a:custGeom>
              <a:avLst/>
              <a:gdLst/>
              <a:ahLst/>
              <a:cxnLst/>
              <a:rect l="l" t="t" r="r" b="b"/>
              <a:pathLst>
                <a:path w="548640" h="786764">
                  <a:moveTo>
                    <a:pt x="548081" y="786396"/>
                  </a:moveTo>
                  <a:lnTo>
                    <a:pt x="542632" y="738238"/>
                  </a:lnTo>
                  <a:lnTo>
                    <a:pt x="529234" y="692975"/>
                  </a:lnTo>
                  <a:lnTo>
                    <a:pt x="508622" y="651344"/>
                  </a:lnTo>
                  <a:lnTo>
                    <a:pt x="481520" y="614095"/>
                  </a:lnTo>
                  <a:lnTo>
                    <a:pt x="448691" y="581939"/>
                  </a:lnTo>
                  <a:lnTo>
                    <a:pt x="410832" y="555625"/>
                  </a:lnTo>
                  <a:lnTo>
                    <a:pt x="368706" y="535901"/>
                  </a:lnTo>
                  <a:lnTo>
                    <a:pt x="323037" y="523468"/>
                  </a:lnTo>
                  <a:lnTo>
                    <a:pt x="274561" y="519099"/>
                  </a:lnTo>
                  <a:lnTo>
                    <a:pt x="273329" y="519099"/>
                  </a:lnTo>
                  <a:lnTo>
                    <a:pt x="224993" y="523455"/>
                  </a:lnTo>
                  <a:lnTo>
                    <a:pt x="179438" y="535813"/>
                  </a:lnTo>
                  <a:lnTo>
                    <a:pt x="137401" y="555459"/>
                  </a:lnTo>
                  <a:lnTo>
                    <a:pt x="99618" y="581660"/>
                  </a:lnTo>
                  <a:lnTo>
                    <a:pt x="66814" y="613676"/>
                  </a:lnTo>
                  <a:lnTo>
                    <a:pt x="39725" y="650773"/>
                  </a:lnTo>
                  <a:lnTo>
                    <a:pt x="19075" y="692238"/>
                  </a:lnTo>
                  <a:lnTo>
                    <a:pt x="5613" y="737323"/>
                  </a:lnTo>
                  <a:lnTo>
                    <a:pt x="50" y="785317"/>
                  </a:lnTo>
                  <a:lnTo>
                    <a:pt x="47713" y="781278"/>
                  </a:lnTo>
                  <a:lnTo>
                    <a:pt x="92240" y="769632"/>
                  </a:lnTo>
                  <a:lnTo>
                    <a:pt x="133477" y="751027"/>
                  </a:lnTo>
                  <a:lnTo>
                    <a:pt x="170738" y="726160"/>
                  </a:lnTo>
                  <a:lnTo>
                    <a:pt x="203365" y="695693"/>
                  </a:lnTo>
                  <a:lnTo>
                    <a:pt x="230670" y="660311"/>
                  </a:lnTo>
                  <a:lnTo>
                    <a:pt x="251993" y="620687"/>
                  </a:lnTo>
                  <a:lnTo>
                    <a:pt x="266661" y="577481"/>
                  </a:lnTo>
                  <a:lnTo>
                    <a:pt x="273989" y="531406"/>
                  </a:lnTo>
                  <a:lnTo>
                    <a:pt x="281165" y="577672"/>
                  </a:lnTo>
                  <a:lnTo>
                    <a:pt x="295719" y="621042"/>
                  </a:lnTo>
                  <a:lnTo>
                    <a:pt x="316992" y="660844"/>
                  </a:lnTo>
                  <a:lnTo>
                    <a:pt x="344284" y="696379"/>
                  </a:lnTo>
                  <a:lnTo>
                    <a:pt x="376923" y="726973"/>
                  </a:lnTo>
                  <a:lnTo>
                    <a:pt x="414248" y="751954"/>
                  </a:lnTo>
                  <a:lnTo>
                    <a:pt x="455549" y="770636"/>
                  </a:lnTo>
                  <a:lnTo>
                    <a:pt x="500164" y="782345"/>
                  </a:lnTo>
                  <a:lnTo>
                    <a:pt x="548081" y="786396"/>
                  </a:lnTo>
                  <a:close/>
                </a:path>
                <a:path w="548640" h="786764">
                  <a:moveTo>
                    <a:pt x="548081" y="520865"/>
                  </a:moveTo>
                  <a:lnTo>
                    <a:pt x="542632" y="472706"/>
                  </a:lnTo>
                  <a:lnTo>
                    <a:pt x="529234" y="427443"/>
                  </a:lnTo>
                  <a:lnTo>
                    <a:pt x="508622" y="385813"/>
                  </a:lnTo>
                  <a:lnTo>
                    <a:pt x="481520" y="348564"/>
                  </a:lnTo>
                  <a:lnTo>
                    <a:pt x="448691" y="316407"/>
                  </a:lnTo>
                  <a:lnTo>
                    <a:pt x="410832" y="290106"/>
                  </a:lnTo>
                  <a:lnTo>
                    <a:pt x="368706" y="270370"/>
                  </a:lnTo>
                  <a:lnTo>
                    <a:pt x="323037" y="257949"/>
                  </a:lnTo>
                  <a:lnTo>
                    <a:pt x="274561" y="253568"/>
                  </a:lnTo>
                  <a:lnTo>
                    <a:pt x="273329" y="253568"/>
                  </a:lnTo>
                  <a:lnTo>
                    <a:pt x="224993" y="257924"/>
                  </a:lnTo>
                  <a:lnTo>
                    <a:pt x="179438" y="270294"/>
                  </a:lnTo>
                  <a:lnTo>
                    <a:pt x="137401" y="289941"/>
                  </a:lnTo>
                  <a:lnTo>
                    <a:pt x="99618" y="316128"/>
                  </a:lnTo>
                  <a:lnTo>
                    <a:pt x="66814" y="348145"/>
                  </a:lnTo>
                  <a:lnTo>
                    <a:pt x="39725" y="385254"/>
                  </a:lnTo>
                  <a:lnTo>
                    <a:pt x="19075" y="426707"/>
                  </a:lnTo>
                  <a:lnTo>
                    <a:pt x="5613" y="471805"/>
                  </a:lnTo>
                  <a:lnTo>
                    <a:pt x="50" y="519785"/>
                  </a:lnTo>
                  <a:lnTo>
                    <a:pt x="47713" y="515759"/>
                  </a:lnTo>
                  <a:lnTo>
                    <a:pt x="92240" y="504101"/>
                  </a:lnTo>
                  <a:lnTo>
                    <a:pt x="133477" y="485495"/>
                  </a:lnTo>
                  <a:lnTo>
                    <a:pt x="170738" y="460629"/>
                  </a:lnTo>
                  <a:lnTo>
                    <a:pt x="203365" y="430161"/>
                  </a:lnTo>
                  <a:lnTo>
                    <a:pt x="230670" y="394779"/>
                  </a:lnTo>
                  <a:lnTo>
                    <a:pt x="251993" y="355155"/>
                  </a:lnTo>
                  <a:lnTo>
                    <a:pt x="266661" y="311962"/>
                  </a:lnTo>
                  <a:lnTo>
                    <a:pt x="273989" y="265874"/>
                  </a:lnTo>
                  <a:lnTo>
                    <a:pt x="281165" y="312140"/>
                  </a:lnTo>
                  <a:lnTo>
                    <a:pt x="295719" y="355511"/>
                  </a:lnTo>
                  <a:lnTo>
                    <a:pt x="316992" y="395312"/>
                  </a:lnTo>
                  <a:lnTo>
                    <a:pt x="344284" y="430847"/>
                  </a:lnTo>
                  <a:lnTo>
                    <a:pt x="376923" y="461441"/>
                  </a:lnTo>
                  <a:lnTo>
                    <a:pt x="414248" y="486422"/>
                  </a:lnTo>
                  <a:lnTo>
                    <a:pt x="455549" y="505104"/>
                  </a:lnTo>
                  <a:lnTo>
                    <a:pt x="500164" y="516813"/>
                  </a:lnTo>
                  <a:lnTo>
                    <a:pt x="548081" y="520865"/>
                  </a:lnTo>
                  <a:close/>
                </a:path>
                <a:path w="548640" h="786764">
                  <a:moveTo>
                    <a:pt x="548093" y="267335"/>
                  </a:moveTo>
                  <a:lnTo>
                    <a:pt x="542645" y="219163"/>
                  </a:lnTo>
                  <a:lnTo>
                    <a:pt x="529247" y="173888"/>
                  </a:lnTo>
                  <a:lnTo>
                    <a:pt x="508635" y="132257"/>
                  </a:lnTo>
                  <a:lnTo>
                    <a:pt x="481533" y="95008"/>
                  </a:lnTo>
                  <a:lnTo>
                    <a:pt x="448691" y="62865"/>
                  </a:lnTo>
                  <a:lnTo>
                    <a:pt x="410845" y="36563"/>
                  </a:lnTo>
                  <a:lnTo>
                    <a:pt x="368706" y="16802"/>
                  </a:lnTo>
                  <a:lnTo>
                    <a:pt x="323037" y="4381"/>
                  </a:lnTo>
                  <a:lnTo>
                    <a:pt x="274561" y="0"/>
                  </a:lnTo>
                  <a:lnTo>
                    <a:pt x="273329" y="0"/>
                  </a:lnTo>
                  <a:lnTo>
                    <a:pt x="224993" y="4356"/>
                  </a:lnTo>
                  <a:lnTo>
                    <a:pt x="179438" y="16725"/>
                  </a:lnTo>
                  <a:lnTo>
                    <a:pt x="137401" y="36372"/>
                  </a:lnTo>
                  <a:lnTo>
                    <a:pt x="99618" y="62572"/>
                  </a:lnTo>
                  <a:lnTo>
                    <a:pt x="66814" y="94576"/>
                  </a:lnTo>
                  <a:lnTo>
                    <a:pt x="39700" y="131699"/>
                  </a:lnTo>
                  <a:lnTo>
                    <a:pt x="19037" y="173151"/>
                  </a:lnTo>
                  <a:lnTo>
                    <a:pt x="5562" y="218224"/>
                  </a:lnTo>
                  <a:lnTo>
                    <a:pt x="0" y="266204"/>
                  </a:lnTo>
                  <a:lnTo>
                    <a:pt x="47713" y="262191"/>
                  </a:lnTo>
                  <a:lnTo>
                    <a:pt x="92240" y="250532"/>
                  </a:lnTo>
                  <a:lnTo>
                    <a:pt x="133477" y="231940"/>
                  </a:lnTo>
                  <a:lnTo>
                    <a:pt x="170738" y="207060"/>
                  </a:lnTo>
                  <a:lnTo>
                    <a:pt x="203365" y="176606"/>
                  </a:lnTo>
                  <a:lnTo>
                    <a:pt x="230682" y="141224"/>
                  </a:lnTo>
                  <a:lnTo>
                    <a:pt x="252006" y="101612"/>
                  </a:lnTo>
                  <a:lnTo>
                    <a:pt x="266674" y="58420"/>
                  </a:lnTo>
                  <a:lnTo>
                    <a:pt x="273989" y="12369"/>
                  </a:lnTo>
                  <a:lnTo>
                    <a:pt x="279844" y="50114"/>
                  </a:lnTo>
                  <a:lnTo>
                    <a:pt x="295719" y="101955"/>
                  </a:lnTo>
                  <a:lnTo>
                    <a:pt x="316992" y="141744"/>
                  </a:lnTo>
                  <a:lnTo>
                    <a:pt x="344284" y="177279"/>
                  </a:lnTo>
                  <a:lnTo>
                    <a:pt x="376936" y="207886"/>
                  </a:lnTo>
                  <a:lnTo>
                    <a:pt x="414248" y="232867"/>
                  </a:lnTo>
                  <a:lnTo>
                    <a:pt x="455549" y="251561"/>
                  </a:lnTo>
                  <a:lnTo>
                    <a:pt x="500176" y="263271"/>
                  </a:lnTo>
                  <a:lnTo>
                    <a:pt x="548093" y="267335"/>
                  </a:lnTo>
                  <a:close/>
                </a:path>
              </a:pathLst>
            </a:custGeom>
            <a:solidFill>
              <a:srgbClr val="2DB7EA"/>
            </a:solidFill>
          </p:spPr>
          <p:txBody>
            <a:bodyPr wrap="square" lIns="0" tIns="0" rIns="0" bIns="0" rtlCol="0"/>
            <a:lstStyle/>
            <a:p>
              <a:endParaRPr dirty="0"/>
            </a:p>
          </p:txBody>
        </p:sp>
        <p:pic>
          <p:nvPicPr>
            <p:cNvPr id="124" name="object 122">
              <a:extLst>
                <a:ext uri="{FF2B5EF4-FFF2-40B4-BE49-F238E27FC236}">
                  <a16:creationId xmlns:a16="http://schemas.microsoft.com/office/drawing/2014/main" id="{4E2249D3-7DF6-687B-E2A4-FC83CAEDEA53}"/>
                </a:ext>
              </a:extLst>
            </p:cNvPr>
            <p:cNvPicPr/>
            <p:nvPr/>
          </p:nvPicPr>
          <p:blipFill>
            <a:blip r:embed="rId8" cstate="print"/>
            <a:stretch>
              <a:fillRect/>
            </a:stretch>
          </p:blipFill>
          <p:spPr>
            <a:xfrm>
              <a:off x="10407394" y="3010234"/>
              <a:ext cx="106445" cy="107156"/>
            </a:xfrm>
            <a:prstGeom prst="rect">
              <a:avLst/>
            </a:prstGeom>
          </p:spPr>
        </p:pic>
        <p:sp>
          <p:nvSpPr>
            <p:cNvPr id="125" name="object 123">
              <a:extLst>
                <a:ext uri="{FF2B5EF4-FFF2-40B4-BE49-F238E27FC236}">
                  <a16:creationId xmlns:a16="http://schemas.microsoft.com/office/drawing/2014/main" id="{B1E4695C-0F5B-F184-48D3-EFC6912F3A07}"/>
                </a:ext>
              </a:extLst>
            </p:cNvPr>
            <p:cNvSpPr/>
            <p:nvPr/>
          </p:nvSpPr>
          <p:spPr>
            <a:xfrm>
              <a:off x="10294123" y="3208700"/>
              <a:ext cx="332700" cy="477101"/>
            </a:xfrm>
            <a:custGeom>
              <a:avLst/>
              <a:gdLst/>
              <a:ahLst/>
              <a:cxnLst/>
              <a:rect l="l" t="t" r="r" b="b"/>
              <a:pathLst>
                <a:path w="548640" h="786764">
                  <a:moveTo>
                    <a:pt x="548081" y="786384"/>
                  </a:moveTo>
                  <a:lnTo>
                    <a:pt x="542632" y="738225"/>
                  </a:lnTo>
                  <a:lnTo>
                    <a:pt x="529234" y="692962"/>
                  </a:lnTo>
                  <a:lnTo>
                    <a:pt x="508622" y="651344"/>
                  </a:lnTo>
                  <a:lnTo>
                    <a:pt x="481520" y="614083"/>
                  </a:lnTo>
                  <a:lnTo>
                    <a:pt x="448691"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73"/>
                  </a:lnTo>
                  <a:lnTo>
                    <a:pt x="19075" y="692226"/>
                  </a:lnTo>
                  <a:lnTo>
                    <a:pt x="5613" y="737323"/>
                  </a:lnTo>
                  <a:lnTo>
                    <a:pt x="50" y="785317"/>
                  </a:lnTo>
                  <a:lnTo>
                    <a:pt x="47713" y="781278"/>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59"/>
                  </a:lnTo>
                  <a:lnTo>
                    <a:pt x="295719" y="621042"/>
                  </a:lnTo>
                  <a:lnTo>
                    <a:pt x="316992" y="660831"/>
                  </a:lnTo>
                  <a:lnTo>
                    <a:pt x="344284" y="696366"/>
                  </a:lnTo>
                  <a:lnTo>
                    <a:pt x="376923" y="726960"/>
                  </a:lnTo>
                  <a:lnTo>
                    <a:pt x="414248" y="751941"/>
                  </a:lnTo>
                  <a:lnTo>
                    <a:pt x="455549" y="770623"/>
                  </a:lnTo>
                  <a:lnTo>
                    <a:pt x="500164" y="782332"/>
                  </a:lnTo>
                  <a:lnTo>
                    <a:pt x="548081" y="786384"/>
                  </a:lnTo>
                  <a:close/>
                </a:path>
                <a:path w="548640" h="786764">
                  <a:moveTo>
                    <a:pt x="548081" y="520865"/>
                  </a:moveTo>
                  <a:lnTo>
                    <a:pt x="542632" y="472694"/>
                  </a:lnTo>
                  <a:lnTo>
                    <a:pt x="529234" y="427431"/>
                  </a:lnTo>
                  <a:lnTo>
                    <a:pt x="508622" y="385813"/>
                  </a:lnTo>
                  <a:lnTo>
                    <a:pt x="481520" y="348551"/>
                  </a:lnTo>
                  <a:lnTo>
                    <a:pt x="448691" y="316407"/>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15"/>
                  </a:lnTo>
                  <a:lnTo>
                    <a:pt x="66814" y="348132"/>
                  </a:lnTo>
                  <a:lnTo>
                    <a:pt x="39725" y="385241"/>
                  </a:lnTo>
                  <a:lnTo>
                    <a:pt x="19075" y="426694"/>
                  </a:lnTo>
                  <a:lnTo>
                    <a:pt x="5613" y="471792"/>
                  </a:lnTo>
                  <a:lnTo>
                    <a:pt x="50" y="519785"/>
                  </a:lnTo>
                  <a:lnTo>
                    <a:pt x="47713" y="515747"/>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29"/>
                  </a:lnTo>
                  <a:lnTo>
                    <a:pt x="414248" y="486410"/>
                  </a:lnTo>
                  <a:lnTo>
                    <a:pt x="455549" y="505091"/>
                  </a:lnTo>
                  <a:lnTo>
                    <a:pt x="500164" y="516801"/>
                  </a:lnTo>
                  <a:lnTo>
                    <a:pt x="548081" y="520865"/>
                  </a:lnTo>
                  <a:close/>
                </a:path>
                <a:path w="548640" h="786764">
                  <a:moveTo>
                    <a:pt x="548093" y="267322"/>
                  </a:moveTo>
                  <a:lnTo>
                    <a:pt x="542645" y="219151"/>
                  </a:lnTo>
                  <a:lnTo>
                    <a:pt x="529247" y="173888"/>
                  </a:lnTo>
                  <a:lnTo>
                    <a:pt x="508635" y="132257"/>
                  </a:lnTo>
                  <a:lnTo>
                    <a:pt x="481533" y="94996"/>
                  </a:lnTo>
                  <a:lnTo>
                    <a:pt x="465277" y="79095"/>
                  </a:lnTo>
                  <a:lnTo>
                    <a:pt x="448691" y="62852"/>
                  </a:lnTo>
                  <a:lnTo>
                    <a:pt x="410845" y="36550"/>
                  </a:lnTo>
                  <a:lnTo>
                    <a:pt x="368706" y="16814"/>
                  </a:lnTo>
                  <a:lnTo>
                    <a:pt x="323037" y="4368"/>
                  </a:lnTo>
                  <a:lnTo>
                    <a:pt x="274561" y="0"/>
                  </a:lnTo>
                  <a:lnTo>
                    <a:pt x="273329" y="0"/>
                  </a:lnTo>
                  <a:lnTo>
                    <a:pt x="224993" y="4356"/>
                  </a:lnTo>
                  <a:lnTo>
                    <a:pt x="179438" y="16725"/>
                  </a:lnTo>
                  <a:lnTo>
                    <a:pt x="137401" y="36360"/>
                  </a:lnTo>
                  <a:lnTo>
                    <a:pt x="99618" y="62560"/>
                  </a:lnTo>
                  <a:lnTo>
                    <a:pt x="66814" y="94576"/>
                  </a:lnTo>
                  <a:lnTo>
                    <a:pt x="39700" y="131686"/>
                  </a:lnTo>
                  <a:lnTo>
                    <a:pt x="19037" y="173139"/>
                  </a:lnTo>
                  <a:lnTo>
                    <a:pt x="5562" y="218224"/>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3989" y="12369"/>
                  </a:lnTo>
                  <a:lnTo>
                    <a:pt x="279844" y="50101"/>
                  </a:lnTo>
                  <a:lnTo>
                    <a:pt x="295719" y="101942"/>
                  </a:lnTo>
                  <a:lnTo>
                    <a:pt x="316992" y="141744"/>
                  </a:lnTo>
                  <a:lnTo>
                    <a:pt x="344284" y="177279"/>
                  </a:lnTo>
                  <a:lnTo>
                    <a:pt x="376923" y="207873"/>
                  </a:lnTo>
                  <a:lnTo>
                    <a:pt x="414248" y="232867"/>
                  </a:lnTo>
                  <a:lnTo>
                    <a:pt x="455549" y="251548"/>
                  </a:lnTo>
                  <a:lnTo>
                    <a:pt x="500176" y="263271"/>
                  </a:lnTo>
                  <a:lnTo>
                    <a:pt x="548093" y="267322"/>
                  </a:lnTo>
                  <a:close/>
                </a:path>
              </a:pathLst>
            </a:custGeom>
            <a:solidFill>
              <a:srgbClr val="7ED3F1"/>
            </a:solidFill>
          </p:spPr>
          <p:txBody>
            <a:bodyPr wrap="square" lIns="0" tIns="0" rIns="0" bIns="0" rtlCol="0"/>
            <a:lstStyle/>
            <a:p>
              <a:endParaRPr dirty="0"/>
            </a:p>
          </p:txBody>
        </p:sp>
        <p:pic>
          <p:nvPicPr>
            <p:cNvPr id="126" name="object 124">
              <a:extLst>
                <a:ext uri="{FF2B5EF4-FFF2-40B4-BE49-F238E27FC236}">
                  <a16:creationId xmlns:a16="http://schemas.microsoft.com/office/drawing/2014/main" id="{4B1545F6-74B0-3460-65D0-F41F1303A579}"/>
                </a:ext>
              </a:extLst>
            </p:cNvPr>
            <p:cNvPicPr/>
            <p:nvPr/>
          </p:nvPicPr>
          <p:blipFill>
            <a:blip r:embed="rId9" cstate="print"/>
            <a:stretch>
              <a:fillRect/>
            </a:stretch>
          </p:blipFill>
          <p:spPr>
            <a:xfrm>
              <a:off x="10407394" y="3664400"/>
              <a:ext cx="106445" cy="107156"/>
            </a:xfrm>
            <a:prstGeom prst="rect">
              <a:avLst/>
            </a:prstGeom>
          </p:spPr>
        </p:pic>
        <p:sp>
          <p:nvSpPr>
            <p:cNvPr id="127" name="object 125">
              <a:extLst>
                <a:ext uri="{FF2B5EF4-FFF2-40B4-BE49-F238E27FC236}">
                  <a16:creationId xmlns:a16="http://schemas.microsoft.com/office/drawing/2014/main" id="{B8F4A7D2-4A4B-3CD7-D188-E4EA2360C848}"/>
                </a:ext>
              </a:extLst>
            </p:cNvPr>
            <p:cNvSpPr/>
            <p:nvPr/>
          </p:nvSpPr>
          <p:spPr>
            <a:xfrm>
              <a:off x="10294123" y="1246203"/>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91"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50" y="785304"/>
                  </a:lnTo>
                  <a:lnTo>
                    <a:pt x="47713" y="781278"/>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48" y="751941"/>
                  </a:lnTo>
                  <a:lnTo>
                    <a:pt x="455549" y="770623"/>
                  </a:lnTo>
                  <a:lnTo>
                    <a:pt x="500164" y="782332"/>
                  </a:lnTo>
                  <a:lnTo>
                    <a:pt x="548081" y="786384"/>
                  </a:lnTo>
                  <a:close/>
                </a:path>
                <a:path w="548640" h="786764">
                  <a:moveTo>
                    <a:pt x="548081" y="520852"/>
                  </a:moveTo>
                  <a:lnTo>
                    <a:pt x="542632" y="472694"/>
                  </a:lnTo>
                  <a:lnTo>
                    <a:pt x="529234" y="427431"/>
                  </a:lnTo>
                  <a:lnTo>
                    <a:pt x="508622" y="385813"/>
                  </a:lnTo>
                  <a:lnTo>
                    <a:pt x="481520" y="348551"/>
                  </a:lnTo>
                  <a:lnTo>
                    <a:pt x="448691" y="316395"/>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15"/>
                  </a:lnTo>
                  <a:lnTo>
                    <a:pt x="66814" y="348132"/>
                  </a:lnTo>
                  <a:lnTo>
                    <a:pt x="39725" y="385241"/>
                  </a:lnTo>
                  <a:lnTo>
                    <a:pt x="19075" y="426694"/>
                  </a:lnTo>
                  <a:lnTo>
                    <a:pt x="5613" y="471792"/>
                  </a:lnTo>
                  <a:lnTo>
                    <a:pt x="50" y="519785"/>
                  </a:lnTo>
                  <a:lnTo>
                    <a:pt x="47713" y="515747"/>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48" y="486410"/>
                  </a:lnTo>
                  <a:lnTo>
                    <a:pt x="455549" y="505091"/>
                  </a:lnTo>
                  <a:lnTo>
                    <a:pt x="500164" y="516801"/>
                  </a:lnTo>
                  <a:lnTo>
                    <a:pt x="548081" y="520852"/>
                  </a:lnTo>
                  <a:close/>
                </a:path>
                <a:path w="548640" h="786764">
                  <a:moveTo>
                    <a:pt x="548093" y="267322"/>
                  </a:moveTo>
                  <a:lnTo>
                    <a:pt x="542645" y="219151"/>
                  </a:lnTo>
                  <a:lnTo>
                    <a:pt x="529247" y="173875"/>
                  </a:lnTo>
                  <a:lnTo>
                    <a:pt x="508635" y="132257"/>
                  </a:lnTo>
                  <a:lnTo>
                    <a:pt x="481533" y="94996"/>
                  </a:lnTo>
                  <a:lnTo>
                    <a:pt x="465277" y="79095"/>
                  </a:lnTo>
                  <a:lnTo>
                    <a:pt x="448691" y="62852"/>
                  </a:lnTo>
                  <a:lnTo>
                    <a:pt x="410845" y="36550"/>
                  </a:lnTo>
                  <a:lnTo>
                    <a:pt x="368706" y="16789"/>
                  </a:lnTo>
                  <a:lnTo>
                    <a:pt x="323037" y="4368"/>
                  </a:lnTo>
                  <a:lnTo>
                    <a:pt x="274561" y="0"/>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3989" y="12357"/>
                  </a:lnTo>
                  <a:lnTo>
                    <a:pt x="279844" y="50101"/>
                  </a:lnTo>
                  <a:lnTo>
                    <a:pt x="295719" y="101942"/>
                  </a:lnTo>
                  <a:lnTo>
                    <a:pt x="316992" y="141744"/>
                  </a:lnTo>
                  <a:lnTo>
                    <a:pt x="344284" y="177279"/>
                  </a:lnTo>
                  <a:lnTo>
                    <a:pt x="376923" y="207873"/>
                  </a:lnTo>
                  <a:lnTo>
                    <a:pt x="414248" y="232867"/>
                  </a:lnTo>
                  <a:lnTo>
                    <a:pt x="455549" y="251548"/>
                  </a:lnTo>
                  <a:lnTo>
                    <a:pt x="500176" y="263271"/>
                  </a:lnTo>
                  <a:lnTo>
                    <a:pt x="548093" y="267322"/>
                  </a:lnTo>
                  <a:close/>
                </a:path>
              </a:pathLst>
            </a:custGeom>
            <a:solidFill>
              <a:srgbClr val="2DB7EA"/>
            </a:solidFill>
          </p:spPr>
          <p:txBody>
            <a:bodyPr wrap="square" lIns="0" tIns="0" rIns="0" bIns="0" rtlCol="0"/>
            <a:lstStyle/>
            <a:p>
              <a:endParaRPr dirty="0"/>
            </a:p>
          </p:txBody>
        </p:sp>
        <p:pic>
          <p:nvPicPr>
            <p:cNvPr id="128" name="object 126">
              <a:extLst>
                <a:ext uri="{FF2B5EF4-FFF2-40B4-BE49-F238E27FC236}">
                  <a16:creationId xmlns:a16="http://schemas.microsoft.com/office/drawing/2014/main" id="{C71A658B-72B5-9238-F0B8-A1139F3B37D1}"/>
                </a:ext>
              </a:extLst>
            </p:cNvPr>
            <p:cNvPicPr/>
            <p:nvPr/>
          </p:nvPicPr>
          <p:blipFill>
            <a:blip r:embed="rId8" cstate="print"/>
            <a:stretch>
              <a:fillRect/>
            </a:stretch>
          </p:blipFill>
          <p:spPr>
            <a:xfrm>
              <a:off x="10407394" y="1701903"/>
              <a:ext cx="106445" cy="107156"/>
            </a:xfrm>
            <a:prstGeom prst="rect">
              <a:avLst/>
            </a:prstGeom>
          </p:spPr>
        </p:pic>
        <p:sp>
          <p:nvSpPr>
            <p:cNvPr id="129" name="object 127">
              <a:extLst>
                <a:ext uri="{FF2B5EF4-FFF2-40B4-BE49-F238E27FC236}">
                  <a16:creationId xmlns:a16="http://schemas.microsoft.com/office/drawing/2014/main" id="{2978CF64-9491-A7F2-0BD8-12F7D6F7E42E}"/>
                </a:ext>
              </a:extLst>
            </p:cNvPr>
            <p:cNvSpPr/>
            <p:nvPr/>
          </p:nvSpPr>
          <p:spPr>
            <a:xfrm>
              <a:off x="10294123" y="1900365"/>
              <a:ext cx="332700" cy="477101"/>
            </a:xfrm>
            <a:custGeom>
              <a:avLst/>
              <a:gdLst/>
              <a:ahLst/>
              <a:cxnLst/>
              <a:rect l="l" t="t" r="r" b="b"/>
              <a:pathLst>
                <a:path w="548640" h="786764">
                  <a:moveTo>
                    <a:pt x="548081" y="786396"/>
                  </a:moveTo>
                  <a:lnTo>
                    <a:pt x="542632" y="738225"/>
                  </a:lnTo>
                  <a:lnTo>
                    <a:pt x="529234" y="692962"/>
                  </a:lnTo>
                  <a:lnTo>
                    <a:pt x="508622" y="651344"/>
                  </a:lnTo>
                  <a:lnTo>
                    <a:pt x="481520" y="614083"/>
                  </a:lnTo>
                  <a:lnTo>
                    <a:pt x="448691" y="581939"/>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60"/>
                  </a:lnTo>
                  <a:lnTo>
                    <a:pt x="66814" y="613664"/>
                  </a:lnTo>
                  <a:lnTo>
                    <a:pt x="39725" y="650773"/>
                  </a:lnTo>
                  <a:lnTo>
                    <a:pt x="19075" y="692238"/>
                  </a:lnTo>
                  <a:lnTo>
                    <a:pt x="5613" y="737323"/>
                  </a:lnTo>
                  <a:lnTo>
                    <a:pt x="50" y="785317"/>
                  </a:lnTo>
                  <a:lnTo>
                    <a:pt x="47713" y="781278"/>
                  </a:lnTo>
                  <a:lnTo>
                    <a:pt x="92240" y="769620"/>
                  </a:lnTo>
                  <a:lnTo>
                    <a:pt x="133477" y="751027"/>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48" y="751941"/>
                  </a:lnTo>
                  <a:lnTo>
                    <a:pt x="455549" y="770636"/>
                  </a:lnTo>
                  <a:lnTo>
                    <a:pt x="500164" y="782332"/>
                  </a:lnTo>
                  <a:lnTo>
                    <a:pt x="548081" y="786396"/>
                  </a:lnTo>
                  <a:close/>
                </a:path>
                <a:path w="548640" h="786764">
                  <a:moveTo>
                    <a:pt x="548081" y="520865"/>
                  </a:moveTo>
                  <a:lnTo>
                    <a:pt x="542632" y="472706"/>
                  </a:lnTo>
                  <a:lnTo>
                    <a:pt x="529234" y="427443"/>
                  </a:lnTo>
                  <a:lnTo>
                    <a:pt x="508622" y="385813"/>
                  </a:lnTo>
                  <a:lnTo>
                    <a:pt x="481520" y="348551"/>
                  </a:lnTo>
                  <a:lnTo>
                    <a:pt x="448691" y="316407"/>
                  </a:lnTo>
                  <a:lnTo>
                    <a:pt x="410832" y="290093"/>
                  </a:lnTo>
                  <a:lnTo>
                    <a:pt x="368706" y="270357"/>
                  </a:lnTo>
                  <a:lnTo>
                    <a:pt x="323037" y="257937"/>
                  </a:lnTo>
                  <a:lnTo>
                    <a:pt x="274561" y="253555"/>
                  </a:lnTo>
                  <a:lnTo>
                    <a:pt x="273329" y="253555"/>
                  </a:lnTo>
                  <a:lnTo>
                    <a:pt x="224993" y="257924"/>
                  </a:lnTo>
                  <a:lnTo>
                    <a:pt x="179438" y="270281"/>
                  </a:lnTo>
                  <a:lnTo>
                    <a:pt x="137401" y="289928"/>
                  </a:lnTo>
                  <a:lnTo>
                    <a:pt x="99618" y="316128"/>
                  </a:lnTo>
                  <a:lnTo>
                    <a:pt x="66814" y="348132"/>
                  </a:lnTo>
                  <a:lnTo>
                    <a:pt x="39725" y="385241"/>
                  </a:lnTo>
                  <a:lnTo>
                    <a:pt x="19075" y="426707"/>
                  </a:lnTo>
                  <a:lnTo>
                    <a:pt x="5613" y="471792"/>
                  </a:lnTo>
                  <a:lnTo>
                    <a:pt x="50" y="519785"/>
                  </a:lnTo>
                  <a:lnTo>
                    <a:pt x="47713" y="515747"/>
                  </a:lnTo>
                  <a:lnTo>
                    <a:pt x="92240" y="504088"/>
                  </a:lnTo>
                  <a:lnTo>
                    <a:pt x="133477" y="485495"/>
                  </a:lnTo>
                  <a:lnTo>
                    <a:pt x="170738" y="460616"/>
                  </a:lnTo>
                  <a:lnTo>
                    <a:pt x="203365" y="430161"/>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48" y="486410"/>
                  </a:lnTo>
                  <a:lnTo>
                    <a:pt x="455549" y="505104"/>
                  </a:lnTo>
                  <a:lnTo>
                    <a:pt x="500164" y="516813"/>
                  </a:lnTo>
                  <a:lnTo>
                    <a:pt x="548081" y="520865"/>
                  </a:lnTo>
                  <a:close/>
                </a:path>
                <a:path w="548640" h="786764">
                  <a:moveTo>
                    <a:pt x="548093" y="267322"/>
                  </a:moveTo>
                  <a:lnTo>
                    <a:pt x="542645" y="219151"/>
                  </a:lnTo>
                  <a:lnTo>
                    <a:pt x="529247" y="173888"/>
                  </a:lnTo>
                  <a:lnTo>
                    <a:pt x="508635" y="132257"/>
                  </a:lnTo>
                  <a:lnTo>
                    <a:pt x="481533" y="95008"/>
                  </a:lnTo>
                  <a:lnTo>
                    <a:pt x="448691" y="62852"/>
                  </a:lnTo>
                  <a:lnTo>
                    <a:pt x="410845" y="36550"/>
                  </a:lnTo>
                  <a:lnTo>
                    <a:pt x="368706" y="16814"/>
                  </a:lnTo>
                  <a:lnTo>
                    <a:pt x="323037" y="4381"/>
                  </a:lnTo>
                  <a:lnTo>
                    <a:pt x="274561" y="0"/>
                  </a:lnTo>
                  <a:lnTo>
                    <a:pt x="273329" y="0"/>
                  </a:lnTo>
                  <a:lnTo>
                    <a:pt x="224993" y="4356"/>
                  </a:lnTo>
                  <a:lnTo>
                    <a:pt x="179438" y="16725"/>
                  </a:lnTo>
                  <a:lnTo>
                    <a:pt x="137401" y="36372"/>
                  </a:lnTo>
                  <a:lnTo>
                    <a:pt x="99618" y="62560"/>
                  </a:lnTo>
                  <a:lnTo>
                    <a:pt x="66814" y="94576"/>
                  </a:lnTo>
                  <a:lnTo>
                    <a:pt x="39700" y="131686"/>
                  </a:lnTo>
                  <a:lnTo>
                    <a:pt x="19037" y="173139"/>
                  </a:lnTo>
                  <a:lnTo>
                    <a:pt x="5562" y="218224"/>
                  </a:lnTo>
                  <a:lnTo>
                    <a:pt x="0" y="266192"/>
                  </a:lnTo>
                  <a:lnTo>
                    <a:pt x="47713" y="262191"/>
                  </a:lnTo>
                  <a:lnTo>
                    <a:pt x="92240" y="250532"/>
                  </a:lnTo>
                  <a:lnTo>
                    <a:pt x="133477" y="231927"/>
                  </a:lnTo>
                  <a:lnTo>
                    <a:pt x="170738" y="207060"/>
                  </a:lnTo>
                  <a:lnTo>
                    <a:pt x="203365" y="176593"/>
                  </a:lnTo>
                  <a:lnTo>
                    <a:pt x="230682" y="141224"/>
                  </a:lnTo>
                  <a:lnTo>
                    <a:pt x="252006" y="101600"/>
                  </a:lnTo>
                  <a:lnTo>
                    <a:pt x="266674" y="58420"/>
                  </a:lnTo>
                  <a:lnTo>
                    <a:pt x="273989" y="12369"/>
                  </a:lnTo>
                  <a:lnTo>
                    <a:pt x="279844" y="50101"/>
                  </a:lnTo>
                  <a:lnTo>
                    <a:pt x="295719" y="101942"/>
                  </a:lnTo>
                  <a:lnTo>
                    <a:pt x="316992" y="141744"/>
                  </a:lnTo>
                  <a:lnTo>
                    <a:pt x="344284" y="177279"/>
                  </a:lnTo>
                  <a:lnTo>
                    <a:pt x="376936" y="207886"/>
                  </a:lnTo>
                  <a:lnTo>
                    <a:pt x="414248" y="232867"/>
                  </a:lnTo>
                  <a:lnTo>
                    <a:pt x="455549"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130" name="object 128">
              <a:extLst>
                <a:ext uri="{FF2B5EF4-FFF2-40B4-BE49-F238E27FC236}">
                  <a16:creationId xmlns:a16="http://schemas.microsoft.com/office/drawing/2014/main" id="{F3D9DDDF-6E3D-585A-C03F-0F7D6FB8735E}"/>
                </a:ext>
              </a:extLst>
            </p:cNvPr>
            <p:cNvPicPr/>
            <p:nvPr/>
          </p:nvPicPr>
          <p:blipFill>
            <a:blip r:embed="rId9" cstate="print"/>
            <a:stretch>
              <a:fillRect/>
            </a:stretch>
          </p:blipFill>
          <p:spPr>
            <a:xfrm>
              <a:off x="10407394" y="2356067"/>
              <a:ext cx="106445" cy="107156"/>
            </a:xfrm>
            <a:prstGeom prst="rect">
              <a:avLst/>
            </a:prstGeom>
          </p:spPr>
        </p:pic>
        <p:sp>
          <p:nvSpPr>
            <p:cNvPr id="131" name="object 129">
              <a:extLst>
                <a:ext uri="{FF2B5EF4-FFF2-40B4-BE49-F238E27FC236}">
                  <a16:creationId xmlns:a16="http://schemas.microsoft.com/office/drawing/2014/main" id="{C4D39821-9608-2DAF-53C9-0959635263DA}"/>
                </a:ext>
              </a:extLst>
            </p:cNvPr>
            <p:cNvSpPr/>
            <p:nvPr/>
          </p:nvSpPr>
          <p:spPr>
            <a:xfrm>
              <a:off x="10294127"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132" name="object 130">
              <a:extLst>
                <a:ext uri="{FF2B5EF4-FFF2-40B4-BE49-F238E27FC236}">
                  <a16:creationId xmlns:a16="http://schemas.microsoft.com/office/drawing/2014/main" id="{0ECF8B95-6EA2-F6ED-B4CB-BE1FC6F191BE}"/>
                </a:ext>
              </a:extLst>
            </p:cNvPr>
            <p:cNvPicPr/>
            <p:nvPr/>
          </p:nvPicPr>
          <p:blipFill>
            <a:blip r:embed="rId20" cstate="print"/>
            <a:stretch>
              <a:fillRect/>
            </a:stretch>
          </p:blipFill>
          <p:spPr>
            <a:xfrm>
              <a:off x="10294154" y="123"/>
              <a:ext cx="152433" cy="99184"/>
            </a:xfrm>
            <a:prstGeom prst="rect">
              <a:avLst/>
            </a:prstGeom>
          </p:spPr>
        </p:pic>
        <p:pic>
          <p:nvPicPr>
            <p:cNvPr id="133" name="object 131">
              <a:extLst>
                <a:ext uri="{FF2B5EF4-FFF2-40B4-BE49-F238E27FC236}">
                  <a16:creationId xmlns:a16="http://schemas.microsoft.com/office/drawing/2014/main" id="{3A5E320E-EABB-A94D-3596-184464AC1227}"/>
                </a:ext>
              </a:extLst>
            </p:cNvPr>
            <p:cNvPicPr/>
            <p:nvPr/>
          </p:nvPicPr>
          <p:blipFill>
            <a:blip r:embed="rId21" cstate="print"/>
            <a:stretch>
              <a:fillRect/>
            </a:stretch>
          </p:blipFill>
          <p:spPr>
            <a:xfrm>
              <a:off x="10473688" y="123"/>
              <a:ext cx="152798" cy="99837"/>
            </a:xfrm>
            <a:prstGeom prst="rect">
              <a:avLst/>
            </a:prstGeom>
          </p:spPr>
        </p:pic>
        <p:sp>
          <p:nvSpPr>
            <p:cNvPr id="134" name="object 132">
              <a:extLst>
                <a:ext uri="{FF2B5EF4-FFF2-40B4-BE49-F238E27FC236}">
                  <a16:creationId xmlns:a16="http://schemas.microsoft.com/office/drawing/2014/main" id="{FA49D60D-EF45-4A8F-38A5-EDAD67251CD4}"/>
                </a:ext>
              </a:extLst>
            </p:cNvPr>
            <p:cNvSpPr/>
            <p:nvPr/>
          </p:nvSpPr>
          <p:spPr>
            <a:xfrm>
              <a:off x="10294154" y="91626"/>
              <a:ext cx="332700" cy="323458"/>
            </a:xfrm>
            <a:custGeom>
              <a:avLst/>
              <a:gdLst/>
              <a:ahLst/>
              <a:cxnLst/>
              <a:rect l="l" t="t" r="r" b="b"/>
              <a:pathLst>
                <a:path w="548640" h="533400">
                  <a:moveTo>
                    <a:pt x="548030" y="532841"/>
                  </a:moveTo>
                  <a:lnTo>
                    <a:pt x="542582" y="484682"/>
                  </a:lnTo>
                  <a:lnTo>
                    <a:pt x="529183" y="439420"/>
                  </a:lnTo>
                  <a:lnTo>
                    <a:pt x="508571" y="397789"/>
                  </a:lnTo>
                  <a:lnTo>
                    <a:pt x="481469" y="360527"/>
                  </a:lnTo>
                  <a:lnTo>
                    <a:pt x="448640" y="328383"/>
                  </a:lnTo>
                  <a:lnTo>
                    <a:pt x="410781" y="302069"/>
                  </a:lnTo>
                  <a:lnTo>
                    <a:pt x="368655" y="282333"/>
                  </a:lnTo>
                  <a:lnTo>
                    <a:pt x="322986" y="269913"/>
                  </a:lnTo>
                  <a:lnTo>
                    <a:pt x="274510" y="265544"/>
                  </a:lnTo>
                  <a:lnTo>
                    <a:pt x="273278" y="265544"/>
                  </a:lnTo>
                  <a:lnTo>
                    <a:pt x="224942" y="269900"/>
                  </a:lnTo>
                  <a:lnTo>
                    <a:pt x="179387" y="282257"/>
                  </a:lnTo>
                  <a:lnTo>
                    <a:pt x="137350" y="301904"/>
                  </a:lnTo>
                  <a:lnTo>
                    <a:pt x="99568" y="328104"/>
                  </a:lnTo>
                  <a:lnTo>
                    <a:pt x="66763" y="360121"/>
                  </a:lnTo>
                  <a:lnTo>
                    <a:pt x="39674" y="397217"/>
                  </a:lnTo>
                  <a:lnTo>
                    <a:pt x="19024" y="438683"/>
                  </a:lnTo>
                  <a:lnTo>
                    <a:pt x="5562" y="483768"/>
                  </a:lnTo>
                  <a:lnTo>
                    <a:pt x="0" y="531761"/>
                  </a:lnTo>
                  <a:lnTo>
                    <a:pt x="47663" y="527723"/>
                  </a:lnTo>
                  <a:lnTo>
                    <a:pt x="92189" y="516064"/>
                  </a:lnTo>
                  <a:lnTo>
                    <a:pt x="133426" y="497471"/>
                  </a:lnTo>
                  <a:lnTo>
                    <a:pt x="170688" y="472592"/>
                  </a:lnTo>
                  <a:lnTo>
                    <a:pt x="203314" y="442137"/>
                  </a:lnTo>
                  <a:lnTo>
                    <a:pt x="230619" y="406755"/>
                  </a:lnTo>
                  <a:lnTo>
                    <a:pt x="251942" y="367118"/>
                  </a:lnTo>
                  <a:lnTo>
                    <a:pt x="266611" y="323926"/>
                  </a:lnTo>
                  <a:lnTo>
                    <a:pt x="273939" y="277837"/>
                  </a:lnTo>
                  <a:lnTo>
                    <a:pt x="281114" y="324116"/>
                  </a:lnTo>
                  <a:lnTo>
                    <a:pt x="295668" y="367487"/>
                  </a:lnTo>
                  <a:lnTo>
                    <a:pt x="316941" y="407276"/>
                  </a:lnTo>
                  <a:lnTo>
                    <a:pt x="344233" y="442810"/>
                  </a:lnTo>
                  <a:lnTo>
                    <a:pt x="376872" y="473417"/>
                  </a:lnTo>
                  <a:lnTo>
                    <a:pt x="414197" y="498398"/>
                  </a:lnTo>
                  <a:lnTo>
                    <a:pt x="455498" y="517080"/>
                  </a:lnTo>
                  <a:lnTo>
                    <a:pt x="500113" y="528789"/>
                  </a:lnTo>
                  <a:lnTo>
                    <a:pt x="548030" y="532841"/>
                  </a:lnTo>
                  <a:close/>
                </a:path>
                <a:path w="548640" h="533400">
                  <a:moveTo>
                    <a:pt x="548030" y="267309"/>
                  </a:moveTo>
                  <a:lnTo>
                    <a:pt x="542582" y="219138"/>
                  </a:lnTo>
                  <a:lnTo>
                    <a:pt x="529183" y="173888"/>
                  </a:lnTo>
                  <a:lnTo>
                    <a:pt x="508571" y="132257"/>
                  </a:lnTo>
                  <a:lnTo>
                    <a:pt x="481469" y="94996"/>
                  </a:lnTo>
                  <a:lnTo>
                    <a:pt x="448640" y="62852"/>
                  </a:lnTo>
                  <a:lnTo>
                    <a:pt x="410781" y="36537"/>
                  </a:lnTo>
                  <a:lnTo>
                    <a:pt x="368655" y="16802"/>
                  </a:lnTo>
                  <a:lnTo>
                    <a:pt x="322986" y="4381"/>
                  </a:lnTo>
                  <a:lnTo>
                    <a:pt x="274510" y="0"/>
                  </a:lnTo>
                  <a:lnTo>
                    <a:pt x="273278" y="0"/>
                  </a:lnTo>
                  <a:lnTo>
                    <a:pt x="224942" y="4356"/>
                  </a:lnTo>
                  <a:lnTo>
                    <a:pt x="179387" y="16725"/>
                  </a:lnTo>
                  <a:lnTo>
                    <a:pt x="137350" y="36372"/>
                  </a:lnTo>
                  <a:lnTo>
                    <a:pt x="99568" y="62572"/>
                  </a:lnTo>
                  <a:lnTo>
                    <a:pt x="66763" y="94576"/>
                  </a:lnTo>
                  <a:lnTo>
                    <a:pt x="39674" y="131686"/>
                  </a:lnTo>
                  <a:lnTo>
                    <a:pt x="19024" y="173151"/>
                  </a:lnTo>
                  <a:lnTo>
                    <a:pt x="5562" y="218236"/>
                  </a:lnTo>
                  <a:lnTo>
                    <a:pt x="0" y="266230"/>
                  </a:lnTo>
                  <a:lnTo>
                    <a:pt x="47663" y="262191"/>
                  </a:lnTo>
                  <a:lnTo>
                    <a:pt x="92189" y="250532"/>
                  </a:lnTo>
                  <a:lnTo>
                    <a:pt x="133426" y="231940"/>
                  </a:lnTo>
                  <a:lnTo>
                    <a:pt x="170688" y="207060"/>
                  </a:lnTo>
                  <a:lnTo>
                    <a:pt x="203314" y="176593"/>
                  </a:lnTo>
                  <a:lnTo>
                    <a:pt x="230619" y="141211"/>
                  </a:lnTo>
                  <a:lnTo>
                    <a:pt x="251942" y="101587"/>
                  </a:lnTo>
                  <a:lnTo>
                    <a:pt x="266611" y="58394"/>
                  </a:lnTo>
                  <a:lnTo>
                    <a:pt x="273939" y="12306"/>
                  </a:lnTo>
                  <a:lnTo>
                    <a:pt x="281114" y="58585"/>
                  </a:lnTo>
                  <a:lnTo>
                    <a:pt x="295668" y="101955"/>
                  </a:lnTo>
                  <a:lnTo>
                    <a:pt x="316941" y="141744"/>
                  </a:lnTo>
                  <a:lnTo>
                    <a:pt x="344233" y="177279"/>
                  </a:lnTo>
                  <a:lnTo>
                    <a:pt x="376872" y="207873"/>
                  </a:lnTo>
                  <a:lnTo>
                    <a:pt x="414197" y="232854"/>
                  </a:lnTo>
                  <a:lnTo>
                    <a:pt x="455498" y="251548"/>
                  </a:lnTo>
                  <a:lnTo>
                    <a:pt x="500113" y="263258"/>
                  </a:lnTo>
                  <a:lnTo>
                    <a:pt x="548030" y="267309"/>
                  </a:lnTo>
                  <a:close/>
                </a:path>
              </a:pathLst>
            </a:custGeom>
            <a:solidFill>
              <a:srgbClr val="2DB7EA"/>
            </a:solidFill>
          </p:spPr>
          <p:txBody>
            <a:bodyPr wrap="square" lIns="0" tIns="0" rIns="0" bIns="0" rtlCol="0"/>
            <a:lstStyle/>
            <a:p>
              <a:endParaRPr dirty="0"/>
            </a:p>
          </p:txBody>
        </p:sp>
        <p:pic>
          <p:nvPicPr>
            <p:cNvPr id="135" name="object 133">
              <a:extLst>
                <a:ext uri="{FF2B5EF4-FFF2-40B4-BE49-F238E27FC236}">
                  <a16:creationId xmlns:a16="http://schemas.microsoft.com/office/drawing/2014/main" id="{2BE67C11-06EC-4944-4CCD-BB72B7C1DC2F}"/>
                </a:ext>
              </a:extLst>
            </p:cNvPr>
            <p:cNvPicPr/>
            <p:nvPr/>
          </p:nvPicPr>
          <p:blipFill>
            <a:blip r:embed="rId8" cstate="print"/>
            <a:stretch>
              <a:fillRect/>
            </a:stretch>
          </p:blipFill>
          <p:spPr>
            <a:xfrm>
              <a:off x="10407394" y="393572"/>
              <a:ext cx="106445" cy="107156"/>
            </a:xfrm>
            <a:prstGeom prst="rect">
              <a:avLst/>
            </a:prstGeom>
          </p:spPr>
        </p:pic>
        <p:sp>
          <p:nvSpPr>
            <p:cNvPr id="136" name="object 134">
              <a:extLst>
                <a:ext uri="{FF2B5EF4-FFF2-40B4-BE49-F238E27FC236}">
                  <a16:creationId xmlns:a16="http://schemas.microsoft.com/office/drawing/2014/main" id="{19A91757-443B-A9AE-72E2-E46B5FBC7F88}"/>
                </a:ext>
              </a:extLst>
            </p:cNvPr>
            <p:cNvSpPr/>
            <p:nvPr/>
          </p:nvSpPr>
          <p:spPr>
            <a:xfrm>
              <a:off x="10294123" y="592039"/>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91"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50" y="785304"/>
                  </a:lnTo>
                  <a:lnTo>
                    <a:pt x="47713" y="781278"/>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48" y="751941"/>
                  </a:lnTo>
                  <a:lnTo>
                    <a:pt x="455549" y="770623"/>
                  </a:lnTo>
                  <a:lnTo>
                    <a:pt x="500164" y="782332"/>
                  </a:lnTo>
                  <a:lnTo>
                    <a:pt x="548081" y="786384"/>
                  </a:lnTo>
                  <a:close/>
                </a:path>
                <a:path w="548640" h="786764">
                  <a:moveTo>
                    <a:pt x="548081" y="520852"/>
                  </a:moveTo>
                  <a:lnTo>
                    <a:pt x="542632" y="472694"/>
                  </a:lnTo>
                  <a:lnTo>
                    <a:pt x="529234" y="427431"/>
                  </a:lnTo>
                  <a:lnTo>
                    <a:pt x="508622" y="385800"/>
                  </a:lnTo>
                  <a:lnTo>
                    <a:pt x="481520" y="348551"/>
                  </a:lnTo>
                  <a:lnTo>
                    <a:pt x="448691" y="316395"/>
                  </a:lnTo>
                  <a:lnTo>
                    <a:pt x="410832" y="290080"/>
                  </a:lnTo>
                  <a:lnTo>
                    <a:pt x="368706" y="270357"/>
                  </a:lnTo>
                  <a:lnTo>
                    <a:pt x="323037" y="257924"/>
                  </a:lnTo>
                  <a:lnTo>
                    <a:pt x="274561" y="253555"/>
                  </a:lnTo>
                  <a:lnTo>
                    <a:pt x="273329" y="253555"/>
                  </a:lnTo>
                  <a:lnTo>
                    <a:pt x="224993" y="257911"/>
                  </a:lnTo>
                  <a:lnTo>
                    <a:pt x="179438" y="270281"/>
                  </a:lnTo>
                  <a:lnTo>
                    <a:pt x="137401" y="289915"/>
                  </a:lnTo>
                  <a:lnTo>
                    <a:pt x="99618" y="316115"/>
                  </a:lnTo>
                  <a:lnTo>
                    <a:pt x="66814" y="348132"/>
                  </a:lnTo>
                  <a:lnTo>
                    <a:pt x="39725" y="385229"/>
                  </a:lnTo>
                  <a:lnTo>
                    <a:pt x="19075" y="426694"/>
                  </a:lnTo>
                  <a:lnTo>
                    <a:pt x="5613" y="471779"/>
                  </a:lnTo>
                  <a:lnTo>
                    <a:pt x="50" y="519772"/>
                  </a:lnTo>
                  <a:lnTo>
                    <a:pt x="47713" y="515734"/>
                  </a:lnTo>
                  <a:lnTo>
                    <a:pt x="92240" y="504088"/>
                  </a:lnTo>
                  <a:lnTo>
                    <a:pt x="133477" y="485482"/>
                  </a:lnTo>
                  <a:lnTo>
                    <a:pt x="170738" y="460616"/>
                  </a:lnTo>
                  <a:lnTo>
                    <a:pt x="203365" y="430149"/>
                  </a:lnTo>
                  <a:lnTo>
                    <a:pt x="230670" y="394766"/>
                  </a:lnTo>
                  <a:lnTo>
                    <a:pt x="251993" y="355142"/>
                  </a:lnTo>
                  <a:lnTo>
                    <a:pt x="266661" y="311937"/>
                  </a:lnTo>
                  <a:lnTo>
                    <a:pt x="273989" y="265861"/>
                  </a:lnTo>
                  <a:lnTo>
                    <a:pt x="281165" y="312127"/>
                  </a:lnTo>
                  <a:lnTo>
                    <a:pt x="295719" y="355498"/>
                  </a:lnTo>
                  <a:lnTo>
                    <a:pt x="316992" y="395300"/>
                  </a:lnTo>
                  <a:lnTo>
                    <a:pt x="344284" y="430834"/>
                  </a:lnTo>
                  <a:lnTo>
                    <a:pt x="376923" y="461429"/>
                  </a:lnTo>
                  <a:lnTo>
                    <a:pt x="414248" y="486410"/>
                  </a:lnTo>
                  <a:lnTo>
                    <a:pt x="455549" y="505091"/>
                  </a:lnTo>
                  <a:lnTo>
                    <a:pt x="500164" y="516801"/>
                  </a:lnTo>
                  <a:lnTo>
                    <a:pt x="548081" y="520852"/>
                  </a:lnTo>
                  <a:close/>
                </a:path>
                <a:path w="548640" h="786764">
                  <a:moveTo>
                    <a:pt x="548093" y="267322"/>
                  </a:moveTo>
                  <a:lnTo>
                    <a:pt x="542645" y="219138"/>
                  </a:lnTo>
                  <a:lnTo>
                    <a:pt x="529247" y="173875"/>
                  </a:lnTo>
                  <a:lnTo>
                    <a:pt x="508635" y="132245"/>
                  </a:lnTo>
                  <a:lnTo>
                    <a:pt x="481533" y="94996"/>
                  </a:lnTo>
                  <a:lnTo>
                    <a:pt x="448691" y="62839"/>
                  </a:lnTo>
                  <a:lnTo>
                    <a:pt x="410845" y="36537"/>
                  </a:lnTo>
                  <a:lnTo>
                    <a:pt x="368706" y="16789"/>
                  </a:lnTo>
                  <a:lnTo>
                    <a:pt x="323037" y="4368"/>
                  </a:lnTo>
                  <a:lnTo>
                    <a:pt x="274561" y="12"/>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77" y="231927"/>
                  </a:lnTo>
                  <a:lnTo>
                    <a:pt x="170738" y="207048"/>
                  </a:lnTo>
                  <a:lnTo>
                    <a:pt x="203365" y="176593"/>
                  </a:lnTo>
                  <a:lnTo>
                    <a:pt x="230682" y="141211"/>
                  </a:lnTo>
                  <a:lnTo>
                    <a:pt x="252006" y="101587"/>
                  </a:lnTo>
                  <a:lnTo>
                    <a:pt x="266674" y="58407"/>
                  </a:lnTo>
                  <a:lnTo>
                    <a:pt x="273989" y="12357"/>
                  </a:lnTo>
                  <a:lnTo>
                    <a:pt x="281165" y="58572"/>
                  </a:lnTo>
                  <a:lnTo>
                    <a:pt x="295719" y="101942"/>
                  </a:lnTo>
                  <a:lnTo>
                    <a:pt x="316992" y="141732"/>
                  </a:lnTo>
                  <a:lnTo>
                    <a:pt x="344284" y="177266"/>
                  </a:lnTo>
                  <a:lnTo>
                    <a:pt x="376923" y="207873"/>
                  </a:lnTo>
                  <a:lnTo>
                    <a:pt x="414248" y="232854"/>
                  </a:lnTo>
                  <a:lnTo>
                    <a:pt x="455549"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137" name="object 135">
              <a:extLst>
                <a:ext uri="{FF2B5EF4-FFF2-40B4-BE49-F238E27FC236}">
                  <a16:creationId xmlns:a16="http://schemas.microsoft.com/office/drawing/2014/main" id="{44B9E17E-B9D0-CBD1-BA4A-42F1D6EA2C05}"/>
                </a:ext>
              </a:extLst>
            </p:cNvPr>
            <p:cNvPicPr/>
            <p:nvPr/>
          </p:nvPicPr>
          <p:blipFill>
            <a:blip r:embed="rId9" cstate="print"/>
            <a:stretch>
              <a:fillRect/>
            </a:stretch>
          </p:blipFill>
          <p:spPr>
            <a:xfrm>
              <a:off x="10407394" y="1047738"/>
              <a:ext cx="106445" cy="107156"/>
            </a:xfrm>
            <a:prstGeom prst="rect">
              <a:avLst/>
            </a:prstGeom>
          </p:spPr>
        </p:pic>
        <p:sp>
          <p:nvSpPr>
            <p:cNvPr id="138" name="object 136">
              <a:extLst>
                <a:ext uri="{FF2B5EF4-FFF2-40B4-BE49-F238E27FC236}">
                  <a16:creationId xmlns:a16="http://schemas.microsoft.com/office/drawing/2014/main" id="{5C9AEB25-F4CA-4E57-6167-5A48B7C4794A}"/>
                </a:ext>
              </a:extLst>
            </p:cNvPr>
            <p:cNvSpPr/>
            <p:nvPr/>
          </p:nvSpPr>
          <p:spPr>
            <a:xfrm>
              <a:off x="11449331" y="804428"/>
              <a:ext cx="332700" cy="477101"/>
            </a:xfrm>
            <a:custGeom>
              <a:avLst/>
              <a:gdLst/>
              <a:ahLst/>
              <a:cxnLst/>
              <a:rect l="l" t="t" r="r" b="b"/>
              <a:pathLst>
                <a:path w="548640" h="786764">
                  <a:moveTo>
                    <a:pt x="548055" y="266598"/>
                  </a:moveTo>
                  <a:lnTo>
                    <a:pt x="500380" y="270637"/>
                  </a:lnTo>
                  <a:lnTo>
                    <a:pt x="455853" y="282295"/>
                  </a:lnTo>
                  <a:lnTo>
                    <a:pt x="414616" y="300901"/>
                  </a:lnTo>
                  <a:lnTo>
                    <a:pt x="377355" y="325767"/>
                  </a:lnTo>
                  <a:lnTo>
                    <a:pt x="344728" y="356235"/>
                  </a:lnTo>
                  <a:lnTo>
                    <a:pt x="317423" y="391617"/>
                  </a:lnTo>
                  <a:lnTo>
                    <a:pt x="296100" y="431241"/>
                  </a:lnTo>
                  <a:lnTo>
                    <a:pt x="281432" y="474433"/>
                  </a:lnTo>
                  <a:lnTo>
                    <a:pt x="274104" y="520522"/>
                  </a:lnTo>
                  <a:lnTo>
                    <a:pt x="266928" y="474256"/>
                  </a:lnTo>
                  <a:lnTo>
                    <a:pt x="252374" y="430872"/>
                  </a:lnTo>
                  <a:lnTo>
                    <a:pt x="231101" y="391083"/>
                  </a:lnTo>
                  <a:lnTo>
                    <a:pt x="203809" y="355549"/>
                  </a:lnTo>
                  <a:lnTo>
                    <a:pt x="171170" y="324954"/>
                  </a:lnTo>
                  <a:lnTo>
                    <a:pt x="133858" y="299974"/>
                  </a:lnTo>
                  <a:lnTo>
                    <a:pt x="92544" y="281292"/>
                  </a:lnTo>
                  <a:lnTo>
                    <a:pt x="47929" y="269582"/>
                  </a:lnTo>
                  <a:lnTo>
                    <a:pt x="12" y="265531"/>
                  </a:lnTo>
                  <a:lnTo>
                    <a:pt x="5461" y="313690"/>
                  </a:lnTo>
                  <a:lnTo>
                    <a:pt x="18859" y="358952"/>
                  </a:lnTo>
                  <a:lnTo>
                    <a:pt x="39471" y="400570"/>
                  </a:lnTo>
                  <a:lnTo>
                    <a:pt x="66573" y="437832"/>
                  </a:lnTo>
                  <a:lnTo>
                    <a:pt x="99415" y="469988"/>
                  </a:lnTo>
                  <a:lnTo>
                    <a:pt x="137261" y="496290"/>
                  </a:lnTo>
                  <a:lnTo>
                    <a:pt x="179387" y="516026"/>
                  </a:lnTo>
                  <a:lnTo>
                    <a:pt x="225056" y="528447"/>
                  </a:lnTo>
                  <a:lnTo>
                    <a:pt x="273532" y="532828"/>
                  </a:lnTo>
                  <a:lnTo>
                    <a:pt x="274764" y="532828"/>
                  </a:lnTo>
                  <a:lnTo>
                    <a:pt x="323100" y="528472"/>
                  </a:lnTo>
                  <a:lnTo>
                    <a:pt x="368655" y="516102"/>
                  </a:lnTo>
                  <a:lnTo>
                    <a:pt x="410692" y="496455"/>
                  </a:lnTo>
                  <a:lnTo>
                    <a:pt x="448475" y="470268"/>
                  </a:lnTo>
                  <a:lnTo>
                    <a:pt x="481279" y="438251"/>
                  </a:lnTo>
                  <a:lnTo>
                    <a:pt x="508368" y="401142"/>
                  </a:lnTo>
                  <a:lnTo>
                    <a:pt x="529018" y="359689"/>
                  </a:lnTo>
                  <a:lnTo>
                    <a:pt x="542480" y="314591"/>
                  </a:lnTo>
                  <a:lnTo>
                    <a:pt x="548055" y="266598"/>
                  </a:lnTo>
                  <a:close/>
                </a:path>
                <a:path w="548640" h="786764">
                  <a:moveTo>
                    <a:pt x="548055" y="1079"/>
                  </a:moveTo>
                  <a:lnTo>
                    <a:pt x="500380" y="5105"/>
                  </a:lnTo>
                  <a:lnTo>
                    <a:pt x="455853" y="16764"/>
                  </a:lnTo>
                  <a:lnTo>
                    <a:pt x="414616" y="35369"/>
                  </a:lnTo>
                  <a:lnTo>
                    <a:pt x="377355" y="60236"/>
                  </a:lnTo>
                  <a:lnTo>
                    <a:pt x="344728" y="90703"/>
                  </a:lnTo>
                  <a:lnTo>
                    <a:pt x="317423" y="126085"/>
                  </a:lnTo>
                  <a:lnTo>
                    <a:pt x="296100" y="165709"/>
                  </a:lnTo>
                  <a:lnTo>
                    <a:pt x="281432" y="208902"/>
                  </a:lnTo>
                  <a:lnTo>
                    <a:pt x="274104" y="254990"/>
                  </a:lnTo>
                  <a:lnTo>
                    <a:pt x="266928" y="208724"/>
                  </a:lnTo>
                  <a:lnTo>
                    <a:pt x="252374" y="165354"/>
                  </a:lnTo>
                  <a:lnTo>
                    <a:pt x="231101" y="125552"/>
                  </a:lnTo>
                  <a:lnTo>
                    <a:pt x="203809" y="90017"/>
                  </a:lnTo>
                  <a:lnTo>
                    <a:pt x="171170" y="59423"/>
                  </a:lnTo>
                  <a:lnTo>
                    <a:pt x="133858" y="34442"/>
                  </a:lnTo>
                  <a:lnTo>
                    <a:pt x="92544" y="15760"/>
                  </a:lnTo>
                  <a:lnTo>
                    <a:pt x="47929" y="4051"/>
                  </a:lnTo>
                  <a:lnTo>
                    <a:pt x="12" y="0"/>
                  </a:lnTo>
                  <a:lnTo>
                    <a:pt x="5461" y="48158"/>
                  </a:lnTo>
                  <a:lnTo>
                    <a:pt x="18859" y="93421"/>
                  </a:lnTo>
                  <a:lnTo>
                    <a:pt x="39471" y="135051"/>
                  </a:lnTo>
                  <a:lnTo>
                    <a:pt x="66573" y="172300"/>
                  </a:lnTo>
                  <a:lnTo>
                    <a:pt x="99415" y="204457"/>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36"/>
                  </a:lnTo>
                  <a:lnTo>
                    <a:pt x="481279" y="172720"/>
                  </a:lnTo>
                  <a:lnTo>
                    <a:pt x="508368" y="135623"/>
                  </a:lnTo>
                  <a:lnTo>
                    <a:pt x="529018" y="94157"/>
                  </a:lnTo>
                  <a:lnTo>
                    <a:pt x="542480" y="49060"/>
                  </a:lnTo>
                  <a:lnTo>
                    <a:pt x="548055" y="1079"/>
                  </a:lnTo>
                  <a:close/>
                </a:path>
                <a:path w="548640" h="786764">
                  <a:moveTo>
                    <a:pt x="548093" y="520192"/>
                  </a:moveTo>
                  <a:lnTo>
                    <a:pt x="500380" y="524205"/>
                  </a:lnTo>
                  <a:lnTo>
                    <a:pt x="455853" y="535851"/>
                  </a:lnTo>
                  <a:lnTo>
                    <a:pt x="414616" y="554456"/>
                  </a:lnTo>
                  <a:lnTo>
                    <a:pt x="377355" y="579323"/>
                  </a:lnTo>
                  <a:lnTo>
                    <a:pt x="344728" y="609790"/>
                  </a:lnTo>
                  <a:lnTo>
                    <a:pt x="317411" y="645160"/>
                  </a:lnTo>
                  <a:lnTo>
                    <a:pt x="296087" y="684784"/>
                  </a:lnTo>
                  <a:lnTo>
                    <a:pt x="281419" y="727976"/>
                  </a:lnTo>
                  <a:lnTo>
                    <a:pt x="274091" y="774039"/>
                  </a:lnTo>
                  <a:lnTo>
                    <a:pt x="266928" y="727811"/>
                  </a:lnTo>
                  <a:lnTo>
                    <a:pt x="252374" y="684441"/>
                  </a:lnTo>
                  <a:lnTo>
                    <a:pt x="238506" y="658507"/>
                  </a:lnTo>
                  <a:lnTo>
                    <a:pt x="231101" y="644652"/>
                  </a:lnTo>
                  <a:lnTo>
                    <a:pt x="203809" y="609117"/>
                  </a:lnTo>
                  <a:lnTo>
                    <a:pt x="186956" y="593318"/>
                  </a:lnTo>
                  <a:lnTo>
                    <a:pt x="171170" y="578510"/>
                  </a:lnTo>
                  <a:lnTo>
                    <a:pt x="146177" y="561784"/>
                  </a:lnTo>
                  <a:lnTo>
                    <a:pt x="133858" y="553529"/>
                  </a:lnTo>
                  <a:lnTo>
                    <a:pt x="92544" y="534847"/>
                  </a:lnTo>
                  <a:lnTo>
                    <a:pt x="47917" y="523113"/>
                  </a:lnTo>
                  <a:lnTo>
                    <a:pt x="0" y="519061"/>
                  </a:lnTo>
                  <a:lnTo>
                    <a:pt x="5448" y="567232"/>
                  </a:lnTo>
                  <a:lnTo>
                    <a:pt x="18846" y="612508"/>
                  </a:lnTo>
                  <a:lnTo>
                    <a:pt x="39458" y="654126"/>
                  </a:lnTo>
                  <a:lnTo>
                    <a:pt x="66560" y="691388"/>
                  </a:lnTo>
                  <a:lnTo>
                    <a:pt x="98717" y="722871"/>
                  </a:lnTo>
                  <a:lnTo>
                    <a:pt x="137261" y="749858"/>
                  </a:lnTo>
                  <a:lnTo>
                    <a:pt x="179387" y="769594"/>
                  </a:lnTo>
                  <a:lnTo>
                    <a:pt x="225056" y="782015"/>
                  </a:lnTo>
                  <a:lnTo>
                    <a:pt x="273532" y="786384"/>
                  </a:lnTo>
                  <a:lnTo>
                    <a:pt x="274764" y="786384"/>
                  </a:lnTo>
                  <a:lnTo>
                    <a:pt x="323100" y="782027"/>
                  </a:lnTo>
                  <a:lnTo>
                    <a:pt x="368655" y="769670"/>
                  </a:lnTo>
                  <a:lnTo>
                    <a:pt x="410692" y="750023"/>
                  </a:lnTo>
                  <a:lnTo>
                    <a:pt x="448475" y="723823"/>
                  </a:lnTo>
                  <a:lnTo>
                    <a:pt x="449287" y="723023"/>
                  </a:lnTo>
                  <a:lnTo>
                    <a:pt x="481279" y="691807"/>
                  </a:lnTo>
                  <a:lnTo>
                    <a:pt x="508393" y="654697"/>
                  </a:lnTo>
                  <a:lnTo>
                    <a:pt x="529043"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139" name="object 137">
              <a:extLst>
                <a:ext uri="{FF2B5EF4-FFF2-40B4-BE49-F238E27FC236}">
                  <a16:creationId xmlns:a16="http://schemas.microsoft.com/office/drawing/2014/main" id="{8180AB42-64F5-2CB6-29E4-FACEBD2E100F}"/>
                </a:ext>
              </a:extLst>
            </p:cNvPr>
            <p:cNvPicPr/>
            <p:nvPr/>
          </p:nvPicPr>
          <p:blipFill>
            <a:blip r:embed="rId10" cstate="print"/>
            <a:stretch>
              <a:fillRect/>
            </a:stretch>
          </p:blipFill>
          <p:spPr>
            <a:xfrm>
              <a:off x="11561989" y="718433"/>
              <a:ext cx="106445" cy="107156"/>
            </a:xfrm>
            <a:prstGeom prst="rect">
              <a:avLst/>
            </a:prstGeom>
          </p:spPr>
        </p:pic>
        <p:sp>
          <p:nvSpPr>
            <p:cNvPr id="140" name="object 138">
              <a:extLst>
                <a:ext uri="{FF2B5EF4-FFF2-40B4-BE49-F238E27FC236}">
                  <a16:creationId xmlns:a16="http://schemas.microsoft.com/office/drawing/2014/main" id="{DBEF02F9-A4DD-0A87-B0FD-4A149361CE24}"/>
                </a:ext>
              </a:extLst>
            </p:cNvPr>
            <p:cNvSpPr/>
            <p:nvPr/>
          </p:nvSpPr>
          <p:spPr>
            <a:xfrm>
              <a:off x="11449331" y="150257"/>
              <a:ext cx="332700" cy="477101"/>
            </a:xfrm>
            <a:custGeom>
              <a:avLst/>
              <a:gdLst/>
              <a:ahLst/>
              <a:cxnLst/>
              <a:rect l="l" t="t" r="r" b="b"/>
              <a:pathLst>
                <a:path w="548640" h="786765">
                  <a:moveTo>
                    <a:pt x="548055" y="266611"/>
                  </a:moveTo>
                  <a:lnTo>
                    <a:pt x="500380" y="270649"/>
                  </a:lnTo>
                  <a:lnTo>
                    <a:pt x="455853" y="282308"/>
                  </a:lnTo>
                  <a:lnTo>
                    <a:pt x="414616" y="300901"/>
                  </a:lnTo>
                  <a:lnTo>
                    <a:pt x="377355" y="325767"/>
                  </a:lnTo>
                  <a:lnTo>
                    <a:pt x="344728" y="356235"/>
                  </a:lnTo>
                  <a:lnTo>
                    <a:pt x="317423" y="391617"/>
                  </a:lnTo>
                  <a:lnTo>
                    <a:pt x="296100" y="431253"/>
                  </a:lnTo>
                  <a:lnTo>
                    <a:pt x="281432" y="474446"/>
                  </a:lnTo>
                  <a:lnTo>
                    <a:pt x="274104" y="520534"/>
                  </a:lnTo>
                  <a:lnTo>
                    <a:pt x="266928" y="474256"/>
                  </a:lnTo>
                  <a:lnTo>
                    <a:pt x="252374" y="430885"/>
                  </a:lnTo>
                  <a:lnTo>
                    <a:pt x="231101" y="391096"/>
                  </a:lnTo>
                  <a:lnTo>
                    <a:pt x="203809" y="355561"/>
                  </a:lnTo>
                  <a:lnTo>
                    <a:pt x="171170" y="324954"/>
                  </a:lnTo>
                  <a:lnTo>
                    <a:pt x="133858" y="299974"/>
                  </a:lnTo>
                  <a:lnTo>
                    <a:pt x="92544" y="281292"/>
                  </a:lnTo>
                  <a:lnTo>
                    <a:pt x="47929" y="269582"/>
                  </a:lnTo>
                  <a:lnTo>
                    <a:pt x="12" y="265531"/>
                  </a:lnTo>
                  <a:lnTo>
                    <a:pt x="5461" y="313690"/>
                  </a:lnTo>
                  <a:lnTo>
                    <a:pt x="18859" y="358952"/>
                  </a:lnTo>
                  <a:lnTo>
                    <a:pt x="39471" y="400583"/>
                  </a:lnTo>
                  <a:lnTo>
                    <a:pt x="66573" y="437832"/>
                  </a:lnTo>
                  <a:lnTo>
                    <a:pt x="99415" y="469988"/>
                  </a:lnTo>
                  <a:lnTo>
                    <a:pt x="137261" y="496303"/>
                  </a:lnTo>
                  <a:lnTo>
                    <a:pt x="179387" y="516039"/>
                  </a:lnTo>
                  <a:lnTo>
                    <a:pt x="225056" y="528459"/>
                  </a:lnTo>
                  <a:lnTo>
                    <a:pt x="273532" y="532828"/>
                  </a:lnTo>
                  <a:lnTo>
                    <a:pt x="274764" y="532828"/>
                  </a:lnTo>
                  <a:lnTo>
                    <a:pt x="323100" y="528472"/>
                  </a:lnTo>
                  <a:lnTo>
                    <a:pt x="368655" y="516115"/>
                  </a:lnTo>
                  <a:lnTo>
                    <a:pt x="410692" y="496468"/>
                  </a:lnTo>
                  <a:lnTo>
                    <a:pt x="448475" y="470268"/>
                  </a:lnTo>
                  <a:lnTo>
                    <a:pt x="481279" y="438251"/>
                  </a:lnTo>
                  <a:lnTo>
                    <a:pt x="508368" y="401154"/>
                  </a:lnTo>
                  <a:lnTo>
                    <a:pt x="529018" y="359689"/>
                  </a:lnTo>
                  <a:lnTo>
                    <a:pt x="542480" y="314604"/>
                  </a:lnTo>
                  <a:lnTo>
                    <a:pt x="548055" y="266611"/>
                  </a:lnTo>
                  <a:close/>
                </a:path>
                <a:path w="548640" h="786765">
                  <a:moveTo>
                    <a:pt x="548055" y="1079"/>
                  </a:moveTo>
                  <a:lnTo>
                    <a:pt x="500380" y="5118"/>
                  </a:lnTo>
                  <a:lnTo>
                    <a:pt x="455853" y="16776"/>
                  </a:lnTo>
                  <a:lnTo>
                    <a:pt x="414616" y="35369"/>
                  </a:lnTo>
                  <a:lnTo>
                    <a:pt x="377355" y="60248"/>
                  </a:lnTo>
                  <a:lnTo>
                    <a:pt x="344728" y="90716"/>
                  </a:lnTo>
                  <a:lnTo>
                    <a:pt x="317423" y="126098"/>
                  </a:lnTo>
                  <a:lnTo>
                    <a:pt x="296100" y="165722"/>
                  </a:lnTo>
                  <a:lnTo>
                    <a:pt x="281432" y="208915"/>
                  </a:lnTo>
                  <a:lnTo>
                    <a:pt x="274104" y="255003"/>
                  </a:lnTo>
                  <a:lnTo>
                    <a:pt x="266928" y="208724"/>
                  </a:lnTo>
                  <a:lnTo>
                    <a:pt x="252374" y="165354"/>
                  </a:lnTo>
                  <a:lnTo>
                    <a:pt x="231101" y="125564"/>
                  </a:lnTo>
                  <a:lnTo>
                    <a:pt x="203809" y="90030"/>
                  </a:lnTo>
                  <a:lnTo>
                    <a:pt x="171170" y="59436"/>
                  </a:lnTo>
                  <a:lnTo>
                    <a:pt x="133858" y="34455"/>
                  </a:lnTo>
                  <a:lnTo>
                    <a:pt x="92544" y="15760"/>
                  </a:lnTo>
                  <a:lnTo>
                    <a:pt x="47929" y="4064"/>
                  </a:lnTo>
                  <a:lnTo>
                    <a:pt x="12" y="0"/>
                  </a:lnTo>
                  <a:lnTo>
                    <a:pt x="5461" y="48171"/>
                  </a:lnTo>
                  <a:lnTo>
                    <a:pt x="18859" y="93433"/>
                  </a:lnTo>
                  <a:lnTo>
                    <a:pt x="39471" y="135051"/>
                  </a:lnTo>
                  <a:lnTo>
                    <a:pt x="66573" y="172313"/>
                  </a:lnTo>
                  <a:lnTo>
                    <a:pt x="99415" y="204457"/>
                  </a:lnTo>
                  <a:lnTo>
                    <a:pt x="137261" y="230771"/>
                  </a:lnTo>
                  <a:lnTo>
                    <a:pt x="179387" y="250507"/>
                  </a:lnTo>
                  <a:lnTo>
                    <a:pt x="225056" y="262928"/>
                  </a:lnTo>
                  <a:lnTo>
                    <a:pt x="273532" y="267309"/>
                  </a:lnTo>
                  <a:lnTo>
                    <a:pt x="274764" y="267309"/>
                  </a:lnTo>
                  <a:lnTo>
                    <a:pt x="323100" y="262953"/>
                  </a:lnTo>
                  <a:lnTo>
                    <a:pt x="368655" y="250583"/>
                  </a:lnTo>
                  <a:lnTo>
                    <a:pt x="410692" y="230936"/>
                  </a:lnTo>
                  <a:lnTo>
                    <a:pt x="448475" y="204736"/>
                  </a:lnTo>
                  <a:lnTo>
                    <a:pt x="481279" y="172732"/>
                  </a:lnTo>
                  <a:lnTo>
                    <a:pt x="508368" y="135623"/>
                  </a:lnTo>
                  <a:lnTo>
                    <a:pt x="529018" y="94157"/>
                  </a:lnTo>
                  <a:lnTo>
                    <a:pt x="542480" y="49072"/>
                  </a:lnTo>
                  <a:lnTo>
                    <a:pt x="548055" y="1079"/>
                  </a:lnTo>
                  <a:close/>
                </a:path>
                <a:path w="548640" h="786765">
                  <a:moveTo>
                    <a:pt x="548093" y="520204"/>
                  </a:moveTo>
                  <a:lnTo>
                    <a:pt x="500380" y="524205"/>
                  </a:lnTo>
                  <a:lnTo>
                    <a:pt x="455853" y="535863"/>
                  </a:lnTo>
                  <a:lnTo>
                    <a:pt x="414616" y="554469"/>
                  </a:lnTo>
                  <a:lnTo>
                    <a:pt x="377355" y="579335"/>
                  </a:lnTo>
                  <a:lnTo>
                    <a:pt x="344728" y="609803"/>
                  </a:lnTo>
                  <a:lnTo>
                    <a:pt x="317411" y="645172"/>
                  </a:lnTo>
                  <a:lnTo>
                    <a:pt x="296087" y="684796"/>
                  </a:lnTo>
                  <a:lnTo>
                    <a:pt x="281419" y="727976"/>
                  </a:lnTo>
                  <a:lnTo>
                    <a:pt x="274091" y="774039"/>
                  </a:lnTo>
                  <a:lnTo>
                    <a:pt x="266928" y="727824"/>
                  </a:lnTo>
                  <a:lnTo>
                    <a:pt x="252374" y="684453"/>
                  </a:lnTo>
                  <a:lnTo>
                    <a:pt x="231101" y="644652"/>
                  </a:lnTo>
                  <a:lnTo>
                    <a:pt x="203809" y="609117"/>
                  </a:lnTo>
                  <a:lnTo>
                    <a:pt x="171170" y="578523"/>
                  </a:lnTo>
                  <a:lnTo>
                    <a:pt x="133858" y="553542"/>
                  </a:lnTo>
                  <a:lnTo>
                    <a:pt x="92532" y="534835"/>
                  </a:lnTo>
                  <a:lnTo>
                    <a:pt x="47917" y="523125"/>
                  </a:lnTo>
                  <a:lnTo>
                    <a:pt x="0" y="519074"/>
                  </a:lnTo>
                  <a:lnTo>
                    <a:pt x="5448" y="567245"/>
                  </a:lnTo>
                  <a:lnTo>
                    <a:pt x="18846" y="612508"/>
                  </a:lnTo>
                  <a:lnTo>
                    <a:pt x="39458" y="654138"/>
                  </a:lnTo>
                  <a:lnTo>
                    <a:pt x="66560" y="691388"/>
                  </a:lnTo>
                  <a:lnTo>
                    <a:pt x="99415" y="723557"/>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141" name="object 139">
              <a:extLst>
                <a:ext uri="{FF2B5EF4-FFF2-40B4-BE49-F238E27FC236}">
                  <a16:creationId xmlns:a16="http://schemas.microsoft.com/office/drawing/2014/main" id="{19F39501-E33D-1E5F-737D-53C6CA5E4687}"/>
                </a:ext>
              </a:extLst>
            </p:cNvPr>
            <p:cNvPicPr/>
            <p:nvPr/>
          </p:nvPicPr>
          <p:blipFill>
            <a:blip r:embed="rId11" cstate="print"/>
            <a:stretch>
              <a:fillRect/>
            </a:stretch>
          </p:blipFill>
          <p:spPr>
            <a:xfrm>
              <a:off x="11561989" y="64269"/>
              <a:ext cx="106445" cy="107156"/>
            </a:xfrm>
            <a:prstGeom prst="rect">
              <a:avLst/>
            </a:prstGeom>
          </p:spPr>
        </p:pic>
        <p:sp>
          <p:nvSpPr>
            <p:cNvPr id="142" name="object 140">
              <a:extLst>
                <a:ext uri="{FF2B5EF4-FFF2-40B4-BE49-F238E27FC236}">
                  <a16:creationId xmlns:a16="http://schemas.microsoft.com/office/drawing/2014/main" id="{8C56D2CD-3176-5B9B-D86E-5928465F1455}"/>
                </a:ext>
              </a:extLst>
            </p:cNvPr>
            <p:cNvSpPr/>
            <p:nvPr/>
          </p:nvSpPr>
          <p:spPr>
            <a:xfrm>
              <a:off x="11449331" y="2112754"/>
              <a:ext cx="332700" cy="477101"/>
            </a:xfrm>
            <a:custGeom>
              <a:avLst/>
              <a:gdLst/>
              <a:ahLst/>
              <a:cxnLst/>
              <a:rect l="l" t="t" r="r" b="b"/>
              <a:pathLst>
                <a:path w="548640" h="786764">
                  <a:moveTo>
                    <a:pt x="548055" y="266611"/>
                  </a:moveTo>
                  <a:lnTo>
                    <a:pt x="500380" y="270649"/>
                  </a:lnTo>
                  <a:lnTo>
                    <a:pt x="455853" y="282308"/>
                  </a:lnTo>
                  <a:lnTo>
                    <a:pt x="414616" y="300901"/>
                  </a:lnTo>
                  <a:lnTo>
                    <a:pt x="377355" y="325780"/>
                  </a:lnTo>
                  <a:lnTo>
                    <a:pt x="344728" y="356247"/>
                  </a:lnTo>
                  <a:lnTo>
                    <a:pt x="317423" y="391629"/>
                  </a:lnTo>
                  <a:lnTo>
                    <a:pt x="296100" y="431253"/>
                  </a:lnTo>
                  <a:lnTo>
                    <a:pt x="281432" y="474446"/>
                  </a:lnTo>
                  <a:lnTo>
                    <a:pt x="274104" y="520534"/>
                  </a:lnTo>
                  <a:lnTo>
                    <a:pt x="266928" y="474256"/>
                  </a:lnTo>
                  <a:lnTo>
                    <a:pt x="252374" y="430885"/>
                  </a:lnTo>
                  <a:lnTo>
                    <a:pt x="231101" y="391096"/>
                  </a:lnTo>
                  <a:lnTo>
                    <a:pt x="203809" y="355561"/>
                  </a:lnTo>
                  <a:lnTo>
                    <a:pt x="171170" y="324967"/>
                  </a:lnTo>
                  <a:lnTo>
                    <a:pt x="133858" y="299986"/>
                  </a:lnTo>
                  <a:lnTo>
                    <a:pt x="92544" y="281292"/>
                  </a:lnTo>
                  <a:lnTo>
                    <a:pt x="47929" y="269582"/>
                  </a:lnTo>
                  <a:lnTo>
                    <a:pt x="12" y="265531"/>
                  </a:lnTo>
                  <a:lnTo>
                    <a:pt x="5461" y="313702"/>
                  </a:lnTo>
                  <a:lnTo>
                    <a:pt x="18859" y="358952"/>
                  </a:lnTo>
                  <a:lnTo>
                    <a:pt x="39471" y="400583"/>
                  </a:lnTo>
                  <a:lnTo>
                    <a:pt x="66573" y="437845"/>
                  </a:lnTo>
                  <a:lnTo>
                    <a:pt x="99415" y="469988"/>
                  </a:lnTo>
                  <a:lnTo>
                    <a:pt x="137261" y="496303"/>
                  </a:lnTo>
                  <a:lnTo>
                    <a:pt x="179387" y="516039"/>
                  </a:lnTo>
                  <a:lnTo>
                    <a:pt x="225056" y="528459"/>
                  </a:lnTo>
                  <a:lnTo>
                    <a:pt x="273532" y="532841"/>
                  </a:lnTo>
                  <a:lnTo>
                    <a:pt x="274764" y="532841"/>
                  </a:lnTo>
                  <a:lnTo>
                    <a:pt x="323100" y="528485"/>
                  </a:lnTo>
                  <a:lnTo>
                    <a:pt x="368655" y="516115"/>
                  </a:lnTo>
                  <a:lnTo>
                    <a:pt x="410692" y="496468"/>
                  </a:lnTo>
                  <a:lnTo>
                    <a:pt x="448475" y="470268"/>
                  </a:lnTo>
                  <a:lnTo>
                    <a:pt x="481279" y="438264"/>
                  </a:lnTo>
                  <a:lnTo>
                    <a:pt x="508368" y="401154"/>
                  </a:lnTo>
                  <a:lnTo>
                    <a:pt x="529018" y="359689"/>
                  </a:lnTo>
                  <a:lnTo>
                    <a:pt x="542480" y="314604"/>
                  </a:lnTo>
                  <a:lnTo>
                    <a:pt x="548055" y="266611"/>
                  </a:lnTo>
                  <a:close/>
                </a:path>
                <a:path w="548640" h="786764">
                  <a:moveTo>
                    <a:pt x="548055" y="1079"/>
                  </a:moveTo>
                  <a:lnTo>
                    <a:pt x="500380" y="5118"/>
                  </a:lnTo>
                  <a:lnTo>
                    <a:pt x="455853" y="16776"/>
                  </a:lnTo>
                  <a:lnTo>
                    <a:pt x="414616" y="35369"/>
                  </a:lnTo>
                  <a:lnTo>
                    <a:pt x="377355" y="60248"/>
                  </a:lnTo>
                  <a:lnTo>
                    <a:pt x="344728" y="90703"/>
                  </a:lnTo>
                  <a:lnTo>
                    <a:pt x="317423" y="126085"/>
                  </a:lnTo>
                  <a:lnTo>
                    <a:pt x="296100" y="165722"/>
                  </a:lnTo>
                  <a:lnTo>
                    <a:pt x="281432" y="208915"/>
                  </a:lnTo>
                  <a:lnTo>
                    <a:pt x="274104" y="255003"/>
                  </a:lnTo>
                  <a:lnTo>
                    <a:pt x="266928" y="208724"/>
                  </a:lnTo>
                  <a:lnTo>
                    <a:pt x="252374" y="165354"/>
                  </a:lnTo>
                  <a:lnTo>
                    <a:pt x="231101" y="125564"/>
                  </a:lnTo>
                  <a:lnTo>
                    <a:pt x="203809" y="90030"/>
                  </a:lnTo>
                  <a:lnTo>
                    <a:pt x="171170" y="59423"/>
                  </a:lnTo>
                  <a:lnTo>
                    <a:pt x="133858" y="34442"/>
                  </a:lnTo>
                  <a:lnTo>
                    <a:pt x="92544" y="15760"/>
                  </a:lnTo>
                  <a:lnTo>
                    <a:pt x="47929" y="4051"/>
                  </a:lnTo>
                  <a:lnTo>
                    <a:pt x="12" y="0"/>
                  </a:lnTo>
                  <a:lnTo>
                    <a:pt x="5461" y="48158"/>
                  </a:lnTo>
                  <a:lnTo>
                    <a:pt x="18859" y="93421"/>
                  </a:lnTo>
                  <a:lnTo>
                    <a:pt x="39471" y="135051"/>
                  </a:lnTo>
                  <a:lnTo>
                    <a:pt x="66573" y="172313"/>
                  </a:lnTo>
                  <a:lnTo>
                    <a:pt x="99415" y="204457"/>
                  </a:lnTo>
                  <a:lnTo>
                    <a:pt x="137261" y="230771"/>
                  </a:lnTo>
                  <a:lnTo>
                    <a:pt x="179387" y="250507"/>
                  </a:lnTo>
                  <a:lnTo>
                    <a:pt x="225056" y="262928"/>
                  </a:lnTo>
                  <a:lnTo>
                    <a:pt x="273532" y="267296"/>
                  </a:lnTo>
                  <a:lnTo>
                    <a:pt x="274764" y="267296"/>
                  </a:lnTo>
                  <a:lnTo>
                    <a:pt x="323100" y="262940"/>
                  </a:lnTo>
                  <a:lnTo>
                    <a:pt x="368655" y="250583"/>
                  </a:lnTo>
                  <a:lnTo>
                    <a:pt x="410692" y="230936"/>
                  </a:lnTo>
                  <a:lnTo>
                    <a:pt x="448475" y="204736"/>
                  </a:lnTo>
                  <a:lnTo>
                    <a:pt x="481279" y="172720"/>
                  </a:lnTo>
                  <a:lnTo>
                    <a:pt x="508368" y="135623"/>
                  </a:lnTo>
                  <a:lnTo>
                    <a:pt x="529018" y="94157"/>
                  </a:lnTo>
                  <a:lnTo>
                    <a:pt x="542480" y="49072"/>
                  </a:lnTo>
                  <a:lnTo>
                    <a:pt x="548055" y="1079"/>
                  </a:lnTo>
                  <a:close/>
                </a:path>
                <a:path w="548640" h="786764">
                  <a:moveTo>
                    <a:pt x="548093" y="520204"/>
                  </a:moveTo>
                  <a:lnTo>
                    <a:pt x="500380" y="524205"/>
                  </a:lnTo>
                  <a:lnTo>
                    <a:pt x="455853" y="535863"/>
                  </a:lnTo>
                  <a:lnTo>
                    <a:pt x="414616" y="554456"/>
                  </a:lnTo>
                  <a:lnTo>
                    <a:pt x="377355" y="579335"/>
                  </a:lnTo>
                  <a:lnTo>
                    <a:pt x="344728" y="609803"/>
                  </a:lnTo>
                  <a:lnTo>
                    <a:pt x="317411" y="645172"/>
                  </a:lnTo>
                  <a:lnTo>
                    <a:pt x="296087" y="684796"/>
                  </a:lnTo>
                  <a:lnTo>
                    <a:pt x="281419" y="727989"/>
                  </a:lnTo>
                  <a:lnTo>
                    <a:pt x="274091" y="774039"/>
                  </a:lnTo>
                  <a:lnTo>
                    <a:pt x="266928" y="727811"/>
                  </a:lnTo>
                  <a:lnTo>
                    <a:pt x="252374" y="684441"/>
                  </a:lnTo>
                  <a:lnTo>
                    <a:pt x="231101" y="644652"/>
                  </a:lnTo>
                  <a:lnTo>
                    <a:pt x="203809" y="609117"/>
                  </a:lnTo>
                  <a:lnTo>
                    <a:pt x="171170" y="578523"/>
                  </a:lnTo>
                  <a:lnTo>
                    <a:pt x="146177" y="561797"/>
                  </a:lnTo>
                  <a:lnTo>
                    <a:pt x="133858" y="553542"/>
                  </a:lnTo>
                  <a:lnTo>
                    <a:pt x="92544" y="534860"/>
                  </a:lnTo>
                  <a:lnTo>
                    <a:pt x="47917" y="523125"/>
                  </a:lnTo>
                  <a:lnTo>
                    <a:pt x="12" y="519087"/>
                  </a:lnTo>
                  <a:lnTo>
                    <a:pt x="5448" y="567245"/>
                  </a:lnTo>
                  <a:lnTo>
                    <a:pt x="18846" y="612508"/>
                  </a:lnTo>
                  <a:lnTo>
                    <a:pt x="39458" y="654138"/>
                  </a:lnTo>
                  <a:lnTo>
                    <a:pt x="66560" y="691400"/>
                  </a:lnTo>
                  <a:lnTo>
                    <a:pt x="99402" y="723544"/>
                  </a:lnTo>
                  <a:lnTo>
                    <a:pt x="125717" y="741832"/>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2DB7EA"/>
            </a:solidFill>
          </p:spPr>
          <p:txBody>
            <a:bodyPr wrap="square" lIns="0" tIns="0" rIns="0" bIns="0" rtlCol="0"/>
            <a:lstStyle/>
            <a:p>
              <a:endParaRPr dirty="0"/>
            </a:p>
          </p:txBody>
        </p:sp>
        <p:pic>
          <p:nvPicPr>
            <p:cNvPr id="143" name="object 141">
              <a:extLst>
                <a:ext uri="{FF2B5EF4-FFF2-40B4-BE49-F238E27FC236}">
                  <a16:creationId xmlns:a16="http://schemas.microsoft.com/office/drawing/2014/main" id="{6E5EC671-01B7-5367-5C32-96F68E4D5CF0}"/>
                </a:ext>
              </a:extLst>
            </p:cNvPr>
            <p:cNvPicPr/>
            <p:nvPr/>
          </p:nvPicPr>
          <p:blipFill>
            <a:blip r:embed="rId10" cstate="print"/>
            <a:stretch>
              <a:fillRect/>
            </a:stretch>
          </p:blipFill>
          <p:spPr>
            <a:xfrm>
              <a:off x="11561989" y="2026765"/>
              <a:ext cx="106445" cy="107156"/>
            </a:xfrm>
            <a:prstGeom prst="rect">
              <a:avLst/>
            </a:prstGeom>
          </p:spPr>
        </p:pic>
        <p:sp>
          <p:nvSpPr>
            <p:cNvPr id="144" name="object 142">
              <a:extLst>
                <a:ext uri="{FF2B5EF4-FFF2-40B4-BE49-F238E27FC236}">
                  <a16:creationId xmlns:a16="http://schemas.microsoft.com/office/drawing/2014/main" id="{F3BB2EBF-17F6-3B56-C7CC-0A7FEBBE399C}"/>
                </a:ext>
              </a:extLst>
            </p:cNvPr>
            <p:cNvSpPr/>
            <p:nvPr/>
          </p:nvSpPr>
          <p:spPr>
            <a:xfrm>
              <a:off x="11449331" y="1458591"/>
              <a:ext cx="332700" cy="477101"/>
            </a:xfrm>
            <a:custGeom>
              <a:avLst/>
              <a:gdLst/>
              <a:ahLst/>
              <a:cxnLst/>
              <a:rect l="l" t="t" r="r" b="b"/>
              <a:pathLst>
                <a:path w="548640" h="786764">
                  <a:moveTo>
                    <a:pt x="548055" y="266611"/>
                  </a:moveTo>
                  <a:lnTo>
                    <a:pt x="500380" y="270649"/>
                  </a:lnTo>
                  <a:lnTo>
                    <a:pt x="455853" y="282295"/>
                  </a:lnTo>
                  <a:lnTo>
                    <a:pt x="414616" y="300901"/>
                  </a:lnTo>
                  <a:lnTo>
                    <a:pt x="377355" y="325767"/>
                  </a:lnTo>
                  <a:lnTo>
                    <a:pt x="344728" y="356235"/>
                  </a:lnTo>
                  <a:lnTo>
                    <a:pt x="317423" y="391617"/>
                  </a:lnTo>
                  <a:lnTo>
                    <a:pt x="296100" y="431241"/>
                  </a:lnTo>
                  <a:lnTo>
                    <a:pt x="281432" y="474446"/>
                  </a:lnTo>
                  <a:lnTo>
                    <a:pt x="274104" y="520522"/>
                  </a:lnTo>
                  <a:lnTo>
                    <a:pt x="266928" y="474256"/>
                  </a:lnTo>
                  <a:lnTo>
                    <a:pt x="252374" y="430885"/>
                  </a:lnTo>
                  <a:lnTo>
                    <a:pt x="231101" y="391083"/>
                  </a:lnTo>
                  <a:lnTo>
                    <a:pt x="203809" y="355549"/>
                  </a:lnTo>
                  <a:lnTo>
                    <a:pt x="171170" y="324954"/>
                  </a:lnTo>
                  <a:lnTo>
                    <a:pt x="133858" y="299974"/>
                  </a:lnTo>
                  <a:lnTo>
                    <a:pt x="92544" y="281292"/>
                  </a:lnTo>
                  <a:lnTo>
                    <a:pt x="47929" y="269582"/>
                  </a:lnTo>
                  <a:lnTo>
                    <a:pt x="12" y="265531"/>
                  </a:lnTo>
                  <a:lnTo>
                    <a:pt x="5461" y="313690"/>
                  </a:lnTo>
                  <a:lnTo>
                    <a:pt x="18859" y="358952"/>
                  </a:lnTo>
                  <a:lnTo>
                    <a:pt x="39471" y="400583"/>
                  </a:lnTo>
                  <a:lnTo>
                    <a:pt x="66573" y="437832"/>
                  </a:lnTo>
                  <a:lnTo>
                    <a:pt x="99415" y="469988"/>
                  </a:lnTo>
                  <a:lnTo>
                    <a:pt x="137261" y="496303"/>
                  </a:lnTo>
                  <a:lnTo>
                    <a:pt x="179387" y="516026"/>
                  </a:lnTo>
                  <a:lnTo>
                    <a:pt x="225056" y="528459"/>
                  </a:lnTo>
                  <a:lnTo>
                    <a:pt x="273532" y="532828"/>
                  </a:lnTo>
                  <a:lnTo>
                    <a:pt x="274764" y="532828"/>
                  </a:lnTo>
                  <a:lnTo>
                    <a:pt x="323100" y="528472"/>
                  </a:lnTo>
                  <a:lnTo>
                    <a:pt x="368655" y="516102"/>
                  </a:lnTo>
                  <a:lnTo>
                    <a:pt x="410692" y="496468"/>
                  </a:lnTo>
                  <a:lnTo>
                    <a:pt x="448475" y="470268"/>
                  </a:lnTo>
                  <a:lnTo>
                    <a:pt x="481279" y="438251"/>
                  </a:lnTo>
                  <a:lnTo>
                    <a:pt x="508368" y="401154"/>
                  </a:lnTo>
                  <a:lnTo>
                    <a:pt x="529018" y="359689"/>
                  </a:lnTo>
                  <a:lnTo>
                    <a:pt x="542480" y="314604"/>
                  </a:lnTo>
                  <a:lnTo>
                    <a:pt x="548055" y="266611"/>
                  </a:lnTo>
                  <a:close/>
                </a:path>
                <a:path w="548640" h="786764">
                  <a:moveTo>
                    <a:pt x="548055" y="1079"/>
                  </a:moveTo>
                  <a:lnTo>
                    <a:pt x="500380" y="5105"/>
                  </a:lnTo>
                  <a:lnTo>
                    <a:pt x="455853" y="16764"/>
                  </a:lnTo>
                  <a:lnTo>
                    <a:pt x="414616" y="35369"/>
                  </a:lnTo>
                  <a:lnTo>
                    <a:pt x="377355" y="60236"/>
                  </a:lnTo>
                  <a:lnTo>
                    <a:pt x="344728" y="90703"/>
                  </a:lnTo>
                  <a:lnTo>
                    <a:pt x="317423" y="126085"/>
                  </a:lnTo>
                  <a:lnTo>
                    <a:pt x="296100" y="165709"/>
                  </a:lnTo>
                  <a:lnTo>
                    <a:pt x="281432" y="208902"/>
                  </a:lnTo>
                  <a:lnTo>
                    <a:pt x="274104" y="254990"/>
                  </a:lnTo>
                  <a:lnTo>
                    <a:pt x="266928" y="208724"/>
                  </a:lnTo>
                  <a:lnTo>
                    <a:pt x="252374" y="165354"/>
                  </a:lnTo>
                  <a:lnTo>
                    <a:pt x="231101" y="125552"/>
                  </a:lnTo>
                  <a:lnTo>
                    <a:pt x="203809" y="90017"/>
                  </a:lnTo>
                  <a:lnTo>
                    <a:pt x="171170" y="59423"/>
                  </a:lnTo>
                  <a:lnTo>
                    <a:pt x="133858" y="34442"/>
                  </a:lnTo>
                  <a:lnTo>
                    <a:pt x="92544" y="15760"/>
                  </a:lnTo>
                  <a:lnTo>
                    <a:pt x="47929" y="4051"/>
                  </a:lnTo>
                  <a:lnTo>
                    <a:pt x="12" y="0"/>
                  </a:lnTo>
                  <a:lnTo>
                    <a:pt x="5461" y="48158"/>
                  </a:lnTo>
                  <a:lnTo>
                    <a:pt x="18859" y="93421"/>
                  </a:lnTo>
                  <a:lnTo>
                    <a:pt x="39471" y="135051"/>
                  </a:lnTo>
                  <a:lnTo>
                    <a:pt x="66573" y="172300"/>
                  </a:lnTo>
                  <a:lnTo>
                    <a:pt x="99415" y="204457"/>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36"/>
                  </a:lnTo>
                  <a:lnTo>
                    <a:pt x="481279" y="172720"/>
                  </a:lnTo>
                  <a:lnTo>
                    <a:pt x="508368" y="135623"/>
                  </a:lnTo>
                  <a:lnTo>
                    <a:pt x="529018" y="94157"/>
                  </a:lnTo>
                  <a:lnTo>
                    <a:pt x="542480" y="49060"/>
                  </a:lnTo>
                  <a:lnTo>
                    <a:pt x="548055" y="1079"/>
                  </a:lnTo>
                  <a:close/>
                </a:path>
                <a:path w="548640" h="786764">
                  <a:moveTo>
                    <a:pt x="548093" y="520192"/>
                  </a:moveTo>
                  <a:lnTo>
                    <a:pt x="500380" y="524205"/>
                  </a:lnTo>
                  <a:lnTo>
                    <a:pt x="455853" y="535863"/>
                  </a:lnTo>
                  <a:lnTo>
                    <a:pt x="414616" y="554456"/>
                  </a:lnTo>
                  <a:lnTo>
                    <a:pt x="377355" y="579335"/>
                  </a:lnTo>
                  <a:lnTo>
                    <a:pt x="344728" y="609790"/>
                  </a:lnTo>
                  <a:lnTo>
                    <a:pt x="317411" y="645172"/>
                  </a:lnTo>
                  <a:lnTo>
                    <a:pt x="296087" y="684784"/>
                  </a:lnTo>
                  <a:lnTo>
                    <a:pt x="281419" y="727976"/>
                  </a:lnTo>
                  <a:lnTo>
                    <a:pt x="274091" y="774039"/>
                  </a:lnTo>
                  <a:lnTo>
                    <a:pt x="266928" y="727811"/>
                  </a:lnTo>
                  <a:lnTo>
                    <a:pt x="252374" y="684441"/>
                  </a:lnTo>
                  <a:lnTo>
                    <a:pt x="231101" y="644652"/>
                  </a:lnTo>
                  <a:lnTo>
                    <a:pt x="203809" y="609117"/>
                  </a:lnTo>
                  <a:lnTo>
                    <a:pt x="171170" y="578510"/>
                  </a:lnTo>
                  <a:lnTo>
                    <a:pt x="133858" y="553529"/>
                  </a:lnTo>
                  <a:lnTo>
                    <a:pt x="115163" y="545084"/>
                  </a:lnTo>
                  <a:lnTo>
                    <a:pt x="92544" y="534847"/>
                  </a:lnTo>
                  <a:lnTo>
                    <a:pt x="47929" y="523138"/>
                  </a:lnTo>
                  <a:lnTo>
                    <a:pt x="0" y="519061"/>
                  </a:lnTo>
                  <a:lnTo>
                    <a:pt x="5448" y="567245"/>
                  </a:lnTo>
                  <a:lnTo>
                    <a:pt x="18846" y="612508"/>
                  </a:lnTo>
                  <a:lnTo>
                    <a:pt x="39458" y="654138"/>
                  </a:lnTo>
                  <a:lnTo>
                    <a:pt x="66560" y="691388"/>
                  </a:lnTo>
                  <a:lnTo>
                    <a:pt x="67259" y="692073"/>
                  </a:lnTo>
                  <a:lnTo>
                    <a:pt x="99402" y="723544"/>
                  </a:lnTo>
                  <a:lnTo>
                    <a:pt x="125717" y="741832"/>
                  </a:lnTo>
                  <a:lnTo>
                    <a:pt x="137261" y="749858"/>
                  </a:lnTo>
                  <a:lnTo>
                    <a:pt x="179387" y="769594"/>
                  </a:lnTo>
                  <a:lnTo>
                    <a:pt x="225056" y="782015"/>
                  </a:lnTo>
                  <a:lnTo>
                    <a:pt x="273532" y="786384"/>
                  </a:lnTo>
                  <a:lnTo>
                    <a:pt x="274764" y="786384"/>
                  </a:lnTo>
                  <a:lnTo>
                    <a:pt x="323100" y="782027"/>
                  </a:lnTo>
                  <a:lnTo>
                    <a:pt x="368655" y="769670"/>
                  </a:lnTo>
                  <a:lnTo>
                    <a:pt x="410692" y="750023"/>
                  </a:lnTo>
                  <a:lnTo>
                    <a:pt x="448475" y="723823"/>
                  </a:lnTo>
                  <a:lnTo>
                    <a:pt x="449287" y="723023"/>
                  </a:lnTo>
                  <a:lnTo>
                    <a:pt x="481279" y="691807"/>
                  </a:lnTo>
                  <a:lnTo>
                    <a:pt x="508393" y="654697"/>
                  </a:lnTo>
                  <a:lnTo>
                    <a:pt x="529043" y="613244"/>
                  </a:lnTo>
                  <a:lnTo>
                    <a:pt x="542531" y="568172"/>
                  </a:lnTo>
                  <a:lnTo>
                    <a:pt x="548093" y="520192"/>
                  </a:lnTo>
                  <a:close/>
                </a:path>
              </a:pathLst>
            </a:custGeom>
            <a:solidFill>
              <a:srgbClr val="7ED3F1"/>
            </a:solidFill>
          </p:spPr>
          <p:txBody>
            <a:bodyPr wrap="square" lIns="0" tIns="0" rIns="0" bIns="0" rtlCol="0"/>
            <a:lstStyle/>
            <a:p>
              <a:endParaRPr dirty="0"/>
            </a:p>
          </p:txBody>
        </p:sp>
        <p:pic>
          <p:nvPicPr>
            <p:cNvPr id="145" name="object 143">
              <a:extLst>
                <a:ext uri="{FF2B5EF4-FFF2-40B4-BE49-F238E27FC236}">
                  <a16:creationId xmlns:a16="http://schemas.microsoft.com/office/drawing/2014/main" id="{F00DCDCC-22D3-9534-FAAA-295C7318D16D}"/>
                </a:ext>
              </a:extLst>
            </p:cNvPr>
            <p:cNvPicPr/>
            <p:nvPr/>
          </p:nvPicPr>
          <p:blipFill>
            <a:blip r:embed="rId11" cstate="print"/>
            <a:stretch>
              <a:fillRect/>
            </a:stretch>
          </p:blipFill>
          <p:spPr>
            <a:xfrm>
              <a:off x="11561989" y="1372599"/>
              <a:ext cx="106445" cy="107156"/>
            </a:xfrm>
            <a:prstGeom prst="rect">
              <a:avLst/>
            </a:prstGeom>
          </p:spPr>
        </p:pic>
        <p:sp>
          <p:nvSpPr>
            <p:cNvPr id="146" name="object 144">
              <a:extLst>
                <a:ext uri="{FF2B5EF4-FFF2-40B4-BE49-F238E27FC236}">
                  <a16:creationId xmlns:a16="http://schemas.microsoft.com/office/drawing/2014/main" id="{6F044675-C36B-6CBA-ED6A-BFFAC41963B0}"/>
                </a:ext>
              </a:extLst>
            </p:cNvPr>
            <p:cNvSpPr/>
            <p:nvPr/>
          </p:nvSpPr>
          <p:spPr>
            <a:xfrm>
              <a:off x="11449331" y="3421088"/>
              <a:ext cx="332700" cy="477101"/>
            </a:xfrm>
            <a:custGeom>
              <a:avLst/>
              <a:gdLst/>
              <a:ahLst/>
              <a:cxnLst/>
              <a:rect l="l" t="t" r="r" b="b"/>
              <a:pathLst>
                <a:path w="548640" h="786764">
                  <a:moveTo>
                    <a:pt x="548055" y="266611"/>
                  </a:moveTo>
                  <a:lnTo>
                    <a:pt x="500380" y="270637"/>
                  </a:lnTo>
                  <a:lnTo>
                    <a:pt x="455853" y="282295"/>
                  </a:lnTo>
                  <a:lnTo>
                    <a:pt x="414616" y="300901"/>
                  </a:lnTo>
                  <a:lnTo>
                    <a:pt x="377355" y="325767"/>
                  </a:lnTo>
                  <a:lnTo>
                    <a:pt x="344728" y="356235"/>
                  </a:lnTo>
                  <a:lnTo>
                    <a:pt x="317423" y="391617"/>
                  </a:lnTo>
                  <a:lnTo>
                    <a:pt x="296100" y="431241"/>
                  </a:lnTo>
                  <a:lnTo>
                    <a:pt x="281432" y="474433"/>
                  </a:lnTo>
                  <a:lnTo>
                    <a:pt x="274104" y="520522"/>
                  </a:lnTo>
                  <a:lnTo>
                    <a:pt x="266928" y="474256"/>
                  </a:lnTo>
                  <a:lnTo>
                    <a:pt x="252374" y="430885"/>
                  </a:lnTo>
                  <a:lnTo>
                    <a:pt x="231101" y="391083"/>
                  </a:lnTo>
                  <a:lnTo>
                    <a:pt x="203809" y="355549"/>
                  </a:lnTo>
                  <a:lnTo>
                    <a:pt x="171170" y="324954"/>
                  </a:lnTo>
                  <a:lnTo>
                    <a:pt x="133858" y="299974"/>
                  </a:lnTo>
                  <a:lnTo>
                    <a:pt x="92544" y="281292"/>
                  </a:lnTo>
                  <a:lnTo>
                    <a:pt x="47929" y="269582"/>
                  </a:lnTo>
                  <a:lnTo>
                    <a:pt x="12" y="265531"/>
                  </a:lnTo>
                  <a:lnTo>
                    <a:pt x="5461" y="313690"/>
                  </a:lnTo>
                  <a:lnTo>
                    <a:pt x="18859" y="358952"/>
                  </a:lnTo>
                  <a:lnTo>
                    <a:pt x="39471" y="400570"/>
                  </a:lnTo>
                  <a:lnTo>
                    <a:pt x="66573" y="437832"/>
                  </a:lnTo>
                  <a:lnTo>
                    <a:pt x="99415" y="469976"/>
                  </a:lnTo>
                  <a:lnTo>
                    <a:pt x="137261" y="496290"/>
                  </a:lnTo>
                  <a:lnTo>
                    <a:pt x="179387" y="516026"/>
                  </a:lnTo>
                  <a:lnTo>
                    <a:pt x="225056" y="528447"/>
                  </a:lnTo>
                  <a:lnTo>
                    <a:pt x="273532" y="532828"/>
                  </a:lnTo>
                  <a:lnTo>
                    <a:pt x="274764" y="532828"/>
                  </a:lnTo>
                  <a:lnTo>
                    <a:pt x="323100" y="528472"/>
                  </a:lnTo>
                  <a:lnTo>
                    <a:pt x="368655" y="516102"/>
                  </a:lnTo>
                  <a:lnTo>
                    <a:pt x="410692" y="496455"/>
                  </a:lnTo>
                  <a:lnTo>
                    <a:pt x="448475" y="470255"/>
                  </a:lnTo>
                  <a:lnTo>
                    <a:pt x="481279" y="438251"/>
                  </a:lnTo>
                  <a:lnTo>
                    <a:pt x="508368" y="401142"/>
                  </a:lnTo>
                  <a:lnTo>
                    <a:pt x="529018" y="359689"/>
                  </a:lnTo>
                  <a:lnTo>
                    <a:pt x="542480" y="314591"/>
                  </a:lnTo>
                  <a:lnTo>
                    <a:pt x="548055" y="266611"/>
                  </a:lnTo>
                  <a:close/>
                </a:path>
                <a:path w="548640" h="786764">
                  <a:moveTo>
                    <a:pt x="548055" y="1079"/>
                  </a:moveTo>
                  <a:lnTo>
                    <a:pt x="500380" y="5118"/>
                  </a:lnTo>
                  <a:lnTo>
                    <a:pt x="455853" y="16764"/>
                  </a:lnTo>
                  <a:lnTo>
                    <a:pt x="414616" y="35369"/>
                  </a:lnTo>
                  <a:lnTo>
                    <a:pt x="377355" y="60236"/>
                  </a:lnTo>
                  <a:lnTo>
                    <a:pt x="344728" y="90703"/>
                  </a:lnTo>
                  <a:lnTo>
                    <a:pt x="317423" y="126085"/>
                  </a:lnTo>
                  <a:lnTo>
                    <a:pt x="296100" y="165709"/>
                  </a:lnTo>
                  <a:lnTo>
                    <a:pt x="281432" y="208915"/>
                  </a:lnTo>
                  <a:lnTo>
                    <a:pt x="274104" y="254990"/>
                  </a:lnTo>
                  <a:lnTo>
                    <a:pt x="266928" y="208724"/>
                  </a:lnTo>
                  <a:lnTo>
                    <a:pt x="252374" y="165354"/>
                  </a:lnTo>
                  <a:lnTo>
                    <a:pt x="231101" y="125552"/>
                  </a:lnTo>
                  <a:lnTo>
                    <a:pt x="203809" y="90017"/>
                  </a:lnTo>
                  <a:lnTo>
                    <a:pt x="171170" y="59423"/>
                  </a:lnTo>
                  <a:lnTo>
                    <a:pt x="133858" y="34442"/>
                  </a:lnTo>
                  <a:lnTo>
                    <a:pt x="92544" y="15760"/>
                  </a:lnTo>
                  <a:lnTo>
                    <a:pt x="47929" y="4051"/>
                  </a:lnTo>
                  <a:lnTo>
                    <a:pt x="12" y="0"/>
                  </a:lnTo>
                  <a:lnTo>
                    <a:pt x="5461" y="48158"/>
                  </a:lnTo>
                  <a:lnTo>
                    <a:pt x="18859" y="93421"/>
                  </a:lnTo>
                  <a:lnTo>
                    <a:pt x="39471" y="135051"/>
                  </a:lnTo>
                  <a:lnTo>
                    <a:pt x="66573" y="172300"/>
                  </a:lnTo>
                  <a:lnTo>
                    <a:pt x="99415" y="204457"/>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36"/>
                  </a:lnTo>
                  <a:lnTo>
                    <a:pt x="481279" y="172720"/>
                  </a:lnTo>
                  <a:lnTo>
                    <a:pt x="508368" y="135623"/>
                  </a:lnTo>
                  <a:lnTo>
                    <a:pt x="529018" y="94157"/>
                  </a:lnTo>
                  <a:lnTo>
                    <a:pt x="542480" y="49072"/>
                  </a:lnTo>
                  <a:lnTo>
                    <a:pt x="548055" y="1079"/>
                  </a:lnTo>
                  <a:close/>
                </a:path>
                <a:path w="548640" h="786764">
                  <a:moveTo>
                    <a:pt x="548093" y="520192"/>
                  </a:moveTo>
                  <a:lnTo>
                    <a:pt x="500380" y="524217"/>
                  </a:lnTo>
                  <a:lnTo>
                    <a:pt x="455853" y="535863"/>
                  </a:lnTo>
                  <a:lnTo>
                    <a:pt x="414616" y="554469"/>
                  </a:lnTo>
                  <a:lnTo>
                    <a:pt x="377355" y="579335"/>
                  </a:lnTo>
                  <a:lnTo>
                    <a:pt x="344728" y="609790"/>
                  </a:lnTo>
                  <a:lnTo>
                    <a:pt x="317411" y="645172"/>
                  </a:lnTo>
                  <a:lnTo>
                    <a:pt x="296087" y="684784"/>
                  </a:lnTo>
                  <a:lnTo>
                    <a:pt x="281419" y="727976"/>
                  </a:lnTo>
                  <a:lnTo>
                    <a:pt x="274091" y="774039"/>
                  </a:lnTo>
                  <a:lnTo>
                    <a:pt x="266928" y="727811"/>
                  </a:lnTo>
                  <a:lnTo>
                    <a:pt x="252374" y="684441"/>
                  </a:lnTo>
                  <a:lnTo>
                    <a:pt x="231101" y="644652"/>
                  </a:lnTo>
                  <a:lnTo>
                    <a:pt x="203809" y="609117"/>
                  </a:lnTo>
                  <a:lnTo>
                    <a:pt x="186956" y="593318"/>
                  </a:lnTo>
                  <a:lnTo>
                    <a:pt x="171170" y="578510"/>
                  </a:lnTo>
                  <a:lnTo>
                    <a:pt x="146177" y="561784"/>
                  </a:lnTo>
                  <a:lnTo>
                    <a:pt x="133858" y="553529"/>
                  </a:lnTo>
                  <a:lnTo>
                    <a:pt x="92544" y="534847"/>
                  </a:lnTo>
                  <a:lnTo>
                    <a:pt x="47929" y="523138"/>
                  </a:lnTo>
                  <a:lnTo>
                    <a:pt x="0" y="519061"/>
                  </a:lnTo>
                  <a:lnTo>
                    <a:pt x="5448" y="567232"/>
                  </a:lnTo>
                  <a:lnTo>
                    <a:pt x="18846" y="612508"/>
                  </a:lnTo>
                  <a:lnTo>
                    <a:pt x="39458" y="654138"/>
                  </a:lnTo>
                  <a:lnTo>
                    <a:pt x="66560" y="691388"/>
                  </a:lnTo>
                  <a:lnTo>
                    <a:pt x="99415" y="723544"/>
                  </a:lnTo>
                  <a:lnTo>
                    <a:pt x="137261" y="749858"/>
                  </a:lnTo>
                  <a:lnTo>
                    <a:pt x="179387" y="769594"/>
                  </a:lnTo>
                  <a:lnTo>
                    <a:pt x="225056" y="782015"/>
                  </a:lnTo>
                  <a:lnTo>
                    <a:pt x="273532" y="786384"/>
                  </a:lnTo>
                  <a:lnTo>
                    <a:pt x="274764" y="786384"/>
                  </a:lnTo>
                  <a:lnTo>
                    <a:pt x="323100" y="782027"/>
                  </a:lnTo>
                  <a:lnTo>
                    <a:pt x="368655" y="769670"/>
                  </a:lnTo>
                  <a:lnTo>
                    <a:pt x="410692" y="750023"/>
                  </a:lnTo>
                  <a:lnTo>
                    <a:pt x="448475" y="723823"/>
                  </a:lnTo>
                  <a:lnTo>
                    <a:pt x="481279" y="691819"/>
                  </a:lnTo>
                  <a:lnTo>
                    <a:pt x="508393" y="654697"/>
                  </a:lnTo>
                  <a:lnTo>
                    <a:pt x="529043"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147" name="object 145">
              <a:extLst>
                <a:ext uri="{FF2B5EF4-FFF2-40B4-BE49-F238E27FC236}">
                  <a16:creationId xmlns:a16="http://schemas.microsoft.com/office/drawing/2014/main" id="{466E1805-F429-5E3B-438F-2EB2BD3F9296}"/>
                </a:ext>
              </a:extLst>
            </p:cNvPr>
            <p:cNvPicPr/>
            <p:nvPr/>
          </p:nvPicPr>
          <p:blipFill>
            <a:blip r:embed="rId10" cstate="print"/>
            <a:stretch>
              <a:fillRect/>
            </a:stretch>
          </p:blipFill>
          <p:spPr>
            <a:xfrm>
              <a:off x="11561989" y="3335097"/>
              <a:ext cx="106445" cy="107156"/>
            </a:xfrm>
            <a:prstGeom prst="rect">
              <a:avLst/>
            </a:prstGeom>
          </p:spPr>
        </p:pic>
        <p:sp>
          <p:nvSpPr>
            <p:cNvPr id="148" name="object 146">
              <a:extLst>
                <a:ext uri="{FF2B5EF4-FFF2-40B4-BE49-F238E27FC236}">
                  <a16:creationId xmlns:a16="http://schemas.microsoft.com/office/drawing/2014/main" id="{B1D96D72-ACA7-E5BE-5433-6FACB8BE8686}"/>
                </a:ext>
              </a:extLst>
            </p:cNvPr>
            <p:cNvSpPr/>
            <p:nvPr/>
          </p:nvSpPr>
          <p:spPr>
            <a:xfrm>
              <a:off x="11449331" y="2766918"/>
              <a:ext cx="332700" cy="477101"/>
            </a:xfrm>
            <a:custGeom>
              <a:avLst/>
              <a:gdLst/>
              <a:ahLst/>
              <a:cxnLst/>
              <a:rect l="l" t="t" r="r" b="b"/>
              <a:pathLst>
                <a:path w="548640" h="786764">
                  <a:moveTo>
                    <a:pt x="548055" y="266611"/>
                  </a:moveTo>
                  <a:lnTo>
                    <a:pt x="500380" y="270649"/>
                  </a:lnTo>
                  <a:lnTo>
                    <a:pt x="455853" y="282308"/>
                  </a:lnTo>
                  <a:lnTo>
                    <a:pt x="414616" y="300901"/>
                  </a:lnTo>
                  <a:lnTo>
                    <a:pt x="377355" y="325780"/>
                  </a:lnTo>
                  <a:lnTo>
                    <a:pt x="344728" y="356247"/>
                  </a:lnTo>
                  <a:lnTo>
                    <a:pt x="317423" y="391629"/>
                  </a:lnTo>
                  <a:lnTo>
                    <a:pt x="296100" y="431253"/>
                  </a:lnTo>
                  <a:lnTo>
                    <a:pt x="281432" y="474446"/>
                  </a:lnTo>
                  <a:lnTo>
                    <a:pt x="274104" y="520534"/>
                  </a:lnTo>
                  <a:lnTo>
                    <a:pt x="266928" y="474256"/>
                  </a:lnTo>
                  <a:lnTo>
                    <a:pt x="252374" y="430885"/>
                  </a:lnTo>
                  <a:lnTo>
                    <a:pt x="231101" y="391096"/>
                  </a:lnTo>
                  <a:lnTo>
                    <a:pt x="203809" y="355561"/>
                  </a:lnTo>
                  <a:lnTo>
                    <a:pt x="171170" y="324967"/>
                  </a:lnTo>
                  <a:lnTo>
                    <a:pt x="133858" y="299986"/>
                  </a:lnTo>
                  <a:lnTo>
                    <a:pt x="92544" y="281292"/>
                  </a:lnTo>
                  <a:lnTo>
                    <a:pt x="47929" y="269582"/>
                  </a:lnTo>
                  <a:lnTo>
                    <a:pt x="12" y="265531"/>
                  </a:lnTo>
                  <a:lnTo>
                    <a:pt x="5461" y="313702"/>
                  </a:lnTo>
                  <a:lnTo>
                    <a:pt x="18859" y="358952"/>
                  </a:lnTo>
                  <a:lnTo>
                    <a:pt x="39471" y="400583"/>
                  </a:lnTo>
                  <a:lnTo>
                    <a:pt x="66573" y="437845"/>
                  </a:lnTo>
                  <a:lnTo>
                    <a:pt x="99415" y="469988"/>
                  </a:lnTo>
                  <a:lnTo>
                    <a:pt x="137261" y="496303"/>
                  </a:lnTo>
                  <a:lnTo>
                    <a:pt x="179387" y="516039"/>
                  </a:lnTo>
                  <a:lnTo>
                    <a:pt x="225056" y="528459"/>
                  </a:lnTo>
                  <a:lnTo>
                    <a:pt x="273532" y="532841"/>
                  </a:lnTo>
                  <a:lnTo>
                    <a:pt x="274764" y="532841"/>
                  </a:lnTo>
                  <a:lnTo>
                    <a:pt x="323100" y="528485"/>
                  </a:lnTo>
                  <a:lnTo>
                    <a:pt x="368655" y="516115"/>
                  </a:lnTo>
                  <a:lnTo>
                    <a:pt x="410692" y="496468"/>
                  </a:lnTo>
                  <a:lnTo>
                    <a:pt x="448475" y="470268"/>
                  </a:lnTo>
                  <a:lnTo>
                    <a:pt x="481279" y="438264"/>
                  </a:lnTo>
                  <a:lnTo>
                    <a:pt x="508368" y="401154"/>
                  </a:lnTo>
                  <a:lnTo>
                    <a:pt x="529018" y="359689"/>
                  </a:lnTo>
                  <a:lnTo>
                    <a:pt x="542480" y="314604"/>
                  </a:lnTo>
                  <a:lnTo>
                    <a:pt x="548055" y="266611"/>
                  </a:lnTo>
                  <a:close/>
                </a:path>
                <a:path w="548640" h="786764">
                  <a:moveTo>
                    <a:pt x="548055" y="1079"/>
                  </a:moveTo>
                  <a:lnTo>
                    <a:pt x="500380" y="5118"/>
                  </a:lnTo>
                  <a:lnTo>
                    <a:pt x="455853" y="16776"/>
                  </a:lnTo>
                  <a:lnTo>
                    <a:pt x="414616" y="35369"/>
                  </a:lnTo>
                  <a:lnTo>
                    <a:pt x="377355" y="60248"/>
                  </a:lnTo>
                  <a:lnTo>
                    <a:pt x="344728" y="90716"/>
                  </a:lnTo>
                  <a:lnTo>
                    <a:pt x="317423" y="126098"/>
                  </a:lnTo>
                  <a:lnTo>
                    <a:pt x="296100" y="165722"/>
                  </a:lnTo>
                  <a:lnTo>
                    <a:pt x="281432" y="208915"/>
                  </a:lnTo>
                  <a:lnTo>
                    <a:pt x="274104" y="255003"/>
                  </a:lnTo>
                  <a:lnTo>
                    <a:pt x="266928" y="208724"/>
                  </a:lnTo>
                  <a:lnTo>
                    <a:pt x="252374" y="165354"/>
                  </a:lnTo>
                  <a:lnTo>
                    <a:pt x="231101" y="125564"/>
                  </a:lnTo>
                  <a:lnTo>
                    <a:pt x="203809" y="90030"/>
                  </a:lnTo>
                  <a:lnTo>
                    <a:pt x="171170" y="59436"/>
                  </a:lnTo>
                  <a:lnTo>
                    <a:pt x="133858" y="34455"/>
                  </a:lnTo>
                  <a:lnTo>
                    <a:pt x="92544" y="15773"/>
                  </a:lnTo>
                  <a:lnTo>
                    <a:pt x="47929" y="4064"/>
                  </a:lnTo>
                  <a:lnTo>
                    <a:pt x="12" y="0"/>
                  </a:lnTo>
                  <a:lnTo>
                    <a:pt x="5461" y="48171"/>
                  </a:lnTo>
                  <a:lnTo>
                    <a:pt x="18859" y="93433"/>
                  </a:lnTo>
                  <a:lnTo>
                    <a:pt x="39471" y="135051"/>
                  </a:lnTo>
                  <a:lnTo>
                    <a:pt x="66573" y="172313"/>
                  </a:lnTo>
                  <a:lnTo>
                    <a:pt x="99415" y="204457"/>
                  </a:lnTo>
                  <a:lnTo>
                    <a:pt x="137261" y="230771"/>
                  </a:lnTo>
                  <a:lnTo>
                    <a:pt x="179387" y="250507"/>
                  </a:lnTo>
                  <a:lnTo>
                    <a:pt x="225056" y="262928"/>
                  </a:lnTo>
                  <a:lnTo>
                    <a:pt x="273532" y="267309"/>
                  </a:lnTo>
                  <a:lnTo>
                    <a:pt x="274764" y="267309"/>
                  </a:lnTo>
                  <a:lnTo>
                    <a:pt x="323100" y="262953"/>
                  </a:lnTo>
                  <a:lnTo>
                    <a:pt x="368655" y="250583"/>
                  </a:lnTo>
                  <a:lnTo>
                    <a:pt x="410692" y="230936"/>
                  </a:lnTo>
                  <a:lnTo>
                    <a:pt x="448475" y="204749"/>
                  </a:lnTo>
                  <a:lnTo>
                    <a:pt x="481279" y="172732"/>
                  </a:lnTo>
                  <a:lnTo>
                    <a:pt x="508368" y="135623"/>
                  </a:lnTo>
                  <a:lnTo>
                    <a:pt x="529018" y="94157"/>
                  </a:lnTo>
                  <a:lnTo>
                    <a:pt x="542480" y="49072"/>
                  </a:lnTo>
                  <a:lnTo>
                    <a:pt x="548055" y="1079"/>
                  </a:lnTo>
                  <a:close/>
                </a:path>
                <a:path w="548640" h="786764">
                  <a:moveTo>
                    <a:pt x="548093" y="520204"/>
                  </a:moveTo>
                  <a:lnTo>
                    <a:pt x="500380" y="524205"/>
                  </a:lnTo>
                  <a:lnTo>
                    <a:pt x="455853" y="535863"/>
                  </a:lnTo>
                  <a:lnTo>
                    <a:pt x="414616" y="554469"/>
                  </a:lnTo>
                  <a:lnTo>
                    <a:pt x="377355" y="579335"/>
                  </a:lnTo>
                  <a:lnTo>
                    <a:pt x="344728" y="609803"/>
                  </a:lnTo>
                  <a:lnTo>
                    <a:pt x="317411" y="645172"/>
                  </a:lnTo>
                  <a:lnTo>
                    <a:pt x="296087" y="684796"/>
                  </a:lnTo>
                  <a:lnTo>
                    <a:pt x="281419" y="727989"/>
                  </a:lnTo>
                  <a:lnTo>
                    <a:pt x="274091" y="774039"/>
                  </a:lnTo>
                  <a:lnTo>
                    <a:pt x="266928" y="727824"/>
                  </a:lnTo>
                  <a:lnTo>
                    <a:pt x="252374" y="684453"/>
                  </a:lnTo>
                  <a:lnTo>
                    <a:pt x="231101" y="644652"/>
                  </a:lnTo>
                  <a:lnTo>
                    <a:pt x="203809" y="609117"/>
                  </a:lnTo>
                  <a:lnTo>
                    <a:pt x="171170" y="578523"/>
                  </a:lnTo>
                  <a:lnTo>
                    <a:pt x="146177" y="561797"/>
                  </a:lnTo>
                  <a:lnTo>
                    <a:pt x="133858" y="553542"/>
                  </a:lnTo>
                  <a:lnTo>
                    <a:pt x="92532" y="534835"/>
                  </a:lnTo>
                  <a:lnTo>
                    <a:pt x="47917" y="523125"/>
                  </a:lnTo>
                  <a:lnTo>
                    <a:pt x="0" y="519074"/>
                  </a:lnTo>
                  <a:lnTo>
                    <a:pt x="5448" y="567245"/>
                  </a:lnTo>
                  <a:lnTo>
                    <a:pt x="18846" y="612508"/>
                  </a:lnTo>
                  <a:lnTo>
                    <a:pt x="39458" y="654138"/>
                  </a:lnTo>
                  <a:lnTo>
                    <a:pt x="66560" y="691400"/>
                  </a:lnTo>
                  <a:lnTo>
                    <a:pt x="98717" y="722884"/>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149" name="object 147">
              <a:extLst>
                <a:ext uri="{FF2B5EF4-FFF2-40B4-BE49-F238E27FC236}">
                  <a16:creationId xmlns:a16="http://schemas.microsoft.com/office/drawing/2014/main" id="{665CBAE8-F00E-DC15-FB2B-42BEF64CC28E}"/>
                </a:ext>
              </a:extLst>
            </p:cNvPr>
            <p:cNvPicPr/>
            <p:nvPr/>
          </p:nvPicPr>
          <p:blipFill>
            <a:blip r:embed="rId11" cstate="print"/>
            <a:stretch>
              <a:fillRect/>
            </a:stretch>
          </p:blipFill>
          <p:spPr>
            <a:xfrm>
              <a:off x="11561989" y="2680931"/>
              <a:ext cx="106445" cy="107156"/>
            </a:xfrm>
            <a:prstGeom prst="rect">
              <a:avLst/>
            </a:prstGeom>
          </p:spPr>
        </p:pic>
        <p:sp>
          <p:nvSpPr>
            <p:cNvPr id="150" name="object 148">
              <a:extLst>
                <a:ext uri="{FF2B5EF4-FFF2-40B4-BE49-F238E27FC236}">
                  <a16:creationId xmlns:a16="http://schemas.microsoft.com/office/drawing/2014/main" id="{32942474-BEF8-F091-CCCA-F9E7B86B795A}"/>
                </a:ext>
              </a:extLst>
            </p:cNvPr>
            <p:cNvSpPr/>
            <p:nvPr/>
          </p:nvSpPr>
          <p:spPr>
            <a:xfrm>
              <a:off x="11449331" y="4729423"/>
              <a:ext cx="332700" cy="477101"/>
            </a:xfrm>
            <a:custGeom>
              <a:avLst/>
              <a:gdLst/>
              <a:ahLst/>
              <a:cxnLst/>
              <a:rect l="l" t="t" r="r" b="b"/>
              <a:pathLst>
                <a:path w="548640" h="786765">
                  <a:moveTo>
                    <a:pt x="548055" y="266611"/>
                  </a:moveTo>
                  <a:lnTo>
                    <a:pt x="500380" y="270649"/>
                  </a:lnTo>
                  <a:lnTo>
                    <a:pt x="455853" y="282308"/>
                  </a:lnTo>
                  <a:lnTo>
                    <a:pt x="414616" y="300901"/>
                  </a:lnTo>
                  <a:lnTo>
                    <a:pt x="377355" y="325767"/>
                  </a:lnTo>
                  <a:lnTo>
                    <a:pt x="344728" y="356235"/>
                  </a:lnTo>
                  <a:lnTo>
                    <a:pt x="317423" y="391617"/>
                  </a:lnTo>
                  <a:lnTo>
                    <a:pt x="296100" y="431241"/>
                  </a:lnTo>
                  <a:lnTo>
                    <a:pt x="281432" y="474433"/>
                  </a:lnTo>
                  <a:lnTo>
                    <a:pt x="274104" y="520522"/>
                  </a:lnTo>
                  <a:lnTo>
                    <a:pt x="266928" y="474243"/>
                  </a:lnTo>
                  <a:lnTo>
                    <a:pt x="252374" y="430872"/>
                  </a:lnTo>
                  <a:lnTo>
                    <a:pt x="231101" y="391083"/>
                  </a:lnTo>
                  <a:lnTo>
                    <a:pt x="203809" y="355549"/>
                  </a:lnTo>
                  <a:lnTo>
                    <a:pt x="171170" y="324954"/>
                  </a:lnTo>
                  <a:lnTo>
                    <a:pt x="133858" y="299974"/>
                  </a:lnTo>
                  <a:lnTo>
                    <a:pt x="92544" y="281292"/>
                  </a:lnTo>
                  <a:lnTo>
                    <a:pt x="47929" y="269582"/>
                  </a:lnTo>
                  <a:lnTo>
                    <a:pt x="12" y="265518"/>
                  </a:lnTo>
                  <a:lnTo>
                    <a:pt x="5461" y="313690"/>
                  </a:lnTo>
                  <a:lnTo>
                    <a:pt x="18859" y="358952"/>
                  </a:lnTo>
                  <a:lnTo>
                    <a:pt x="39471" y="400570"/>
                  </a:lnTo>
                  <a:lnTo>
                    <a:pt x="66573" y="437832"/>
                  </a:lnTo>
                  <a:lnTo>
                    <a:pt x="99415" y="469976"/>
                  </a:lnTo>
                  <a:lnTo>
                    <a:pt x="137261" y="496290"/>
                  </a:lnTo>
                  <a:lnTo>
                    <a:pt x="179387" y="516026"/>
                  </a:lnTo>
                  <a:lnTo>
                    <a:pt x="225056" y="528447"/>
                  </a:lnTo>
                  <a:lnTo>
                    <a:pt x="273532" y="532828"/>
                  </a:lnTo>
                  <a:lnTo>
                    <a:pt x="274764" y="532828"/>
                  </a:lnTo>
                  <a:lnTo>
                    <a:pt x="323100" y="528472"/>
                  </a:lnTo>
                  <a:lnTo>
                    <a:pt x="368655" y="516102"/>
                  </a:lnTo>
                  <a:lnTo>
                    <a:pt x="410692" y="496455"/>
                  </a:lnTo>
                  <a:lnTo>
                    <a:pt x="448475" y="470268"/>
                  </a:lnTo>
                  <a:lnTo>
                    <a:pt x="481279" y="438251"/>
                  </a:lnTo>
                  <a:lnTo>
                    <a:pt x="508368" y="401154"/>
                  </a:lnTo>
                  <a:lnTo>
                    <a:pt x="529018" y="359689"/>
                  </a:lnTo>
                  <a:lnTo>
                    <a:pt x="542480" y="314604"/>
                  </a:lnTo>
                  <a:lnTo>
                    <a:pt x="548055" y="266611"/>
                  </a:lnTo>
                  <a:close/>
                </a:path>
                <a:path w="548640" h="786765">
                  <a:moveTo>
                    <a:pt x="548055" y="1079"/>
                  </a:moveTo>
                  <a:lnTo>
                    <a:pt x="500380" y="5105"/>
                  </a:lnTo>
                  <a:lnTo>
                    <a:pt x="455853" y="16764"/>
                  </a:lnTo>
                  <a:lnTo>
                    <a:pt x="414616" y="35369"/>
                  </a:lnTo>
                  <a:lnTo>
                    <a:pt x="377355" y="60236"/>
                  </a:lnTo>
                  <a:lnTo>
                    <a:pt x="344728" y="90703"/>
                  </a:lnTo>
                  <a:lnTo>
                    <a:pt x="317423" y="126085"/>
                  </a:lnTo>
                  <a:lnTo>
                    <a:pt x="296100" y="165709"/>
                  </a:lnTo>
                  <a:lnTo>
                    <a:pt x="281432" y="208902"/>
                  </a:lnTo>
                  <a:lnTo>
                    <a:pt x="274104" y="254990"/>
                  </a:lnTo>
                  <a:lnTo>
                    <a:pt x="266928" y="208724"/>
                  </a:lnTo>
                  <a:lnTo>
                    <a:pt x="252374" y="165354"/>
                  </a:lnTo>
                  <a:lnTo>
                    <a:pt x="231101" y="125552"/>
                  </a:lnTo>
                  <a:lnTo>
                    <a:pt x="203809" y="90017"/>
                  </a:lnTo>
                  <a:lnTo>
                    <a:pt x="171170" y="59423"/>
                  </a:lnTo>
                  <a:lnTo>
                    <a:pt x="133858" y="34442"/>
                  </a:lnTo>
                  <a:lnTo>
                    <a:pt x="92544" y="15760"/>
                  </a:lnTo>
                  <a:lnTo>
                    <a:pt x="47929" y="4051"/>
                  </a:lnTo>
                  <a:lnTo>
                    <a:pt x="12" y="0"/>
                  </a:lnTo>
                  <a:lnTo>
                    <a:pt x="5461" y="48158"/>
                  </a:lnTo>
                  <a:lnTo>
                    <a:pt x="18859" y="93421"/>
                  </a:lnTo>
                  <a:lnTo>
                    <a:pt x="39471" y="135039"/>
                  </a:lnTo>
                  <a:lnTo>
                    <a:pt x="66573" y="172300"/>
                  </a:lnTo>
                  <a:lnTo>
                    <a:pt x="99415" y="204444"/>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24"/>
                  </a:lnTo>
                  <a:lnTo>
                    <a:pt x="481279" y="172720"/>
                  </a:lnTo>
                  <a:lnTo>
                    <a:pt x="508368" y="135610"/>
                  </a:lnTo>
                  <a:lnTo>
                    <a:pt x="529018" y="94157"/>
                  </a:lnTo>
                  <a:lnTo>
                    <a:pt x="542480" y="49060"/>
                  </a:lnTo>
                  <a:lnTo>
                    <a:pt x="548055" y="1079"/>
                  </a:lnTo>
                  <a:close/>
                </a:path>
                <a:path w="548640" h="786765">
                  <a:moveTo>
                    <a:pt x="548093" y="520192"/>
                  </a:moveTo>
                  <a:lnTo>
                    <a:pt x="500380" y="524205"/>
                  </a:lnTo>
                  <a:lnTo>
                    <a:pt x="455853" y="535863"/>
                  </a:lnTo>
                  <a:lnTo>
                    <a:pt x="414616" y="554469"/>
                  </a:lnTo>
                  <a:lnTo>
                    <a:pt x="377355" y="579335"/>
                  </a:lnTo>
                  <a:lnTo>
                    <a:pt x="344728" y="609790"/>
                  </a:lnTo>
                  <a:lnTo>
                    <a:pt x="317411" y="645160"/>
                  </a:lnTo>
                  <a:lnTo>
                    <a:pt x="296087" y="684784"/>
                  </a:lnTo>
                  <a:lnTo>
                    <a:pt x="281419" y="727976"/>
                  </a:lnTo>
                  <a:lnTo>
                    <a:pt x="274091" y="774039"/>
                  </a:lnTo>
                  <a:lnTo>
                    <a:pt x="266928" y="727811"/>
                  </a:lnTo>
                  <a:lnTo>
                    <a:pt x="252374" y="684441"/>
                  </a:lnTo>
                  <a:lnTo>
                    <a:pt x="231101" y="644639"/>
                  </a:lnTo>
                  <a:lnTo>
                    <a:pt x="203809" y="609104"/>
                  </a:lnTo>
                  <a:lnTo>
                    <a:pt x="171170" y="578510"/>
                  </a:lnTo>
                  <a:lnTo>
                    <a:pt x="146177" y="561784"/>
                  </a:lnTo>
                  <a:lnTo>
                    <a:pt x="133858" y="553529"/>
                  </a:lnTo>
                  <a:lnTo>
                    <a:pt x="92544" y="534847"/>
                  </a:lnTo>
                  <a:lnTo>
                    <a:pt x="47917" y="523113"/>
                  </a:lnTo>
                  <a:lnTo>
                    <a:pt x="0" y="519061"/>
                  </a:lnTo>
                  <a:lnTo>
                    <a:pt x="5448" y="567232"/>
                  </a:lnTo>
                  <a:lnTo>
                    <a:pt x="18846" y="612508"/>
                  </a:lnTo>
                  <a:lnTo>
                    <a:pt x="39458" y="654126"/>
                  </a:lnTo>
                  <a:lnTo>
                    <a:pt x="66560" y="691388"/>
                  </a:lnTo>
                  <a:lnTo>
                    <a:pt x="98717" y="722871"/>
                  </a:lnTo>
                  <a:lnTo>
                    <a:pt x="137261" y="749858"/>
                  </a:lnTo>
                  <a:lnTo>
                    <a:pt x="179387" y="769581"/>
                  </a:lnTo>
                  <a:lnTo>
                    <a:pt x="225056" y="782015"/>
                  </a:lnTo>
                  <a:lnTo>
                    <a:pt x="273532" y="786384"/>
                  </a:lnTo>
                  <a:lnTo>
                    <a:pt x="274764" y="786384"/>
                  </a:lnTo>
                  <a:lnTo>
                    <a:pt x="323100" y="782027"/>
                  </a:lnTo>
                  <a:lnTo>
                    <a:pt x="368655" y="769670"/>
                  </a:lnTo>
                  <a:lnTo>
                    <a:pt x="410692" y="750023"/>
                  </a:lnTo>
                  <a:lnTo>
                    <a:pt x="448475" y="723823"/>
                  </a:lnTo>
                  <a:lnTo>
                    <a:pt x="449287" y="723023"/>
                  </a:lnTo>
                  <a:lnTo>
                    <a:pt x="481279" y="691807"/>
                  </a:lnTo>
                  <a:lnTo>
                    <a:pt x="508393" y="654697"/>
                  </a:lnTo>
                  <a:lnTo>
                    <a:pt x="529043"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151" name="object 149">
              <a:extLst>
                <a:ext uri="{FF2B5EF4-FFF2-40B4-BE49-F238E27FC236}">
                  <a16:creationId xmlns:a16="http://schemas.microsoft.com/office/drawing/2014/main" id="{5A3CE6E0-DD39-8384-9DD0-E7FAF6BCD8BB}"/>
                </a:ext>
              </a:extLst>
            </p:cNvPr>
            <p:cNvPicPr/>
            <p:nvPr/>
          </p:nvPicPr>
          <p:blipFill>
            <a:blip r:embed="rId10" cstate="print"/>
            <a:stretch>
              <a:fillRect/>
            </a:stretch>
          </p:blipFill>
          <p:spPr>
            <a:xfrm>
              <a:off x="11561989" y="4643430"/>
              <a:ext cx="106445" cy="107156"/>
            </a:xfrm>
            <a:prstGeom prst="rect">
              <a:avLst/>
            </a:prstGeom>
          </p:spPr>
        </p:pic>
        <p:sp>
          <p:nvSpPr>
            <p:cNvPr id="152" name="object 150">
              <a:extLst>
                <a:ext uri="{FF2B5EF4-FFF2-40B4-BE49-F238E27FC236}">
                  <a16:creationId xmlns:a16="http://schemas.microsoft.com/office/drawing/2014/main" id="{42EE9B28-C709-FA6D-13DF-CA6AB2E7557E}"/>
                </a:ext>
              </a:extLst>
            </p:cNvPr>
            <p:cNvSpPr/>
            <p:nvPr/>
          </p:nvSpPr>
          <p:spPr>
            <a:xfrm>
              <a:off x="11449331" y="4075252"/>
              <a:ext cx="332700" cy="477101"/>
            </a:xfrm>
            <a:custGeom>
              <a:avLst/>
              <a:gdLst/>
              <a:ahLst/>
              <a:cxnLst/>
              <a:rect l="l" t="t" r="r" b="b"/>
              <a:pathLst>
                <a:path w="548640" h="786765">
                  <a:moveTo>
                    <a:pt x="548055" y="266623"/>
                  </a:moveTo>
                  <a:lnTo>
                    <a:pt x="500380" y="270662"/>
                  </a:lnTo>
                  <a:lnTo>
                    <a:pt x="455853" y="282308"/>
                  </a:lnTo>
                  <a:lnTo>
                    <a:pt x="414616" y="300913"/>
                  </a:lnTo>
                  <a:lnTo>
                    <a:pt x="377355" y="325780"/>
                  </a:lnTo>
                  <a:lnTo>
                    <a:pt x="344728" y="356247"/>
                  </a:lnTo>
                  <a:lnTo>
                    <a:pt x="317423" y="391629"/>
                  </a:lnTo>
                  <a:lnTo>
                    <a:pt x="296100" y="431253"/>
                  </a:lnTo>
                  <a:lnTo>
                    <a:pt x="281432" y="474446"/>
                  </a:lnTo>
                  <a:lnTo>
                    <a:pt x="274104" y="520534"/>
                  </a:lnTo>
                  <a:lnTo>
                    <a:pt x="266928" y="474256"/>
                  </a:lnTo>
                  <a:lnTo>
                    <a:pt x="252374" y="430885"/>
                  </a:lnTo>
                  <a:lnTo>
                    <a:pt x="231101" y="391096"/>
                  </a:lnTo>
                  <a:lnTo>
                    <a:pt x="203809" y="355561"/>
                  </a:lnTo>
                  <a:lnTo>
                    <a:pt x="171170" y="324954"/>
                  </a:lnTo>
                  <a:lnTo>
                    <a:pt x="133858" y="299974"/>
                  </a:lnTo>
                  <a:lnTo>
                    <a:pt x="92544" y="281292"/>
                  </a:lnTo>
                  <a:lnTo>
                    <a:pt x="47929" y="269582"/>
                  </a:lnTo>
                  <a:lnTo>
                    <a:pt x="12" y="265531"/>
                  </a:lnTo>
                  <a:lnTo>
                    <a:pt x="5461" y="313690"/>
                  </a:lnTo>
                  <a:lnTo>
                    <a:pt x="18859" y="358952"/>
                  </a:lnTo>
                  <a:lnTo>
                    <a:pt x="39471" y="400583"/>
                  </a:lnTo>
                  <a:lnTo>
                    <a:pt x="66573" y="437832"/>
                  </a:lnTo>
                  <a:lnTo>
                    <a:pt x="99415" y="469988"/>
                  </a:lnTo>
                  <a:lnTo>
                    <a:pt x="137261" y="496303"/>
                  </a:lnTo>
                  <a:lnTo>
                    <a:pt x="179387" y="516039"/>
                  </a:lnTo>
                  <a:lnTo>
                    <a:pt x="225056" y="528459"/>
                  </a:lnTo>
                  <a:lnTo>
                    <a:pt x="273532" y="532828"/>
                  </a:lnTo>
                  <a:lnTo>
                    <a:pt x="274764" y="532828"/>
                  </a:lnTo>
                  <a:lnTo>
                    <a:pt x="323100" y="528472"/>
                  </a:lnTo>
                  <a:lnTo>
                    <a:pt x="368655" y="516115"/>
                  </a:lnTo>
                  <a:lnTo>
                    <a:pt x="410692" y="496468"/>
                  </a:lnTo>
                  <a:lnTo>
                    <a:pt x="448475" y="470268"/>
                  </a:lnTo>
                  <a:lnTo>
                    <a:pt x="481279" y="438264"/>
                  </a:lnTo>
                  <a:lnTo>
                    <a:pt x="508368" y="401154"/>
                  </a:lnTo>
                  <a:lnTo>
                    <a:pt x="529018" y="359702"/>
                  </a:lnTo>
                  <a:lnTo>
                    <a:pt x="542480" y="314604"/>
                  </a:lnTo>
                  <a:lnTo>
                    <a:pt x="548055" y="266623"/>
                  </a:lnTo>
                  <a:close/>
                </a:path>
                <a:path w="548640" h="786765">
                  <a:moveTo>
                    <a:pt x="548055" y="1092"/>
                  </a:moveTo>
                  <a:lnTo>
                    <a:pt x="500380" y="5130"/>
                  </a:lnTo>
                  <a:lnTo>
                    <a:pt x="455853" y="16776"/>
                  </a:lnTo>
                  <a:lnTo>
                    <a:pt x="414616" y="35382"/>
                  </a:lnTo>
                  <a:lnTo>
                    <a:pt x="377355" y="60248"/>
                  </a:lnTo>
                  <a:lnTo>
                    <a:pt x="344728" y="90716"/>
                  </a:lnTo>
                  <a:lnTo>
                    <a:pt x="317423" y="126098"/>
                  </a:lnTo>
                  <a:lnTo>
                    <a:pt x="296100" y="165722"/>
                  </a:lnTo>
                  <a:lnTo>
                    <a:pt x="281432" y="208915"/>
                  </a:lnTo>
                  <a:lnTo>
                    <a:pt x="274104" y="255003"/>
                  </a:lnTo>
                  <a:lnTo>
                    <a:pt x="266928" y="208724"/>
                  </a:lnTo>
                  <a:lnTo>
                    <a:pt x="252374" y="165354"/>
                  </a:lnTo>
                  <a:lnTo>
                    <a:pt x="231101" y="125564"/>
                  </a:lnTo>
                  <a:lnTo>
                    <a:pt x="203809" y="90030"/>
                  </a:lnTo>
                  <a:lnTo>
                    <a:pt x="171170" y="59436"/>
                  </a:lnTo>
                  <a:lnTo>
                    <a:pt x="133858" y="34455"/>
                  </a:lnTo>
                  <a:lnTo>
                    <a:pt x="92544" y="15760"/>
                  </a:lnTo>
                  <a:lnTo>
                    <a:pt x="47929" y="4051"/>
                  </a:lnTo>
                  <a:lnTo>
                    <a:pt x="12" y="0"/>
                  </a:lnTo>
                  <a:lnTo>
                    <a:pt x="5461" y="48158"/>
                  </a:lnTo>
                  <a:lnTo>
                    <a:pt x="18859" y="93421"/>
                  </a:lnTo>
                  <a:lnTo>
                    <a:pt x="39471" y="135051"/>
                  </a:lnTo>
                  <a:lnTo>
                    <a:pt x="66573" y="172300"/>
                  </a:lnTo>
                  <a:lnTo>
                    <a:pt x="99415" y="204457"/>
                  </a:lnTo>
                  <a:lnTo>
                    <a:pt x="137261" y="230771"/>
                  </a:lnTo>
                  <a:lnTo>
                    <a:pt x="179387" y="250494"/>
                  </a:lnTo>
                  <a:lnTo>
                    <a:pt x="225056" y="262928"/>
                  </a:lnTo>
                  <a:lnTo>
                    <a:pt x="273532" y="267309"/>
                  </a:lnTo>
                  <a:lnTo>
                    <a:pt x="274764" y="267309"/>
                  </a:lnTo>
                  <a:lnTo>
                    <a:pt x="323100" y="262940"/>
                  </a:lnTo>
                  <a:lnTo>
                    <a:pt x="368655" y="250583"/>
                  </a:lnTo>
                  <a:lnTo>
                    <a:pt x="410692" y="230936"/>
                  </a:lnTo>
                  <a:lnTo>
                    <a:pt x="448475" y="204736"/>
                  </a:lnTo>
                  <a:lnTo>
                    <a:pt x="481279" y="172720"/>
                  </a:lnTo>
                  <a:lnTo>
                    <a:pt x="508368" y="135623"/>
                  </a:lnTo>
                  <a:lnTo>
                    <a:pt x="529018" y="94170"/>
                  </a:lnTo>
                  <a:lnTo>
                    <a:pt x="542480" y="49072"/>
                  </a:lnTo>
                  <a:lnTo>
                    <a:pt x="548055" y="1092"/>
                  </a:lnTo>
                  <a:close/>
                </a:path>
                <a:path w="548640" h="786765">
                  <a:moveTo>
                    <a:pt x="548093" y="520204"/>
                  </a:moveTo>
                  <a:lnTo>
                    <a:pt x="500380" y="524217"/>
                  </a:lnTo>
                  <a:lnTo>
                    <a:pt x="455853" y="535876"/>
                  </a:lnTo>
                  <a:lnTo>
                    <a:pt x="414616" y="554469"/>
                  </a:lnTo>
                  <a:lnTo>
                    <a:pt x="377355" y="579335"/>
                  </a:lnTo>
                  <a:lnTo>
                    <a:pt x="344728" y="609803"/>
                  </a:lnTo>
                  <a:lnTo>
                    <a:pt x="317411" y="645172"/>
                  </a:lnTo>
                  <a:lnTo>
                    <a:pt x="296087" y="684796"/>
                  </a:lnTo>
                  <a:lnTo>
                    <a:pt x="281419" y="727976"/>
                  </a:lnTo>
                  <a:lnTo>
                    <a:pt x="274091" y="774039"/>
                  </a:lnTo>
                  <a:lnTo>
                    <a:pt x="266928" y="727824"/>
                  </a:lnTo>
                  <a:lnTo>
                    <a:pt x="252374" y="684441"/>
                  </a:lnTo>
                  <a:lnTo>
                    <a:pt x="231101" y="644652"/>
                  </a:lnTo>
                  <a:lnTo>
                    <a:pt x="203809" y="609117"/>
                  </a:lnTo>
                  <a:lnTo>
                    <a:pt x="171170" y="578523"/>
                  </a:lnTo>
                  <a:lnTo>
                    <a:pt x="133858" y="553542"/>
                  </a:lnTo>
                  <a:lnTo>
                    <a:pt x="92532" y="534835"/>
                  </a:lnTo>
                  <a:lnTo>
                    <a:pt x="47917" y="523125"/>
                  </a:lnTo>
                  <a:lnTo>
                    <a:pt x="0" y="519074"/>
                  </a:lnTo>
                  <a:lnTo>
                    <a:pt x="5448" y="567245"/>
                  </a:lnTo>
                  <a:lnTo>
                    <a:pt x="18846" y="612508"/>
                  </a:lnTo>
                  <a:lnTo>
                    <a:pt x="39458" y="654138"/>
                  </a:lnTo>
                  <a:lnTo>
                    <a:pt x="66560" y="691388"/>
                  </a:lnTo>
                  <a:lnTo>
                    <a:pt x="99415" y="723557"/>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153" name="object 151">
              <a:extLst>
                <a:ext uri="{FF2B5EF4-FFF2-40B4-BE49-F238E27FC236}">
                  <a16:creationId xmlns:a16="http://schemas.microsoft.com/office/drawing/2014/main" id="{E79C89B2-D25A-0695-C9D5-361429691704}"/>
                </a:ext>
              </a:extLst>
            </p:cNvPr>
            <p:cNvPicPr/>
            <p:nvPr/>
          </p:nvPicPr>
          <p:blipFill>
            <a:blip r:embed="rId11" cstate="print"/>
            <a:stretch>
              <a:fillRect/>
            </a:stretch>
          </p:blipFill>
          <p:spPr>
            <a:xfrm>
              <a:off x="11561989" y="3989263"/>
              <a:ext cx="106445" cy="107156"/>
            </a:xfrm>
            <a:prstGeom prst="rect">
              <a:avLst/>
            </a:prstGeom>
          </p:spPr>
        </p:pic>
        <p:sp>
          <p:nvSpPr>
            <p:cNvPr id="154" name="object 152">
              <a:extLst>
                <a:ext uri="{FF2B5EF4-FFF2-40B4-BE49-F238E27FC236}">
                  <a16:creationId xmlns:a16="http://schemas.microsoft.com/office/drawing/2014/main" id="{560A9244-12E0-739E-A956-61A5D7F5991B}"/>
                </a:ext>
              </a:extLst>
            </p:cNvPr>
            <p:cNvSpPr/>
            <p:nvPr/>
          </p:nvSpPr>
          <p:spPr>
            <a:xfrm>
              <a:off x="11064254" y="3862863"/>
              <a:ext cx="332700" cy="477101"/>
            </a:xfrm>
            <a:custGeom>
              <a:avLst/>
              <a:gdLst/>
              <a:ahLst/>
              <a:cxnLst/>
              <a:rect l="l" t="t" r="r" b="b"/>
              <a:pathLst>
                <a:path w="548640" h="786765">
                  <a:moveTo>
                    <a:pt x="548081" y="786396"/>
                  </a:moveTo>
                  <a:lnTo>
                    <a:pt x="542632" y="738238"/>
                  </a:lnTo>
                  <a:lnTo>
                    <a:pt x="529234" y="692975"/>
                  </a:lnTo>
                  <a:lnTo>
                    <a:pt x="508622" y="651344"/>
                  </a:lnTo>
                  <a:lnTo>
                    <a:pt x="481520" y="614083"/>
                  </a:lnTo>
                  <a:lnTo>
                    <a:pt x="448678" y="581939"/>
                  </a:lnTo>
                  <a:lnTo>
                    <a:pt x="410832" y="555625"/>
                  </a:lnTo>
                  <a:lnTo>
                    <a:pt x="368706" y="535889"/>
                  </a:lnTo>
                  <a:lnTo>
                    <a:pt x="323037" y="523468"/>
                  </a:lnTo>
                  <a:lnTo>
                    <a:pt x="274561" y="519099"/>
                  </a:lnTo>
                  <a:lnTo>
                    <a:pt x="273329" y="519099"/>
                  </a:lnTo>
                  <a:lnTo>
                    <a:pt x="224993" y="523455"/>
                  </a:lnTo>
                  <a:lnTo>
                    <a:pt x="179438" y="535813"/>
                  </a:lnTo>
                  <a:lnTo>
                    <a:pt x="137401" y="555459"/>
                  </a:lnTo>
                  <a:lnTo>
                    <a:pt x="99618" y="581660"/>
                  </a:lnTo>
                  <a:lnTo>
                    <a:pt x="66814" y="613664"/>
                  </a:lnTo>
                  <a:lnTo>
                    <a:pt x="39725" y="650773"/>
                  </a:lnTo>
                  <a:lnTo>
                    <a:pt x="19075" y="692226"/>
                  </a:lnTo>
                  <a:lnTo>
                    <a:pt x="5613" y="737323"/>
                  </a:lnTo>
                  <a:lnTo>
                    <a:pt x="38" y="785304"/>
                  </a:lnTo>
                  <a:lnTo>
                    <a:pt x="47713" y="781265"/>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35"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78" y="316407"/>
                  </a:lnTo>
                  <a:lnTo>
                    <a:pt x="410832" y="290106"/>
                  </a:lnTo>
                  <a:lnTo>
                    <a:pt x="368706" y="270370"/>
                  </a:lnTo>
                  <a:lnTo>
                    <a:pt x="323037" y="257949"/>
                  </a:lnTo>
                  <a:lnTo>
                    <a:pt x="274561" y="253568"/>
                  </a:lnTo>
                  <a:lnTo>
                    <a:pt x="273329" y="253568"/>
                  </a:lnTo>
                  <a:lnTo>
                    <a:pt x="224993" y="257924"/>
                  </a:lnTo>
                  <a:lnTo>
                    <a:pt x="179438" y="270294"/>
                  </a:lnTo>
                  <a:lnTo>
                    <a:pt x="137401" y="289941"/>
                  </a:lnTo>
                  <a:lnTo>
                    <a:pt x="99618" y="316128"/>
                  </a:lnTo>
                  <a:lnTo>
                    <a:pt x="66814" y="348145"/>
                  </a:lnTo>
                  <a:lnTo>
                    <a:pt x="39725" y="385241"/>
                  </a:lnTo>
                  <a:lnTo>
                    <a:pt x="19075" y="426707"/>
                  </a:lnTo>
                  <a:lnTo>
                    <a:pt x="5613" y="471792"/>
                  </a:lnTo>
                  <a:lnTo>
                    <a:pt x="38" y="519785"/>
                  </a:lnTo>
                  <a:lnTo>
                    <a:pt x="47713" y="515747"/>
                  </a:lnTo>
                  <a:lnTo>
                    <a:pt x="92240" y="504101"/>
                  </a:lnTo>
                  <a:lnTo>
                    <a:pt x="133464" y="485495"/>
                  </a:lnTo>
                  <a:lnTo>
                    <a:pt x="170738" y="460629"/>
                  </a:lnTo>
                  <a:lnTo>
                    <a:pt x="203365" y="430161"/>
                  </a:lnTo>
                  <a:lnTo>
                    <a:pt x="230670" y="394779"/>
                  </a:lnTo>
                  <a:lnTo>
                    <a:pt x="251993" y="355142"/>
                  </a:lnTo>
                  <a:lnTo>
                    <a:pt x="266661" y="311950"/>
                  </a:lnTo>
                  <a:lnTo>
                    <a:pt x="273989" y="265874"/>
                  </a:lnTo>
                  <a:lnTo>
                    <a:pt x="281165" y="312140"/>
                  </a:lnTo>
                  <a:lnTo>
                    <a:pt x="295719" y="355511"/>
                  </a:lnTo>
                  <a:lnTo>
                    <a:pt x="316992" y="395300"/>
                  </a:lnTo>
                  <a:lnTo>
                    <a:pt x="344284" y="430847"/>
                  </a:lnTo>
                  <a:lnTo>
                    <a:pt x="376923" y="461441"/>
                  </a:lnTo>
                  <a:lnTo>
                    <a:pt x="414235" y="486422"/>
                  </a:lnTo>
                  <a:lnTo>
                    <a:pt x="455549" y="505104"/>
                  </a:lnTo>
                  <a:lnTo>
                    <a:pt x="500164" y="516813"/>
                  </a:lnTo>
                  <a:lnTo>
                    <a:pt x="548081" y="520865"/>
                  </a:lnTo>
                  <a:close/>
                </a:path>
                <a:path w="548640" h="786765">
                  <a:moveTo>
                    <a:pt x="548081" y="267322"/>
                  </a:moveTo>
                  <a:lnTo>
                    <a:pt x="547458" y="261874"/>
                  </a:lnTo>
                  <a:lnTo>
                    <a:pt x="542645" y="219151"/>
                  </a:lnTo>
                  <a:lnTo>
                    <a:pt x="529247" y="173888"/>
                  </a:lnTo>
                  <a:lnTo>
                    <a:pt x="508635" y="132257"/>
                  </a:lnTo>
                  <a:lnTo>
                    <a:pt x="481533" y="95008"/>
                  </a:lnTo>
                  <a:lnTo>
                    <a:pt x="480834" y="94335"/>
                  </a:lnTo>
                  <a:lnTo>
                    <a:pt x="448691" y="62852"/>
                  </a:lnTo>
                  <a:lnTo>
                    <a:pt x="433158" y="52070"/>
                  </a:lnTo>
                  <a:lnTo>
                    <a:pt x="410832" y="36550"/>
                  </a:lnTo>
                  <a:lnTo>
                    <a:pt x="368706" y="16802"/>
                  </a:lnTo>
                  <a:lnTo>
                    <a:pt x="323037" y="4381"/>
                  </a:lnTo>
                  <a:lnTo>
                    <a:pt x="274561" y="0"/>
                  </a:lnTo>
                  <a:lnTo>
                    <a:pt x="273329" y="0"/>
                  </a:lnTo>
                  <a:lnTo>
                    <a:pt x="224993" y="4356"/>
                  </a:lnTo>
                  <a:lnTo>
                    <a:pt x="179438" y="16725"/>
                  </a:lnTo>
                  <a:lnTo>
                    <a:pt x="137401" y="36372"/>
                  </a:lnTo>
                  <a:lnTo>
                    <a:pt x="99618" y="62560"/>
                  </a:lnTo>
                  <a:lnTo>
                    <a:pt x="66814" y="94576"/>
                  </a:lnTo>
                  <a:lnTo>
                    <a:pt x="39700" y="131686"/>
                  </a:lnTo>
                  <a:lnTo>
                    <a:pt x="19037" y="173139"/>
                  </a:lnTo>
                  <a:lnTo>
                    <a:pt x="5562" y="218224"/>
                  </a:lnTo>
                  <a:lnTo>
                    <a:pt x="0" y="266192"/>
                  </a:lnTo>
                  <a:lnTo>
                    <a:pt x="47713" y="262178"/>
                  </a:lnTo>
                  <a:lnTo>
                    <a:pt x="92240" y="250520"/>
                  </a:lnTo>
                  <a:lnTo>
                    <a:pt x="133464" y="231927"/>
                  </a:lnTo>
                  <a:lnTo>
                    <a:pt x="170738" y="207060"/>
                  </a:lnTo>
                  <a:lnTo>
                    <a:pt x="203365" y="176593"/>
                  </a:lnTo>
                  <a:lnTo>
                    <a:pt x="230682" y="141224"/>
                  </a:lnTo>
                  <a:lnTo>
                    <a:pt x="252006" y="101600"/>
                  </a:lnTo>
                  <a:lnTo>
                    <a:pt x="266674" y="58420"/>
                  </a:lnTo>
                  <a:lnTo>
                    <a:pt x="273989" y="12369"/>
                  </a:lnTo>
                  <a:lnTo>
                    <a:pt x="279844" y="50101"/>
                  </a:lnTo>
                  <a:lnTo>
                    <a:pt x="281165" y="58585"/>
                  </a:lnTo>
                  <a:lnTo>
                    <a:pt x="284822" y="69481"/>
                  </a:lnTo>
                  <a:lnTo>
                    <a:pt x="295719" y="101955"/>
                  </a:lnTo>
                  <a:lnTo>
                    <a:pt x="316992" y="141744"/>
                  </a:lnTo>
                  <a:lnTo>
                    <a:pt x="344284" y="177279"/>
                  </a:lnTo>
                  <a:lnTo>
                    <a:pt x="376936" y="207886"/>
                  </a:lnTo>
                  <a:lnTo>
                    <a:pt x="414248" y="232867"/>
                  </a:lnTo>
                  <a:lnTo>
                    <a:pt x="455549" y="251561"/>
                  </a:lnTo>
                  <a:lnTo>
                    <a:pt x="500176" y="263271"/>
                  </a:lnTo>
                  <a:lnTo>
                    <a:pt x="548081" y="267322"/>
                  </a:lnTo>
                  <a:close/>
                </a:path>
              </a:pathLst>
            </a:custGeom>
            <a:solidFill>
              <a:srgbClr val="2DB7EA"/>
            </a:solidFill>
          </p:spPr>
          <p:txBody>
            <a:bodyPr wrap="square" lIns="0" tIns="0" rIns="0" bIns="0" rtlCol="0"/>
            <a:lstStyle/>
            <a:p>
              <a:endParaRPr dirty="0"/>
            </a:p>
          </p:txBody>
        </p:sp>
        <p:pic>
          <p:nvPicPr>
            <p:cNvPr id="155" name="object 153">
              <a:extLst>
                <a:ext uri="{FF2B5EF4-FFF2-40B4-BE49-F238E27FC236}">
                  <a16:creationId xmlns:a16="http://schemas.microsoft.com/office/drawing/2014/main" id="{DBC89A1E-20F6-5C90-9176-4F0766863660}"/>
                </a:ext>
              </a:extLst>
            </p:cNvPr>
            <p:cNvPicPr/>
            <p:nvPr/>
          </p:nvPicPr>
          <p:blipFill>
            <a:blip r:embed="rId13" cstate="print"/>
            <a:stretch>
              <a:fillRect/>
            </a:stretch>
          </p:blipFill>
          <p:spPr>
            <a:xfrm>
              <a:off x="11177526" y="4318566"/>
              <a:ext cx="106445" cy="107156"/>
            </a:xfrm>
            <a:prstGeom prst="rect">
              <a:avLst/>
            </a:prstGeom>
          </p:spPr>
        </p:pic>
        <p:sp>
          <p:nvSpPr>
            <p:cNvPr id="156" name="object 154">
              <a:extLst>
                <a:ext uri="{FF2B5EF4-FFF2-40B4-BE49-F238E27FC236}">
                  <a16:creationId xmlns:a16="http://schemas.microsoft.com/office/drawing/2014/main" id="{A6CFDA8C-97D5-4215-E12F-7AA4E5C0A01B}"/>
                </a:ext>
              </a:extLst>
            </p:cNvPr>
            <p:cNvSpPr/>
            <p:nvPr/>
          </p:nvSpPr>
          <p:spPr>
            <a:xfrm>
              <a:off x="11064254" y="4517034"/>
              <a:ext cx="332700" cy="477101"/>
            </a:xfrm>
            <a:custGeom>
              <a:avLst/>
              <a:gdLst/>
              <a:ahLst/>
              <a:cxnLst/>
              <a:rect l="l" t="t" r="r" b="b"/>
              <a:pathLst>
                <a:path w="548640" h="786765">
                  <a:moveTo>
                    <a:pt x="548081" y="786384"/>
                  </a:moveTo>
                  <a:lnTo>
                    <a:pt x="542632" y="738225"/>
                  </a:lnTo>
                  <a:lnTo>
                    <a:pt x="529234" y="692962"/>
                  </a:lnTo>
                  <a:lnTo>
                    <a:pt x="508622" y="651332"/>
                  </a:lnTo>
                  <a:lnTo>
                    <a:pt x="481520" y="614083"/>
                  </a:lnTo>
                  <a:lnTo>
                    <a:pt x="448678"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38" y="785304"/>
                  </a:lnTo>
                  <a:lnTo>
                    <a:pt x="47713" y="781265"/>
                  </a:lnTo>
                  <a:lnTo>
                    <a:pt x="92240" y="769620"/>
                  </a:lnTo>
                  <a:lnTo>
                    <a:pt x="133464" y="751014"/>
                  </a:lnTo>
                  <a:lnTo>
                    <a:pt x="170738" y="726147"/>
                  </a:lnTo>
                  <a:lnTo>
                    <a:pt x="203365" y="695680"/>
                  </a:lnTo>
                  <a:lnTo>
                    <a:pt x="230670" y="660298"/>
                  </a:lnTo>
                  <a:lnTo>
                    <a:pt x="251993" y="620674"/>
                  </a:lnTo>
                  <a:lnTo>
                    <a:pt x="266661" y="577469"/>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5">
                  <a:moveTo>
                    <a:pt x="548081" y="520852"/>
                  </a:moveTo>
                  <a:lnTo>
                    <a:pt x="542632" y="472694"/>
                  </a:lnTo>
                  <a:lnTo>
                    <a:pt x="529234" y="427431"/>
                  </a:lnTo>
                  <a:lnTo>
                    <a:pt x="508622" y="385813"/>
                  </a:lnTo>
                  <a:lnTo>
                    <a:pt x="481520" y="348551"/>
                  </a:lnTo>
                  <a:lnTo>
                    <a:pt x="448678" y="316407"/>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28"/>
                  </a:lnTo>
                  <a:lnTo>
                    <a:pt x="66814" y="348132"/>
                  </a:lnTo>
                  <a:lnTo>
                    <a:pt x="39725" y="385241"/>
                  </a:lnTo>
                  <a:lnTo>
                    <a:pt x="19075" y="426694"/>
                  </a:lnTo>
                  <a:lnTo>
                    <a:pt x="5613" y="471779"/>
                  </a:lnTo>
                  <a:lnTo>
                    <a:pt x="38" y="519772"/>
                  </a:lnTo>
                  <a:lnTo>
                    <a:pt x="47713" y="515734"/>
                  </a:lnTo>
                  <a:lnTo>
                    <a:pt x="92240" y="504075"/>
                  </a:lnTo>
                  <a:lnTo>
                    <a:pt x="133464" y="485482"/>
                  </a:lnTo>
                  <a:lnTo>
                    <a:pt x="170738" y="460616"/>
                  </a:lnTo>
                  <a:lnTo>
                    <a:pt x="203365"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35" y="486410"/>
                  </a:lnTo>
                  <a:lnTo>
                    <a:pt x="455549" y="505091"/>
                  </a:lnTo>
                  <a:lnTo>
                    <a:pt x="500164" y="516801"/>
                  </a:lnTo>
                  <a:lnTo>
                    <a:pt x="548081" y="520852"/>
                  </a:lnTo>
                  <a:close/>
                </a:path>
                <a:path w="548640" h="786765">
                  <a:moveTo>
                    <a:pt x="548081" y="267322"/>
                  </a:moveTo>
                  <a:lnTo>
                    <a:pt x="546976" y="257530"/>
                  </a:lnTo>
                  <a:lnTo>
                    <a:pt x="542645" y="219151"/>
                  </a:lnTo>
                  <a:lnTo>
                    <a:pt x="529247" y="173875"/>
                  </a:lnTo>
                  <a:lnTo>
                    <a:pt x="508635" y="132245"/>
                  </a:lnTo>
                  <a:lnTo>
                    <a:pt x="481533" y="94996"/>
                  </a:lnTo>
                  <a:lnTo>
                    <a:pt x="449376" y="63525"/>
                  </a:lnTo>
                  <a:lnTo>
                    <a:pt x="448691" y="62852"/>
                  </a:lnTo>
                  <a:lnTo>
                    <a:pt x="410832" y="36537"/>
                  </a:lnTo>
                  <a:lnTo>
                    <a:pt x="368706" y="16814"/>
                  </a:lnTo>
                  <a:lnTo>
                    <a:pt x="323037" y="4368"/>
                  </a:lnTo>
                  <a:lnTo>
                    <a:pt x="274561" y="0"/>
                  </a:lnTo>
                  <a:lnTo>
                    <a:pt x="273329" y="0"/>
                  </a:lnTo>
                  <a:lnTo>
                    <a:pt x="224993" y="4356"/>
                  </a:lnTo>
                  <a:lnTo>
                    <a:pt x="179438" y="16725"/>
                  </a:lnTo>
                  <a:lnTo>
                    <a:pt x="137401" y="36372"/>
                  </a:lnTo>
                  <a:lnTo>
                    <a:pt x="99618" y="62560"/>
                  </a:lnTo>
                  <a:lnTo>
                    <a:pt x="98793" y="63360"/>
                  </a:lnTo>
                  <a:lnTo>
                    <a:pt x="66814" y="94576"/>
                  </a:lnTo>
                  <a:lnTo>
                    <a:pt x="39700" y="131686"/>
                  </a:lnTo>
                  <a:lnTo>
                    <a:pt x="19037" y="173139"/>
                  </a:lnTo>
                  <a:lnTo>
                    <a:pt x="5562" y="218211"/>
                  </a:lnTo>
                  <a:lnTo>
                    <a:pt x="0" y="266192"/>
                  </a:lnTo>
                  <a:lnTo>
                    <a:pt x="47713" y="262166"/>
                  </a:lnTo>
                  <a:lnTo>
                    <a:pt x="92240" y="250520"/>
                  </a:lnTo>
                  <a:lnTo>
                    <a:pt x="133477" y="231914"/>
                  </a:lnTo>
                  <a:lnTo>
                    <a:pt x="170738" y="207048"/>
                  </a:lnTo>
                  <a:lnTo>
                    <a:pt x="203365" y="176593"/>
                  </a:lnTo>
                  <a:lnTo>
                    <a:pt x="230682" y="141211"/>
                  </a:lnTo>
                  <a:lnTo>
                    <a:pt x="252006" y="101600"/>
                  </a:lnTo>
                  <a:lnTo>
                    <a:pt x="266674" y="58407"/>
                  </a:lnTo>
                  <a:lnTo>
                    <a:pt x="273989" y="12357"/>
                  </a:lnTo>
                  <a:lnTo>
                    <a:pt x="279844" y="50101"/>
                  </a:lnTo>
                  <a:lnTo>
                    <a:pt x="295719" y="101942"/>
                  </a:lnTo>
                  <a:lnTo>
                    <a:pt x="316992" y="141732"/>
                  </a:lnTo>
                  <a:lnTo>
                    <a:pt x="344284" y="177279"/>
                  </a:lnTo>
                  <a:lnTo>
                    <a:pt x="376923" y="207873"/>
                  </a:lnTo>
                  <a:lnTo>
                    <a:pt x="414248" y="232867"/>
                  </a:lnTo>
                  <a:lnTo>
                    <a:pt x="455549" y="251548"/>
                  </a:lnTo>
                  <a:lnTo>
                    <a:pt x="500176" y="263258"/>
                  </a:lnTo>
                  <a:lnTo>
                    <a:pt x="548081" y="267322"/>
                  </a:lnTo>
                  <a:close/>
                </a:path>
              </a:pathLst>
            </a:custGeom>
            <a:solidFill>
              <a:srgbClr val="7ED3F1"/>
            </a:solidFill>
          </p:spPr>
          <p:txBody>
            <a:bodyPr wrap="square" lIns="0" tIns="0" rIns="0" bIns="0" rtlCol="0"/>
            <a:lstStyle/>
            <a:p>
              <a:endParaRPr dirty="0"/>
            </a:p>
          </p:txBody>
        </p:sp>
        <p:pic>
          <p:nvPicPr>
            <p:cNvPr id="157" name="object 155">
              <a:extLst>
                <a:ext uri="{FF2B5EF4-FFF2-40B4-BE49-F238E27FC236}">
                  <a16:creationId xmlns:a16="http://schemas.microsoft.com/office/drawing/2014/main" id="{01AD2D17-E1FF-4112-2D03-2E519EBB300D}"/>
                </a:ext>
              </a:extLst>
            </p:cNvPr>
            <p:cNvPicPr/>
            <p:nvPr/>
          </p:nvPicPr>
          <p:blipFill>
            <a:blip r:embed="rId14" cstate="print"/>
            <a:stretch>
              <a:fillRect/>
            </a:stretch>
          </p:blipFill>
          <p:spPr>
            <a:xfrm>
              <a:off x="11177526" y="4972731"/>
              <a:ext cx="106445" cy="107156"/>
            </a:xfrm>
            <a:prstGeom prst="rect">
              <a:avLst/>
            </a:prstGeom>
          </p:spPr>
        </p:pic>
        <p:sp>
          <p:nvSpPr>
            <p:cNvPr id="158" name="object 156">
              <a:extLst>
                <a:ext uri="{FF2B5EF4-FFF2-40B4-BE49-F238E27FC236}">
                  <a16:creationId xmlns:a16="http://schemas.microsoft.com/office/drawing/2014/main" id="{D015AE74-A083-A178-FBB4-1C9C3B4C8BBE}"/>
                </a:ext>
              </a:extLst>
            </p:cNvPr>
            <p:cNvSpPr/>
            <p:nvPr/>
          </p:nvSpPr>
          <p:spPr>
            <a:xfrm>
              <a:off x="11064254" y="2554529"/>
              <a:ext cx="332700" cy="477101"/>
            </a:xfrm>
            <a:custGeom>
              <a:avLst/>
              <a:gdLst/>
              <a:ahLst/>
              <a:cxnLst/>
              <a:rect l="l" t="t" r="r" b="b"/>
              <a:pathLst>
                <a:path w="548640" h="786764">
                  <a:moveTo>
                    <a:pt x="548081" y="786396"/>
                  </a:moveTo>
                  <a:lnTo>
                    <a:pt x="542632" y="738238"/>
                  </a:lnTo>
                  <a:lnTo>
                    <a:pt x="529234" y="692975"/>
                  </a:lnTo>
                  <a:lnTo>
                    <a:pt x="508622" y="651344"/>
                  </a:lnTo>
                  <a:lnTo>
                    <a:pt x="481520" y="614095"/>
                  </a:lnTo>
                  <a:lnTo>
                    <a:pt x="448678" y="581939"/>
                  </a:lnTo>
                  <a:lnTo>
                    <a:pt x="410832" y="555625"/>
                  </a:lnTo>
                  <a:lnTo>
                    <a:pt x="368706" y="535901"/>
                  </a:lnTo>
                  <a:lnTo>
                    <a:pt x="323037" y="523468"/>
                  </a:lnTo>
                  <a:lnTo>
                    <a:pt x="274561" y="519099"/>
                  </a:lnTo>
                  <a:lnTo>
                    <a:pt x="273329" y="519099"/>
                  </a:lnTo>
                  <a:lnTo>
                    <a:pt x="224993" y="523455"/>
                  </a:lnTo>
                  <a:lnTo>
                    <a:pt x="179438" y="535813"/>
                  </a:lnTo>
                  <a:lnTo>
                    <a:pt x="137401" y="555459"/>
                  </a:lnTo>
                  <a:lnTo>
                    <a:pt x="99618" y="581660"/>
                  </a:lnTo>
                  <a:lnTo>
                    <a:pt x="66814" y="613676"/>
                  </a:lnTo>
                  <a:lnTo>
                    <a:pt x="39725" y="650773"/>
                  </a:lnTo>
                  <a:lnTo>
                    <a:pt x="19075" y="692238"/>
                  </a:lnTo>
                  <a:lnTo>
                    <a:pt x="5613" y="737323"/>
                  </a:lnTo>
                  <a:lnTo>
                    <a:pt x="38" y="785317"/>
                  </a:lnTo>
                  <a:lnTo>
                    <a:pt x="47713" y="781278"/>
                  </a:lnTo>
                  <a:lnTo>
                    <a:pt x="92240" y="769632"/>
                  </a:lnTo>
                  <a:lnTo>
                    <a:pt x="133464" y="751027"/>
                  </a:lnTo>
                  <a:lnTo>
                    <a:pt x="170738" y="726160"/>
                  </a:lnTo>
                  <a:lnTo>
                    <a:pt x="203365" y="695693"/>
                  </a:lnTo>
                  <a:lnTo>
                    <a:pt x="230670" y="660311"/>
                  </a:lnTo>
                  <a:lnTo>
                    <a:pt x="251993" y="620687"/>
                  </a:lnTo>
                  <a:lnTo>
                    <a:pt x="266661" y="577481"/>
                  </a:lnTo>
                  <a:lnTo>
                    <a:pt x="273989" y="531406"/>
                  </a:lnTo>
                  <a:lnTo>
                    <a:pt x="281165" y="577672"/>
                  </a:lnTo>
                  <a:lnTo>
                    <a:pt x="295719" y="621042"/>
                  </a:lnTo>
                  <a:lnTo>
                    <a:pt x="316992" y="660844"/>
                  </a:lnTo>
                  <a:lnTo>
                    <a:pt x="344284" y="696379"/>
                  </a:lnTo>
                  <a:lnTo>
                    <a:pt x="376923" y="726973"/>
                  </a:lnTo>
                  <a:lnTo>
                    <a:pt x="414235" y="751954"/>
                  </a:lnTo>
                  <a:lnTo>
                    <a:pt x="455549" y="770636"/>
                  </a:lnTo>
                  <a:lnTo>
                    <a:pt x="500164" y="782345"/>
                  </a:lnTo>
                  <a:lnTo>
                    <a:pt x="548081" y="786396"/>
                  </a:lnTo>
                  <a:close/>
                </a:path>
                <a:path w="548640" h="786764">
                  <a:moveTo>
                    <a:pt x="548081" y="520865"/>
                  </a:moveTo>
                  <a:lnTo>
                    <a:pt x="542632" y="472706"/>
                  </a:lnTo>
                  <a:lnTo>
                    <a:pt x="529234" y="427443"/>
                  </a:lnTo>
                  <a:lnTo>
                    <a:pt x="508622" y="385813"/>
                  </a:lnTo>
                  <a:lnTo>
                    <a:pt x="481520" y="348564"/>
                  </a:lnTo>
                  <a:lnTo>
                    <a:pt x="448678" y="316407"/>
                  </a:lnTo>
                  <a:lnTo>
                    <a:pt x="410832" y="290106"/>
                  </a:lnTo>
                  <a:lnTo>
                    <a:pt x="368706" y="270370"/>
                  </a:lnTo>
                  <a:lnTo>
                    <a:pt x="323037" y="257949"/>
                  </a:lnTo>
                  <a:lnTo>
                    <a:pt x="274561" y="253568"/>
                  </a:lnTo>
                  <a:lnTo>
                    <a:pt x="273329" y="253568"/>
                  </a:lnTo>
                  <a:lnTo>
                    <a:pt x="224993" y="257924"/>
                  </a:lnTo>
                  <a:lnTo>
                    <a:pt x="179438" y="270294"/>
                  </a:lnTo>
                  <a:lnTo>
                    <a:pt x="137401" y="289941"/>
                  </a:lnTo>
                  <a:lnTo>
                    <a:pt x="99618" y="316128"/>
                  </a:lnTo>
                  <a:lnTo>
                    <a:pt x="66814" y="348145"/>
                  </a:lnTo>
                  <a:lnTo>
                    <a:pt x="39725" y="385254"/>
                  </a:lnTo>
                  <a:lnTo>
                    <a:pt x="19075" y="426707"/>
                  </a:lnTo>
                  <a:lnTo>
                    <a:pt x="5613" y="471805"/>
                  </a:lnTo>
                  <a:lnTo>
                    <a:pt x="38" y="519785"/>
                  </a:lnTo>
                  <a:lnTo>
                    <a:pt x="47713" y="515759"/>
                  </a:lnTo>
                  <a:lnTo>
                    <a:pt x="92240" y="504101"/>
                  </a:lnTo>
                  <a:lnTo>
                    <a:pt x="133464" y="485495"/>
                  </a:lnTo>
                  <a:lnTo>
                    <a:pt x="170738" y="460629"/>
                  </a:lnTo>
                  <a:lnTo>
                    <a:pt x="203365" y="430161"/>
                  </a:lnTo>
                  <a:lnTo>
                    <a:pt x="230670" y="394779"/>
                  </a:lnTo>
                  <a:lnTo>
                    <a:pt x="251993" y="355155"/>
                  </a:lnTo>
                  <a:lnTo>
                    <a:pt x="266661" y="311962"/>
                  </a:lnTo>
                  <a:lnTo>
                    <a:pt x="273989" y="265874"/>
                  </a:lnTo>
                  <a:lnTo>
                    <a:pt x="281165" y="312140"/>
                  </a:lnTo>
                  <a:lnTo>
                    <a:pt x="295719" y="355511"/>
                  </a:lnTo>
                  <a:lnTo>
                    <a:pt x="316992" y="395312"/>
                  </a:lnTo>
                  <a:lnTo>
                    <a:pt x="344284" y="430847"/>
                  </a:lnTo>
                  <a:lnTo>
                    <a:pt x="376923" y="461441"/>
                  </a:lnTo>
                  <a:lnTo>
                    <a:pt x="414235" y="486422"/>
                  </a:lnTo>
                  <a:lnTo>
                    <a:pt x="455549" y="505104"/>
                  </a:lnTo>
                  <a:lnTo>
                    <a:pt x="500164" y="516813"/>
                  </a:lnTo>
                  <a:lnTo>
                    <a:pt x="548081" y="520865"/>
                  </a:lnTo>
                  <a:close/>
                </a:path>
                <a:path w="548640" h="786764">
                  <a:moveTo>
                    <a:pt x="548081" y="267335"/>
                  </a:moveTo>
                  <a:lnTo>
                    <a:pt x="546849" y="256438"/>
                  </a:lnTo>
                  <a:lnTo>
                    <a:pt x="542645" y="219163"/>
                  </a:lnTo>
                  <a:lnTo>
                    <a:pt x="529247" y="173888"/>
                  </a:lnTo>
                  <a:lnTo>
                    <a:pt x="508635" y="132257"/>
                  </a:lnTo>
                  <a:lnTo>
                    <a:pt x="481533" y="95008"/>
                  </a:lnTo>
                  <a:lnTo>
                    <a:pt x="448691" y="62865"/>
                  </a:lnTo>
                  <a:lnTo>
                    <a:pt x="410832" y="36537"/>
                  </a:lnTo>
                  <a:lnTo>
                    <a:pt x="368706" y="16802"/>
                  </a:lnTo>
                  <a:lnTo>
                    <a:pt x="323037" y="4381"/>
                  </a:lnTo>
                  <a:lnTo>
                    <a:pt x="274561" y="0"/>
                  </a:lnTo>
                  <a:lnTo>
                    <a:pt x="273329" y="0"/>
                  </a:lnTo>
                  <a:lnTo>
                    <a:pt x="224993" y="4356"/>
                  </a:lnTo>
                  <a:lnTo>
                    <a:pt x="179438" y="16725"/>
                  </a:lnTo>
                  <a:lnTo>
                    <a:pt x="137401" y="36372"/>
                  </a:lnTo>
                  <a:lnTo>
                    <a:pt x="99618" y="62572"/>
                  </a:lnTo>
                  <a:lnTo>
                    <a:pt x="66814" y="94576"/>
                  </a:lnTo>
                  <a:lnTo>
                    <a:pt x="39700" y="131699"/>
                  </a:lnTo>
                  <a:lnTo>
                    <a:pt x="19037" y="173151"/>
                  </a:lnTo>
                  <a:lnTo>
                    <a:pt x="5562" y="218224"/>
                  </a:lnTo>
                  <a:lnTo>
                    <a:pt x="0" y="266204"/>
                  </a:lnTo>
                  <a:lnTo>
                    <a:pt x="47713" y="262191"/>
                  </a:lnTo>
                  <a:lnTo>
                    <a:pt x="92240" y="250532"/>
                  </a:lnTo>
                  <a:lnTo>
                    <a:pt x="133464" y="231940"/>
                  </a:lnTo>
                  <a:lnTo>
                    <a:pt x="170738" y="207060"/>
                  </a:lnTo>
                  <a:lnTo>
                    <a:pt x="203365" y="176606"/>
                  </a:lnTo>
                  <a:lnTo>
                    <a:pt x="230682" y="141224"/>
                  </a:lnTo>
                  <a:lnTo>
                    <a:pt x="252006" y="101612"/>
                  </a:lnTo>
                  <a:lnTo>
                    <a:pt x="266674" y="58420"/>
                  </a:lnTo>
                  <a:lnTo>
                    <a:pt x="273989" y="12369"/>
                  </a:lnTo>
                  <a:lnTo>
                    <a:pt x="279844" y="50114"/>
                  </a:lnTo>
                  <a:lnTo>
                    <a:pt x="295719" y="101955"/>
                  </a:lnTo>
                  <a:lnTo>
                    <a:pt x="316992" y="141744"/>
                  </a:lnTo>
                  <a:lnTo>
                    <a:pt x="344284" y="177279"/>
                  </a:lnTo>
                  <a:lnTo>
                    <a:pt x="376936" y="207886"/>
                  </a:lnTo>
                  <a:lnTo>
                    <a:pt x="414248" y="232867"/>
                  </a:lnTo>
                  <a:lnTo>
                    <a:pt x="455549" y="251561"/>
                  </a:lnTo>
                  <a:lnTo>
                    <a:pt x="500176" y="263271"/>
                  </a:lnTo>
                  <a:lnTo>
                    <a:pt x="548081" y="267335"/>
                  </a:lnTo>
                  <a:close/>
                </a:path>
              </a:pathLst>
            </a:custGeom>
            <a:solidFill>
              <a:srgbClr val="2DB7EA"/>
            </a:solidFill>
          </p:spPr>
          <p:txBody>
            <a:bodyPr wrap="square" lIns="0" tIns="0" rIns="0" bIns="0" rtlCol="0"/>
            <a:lstStyle/>
            <a:p>
              <a:endParaRPr dirty="0"/>
            </a:p>
          </p:txBody>
        </p:sp>
        <p:pic>
          <p:nvPicPr>
            <p:cNvPr id="159" name="object 157">
              <a:extLst>
                <a:ext uri="{FF2B5EF4-FFF2-40B4-BE49-F238E27FC236}">
                  <a16:creationId xmlns:a16="http://schemas.microsoft.com/office/drawing/2014/main" id="{115DAA0D-BFC3-CFAE-14E4-A587632E62D6}"/>
                </a:ext>
              </a:extLst>
            </p:cNvPr>
            <p:cNvPicPr/>
            <p:nvPr/>
          </p:nvPicPr>
          <p:blipFill>
            <a:blip r:embed="rId13" cstate="print"/>
            <a:stretch>
              <a:fillRect/>
            </a:stretch>
          </p:blipFill>
          <p:spPr>
            <a:xfrm>
              <a:off x="11177526" y="3010234"/>
              <a:ext cx="106445" cy="107156"/>
            </a:xfrm>
            <a:prstGeom prst="rect">
              <a:avLst/>
            </a:prstGeom>
          </p:spPr>
        </p:pic>
        <p:sp>
          <p:nvSpPr>
            <p:cNvPr id="160" name="object 158">
              <a:extLst>
                <a:ext uri="{FF2B5EF4-FFF2-40B4-BE49-F238E27FC236}">
                  <a16:creationId xmlns:a16="http://schemas.microsoft.com/office/drawing/2014/main" id="{2E72AFA3-5C59-3798-1EE0-E98DA2742585}"/>
                </a:ext>
              </a:extLst>
            </p:cNvPr>
            <p:cNvSpPr/>
            <p:nvPr/>
          </p:nvSpPr>
          <p:spPr>
            <a:xfrm>
              <a:off x="11064254" y="3208700"/>
              <a:ext cx="332700" cy="477101"/>
            </a:xfrm>
            <a:custGeom>
              <a:avLst/>
              <a:gdLst/>
              <a:ahLst/>
              <a:cxnLst/>
              <a:rect l="l" t="t" r="r" b="b"/>
              <a:pathLst>
                <a:path w="548640" h="786764">
                  <a:moveTo>
                    <a:pt x="548081" y="786384"/>
                  </a:moveTo>
                  <a:lnTo>
                    <a:pt x="542632" y="738225"/>
                  </a:lnTo>
                  <a:lnTo>
                    <a:pt x="529234" y="692962"/>
                  </a:lnTo>
                  <a:lnTo>
                    <a:pt x="508622" y="651344"/>
                  </a:lnTo>
                  <a:lnTo>
                    <a:pt x="481520" y="614083"/>
                  </a:lnTo>
                  <a:lnTo>
                    <a:pt x="448678"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73"/>
                  </a:lnTo>
                  <a:lnTo>
                    <a:pt x="19075" y="692226"/>
                  </a:lnTo>
                  <a:lnTo>
                    <a:pt x="5613" y="737323"/>
                  </a:lnTo>
                  <a:lnTo>
                    <a:pt x="38" y="785317"/>
                  </a:lnTo>
                  <a:lnTo>
                    <a:pt x="47713" y="781278"/>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59"/>
                  </a:lnTo>
                  <a:lnTo>
                    <a:pt x="295719" y="621042"/>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65"/>
                  </a:moveTo>
                  <a:lnTo>
                    <a:pt x="542632" y="472694"/>
                  </a:lnTo>
                  <a:lnTo>
                    <a:pt x="529234" y="427431"/>
                  </a:lnTo>
                  <a:lnTo>
                    <a:pt x="508622" y="385813"/>
                  </a:lnTo>
                  <a:lnTo>
                    <a:pt x="481520" y="348551"/>
                  </a:lnTo>
                  <a:lnTo>
                    <a:pt x="448678" y="316407"/>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15"/>
                  </a:lnTo>
                  <a:lnTo>
                    <a:pt x="66814" y="348132"/>
                  </a:lnTo>
                  <a:lnTo>
                    <a:pt x="39725" y="385241"/>
                  </a:lnTo>
                  <a:lnTo>
                    <a:pt x="19075" y="426694"/>
                  </a:lnTo>
                  <a:lnTo>
                    <a:pt x="5613" y="471792"/>
                  </a:lnTo>
                  <a:lnTo>
                    <a:pt x="38" y="519785"/>
                  </a:lnTo>
                  <a:lnTo>
                    <a:pt x="47713" y="515747"/>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29"/>
                  </a:lnTo>
                  <a:lnTo>
                    <a:pt x="414235" y="486410"/>
                  </a:lnTo>
                  <a:lnTo>
                    <a:pt x="455549" y="505091"/>
                  </a:lnTo>
                  <a:lnTo>
                    <a:pt x="500164" y="516801"/>
                  </a:lnTo>
                  <a:lnTo>
                    <a:pt x="548081" y="520865"/>
                  </a:lnTo>
                  <a:close/>
                </a:path>
                <a:path w="548640" h="786764">
                  <a:moveTo>
                    <a:pt x="548081" y="267322"/>
                  </a:moveTo>
                  <a:lnTo>
                    <a:pt x="546976" y="257530"/>
                  </a:lnTo>
                  <a:lnTo>
                    <a:pt x="542645" y="219151"/>
                  </a:lnTo>
                  <a:lnTo>
                    <a:pt x="529247" y="173888"/>
                  </a:lnTo>
                  <a:lnTo>
                    <a:pt x="508635" y="132257"/>
                  </a:lnTo>
                  <a:lnTo>
                    <a:pt x="481533" y="94996"/>
                  </a:lnTo>
                  <a:lnTo>
                    <a:pt x="449376" y="63525"/>
                  </a:lnTo>
                  <a:lnTo>
                    <a:pt x="448691" y="62852"/>
                  </a:lnTo>
                  <a:lnTo>
                    <a:pt x="410832" y="36525"/>
                  </a:lnTo>
                  <a:lnTo>
                    <a:pt x="368706" y="16814"/>
                  </a:lnTo>
                  <a:lnTo>
                    <a:pt x="323037" y="4368"/>
                  </a:lnTo>
                  <a:lnTo>
                    <a:pt x="274561" y="0"/>
                  </a:lnTo>
                  <a:lnTo>
                    <a:pt x="273329" y="0"/>
                  </a:lnTo>
                  <a:lnTo>
                    <a:pt x="224993" y="4356"/>
                  </a:lnTo>
                  <a:lnTo>
                    <a:pt x="179438" y="16725"/>
                  </a:lnTo>
                  <a:lnTo>
                    <a:pt x="137401" y="36360"/>
                  </a:lnTo>
                  <a:lnTo>
                    <a:pt x="99618" y="62560"/>
                  </a:lnTo>
                  <a:lnTo>
                    <a:pt x="66814" y="94576"/>
                  </a:lnTo>
                  <a:lnTo>
                    <a:pt x="39700" y="131686"/>
                  </a:lnTo>
                  <a:lnTo>
                    <a:pt x="19037" y="173139"/>
                  </a:lnTo>
                  <a:lnTo>
                    <a:pt x="5562" y="218224"/>
                  </a:lnTo>
                  <a:lnTo>
                    <a:pt x="0" y="266192"/>
                  </a:lnTo>
                  <a:lnTo>
                    <a:pt x="47713" y="262178"/>
                  </a:lnTo>
                  <a:lnTo>
                    <a:pt x="92240" y="250532"/>
                  </a:lnTo>
                  <a:lnTo>
                    <a:pt x="133464" y="231927"/>
                  </a:lnTo>
                  <a:lnTo>
                    <a:pt x="170738" y="207060"/>
                  </a:lnTo>
                  <a:lnTo>
                    <a:pt x="203365" y="176593"/>
                  </a:lnTo>
                  <a:lnTo>
                    <a:pt x="230682" y="141224"/>
                  </a:lnTo>
                  <a:lnTo>
                    <a:pt x="252006" y="101600"/>
                  </a:lnTo>
                  <a:lnTo>
                    <a:pt x="266674" y="58407"/>
                  </a:lnTo>
                  <a:lnTo>
                    <a:pt x="273989" y="12369"/>
                  </a:lnTo>
                  <a:lnTo>
                    <a:pt x="279844" y="50101"/>
                  </a:lnTo>
                  <a:lnTo>
                    <a:pt x="295719" y="101942"/>
                  </a:lnTo>
                  <a:lnTo>
                    <a:pt x="316992" y="141744"/>
                  </a:lnTo>
                  <a:lnTo>
                    <a:pt x="344284" y="177279"/>
                  </a:lnTo>
                  <a:lnTo>
                    <a:pt x="376923" y="207873"/>
                  </a:lnTo>
                  <a:lnTo>
                    <a:pt x="414248" y="232867"/>
                  </a:lnTo>
                  <a:lnTo>
                    <a:pt x="455549" y="251548"/>
                  </a:lnTo>
                  <a:lnTo>
                    <a:pt x="500176" y="263271"/>
                  </a:lnTo>
                  <a:lnTo>
                    <a:pt x="548081" y="267322"/>
                  </a:lnTo>
                  <a:close/>
                </a:path>
              </a:pathLst>
            </a:custGeom>
            <a:solidFill>
              <a:srgbClr val="7ED3F1"/>
            </a:solidFill>
          </p:spPr>
          <p:txBody>
            <a:bodyPr wrap="square" lIns="0" tIns="0" rIns="0" bIns="0" rtlCol="0"/>
            <a:lstStyle/>
            <a:p>
              <a:endParaRPr dirty="0"/>
            </a:p>
          </p:txBody>
        </p:sp>
        <p:pic>
          <p:nvPicPr>
            <p:cNvPr id="161" name="object 159">
              <a:extLst>
                <a:ext uri="{FF2B5EF4-FFF2-40B4-BE49-F238E27FC236}">
                  <a16:creationId xmlns:a16="http://schemas.microsoft.com/office/drawing/2014/main" id="{7EE83029-2796-E52F-AABD-4698C53375FA}"/>
                </a:ext>
              </a:extLst>
            </p:cNvPr>
            <p:cNvPicPr/>
            <p:nvPr/>
          </p:nvPicPr>
          <p:blipFill>
            <a:blip r:embed="rId14" cstate="print"/>
            <a:stretch>
              <a:fillRect/>
            </a:stretch>
          </p:blipFill>
          <p:spPr>
            <a:xfrm>
              <a:off x="11177526" y="3664400"/>
              <a:ext cx="106445" cy="107156"/>
            </a:xfrm>
            <a:prstGeom prst="rect">
              <a:avLst/>
            </a:prstGeom>
          </p:spPr>
        </p:pic>
        <p:sp>
          <p:nvSpPr>
            <p:cNvPr id="162" name="object 160">
              <a:extLst>
                <a:ext uri="{FF2B5EF4-FFF2-40B4-BE49-F238E27FC236}">
                  <a16:creationId xmlns:a16="http://schemas.microsoft.com/office/drawing/2014/main" id="{5D34E65E-2456-5EF4-5F7B-E7014BABDF57}"/>
                </a:ext>
              </a:extLst>
            </p:cNvPr>
            <p:cNvSpPr/>
            <p:nvPr/>
          </p:nvSpPr>
          <p:spPr>
            <a:xfrm>
              <a:off x="11064254" y="1246203"/>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78"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38" y="785304"/>
                  </a:lnTo>
                  <a:lnTo>
                    <a:pt x="47713" y="781278"/>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52"/>
                  </a:moveTo>
                  <a:lnTo>
                    <a:pt x="542632" y="472694"/>
                  </a:lnTo>
                  <a:lnTo>
                    <a:pt x="529234" y="427431"/>
                  </a:lnTo>
                  <a:lnTo>
                    <a:pt x="508622" y="385813"/>
                  </a:lnTo>
                  <a:lnTo>
                    <a:pt x="481520" y="348551"/>
                  </a:lnTo>
                  <a:lnTo>
                    <a:pt x="448678" y="316395"/>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15"/>
                  </a:lnTo>
                  <a:lnTo>
                    <a:pt x="66814" y="348132"/>
                  </a:lnTo>
                  <a:lnTo>
                    <a:pt x="39725" y="385241"/>
                  </a:lnTo>
                  <a:lnTo>
                    <a:pt x="19075" y="426694"/>
                  </a:lnTo>
                  <a:lnTo>
                    <a:pt x="5613" y="471792"/>
                  </a:lnTo>
                  <a:lnTo>
                    <a:pt x="38" y="519785"/>
                  </a:lnTo>
                  <a:lnTo>
                    <a:pt x="47713" y="515747"/>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35" y="486410"/>
                  </a:lnTo>
                  <a:lnTo>
                    <a:pt x="455549" y="505091"/>
                  </a:lnTo>
                  <a:lnTo>
                    <a:pt x="500164" y="516801"/>
                  </a:lnTo>
                  <a:lnTo>
                    <a:pt x="548081" y="520852"/>
                  </a:lnTo>
                  <a:close/>
                </a:path>
                <a:path w="548640" h="786764">
                  <a:moveTo>
                    <a:pt x="548081" y="267322"/>
                  </a:moveTo>
                  <a:lnTo>
                    <a:pt x="546976" y="257530"/>
                  </a:lnTo>
                  <a:lnTo>
                    <a:pt x="542645" y="219151"/>
                  </a:lnTo>
                  <a:lnTo>
                    <a:pt x="529247" y="173875"/>
                  </a:lnTo>
                  <a:lnTo>
                    <a:pt x="508635" y="132257"/>
                  </a:lnTo>
                  <a:lnTo>
                    <a:pt x="481533" y="94996"/>
                  </a:lnTo>
                  <a:lnTo>
                    <a:pt x="449376" y="63525"/>
                  </a:lnTo>
                  <a:lnTo>
                    <a:pt x="448691" y="62852"/>
                  </a:lnTo>
                  <a:lnTo>
                    <a:pt x="410832" y="36525"/>
                  </a:lnTo>
                  <a:lnTo>
                    <a:pt x="368706" y="16789"/>
                  </a:lnTo>
                  <a:lnTo>
                    <a:pt x="323037" y="4368"/>
                  </a:lnTo>
                  <a:lnTo>
                    <a:pt x="274561" y="0"/>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32"/>
                  </a:lnTo>
                  <a:lnTo>
                    <a:pt x="133464" y="231927"/>
                  </a:lnTo>
                  <a:lnTo>
                    <a:pt x="170738" y="207060"/>
                  </a:lnTo>
                  <a:lnTo>
                    <a:pt x="203365" y="176593"/>
                  </a:lnTo>
                  <a:lnTo>
                    <a:pt x="230682" y="141224"/>
                  </a:lnTo>
                  <a:lnTo>
                    <a:pt x="252006" y="101600"/>
                  </a:lnTo>
                  <a:lnTo>
                    <a:pt x="266674" y="58407"/>
                  </a:lnTo>
                  <a:lnTo>
                    <a:pt x="273989" y="12357"/>
                  </a:lnTo>
                  <a:lnTo>
                    <a:pt x="279844" y="50101"/>
                  </a:lnTo>
                  <a:lnTo>
                    <a:pt x="295719" y="101942"/>
                  </a:lnTo>
                  <a:lnTo>
                    <a:pt x="316992" y="141744"/>
                  </a:lnTo>
                  <a:lnTo>
                    <a:pt x="344284" y="177279"/>
                  </a:lnTo>
                  <a:lnTo>
                    <a:pt x="376923" y="207873"/>
                  </a:lnTo>
                  <a:lnTo>
                    <a:pt x="414248" y="232867"/>
                  </a:lnTo>
                  <a:lnTo>
                    <a:pt x="455549" y="251548"/>
                  </a:lnTo>
                  <a:lnTo>
                    <a:pt x="500176" y="263271"/>
                  </a:lnTo>
                  <a:lnTo>
                    <a:pt x="548081" y="267322"/>
                  </a:lnTo>
                  <a:close/>
                </a:path>
              </a:pathLst>
            </a:custGeom>
            <a:solidFill>
              <a:srgbClr val="2DB7EA"/>
            </a:solidFill>
          </p:spPr>
          <p:txBody>
            <a:bodyPr wrap="square" lIns="0" tIns="0" rIns="0" bIns="0" rtlCol="0"/>
            <a:lstStyle/>
            <a:p>
              <a:endParaRPr dirty="0"/>
            </a:p>
          </p:txBody>
        </p:sp>
        <p:pic>
          <p:nvPicPr>
            <p:cNvPr id="163" name="object 161">
              <a:extLst>
                <a:ext uri="{FF2B5EF4-FFF2-40B4-BE49-F238E27FC236}">
                  <a16:creationId xmlns:a16="http://schemas.microsoft.com/office/drawing/2014/main" id="{100B0AA4-6496-AD30-E182-D0C3861D5ACD}"/>
                </a:ext>
              </a:extLst>
            </p:cNvPr>
            <p:cNvPicPr/>
            <p:nvPr/>
          </p:nvPicPr>
          <p:blipFill>
            <a:blip r:embed="rId13" cstate="print"/>
            <a:stretch>
              <a:fillRect/>
            </a:stretch>
          </p:blipFill>
          <p:spPr>
            <a:xfrm>
              <a:off x="11177526" y="1701903"/>
              <a:ext cx="106445" cy="107156"/>
            </a:xfrm>
            <a:prstGeom prst="rect">
              <a:avLst/>
            </a:prstGeom>
          </p:spPr>
        </p:pic>
        <p:sp>
          <p:nvSpPr>
            <p:cNvPr id="164" name="object 162">
              <a:extLst>
                <a:ext uri="{FF2B5EF4-FFF2-40B4-BE49-F238E27FC236}">
                  <a16:creationId xmlns:a16="http://schemas.microsoft.com/office/drawing/2014/main" id="{9756AF7D-8E6B-BD96-7152-303143A33150}"/>
                </a:ext>
              </a:extLst>
            </p:cNvPr>
            <p:cNvSpPr/>
            <p:nvPr/>
          </p:nvSpPr>
          <p:spPr>
            <a:xfrm>
              <a:off x="11064254" y="1900365"/>
              <a:ext cx="332700" cy="477101"/>
            </a:xfrm>
            <a:custGeom>
              <a:avLst/>
              <a:gdLst/>
              <a:ahLst/>
              <a:cxnLst/>
              <a:rect l="l" t="t" r="r" b="b"/>
              <a:pathLst>
                <a:path w="548640" h="786764">
                  <a:moveTo>
                    <a:pt x="548081" y="786396"/>
                  </a:moveTo>
                  <a:lnTo>
                    <a:pt x="542632" y="738225"/>
                  </a:lnTo>
                  <a:lnTo>
                    <a:pt x="529234" y="692962"/>
                  </a:lnTo>
                  <a:lnTo>
                    <a:pt x="508622" y="651344"/>
                  </a:lnTo>
                  <a:lnTo>
                    <a:pt x="481520" y="614083"/>
                  </a:lnTo>
                  <a:lnTo>
                    <a:pt x="448678" y="581939"/>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60"/>
                  </a:lnTo>
                  <a:lnTo>
                    <a:pt x="66814" y="613664"/>
                  </a:lnTo>
                  <a:lnTo>
                    <a:pt x="39725" y="650773"/>
                  </a:lnTo>
                  <a:lnTo>
                    <a:pt x="19075" y="692238"/>
                  </a:lnTo>
                  <a:lnTo>
                    <a:pt x="5613" y="737323"/>
                  </a:lnTo>
                  <a:lnTo>
                    <a:pt x="38" y="785317"/>
                  </a:lnTo>
                  <a:lnTo>
                    <a:pt x="47713" y="781278"/>
                  </a:lnTo>
                  <a:lnTo>
                    <a:pt x="92240" y="769620"/>
                  </a:lnTo>
                  <a:lnTo>
                    <a:pt x="133464" y="751027"/>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35" y="751941"/>
                  </a:lnTo>
                  <a:lnTo>
                    <a:pt x="455549" y="770636"/>
                  </a:lnTo>
                  <a:lnTo>
                    <a:pt x="500164" y="782332"/>
                  </a:lnTo>
                  <a:lnTo>
                    <a:pt x="548081" y="786396"/>
                  </a:lnTo>
                  <a:close/>
                </a:path>
                <a:path w="548640" h="786764">
                  <a:moveTo>
                    <a:pt x="548081" y="520865"/>
                  </a:moveTo>
                  <a:lnTo>
                    <a:pt x="542632" y="472706"/>
                  </a:lnTo>
                  <a:lnTo>
                    <a:pt x="529234" y="427443"/>
                  </a:lnTo>
                  <a:lnTo>
                    <a:pt x="508622" y="385813"/>
                  </a:lnTo>
                  <a:lnTo>
                    <a:pt x="481520" y="348551"/>
                  </a:lnTo>
                  <a:lnTo>
                    <a:pt x="448678" y="316407"/>
                  </a:lnTo>
                  <a:lnTo>
                    <a:pt x="410832" y="290093"/>
                  </a:lnTo>
                  <a:lnTo>
                    <a:pt x="368706" y="270357"/>
                  </a:lnTo>
                  <a:lnTo>
                    <a:pt x="323037" y="257937"/>
                  </a:lnTo>
                  <a:lnTo>
                    <a:pt x="274561" y="253555"/>
                  </a:lnTo>
                  <a:lnTo>
                    <a:pt x="273329" y="253555"/>
                  </a:lnTo>
                  <a:lnTo>
                    <a:pt x="224993" y="257924"/>
                  </a:lnTo>
                  <a:lnTo>
                    <a:pt x="179438" y="270281"/>
                  </a:lnTo>
                  <a:lnTo>
                    <a:pt x="137401" y="289928"/>
                  </a:lnTo>
                  <a:lnTo>
                    <a:pt x="99618" y="316128"/>
                  </a:lnTo>
                  <a:lnTo>
                    <a:pt x="66814" y="348132"/>
                  </a:lnTo>
                  <a:lnTo>
                    <a:pt x="39725" y="385241"/>
                  </a:lnTo>
                  <a:lnTo>
                    <a:pt x="19075" y="426707"/>
                  </a:lnTo>
                  <a:lnTo>
                    <a:pt x="5613" y="471792"/>
                  </a:lnTo>
                  <a:lnTo>
                    <a:pt x="38" y="519785"/>
                  </a:lnTo>
                  <a:lnTo>
                    <a:pt x="47713" y="515747"/>
                  </a:lnTo>
                  <a:lnTo>
                    <a:pt x="92240" y="504088"/>
                  </a:lnTo>
                  <a:lnTo>
                    <a:pt x="133464" y="485495"/>
                  </a:lnTo>
                  <a:lnTo>
                    <a:pt x="170738" y="460616"/>
                  </a:lnTo>
                  <a:lnTo>
                    <a:pt x="203365" y="430161"/>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4">
                  <a:moveTo>
                    <a:pt x="548081" y="267322"/>
                  </a:moveTo>
                  <a:lnTo>
                    <a:pt x="546976" y="257530"/>
                  </a:lnTo>
                  <a:lnTo>
                    <a:pt x="542645" y="219151"/>
                  </a:lnTo>
                  <a:lnTo>
                    <a:pt x="529247" y="173888"/>
                  </a:lnTo>
                  <a:lnTo>
                    <a:pt x="508635" y="132257"/>
                  </a:lnTo>
                  <a:lnTo>
                    <a:pt x="481533" y="95008"/>
                  </a:lnTo>
                  <a:lnTo>
                    <a:pt x="448691" y="62852"/>
                  </a:lnTo>
                  <a:lnTo>
                    <a:pt x="410832" y="36550"/>
                  </a:lnTo>
                  <a:lnTo>
                    <a:pt x="368706" y="16814"/>
                  </a:lnTo>
                  <a:lnTo>
                    <a:pt x="323037" y="4381"/>
                  </a:lnTo>
                  <a:lnTo>
                    <a:pt x="274561" y="0"/>
                  </a:lnTo>
                  <a:lnTo>
                    <a:pt x="273329" y="0"/>
                  </a:lnTo>
                  <a:lnTo>
                    <a:pt x="224993" y="4356"/>
                  </a:lnTo>
                  <a:lnTo>
                    <a:pt x="179438" y="16725"/>
                  </a:lnTo>
                  <a:lnTo>
                    <a:pt x="137401" y="36372"/>
                  </a:lnTo>
                  <a:lnTo>
                    <a:pt x="99618" y="62560"/>
                  </a:lnTo>
                  <a:lnTo>
                    <a:pt x="66814" y="94576"/>
                  </a:lnTo>
                  <a:lnTo>
                    <a:pt x="39700" y="131686"/>
                  </a:lnTo>
                  <a:lnTo>
                    <a:pt x="19037" y="173139"/>
                  </a:lnTo>
                  <a:lnTo>
                    <a:pt x="5562" y="218224"/>
                  </a:lnTo>
                  <a:lnTo>
                    <a:pt x="0" y="266192"/>
                  </a:lnTo>
                  <a:lnTo>
                    <a:pt x="47713" y="262191"/>
                  </a:lnTo>
                  <a:lnTo>
                    <a:pt x="92240" y="250532"/>
                  </a:lnTo>
                  <a:lnTo>
                    <a:pt x="133464" y="231927"/>
                  </a:lnTo>
                  <a:lnTo>
                    <a:pt x="170738" y="207060"/>
                  </a:lnTo>
                  <a:lnTo>
                    <a:pt x="203365" y="176593"/>
                  </a:lnTo>
                  <a:lnTo>
                    <a:pt x="230682" y="141224"/>
                  </a:lnTo>
                  <a:lnTo>
                    <a:pt x="252006" y="101600"/>
                  </a:lnTo>
                  <a:lnTo>
                    <a:pt x="266674" y="58420"/>
                  </a:lnTo>
                  <a:lnTo>
                    <a:pt x="273989" y="12369"/>
                  </a:lnTo>
                  <a:lnTo>
                    <a:pt x="279844" y="50101"/>
                  </a:lnTo>
                  <a:lnTo>
                    <a:pt x="295719" y="101942"/>
                  </a:lnTo>
                  <a:lnTo>
                    <a:pt x="316992" y="141744"/>
                  </a:lnTo>
                  <a:lnTo>
                    <a:pt x="344284" y="177279"/>
                  </a:lnTo>
                  <a:lnTo>
                    <a:pt x="376936" y="207886"/>
                  </a:lnTo>
                  <a:lnTo>
                    <a:pt x="414248" y="232867"/>
                  </a:lnTo>
                  <a:lnTo>
                    <a:pt x="455549" y="251561"/>
                  </a:lnTo>
                  <a:lnTo>
                    <a:pt x="500176" y="263271"/>
                  </a:lnTo>
                  <a:lnTo>
                    <a:pt x="548081" y="267322"/>
                  </a:lnTo>
                  <a:close/>
                </a:path>
              </a:pathLst>
            </a:custGeom>
            <a:solidFill>
              <a:srgbClr val="7ED3F1"/>
            </a:solidFill>
          </p:spPr>
          <p:txBody>
            <a:bodyPr wrap="square" lIns="0" tIns="0" rIns="0" bIns="0" rtlCol="0"/>
            <a:lstStyle/>
            <a:p>
              <a:endParaRPr dirty="0"/>
            </a:p>
          </p:txBody>
        </p:sp>
        <p:pic>
          <p:nvPicPr>
            <p:cNvPr id="165" name="object 163">
              <a:extLst>
                <a:ext uri="{FF2B5EF4-FFF2-40B4-BE49-F238E27FC236}">
                  <a16:creationId xmlns:a16="http://schemas.microsoft.com/office/drawing/2014/main" id="{2877FE78-B9C3-856A-F16E-53658205EFCF}"/>
                </a:ext>
              </a:extLst>
            </p:cNvPr>
            <p:cNvPicPr/>
            <p:nvPr/>
          </p:nvPicPr>
          <p:blipFill>
            <a:blip r:embed="rId14" cstate="print"/>
            <a:stretch>
              <a:fillRect/>
            </a:stretch>
          </p:blipFill>
          <p:spPr>
            <a:xfrm>
              <a:off x="11177526" y="2356067"/>
              <a:ext cx="106445" cy="107156"/>
            </a:xfrm>
            <a:prstGeom prst="rect">
              <a:avLst/>
            </a:prstGeom>
          </p:spPr>
        </p:pic>
        <p:sp>
          <p:nvSpPr>
            <p:cNvPr id="166" name="object 164">
              <a:extLst>
                <a:ext uri="{FF2B5EF4-FFF2-40B4-BE49-F238E27FC236}">
                  <a16:creationId xmlns:a16="http://schemas.microsoft.com/office/drawing/2014/main" id="{74B71D12-804B-FE89-BDD1-E63911B87D4B}"/>
                </a:ext>
              </a:extLst>
            </p:cNvPr>
            <p:cNvSpPr/>
            <p:nvPr/>
          </p:nvSpPr>
          <p:spPr>
            <a:xfrm>
              <a:off x="11064256"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167" name="object 165">
              <a:extLst>
                <a:ext uri="{FF2B5EF4-FFF2-40B4-BE49-F238E27FC236}">
                  <a16:creationId xmlns:a16="http://schemas.microsoft.com/office/drawing/2014/main" id="{1AA5305C-2DE4-BB9F-E65D-4D5AEECB1B27}"/>
                </a:ext>
              </a:extLst>
            </p:cNvPr>
            <p:cNvPicPr/>
            <p:nvPr/>
          </p:nvPicPr>
          <p:blipFill>
            <a:blip r:embed="rId22" cstate="print"/>
            <a:stretch>
              <a:fillRect/>
            </a:stretch>
          </p:blipFill>
          <p:spPr>
            <a:xfrm>
              <a:off x="11064284" y="123"/>
              <a:ext cx="152433" cy="99184"/>
            </a:xfrm>
            <a:prstGeom prst="rect">
              <a:avLst/>
            </a:prstGeom>
          </p:spPr>
        </p:pic>
        <p:pic>
          <p:nvPicPr>
            <p:cNvPr id="168" name="object 166">
              <a:extLst>
                <a:ext uri="{FF2B5EF4-FFF2-40B4-BE49-F238E27FC236}">
                  <a16:creationId xmlns:a16="http://schemas.microsoft.com/office/drawing/2014/main" id="{8369D700-5A4D-69C9-5E1E-0E5ADEDC2349}"/>
                </a:ext>
              </a:extLst>
            </p:cNvPr>
            <p:cNvPicPr/>
            <p:nvPr/>
          </p:nvPicPr>
          <p:blipFill>
            <a:blip r:embed="rId23" cstate="print"/>
            <a:stretch>
              <a:fillRect/>
            </a:stretch>
          </p:blipFill>
          <p:spPr>
            <a:xfrm>
              <a:off x="11243818" y="123"/>
              <a:ext cx="152798" cy="99837"/>
            </a:xfrm>
            <a:prstGeom prst="rect">
              <a:avLst/>
            </a:prstGeom>
          </p:spPr>
        </p:pic>
        <p:sp>
          <p:nvSpPr>
            <p:cNvPr id="169" name="object 167">
              <a:extLst>
                <a:ext uri="{FF2B5EF4-FFF2-40B4-BE49-F238E27FC236}">
                  <a16:creationId xmlns:a16="http://schemas.microsoft.com/office/drawing/2014/main" id="{9C78F140-D43F-A7F5-557C-4A8F591DAE3E}"/>
                </a:ext>
              </a:extLst>
            </p:cNvPr>
            <p:cNvSpPr/>
            <p:nvPr/>
          </p:nvSpPr>
          <p:spPr>
            <a:xfrm>
              <a:off x="11064277" y="91626"/>
              <a:ext cx="332700" cy="323458"/>
            </a:xfrm>
            <a:custGeom>
              <a:avLst/>
              <a:gdLst/>
              <a:ahLst/>
              <a:cxnLst/>
              <a:rect l="l" t="t" r="r" b="b"/>
              <a:pathLst>
                <a:path w="548640" h="533400">
                  <a:moveTo>
                    <a:pt x="548043" y="532841"/>
                  </a:moveTo>
                  <a:lnTo>
                    <a:pt x="542594" y="484682"/>
                  </a:lnTo>
                  <a:lnTo>
                    <a:pt x="529196" y="439420"/>
                  </a:lnTo>
                  <a:lnTo>
                    <a:pt x="508584" y="397789"/>
                  </a:lnTo>
                  <a:lnTo>
                    <a:pt x="481482" y="360527"/>
                  </a:lnTo>
                  <a:lnTo>
                    <a:pt x="448640" y="328383"/>
                  </a:lnTo>
                  <a:lnTo>
                    <a:pt x="410794" y="302069"/>
                  </a:lnTo>
                  <a:lnTo>
                    <a:pt x="368668" y="282333"/>
                  </a:lnTo>
                  <a:lnTo>
                    <a:pt x="322999" y="269913"/>
                  </a:lnTo>
                  <a:lnTo>
                    <a:pt x="274523" y="265544"/>
                  </a:lnTo>
                  <a:lnTo>
                    <a:pt x="273291" y="265544"/>
                  </a:lnTo>
                  <a:lnTo>
                    <a:pt x="224955" y="269900"/>
                  </a:lnTo>
                  <a:lnTo>
                    <a:pt x="179400" y="282257"/>
                  </a:lnTo>
                  <a:lnTo>
                    <a:pt x="137363" y="301904"/>
                  </a:lnTo>
                  <a:lnTo>
                    <a:pt x="99580" y="328104"/>
                  </a:lnTo>
                  <a:lnTo>
                    <a:pt x="66776" y="360121"/>
                  </a:lnTo>
                  <a:lnTo>
                    <a:pt x="39687" y="397217"/>
                  </a:lnTo>
                  <a:lnTo>
                    <a:pt x="19037" y="438683"/>
                  </a:lnTo>
                  <a:lnTo>
                    <a:pt x="5575" y="483768"/>
                  </a:lnTo>
                  <a:lnTo>
                    <a:pt x="0" y="531761"/>
                  </a:lnTo>
                  <a:lnTo>
                    <a:pt x="47675" y="527723"/>
                  </a:lnTo>
                  <a:lnTo>
                    <a:pt x="92202" y="516064"/>
                  </a:lnTo>
                  <a:lnTo>
                    <a:pt x="133426" y="497471"/>
                  </a:lnTo>
                  <a:lnTo>
                    <a:pt x="170700" y="472592"/>
                  </a:lnTo>
                  <a:lnTo>
                    <a:pt x="203327" y="442137"/>
                  </a:lnTo>
                  <a:lnTo>
                    <a:pt x="230632" y="406755"/>
                  </a:lnTo>
                  <a:lnTo>
                    <a:pt x="251955" y="367118"/>
                  </a:lnTo>
                  <a:lnTo>
                    <a:pt x="266623" y="323926"/>
                  </a:lnTo>
                  <a:lnTo>
                    <a:pt x="273951" y="277837"/>
                  </a:lnTo>
                  <a:lnTo>
                    <a:pt x="281127" y="324116"/>
                  </a:lnTo>
                  <a:lnTo>
                    <a:pt x="295681" y="367487"/>
                  </a:lnTo>
                  <a:lnTo>
                    <a:pt x="316953" y="407276"/>
                  </a:lnTo>
                  <a:lnTo>
                    <a:pt x="344246" y="442810"/>
                  </a:lnTo>
                  <a:lnTo>
                    <a:pt x="376885" y="473417"/>
                  </a:lnTo>
                  <a:lnTo>
                    <a:pt x="414197" y="498398"/>
                  </a:lnTo>
                  <a:lnTo>
                    <a:pt x="455510" y="517080"/>
                  </a:lnTo>
                  <a:lnTo>
                    <a:pt x="500126" y="528789"/>
                  </a:lnTo>
                  <a:lnTo>
                    <a:pt x="548043" y="532841"/>
                  </a:lnTo>
                  <a:close/>
                </a:path>
                <a:path w="548640" h="533400">
                  <a:moveTo>
                    <a:pt x="548043" y="267309"/>
                  </a:moveTo>
                  <a:lnTo>
                    <a:pt x="542594" y="219138"/>
                  </a:lnTo>
                  <a:lnTo>
                    <a:pt x="529196" y="173888"/>
                  </a:lnTo>
                  <a:lnTo>
                    <a:pt x="508584" y="132257"/>
                  </a:lnTo>
                  <a:lnTo>
                    <a:pt x="481482" y="94996"/>
                  </a:lnTo>
                  <a:lnTo>
                    <a:pt x="448640" y="62852"/>
                  </a:lnTo>
                  <a:lnTo>
                    <a:pt x="410794" y="36537"/>
                  </a:lnTo>
                  <a:lnTo>
                    <a:pt x="368668" y="16802"/>
                  </a:lnTo>
                  <a:lnTo>
                    <a:pt x="322999" y="4381"/>
                  </a:lnTo>
                  <a:lnTo>
                    <a:pt x="274523" y="0"/>
                  </a:lnTo>
                  <a:lnTo>
                    <a:pt x="273291" y="0"/>
                  </a:lnTo>
                  <a:lnTo>
                    <a:pt x="224955" y="4356"/>
                  </a:lnTo>
                  <a:lnTo>
                    <a:pt x="179400" y="16725"/>
                  </a:lnTo>
                  <a:lnTo>
                    <a:pt x="137363" y="36372"/>
                  </a:lnTo>
                  <a:lnTo>
                    <a:pt x="99580" y="62572"/>
                  </a:lnTo>
                  <a:lnTo>
                    <a:pt x="66776" y="94576"/>
                  </a:lnTo>
                  <a:lnTo>
                    <a:pt x="39687" y="131686"/>
                  </a:lnTo>
                  <a:lnTo>
                    <a:pt x="19037" y="173151"/>
                  </a:lnTo>
                  <a:lnTo>
                    <a:pt x="5575" y="218236"/>
                  </a:lnTo>
                  <a:lnTo>
                    <a:pt x="0" y="266230"/>
                  </a:lnTo>
                  <a:lnTo>
                    <a:pt x="47675" y="262191"/>
                  </a:lnTo>
                  <a:lnTo>
                    <a:pt x="92202" y="250532"/>
                  </a:lnTo>
                  <a:lnTo>
                    <a:pt x="133426" y="231940"/>
                  </a:lnTo>
                  <a:lnTo>
                    <a:pt x="170700" y="207060"/>
                  </a:lnTo>
                  <a:lnTo>
                    <a:pt x="203327" y="176593"/>
                  </a:lnTo>
                  <a:lnTo>
                    <a:pt x="230632" y="141211"/>
                  </a:lnTo>
                  <a:lnTo>
                    <a:pt x="251955" y="101587"/>
                  </a:lnTo>
                  <a:lnTo>
                    <a:pt x="266623" y="58394"/>
                  </a:lnTo>
                  <a:lnTo>
                    <a:pt x="273951" y="12306"/>
                  </a:lnTo>
                  <a:lnTo>
                    <a:pt x="281127" y="58585"/>
                  </a:lnTo>
                  <a:lnTo>
                    <a:pt x="295681" y="101955"/>
                  </a:lnTo>
                  <a:lnTo>
                    <a:pt x="316953" y="141744"/>
                  </a:lnTo>
                  <a:lnTo>
                    <a:pt x="344246" y="177279"/>
                  </a:lnTo>
                  <a:lnTo>
                    <a:pt x="376885" y="207873"/>
                  </a:lnTo>
                  <a:lnTo>
                    <a:pt x="414197" y="232854"/>
                  </a:lnTo>
                  <a:lnTo>
                    <a:pt x="455510" y="251548"/>
                  </a:lnTo>
                  <a:lnTo>
                    <a:pt x="500126" y="263258"/>
                  </a:lnTo>
                  <a:lnTo>
                    <a:pt x="548043" y="267309"/>
                  </a:lnTo>
                  <a:close/>
                </a:path>
              </a:pathLst>
            </a:custGeom>
            <a:solidFill>
              <a:srgbClr val="2DB7EA"/>
            </a:solidFill>
          </p:spPr>
          <p:txBody>
            <a:bodyPr wrap="square" lIns="0" tIns="0" rIns="0" bIns="0" rtlCol="0"/>
            <a:lstStyle/>
            <a:p>
              <a:endParaRPr dirty="0"/>
            </a:p>
          </p:txBody>
        </p:sp>
        <p:pic>
          <p:nvPicPr>
            <p:cNvPr id="170" name="object 168">
              <a:extLst>
                <a:ext uri="{FF2B5EF4-FFF2-40B4-BE49-F238E27FC236}">
                  <a16:creationId xmlns:a16="http://schemas.microsoft.com/office/drawing/2014/main" id="{19995FF3-CDFC-6FA5-DE39-0301A4EFDB21}"/>
                </a:ext>
              </a:extLst>
            </p:cNvPr>
            <p:cNvPicPr/>
            <p:nvPr/>
          </p:nvPicPr>
          <p:blipFill>
            <a:blip r:embed="rId13" cstate="print"/>
            <a:stretch>
              <a:fillRect/>
            </a:stretch>
          </p:blipFill>
          <p:spPr>
            <a:xfrm>
              <a:off x="11177526" y="393572"/>
              <a:ext cx="106445" cy="107156"/>
            </a:xfrm>
            <a:prstGeom prst="rect">
              <a:avLst/>
            </a:prstGeom>
          </p:spPr>
        </p:pic>
        <p:sp>
          <p:nvSpPr>
            <p:cNvPr id="171" name="object 169">
              <a:extLst>
                <a:ext uri="{FF2B5EF4-FFF2-40B4-BE49-F238E27FC236}">
                  <a16:creationId xmlns:a16="http://schemas.microsoft.com/office/drawing/2014/main" id="{5633DB41-73E3-64D3-4CBE-22D151643371}"/>
                </a:ext>
              </a:extLst>
            </p:cNvPr>
            <p:cNvSpPr/>
            <p:nvPr/>
          </p:nvSpPr>
          <p:spPr>
            <a:xfrm>
              <a:off x="11064254" y="592039"/>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78"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38" y="785304"/>
                  </a:lnTo>
                  <a:lnTo>
                    <a:pt x="47713" y="781278"/>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52"/>
                  </a:moveTo>
                  <a:lnTo>
                    <a:pt x="542632" y="472694"/>
                  </a:lnTo>
                  <a:lnTo>
                    <a:pt x="529234" y="427431"/>
                  </a:lnTo>
                  <a:lnTo>
                    <a:pt x="508622" y="385800"/>
                  </a:lnTo>
                  <a:lnTo>
                    <a:pt x="481520" y="348551"/>
                  </a:lnTo>
                  <a:lnTo>
                    <a:pt x="448678" y="316395"/>
                  </a:lnTo>
                  <a:lnTo>
                    <a:pt x="410832" y="290080"/>
                  </a:lnTo>
                  <a:lnTo>
                    <a:pt x="368706" y="270357"/>
                  </a:lnTo>
                  <a:lnTo>
                    <a:pt x="323037" y="257924"/>
                  </a:lnTo>
                  <a:lnTo>
                    <a:pt x="274561" y="253555"/>
                  </a:lnTo>
                  <a:lnTo>
                    <a:pt x="273329" y="253555"/>
                  </a:lnTo>
                  <a:lnTo>
                    <a:pt x="224993" y="257911"/>
                  </a:lnTo>
                  <a:lnTo>
                    <a:pt x="179438" y="270281"/>
                  </a:lnTo>
                  <a:lnTo>
                    <a:pt x="137401" y="289915"/>
                  </a:lnTo>
                  <a:lnTo>
                    <a:pt x="99618" y="316115"/>
                  </a:lnTo>
                  <a:lnTo>
                    <a:pt x="66814" y="348132"/>
                  </a:lnTo>
                  <a:lnTo>
                    <a:pt x="39725" y="385229"/>
                  </a:lnTo>
                  <a:lnTo>
                    <a:pt x="19075" y="426694"/>
                  </a:lnTo>
                  <a:lnTo>
                    <a:pt x="5613" y="471779"/>
                  </a:lnTo>
                  <a:lnTo>
                    <a:pt x="38" y="519772"/>
                  </a:lnTo>
                  <a:lnTo>
                    <a:pt x="47713" y="515734"/>
                  </a:lnTo>
                  <a:lnTo>
                    <a:pt x="92240" y="504088"/>
                  </a:lnTo>
                  <a:lnTo>
                    <a:pt x="133464" y="485482"/>
                  </a:lnTo>
                  <a:lnTo>
                    <a:pt x="170738" y="460616"/>
                  </a:lnTo>
                  <a:lnTo>
                    <a:pt x="203365" y="430149"/>
                  </a:lnTo>
                  <a:lnTo>
                    <a:pt x="230670" y="394766"/>
                  </a:lnTo>
                  <a:lnTo>
                    <a:pt x="251993" y="355142"/>
                  </a:lnTo>
                  <a:lnTo>
                    <a:pt x="266661" y="311937"/>
                  </a:lnTo>
                  <a:lnTo>
                    <a:pt x="273989" y="265861"/>
                  </a:lnTo>
                  <a:lnTo>
                    <a:pt x="281165" y="312127"/>
                  </a:lnTo>
                  <a:lnTo>
                    <a:pt x="295719" y="355498"/>
                  </a:lnTo>
                  <a:lnTo>
                    <a:pt x="316992" y="395300"/>
                  </a:lnTo>
                  <a:lnTo>
                    <a:pt x="344284" y="430834"/>
                  </a:lnTo>
                  <a:lnTo>
                    <a:pt x="376923" y="461429"/>
                  </a:lnTo>
                  <a:lnTo>
                    <a:pt x="414235" y="486410"/>
                  </a:lnTo>
                  <a:lnTo>
                    <a:pt x="455549" y="505091"/>
                  </a:lnTo>
                  <a:lnTo>
                    <a:pt x="500164" y="516801"/>
                  </a:lnTo>
                  <a:lnTo>
                    <a:pt x="548081" y="520852"/>
                  </a:lnTo>
                  <a:close/>
                </a:path>
                <a:path w="548640" h="786764">
                  <a:moveTo>
                    <a:pt x="548081" y="267322"/>
                  </a:moveTo>
                  <a:lnTo>
                    <a:pt x="547077" y="258432"/>
                  </a:lnTo>
                  <a:lnTo>
                    <a:pt x="542645" y="219138"/>
                  </a:lnTo>
                  <a:lnTo>
                    <a:pt x="529247" y="173875"/>
                  </a:lnTo>
                  <a:lnTo>
                    <a:pt x="508635" y="132245"/>
                  </a:lnTo>
                  <a:lnTo>
                    <a:pt x="481533" y="94996"/>
                  </a:lnTo>
                  <a:lnTo>
                    <a:pt x="480834" y="94322"/>
                  </a:lnTo>
                  <a:lnTo>
                    <a:pt x="448691" y="62839"/>
                  </a:lnTo>
                  <a:lnTo>
                    <a:pt x="433158" y="52057"/>
                  </a:lnTo>
                  <a:lnTo>
                    <a:pt x="410832" y="36537"/>
                  </a:lnTo>
                  <a:lnTo>
                    <a:pt x="368706" y="16789"/>
                  </a:lnTo>
                  <a:lnTo>
                    <a:pt x="323037" y="4368"/>
                  </a:lnTo>
                  <a:lnTo>
                    <a:pt x="274561" y="12"/>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64" y="231927"/>
                  </a:lnTo>
                  <a:lnTo>
                    <a:pt x="170738" y="207048"/>
                  </a:lnTo>
                  <a:lnTo>
                    <a:pt x="203365" y="176593"/>
                  </a:lnTo>
                  <a:lnTo>
                    <a:pt x="230682" y="141211"/>
                  </a:lnTo>
                  <a:lnTo>
                    <a:pt x="252006" y="101587"/>
                  </a:lnTo>
                  <a:lnTo>
                    <a:pt x="266674" y="58407"/>
                  </a:lnTo>
                  <a:lnTo>
                    <a:pt x="273989" y="12357"/>
                  </a:lnTo>
                  <a:lnTo>
                    <a:pt x="281165" y="58572"/>
                  </a:lnTo>
                  <a:lnTo>
                    <a:pt x="295719" y="101942"/>
                  </a:lnTo>
                  <a:lnTo>
                    <a:pt x="316992" y="141732"/>
                  </a:lnTo>
                  <a:lnTo>
                    <a:pt x="344284" y="177266"/>
                  </a:lnTo>
                  <a:lnTo>
                    <a:pt x="376923" y="207873"/>
                  </a:lnTo>
                  <a:lnTo>
                    <a:pt x="414235" y="232854"/>
                  </a:lnTo>
                  <a:lnTo>
                    <a:pt x="455549" y="251548"/>
                  </a:lnTo>
                  <a:lnTo>
                    <a:pt x="500176" y="263258"/>
                  </a:lnTo>
                  <a:lnTo>
                    <a:pt x="548081" y="267322"/>
                  </a:lnTo>
                  <a:close/>
                </a:path>
              </a:pathLst>
            </a:custGeom>
            <a:solidFill>
              <a:srgbClr val="7ED3F1"/>
            </a:solidFill>
          </p:spPr>
          <p:txBody>
            <a:bodyPr wrap="square" lIns="0" tIns="0" rIns="0" bIns="0" rtlCol="0"/>
            <a:lstStyle/>
            <a:p>
              <a:endParaRPr dirty="0"/>
            </a:p>
          </p:txBody>
        </p:sp>
        <p:pic>
          <p:nvPicPr>
            <p:cNvPr id="172" name="object 170">
              <a:extLst>
                <a:ext uri="{FF2B5EF4-FFF2-40B4-BE49-F238E27FC236}">
                  <a16:creationId xmlns:a16="http://schemas.microsoft.com/office/drawing/2014/main" id="{DEDD2D03-374B-45C1-DDFF-DECBEAC3601B}"/>
                </a:ext>
              </a:extLst>
            </p:cNvPr>
            <p:cNvPicPr/>
            <p:nvPr/>
          </p:nvPicPr>
          <p:blipFill>
            <a:blip r:embed="rId14" cstate="print"/>
            <a:stretch>
              <a:fillRect/>
            </a:stretch>
          </p:blipFill>
          <p:spPr>
            <a:xfrm>
              <a:off x="11177526" y="1047738"/>
              <a:ext cx="106445" cy="107156"/>
            </a:xfrm>
            <a:prstGeom prst="rect">
              <a:avLst/>
            </a:prstGeom>
          </p:spPr>
        </p:pic>
        <p:sp>
          <p:nvSpPr>
            <p:cNvPr id="189" name="object 187">
              <a:extLst>
                <a:ext uri="{FF2B5EF4-FFF2-40B4-BE49-F238E27FC236}">
                  <a16:creationId xmlns:a16="http://schemas.microsoft.com/office/drawing/2014/main" id="{2AA8AD30-5A30-CA9E-A4F8-D273D477669D}"/>
                </a:ext>
              </a:extLst>
            </p:cNvPr>
            <p:cNvSpPr/>
            <p:nvPr/>
          </p:nvSpPr>
          <p:spPr>
            <a:xfrm>
              <a:off x="11834385" y="3862863"/>
              <a:ext cx="332700" cy="477101"/>
            </a:xfrm>
            <a:custGeom>
              <a:avLst/>
              <a:gdLst/>
              <a:ahLst/>
              <a:cxnLst/>
              <a:rect l="l" t="t" r="r" b="b"/>
              <a:pathLst>
                <a:path w="548640" h="786765">
                  <a:moveTo>
                    <a:pt x="548081" y="786396"/>
                  </a:moveTo>
                  <a:lnTo>
                    <a:pt x="542632" y="738238"/>
                  </a:lnTo>
                  <a:lnTo>
                    <a:pt x="529234" y="692975"/>
                  </a:lnTo>
                  <a:lnTo>
                    <a:pt x="508622" y="651344"/>
                  </a:lnTo>
                  <a:lnTo>
                    <a:pt x="481533" y="614083"/>
                  </a:lnTo>
                  <a:lnTo>
                    <a:pt x="448691" y="581939"/>
                  </a:lnTo>
                  <a:lnTo>
                    <a:pt x="410832" y="555625"/>
                  </a:lnTo>
                  <a:lnTo>
                    <a:pt x="368706" y="535889"/>
                  </a:lnTo>
                  <a:lnTo>
                    <a:pt x="323037" y="523468"/>
                  </a:lnTo>
                  <a:lnTo>
                    <a:pt x="274561" y="519099"/>
                  </a:lnTo>
                  <a:lnTo>
                    <a:pt x="273342" y="519099"/>
                  </a:lnTo>
                  <a:lnTo>
                    <a:pt x="224993" y="523455"/>
                  </a:lnTo>
                  <a:lnTo>
                    <a:pt x="179438" y="535813"/>
                  </a:lnTo>
                  <a:lnTo>
                    <a:pt x="137401" y="555459"/>
                  </a:lnTo>
                  <a:lnTo>
                    <a:pt x="99618" y="581660"/>
                  </a:lnTo>
                  <a:lnTo>
                    <a:pt x="66814" y="613664"/>
                  </a:lnTo>
                  <a:lnTo>
                    <a:pt x="39725" y="650773"/>
                  </a:lnTo>
                  <a:lnTo>
                    <a:pt x="19088" y="692226"/>
                  </a:lnTo>
                  <a:lnTo>
                    <a:pt x="5613" y="737323"/>
                  </a:lnTo>
                  <a:lnTo>
                    <a:pt x="50" y="785304"/>
                  </a:lnTo>
                  <a:lnTo>
                    <a:pt x="47713" y="781265"/>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72"/>
                  </a:lnTo>
                  <a:lnTo>
                    <a:pt x="295732" y="621042"/>
                  </a:lnTo>
                  <a:lnTo>
                    <a:pt x="316992" y="660831"/>
                  </a:lnTo>
                  <a:lnTo>
                    <a:pt x="344284" y="696366"/>
                  </a:lnTo>
                  <a:lnTo>
                    <a:pt x="376936" y="726973"/>
                  </a:lnTo>
                  <a:lnTo>
                    <a:pt x="414248"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33" y="348564"/>
                  </a:lnTo>
                  <a:lnTo>
                    <a:pt x="448691" y="316407"/>
                  </a:lnTo>
                  <a:lnTo>
                    <a:pt x="410832" y="290106"/>
                  </a:lnTo>
                  <a:lnTo>
                    <a:pt x="368706" y="270370"/>
                  </a:lnTo>
                  <a:lnTo>
                    <a:pt x="323037" y="257949"/>
                  </a:lnTo>
                  <a:lnTo>
                    <a:pt x="274561" y="253568"/>
                  </a:lnTo>
                  <a:lnTo>
                    <a:pt x="273342" y="253568"/>
                  </a:lnTo>
                  <a:lnTo>
                    <a:pt x="224993" y="257924"/>
                  </a:lnTo>
                  <a:lnTo>
                    <a:pt x="179438" y="270294"/>
                  </a:lnTo>
                  <a:lnTo>
                    <a:pt x="137401" y="289941"/>
                  </a:lnTo>
                  <a:lnTo>
                    <a:pt x="99618" y="316128"/>
                  </a:lnTo>
                  <a:lnTo>
                    <a:pt x="66814" y="348145"/>
                  </a:lnTo>
                  <a:lnTo>
                    <a:pt x="39725" y="385241"/>
                  </a:lnTo>
                  <a:lnTo>
                    <a:pt x="19088" y="426707"/>
                  </a:lnTo>
                  <a:lnTo>
                    <a:pt x="5613" y="471792"/>
                  </a:lnTo>
                  <a:lnTo>
                    <a:pt x="50" y="519785"/>
                  </a:lnTo>
                  <a:lnTo>
                    <a:pt x="47713" y="515747"/>
                  </a:lnTo>
                  <a:lnTo>
                    <a:pt x="92240" y="504101"/>
                  </a:lnTo>
                  <a:lnTo>
                    <a:pt x="133477" y="485495"/>
                  </a:lnTo>
                  <a:lnTo>
                    <a:pt x="170738" y="460629"/>
                  </a:lnTo>
                  <a:lnTo>
                    <a:pt x="203365" y="430161"/>
                  </a:lnTo>
                  <a:lnTo>
                    <a:pt x="230670" y="394779"/>
                  </a:lnTo>
                  <a:lnTo>
                    <a:pt x="252006" y="355142"/>
                  </a:lnTo>
                  <a:lnTo>
                    <a:pt x="266661" y="311950"/>
                  </a:lnTo>
                  <a:lnTo>
                    <a:pt x="274002" y="265874"/>
                  </a:lnTo>
                  <a:lnTo>
                    <a:pt x="281165" y="312140"/>
                  </a:lnTo>
                  <a:lnTo>
                    <a:pt x="295732" y="355511"/>
                  </a:lnTo>
                  <a:lnTo>
                    <a:pt x="316992" y="395300"/>
                  </a:lnTo>
                  <a:lnTo>
                    <a:pt x="344284" y="430847"/>
                  </a:lnTo>
                  <a:lnTo>
                    <a:pt x="376936" y="461441"/>
                  </a:lnTo>
                  <a:lnTo>
                    <a:pt x="414248" y="486422"/>
                  </a:lnTo>
                  <a:lnTo>
                    <a:pt x="455549" y="505104"/>
                  </a:lnTo>
                  <a:lnTo>
                    <a:pt x="500164" y="516813"/>
                  </a:lnTo>
                  <a:lnTo>
                    <a:pt x="548081" y="520865"/>
                  </a:lnTo>
                  <a:close/>
                </a:path>
                <a:path w="548640" h="786765">
                  <a:moveTo>
                    <a:pt x="548093" y="267322"/>
                  </a:moveTo>
                  <a:lnTo>
                    <a:pt x="542645" y="219151"/>
                  </a:lnTo>
                  <a:lnTo>
                    <a:pt x="529247" y="173888"/>
                  </a:lnTo>
                  <a:lnTo>
                    <a:pt x="508635" y="132257"/>
                  </a:lnTo>
                  <a:lnTo>
                    <a:pt x="492937" y="110693"/>
                  </a:lnTo>
                  <a:lnTo>
                    <a:pt x="481533" y="95008"/>
                  </a:lnTo>
                  <a:lnTo>
                    <a:pt x="448691" y="62852"/>
                  </a:lnTo>
                  <a:lnTo>
                    <a:pt x="410845" y="36550"/>
                  </a:lnTo>
                  <a:lnTo>
                    <a:pt x="368706" y="16802"/>
                  </a:lnTo>
                  <a:lnTo>
                    <a:pt x="323037" y="4381"/>
                  </a:lnTo>
                  <a:lnTo>
                    <a:pt x="274561" y="0"/>
                  </a:lnTo>
                  <a:lnTo>
                    <a:pt x="273342" y="0"/>
                  </a:lnTo>
                  <a:lnTo>
                    <a:pt x="224993" y="4356"/>
                  </a:lnTo>
                  <a:lnTo>
                    <a:pt x="179438" y="16725"/>
                  </a:lnTo>
                  <a:lnTo>
                    <a:pt x="137401" y="36372"/>
                  </a:lnTo>
                  <a:lnTo>
                    <a:pt x="99618" y="62560"/>
                  </a:lnTo>
                  <a:lnTo>
                    <a:pt x="66814" y="94576"/>
                  </a:lnTo>
                  <a:lnTo>
                    <a:pt x="39700" y="131686"/>
                  </a:lnTo>
                  <a:lnTo>
                    <a:pt x="19050" y="173139"/>
                  </a:lnTo>
                  <a:lnTo>
                    <a:pt x="5575" y="218224"/>
                  </a:lnTo>
                  <a:lnTo>
                    <a:pt x="0" y="266192"/>
                  </a:lnTo>
                  <a:lnTo>
                    <a:pt x="47713" y="262178"/>
                  </a:lnTo>
                  <a:lnTo>
                    <a:pt x="92240" y="250520"/>
                  </a:lnTo>
                  <a:lnTo>
                    <a:pt x="133477" y="231927"/>
                  </a:lnTo>
                  <a:lnTo>
                    <a:pt x="170738" y="207060"/>
                  </a:lnTo>
                  <a:lnTo>
                    <a:pt x="203365" y="176593"/>
                  </a:lnTo>
                  <a:lnTo>
                    <a:pt x="230682" y="141224"/>
                  </a:lnTo>
                  <a:lnTo>
                    <a:pt x="252006" y="101600"/>
                  </a:lnTo>
                  <a:lnTo>
                    <a:pt x="266674" y="58420"/>
                  </a:lnTo>
                  <a:lnTo>
                    <a:pt x="274002" y="12331"/>
                  </a:lnTo>
                  <a:lnTo>
                    <a:pt x="275920" y="24739"/>
                  </a:lnTo>
                  <a:lnTo>
                    <a:pt x="281165" y="58572"/>
                  </a:lnTo>
                  <a:lnTo>
                    <a:pt x="295732" y="101955"/>
                  </a:lnTo>
                  <a:lnTo>
                    <a:pt x="316992" y="141744"/>
                  </a:lnTo>
                  <a:lnTo>
                    <a:pt x="344284" y="177279"/>
                  </a:lnTo>
                  <a:lnTo>
                    <a:pt x="376936" y="207886"/>
                  </a:lnTo>
                  <a:lnTo>
                    <a:pt x="414248" y="232867"/>
                  </a:lnTo>
                  <a:lnTo>
                    <a:pt x="455561" y="251561"/>
                  </a:lnTo>
                  <a:lnTo>
                    <a:pt x="500176" y="263271"/>
                  </a:lnTo>
                  <a:lnTo>
                    <a:pt x="548093" y="267322"/>
                  </a:lnTo>
                  <a:close/>
                </a:path>
              </a:pathLst>
            </a:custGeom>
            <a:solidFill>
              <a:srgbClr val="2DB7EA"/>
            </a:solidFill>
          </p:spPr>
          <p:txBody>
            <a:bodyPr wrap="square" lIns="0" tIns="0" rIns="0" bIns="0" rtlCol="0"/>
            <a:lstStyle/>
            <a:p>
              <a:endParaRPr dirty="0"/>
            </a:p>
          </p:txBody>
        </p:sp>
        <p:pic>
          <p:nvPicPr>
            <p:cNvPr id="190" name="object 188">
              <a:extLst>
                <a:ext uri="{FF2B5EF4-FFF2-40B4-BE49-F238E27FC236}">
                  <a16:creationId xmlns:a16="http://schemas.microsoft.com/office/drawing/2014/main" id="{D42ADF91-77AE-9F15-8AE2-658FD1B72648}"/>
                </a:ext>
              </a:extLst>
            </p:cNvPr>
            <p:cNvPicPr/>
            <p:nvPr/>
          </p:nvPicPr>
          <p:blipFill>
            <a:blip r:embed="rId16" cstate="print"/>
            <a:stretch>
              <a:fillRect/>
            </a:stretch>
          </p:blipFill>
          <p:spPr>
            <a:xfrm>
              <a:off x="11947657" y="4318566"/>
              <a:ext cx="106445" cy="107156"/>
            </a:xfrm>
            <a:prstGeom prst="rect">
              <a:avLst/>
            </a:prstGeom>
          </p:spPr>
        </p:pic>
        <p:sp>
          <p:nvSpPr>
            <p:cNvPr id="191" name="object 189">
              <a:extLst>
                <a:ext uri="{FF2B5EF4-FFF2-40B4-BE49-F238E27FC236}">
                  <a16:creationId xmlns:a16="http://schemas.microsoft.com/office/drawing/2014/main" id="{CABF2EFC-282D-186A-321E-9B5866E909FA}"/>
                </a:ext>
              </a:extLst>
            </p:cNvPr>
            <p:cNvSpPr/>
            <p:nvPr/>
          </p:nvSpPr>
          <p:spPr>
            <a:xfrm>
              <a:off x="11834385" y="4517034"/>
              <a:ext cx="332700" cy="477101"/>
            </a:xfrm>
            <a:custGeom>
              <a:avLst/>
              <a:gdLst/>
              <a:ahLst/>
              <a:cxnLst/>
              <a:rect l="l" t="t" r="r" b="b"/>
              <a:pathLst>
                <a:path w="548640" h="786765">
                  <a:moveTo>
                    <a:pt x="548081" y="786384"/>
                  </a:moveTo>
                  <a:lnTo>
                    <a:pt x="542632" y="738225"/>
                  </a:lnTo>
                  <a:lnTo>
                    <a:pt x="529234"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47"/>
                  </a:lnTo>
                  <a:lnTo>
                    <a:pt x="66814" y="613664"/>
                  </a:lnTo>
                  <a:lnTo>
                    <a:pt x="39725" y="650760"/>
                  </a:lnTo>
                  <a:lnTo>
                    <a:pt x="19088" y="692226"/>
                  </a:lnTo>
                  <a:lnTo>
                    <a:pt x="5613" y="737323"/>
                  </a:lnTo>
                  <a:lnTo>
                    <a:pt x="50" y="785304"/>
                  </a:lnTo>
                  <a:lnTo>
                    <a:pt x="47713" y="781265"/>
                  </a:lnTo>
                  <a:lnTo>
                    <a:pt x="92240" y="769620"/>
                  </a:lnTo>
                  <a:lnTo>
                    <a:pt x="133477" y="751014"/>
                  </a:lnTo>
                  <a:lnTo>
                    <a:pt x="170738" y="726147"/>
                  </a:lnTo>
                  <a:lnTo>
                    <a:pt x="203365" y="695680"/>
                  </a:lnTo>
                  <a:lnTo>
                    <a:pt x="230670" y="660298"/>
                  </a:lnTo>
                  <a:lnTo>
                    <a:pt x="252006" y="620674"/>
                  </a:lnTo>
                  <a:lnTo>
                    <a:pt x="266661" y="577469"/>
                  </a:lnTo>
                  <a:lnTo>
                    <a:pt x="274002" y="531393"/>
                  </a:lnTo>
                  <a:lnTo>
                    <a:pt x="281165" y="577659"/>
                  </a:lnTo>
                  <a:lnTo>
                    <a:pt x="295732" y="621030"/>
                  </a:lnTo>
                  <a:lnTo>
                    <a:pt x="316992" y="660831"/>
                  </a:lnTo>
                  <a:lnTo>
                    <a:pt x="344284" y="696366"/>
                  </a:lnTo>
                  <a:lnTo>
                    <a:pt x="376936" y="726960"/>
                  </a:lnTo>
                  <a:lnTo>
                    <a:pt x="414248" y="751941"/>
                  </a:lnTo>
                  <a:lnTo>
                    <a:pt x="455549" y="770623"/>
                  </a:lnTo>
                  <a:lnTo>
                    <a:pt x="500164" y="782332"/>
                  </a:lnTo>
                  <a:lnTo>
                    <a:pt x="548081" y="786384"/>
                  </a:lnTo>
                  <a:close/>
                </a:path>
                <a:path w="548640" h="786765">
                  <a:moveTo>
                    <a:pt x="548081" y="520852"/>
                  </a:moveTo>
                  <a:lnTo>
                    <a:pt x="542632" y="472694"/>
                  </a:lnTo>
                  <a:lnTo>
                    <a:pt x="529234" y="427431"/>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11"/>
                  </a:lnTo>
                  <a:lnTo>
                    <a:pt x="179438" y="270281"/>
                  </a:lnTo>
                  <a:lnTo>
                    <a:pt x="137401" y="289928"/>
                  </a:lnTo>
                  <a:lnTo>
                    <a:pt x="99618" y="316128"/>
                  </a:lnTo>
                  <a:lnTo>
                    <a:pt x="66814" y="348132"/>
                  </a:lnTo>
                  <a:lnTo>
                    <a:pt x="39725" y="385241"/>
                  </a:lnTo>
                  <a:lnTo>
                    <a:pt x="19088" y="426694"/>
                  </a:lnTo>
                  <a:lnTo>
                    <a:pt x="5613" y="471779"/>
                  </a:lnTo>
                  <a:lnTo>
                    <a:pt x="50" y="519772"/>
                  </a:lnTo>
                  <a:lnTo>
                    <a:pt x="47713" y="515734"/>
                  </a:lnTo>
                  <a:lnTo>
                    <a:pt x="92240" y="504075"/>
                  </a:lnTo>
                  <a:lnTo>
                    <a:pt x="133477" y="485482"/>
                  </a:lnTo>
                  <a:lnTo>
                    <a:pt x="170738" y="460616"/>
                  </a:lnTo>
                  <a:lnTo>
                    <a:pt x="203365" y="430149"/>
                  </a:lnTo>
                  <a:lnTo>
                    <a:pt x="230670" y="394766"/>
                  </a:lnTo>
                  <a:lnTo>
                    <a:pt x="252006" y="355142"/>
                  </a:lnTo>
                  <a:lnTo>
                    <a:pt x="266661" y="311950"/>
                  </a:lnTo>
                  <a:lnTo>
                    <a:pt x="274002" y="265861"/>
                  </a:lnTo>
                  <a:lnTo>
                    <a:pt x="281165" y="312127"/>
                  </a:lnTo>
                  <a:lnTo>
                    <a:pt x="295732" y="355511"/>
                  </a:lnTo>
                  <a:lnTo>
                    <a:pt x="316992" y="395300"/>
                  </a:lnTo>
                  <a:lnTo>
                    <a:pt x="344284" y="430834"/>
                  </a:lnTo>
                  <a:lnTo>
                    <a:pt x="376936" y="461429"/>
                  </a:lnTo>
                  <a:lnTo>
                    <a:pt x="414248" y="486410"/>
                  </a:lnTo>
                  <a:lnTo>
                    <a:pt x="455549" y="505091"/>
                  </a:lnTo>
                  <a:lnTo>
                    <a:pt x="500164" y="516801"/>
                  </a:lnTo>
                  <a:lnTo>
                    <a:pt x="548081" y="520852"/>
                  </a:lnTo>
                  <a:close/>
                </a:path>
                <a:path w="548640" h="786765">
                  <a:moveTo>
                    <a:pt x="548093" y="267322"/>
                  </a:moveTo>
                  <a:lnTo>
                    <a:pt x="542645" y="219151"/>
                  </a:lnTo>
                  <a:lnTo>
                    <a:pt x="529247" y="173875"/>
                  </a:lnTo>
                  <a:lnTo>
                    <a:pt x="508635" y="132245"/>
                  </a:lnTo>
                  <a:lnTo>
                    <a:pt x="481533" y="94996"/>
                  </a:lnTo>
                  <a:lnTo>
                    <a:pt x="448691" y="62852"/>
                  </a:lnTo>
                  <a:lnTo>
                    <a:pt x="426351" y="47332"/>
                  </a:lnTo>
                  <a:lnTo>
                    <a:pt x="410845" y="36537"/>
                  </a:lnTo>
                  <a:lnTo>
                    <a:pt x="391109" y="27305"/>
                  </a:lnTo>
                  <a:lnTo>
                    <a:pt x="368719" y="16814"/>
                  </a:lnTo>
                  <a:lnTo>
                    <a:pt x="323037" y="4368"/>
                  </a:lnTo>
                  <a:lnTo>
                    <a:pt x="274561" y="0"/>
                  </a:lnTo>
                  <a:lnTo>
                    <a:pt x="273342" y="0"/>
                  </a:lnTo>
                  <a:lnTo>
                    <a:pt x="224993" y="4356"/>
                  </a:lnTo>
                  <a:lnTo>
                    <a:pt x="179438" y="16725"/>
                  </a:lnTo>
                  <a:lnTo>
                    <a:pt x="137401" y="36372"/>
                  </a:lnTo>
                  <a:lnTo>
                    <a:pt x="99618" y="62560"/>
                  </a:lnTo>
                  <a:lnTo>
                    <a:pt x="66814" y="94576"/>
                  </a:lnTo>
                  <a:lnTo>
                    <a:pt x="39700" y="131686"/>
                  </a:lnTo>
                  <a:lnTo>
                    <a:pt x="19050" y="173139"/>
                  </a:lnTo>
                  <a:lnTo>
                    <a:pt x="5575" y="218211"/>
                  </a:lnTo>
                  <a:lnTo>
                    <a:pt x="0" y="266192"/>
                  </a:lnTo>
                  <a:lnTo>
                    <a:pt x="47713" y="262166"/>
                  </a:lnTo>
                  <a:lnTo>
                    <a:pt x="92240" y="250520"/>
                  </a:lnTo>
                  <a:lnTo>
                    <a:pt x="133477" y="231914"/>
                  </a:lnTo>
                  <a:lnTo>
                    <a:pt x="170738" y="207048"/>
                  </a:lnTo>
                  <a:lnTo>
                    <a:pt x="203365" y="176593"/>
                  </a:lnTo>
                  <a:lnTo>
                    <a:pt x="230682" y="141211"/>
                  </a:lnTo>
                  <a:lnTo>
                    <a:pt x="252006" y="101600"/>
                  </a:lnTo>
                  <a:lnTo>
                    <a:pt x="266674" y="58407"/>
                  </a:lnTo>
                  <a:lnTo>
                    <a:pt x="274002" y="12319"/>
                  </a:lnTo>
                  <a:lnTo>
                    <a:pt x="275920" y="24726"/>
                  </a:lnTo>
                  <a:lnTo>
                    <a:pt x="281165" y="58572"/>
                  </a:lnTo>
                  <a:lnTo>
                    <a:pt x="295732" y="101942"/>
                  </a:lnTo>
                  <a:lnTo>
                    <a:pt x="316992" y="141732"/>
                  </a:lnTo>
                  <a:lnTo>
                    <a:pt x="344284" y="177279"/>
                  </a:lnTo>
                  <a:lnTo>
                    <a:pt x="376936" y="207873"/>
                  </a:lnTo>
                  <a:lnTo>
                    <a:pt x="414248" y="232867"/>
                  </a:lnTo>
                  <a:lnTo>
                    <a:pt x="455561"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192" name="object 190">
              <a:extLst>
                <a:ext uri="{FF2B5EF4-FFF2-40B4-BE49-F238E27FC236}">
                  <a16:creationId xmlns:a16="http://schemas.microsoft.com/office/drawing/2014/main" id="{4BE64FC9-F4F6-68A5-6DC8-9472032FA14D}"/>
                </a:ext>
              </a:extLst>
            </p:cNvPr>
            <p:cNvPicPr/>
            <p:nvPr/>
          </p:nvPicPr>
          <p:blipFill>
            <a:blip r:embed="rId17" cstate="print"/>
            <a:stretch>
              <a:fillRect/>
            </a:stretch>
          </p:blipFill>
          <p:spPr>
            <a:xfrm>
              <a:off x="11947657" y="4972731"/>
              <a:ext cx="106445" cy="107156"/>
            </a:xfrm>
            <a:prstGeom prst="rect">
              <a:avLst/>
            </a:prstGeom>
          </p:spPr>
        </p:pic>
        <p:sp>
          <p:nvSpPr>
            <p:cNvPr id="193" name="object 191">
              <a:extLst>
                <a:ext uri="{FF2B5EF4-FFF2-40B4-BE49-F238E27FC236}">
                  <a16:creationId xmlns:a16="http://schemas.microsoft.com/office/drawing/2014/main" id="{1BAA3709-C972-0F6C-6CA5-5CB11E25C8CD}"/>
                </a:ext>
              </a:extLst>
            </p:cNvPr>
            <p:cNvSpPr/>
            <p:nvPr/>
          </p:nvSpPr>
          <p:spPr>
            <a:xfrm>
              <a:off x="11834385" y="2554529"/>
              <a:ext cx="332700" cy="477101"/>
            </a:xfrm>
            <a:custGeom>
              <a:avLst/>
              <a:gdLst/>
              <a:ahLst/>
              <a:cxnLst/>
              <a:rect l="l" t="t" r="r" b="b"/>
              <a:pathLst>
                <a:path w="548640" h="786764">
                  <a:moveTo>
                    <a:pt x="548081" y="786396"/>
                  </a:moveTo>
                  <a:lnTo>
                    <a:pt x="542632" y="738238"/>
                  </a:lnTo>
                  <a:lnTo>
                    <a:pt x="529234" y="692975"/>
                  </a:lnTo>
                  <a:lnTo>
                    <a:pt x="508622" y="651344"/>
                  </a:lnTo>
                  <a:lnTo>
                    <a:pt x="481533" y="614095"/>
                  </a:lnTo>
                  <a:lnTo>
                    <a:pt x="448691" y="581939"/>
                  </a:lnTo>
                  <a:lnTo>
                    <a:pt x="410832" y="555625"/>
                  </a:lnTo>
                  <a:lnTo>
                    <a:pt x="368706" y="535901"/>
                  </a:lnTo>
                  <a:lnTo>
                    <a:pt x="323037" y="523468"/>
                  </a:lnTo>
                  <a:lnTo>
                    <a:pt x="274561" y="519099"/>
                  </a:lnTo>
                  <a:lnTo>
                    <a:pt x="273342" y="519099"/>
                  </a:lnTo>
                  <a:lnTo>
                    <a:pt x="224993" y="523455"/>
                  </a:lnTo>
                  <a:lnTo>
                    <a:pt x="179438" y="535813"/>
                  </a:lnTo>
                  <a:lnTo>
                    <a:pt x="137401" y="555459"/>
                  </a:lnTo>
                  <a:lnTo>
                    <a:pt x="99618" y="581660"/>
                  </a:lnTo>
                  <a:lnTo>
                    <a:pt x="66814" y="613676"/>
                  </a:lnTo>
                  <a:lnTo>
                    <a:pt x="39725" y="650773"/>
                  </a:lnTo>
                  <a:lnTo>
                    <a:pt x="19088" y="692238"/>
                  </a:lnTo>
                  <a:lnTo>
                    <a:pt x="5613" y="737323"/>
                  </a:lnTo>
                  <a:lnTo>
                    <a:pt x="50" y="785317"/>
                  </a:lnTo>
                  <a:lnTo>
                    <a:pt x="47713" y="781278"/>
                  </a:lnTo>
                  <a:lnTo>
                    <a:pt x="92240" y="769632"/>
                  </a:lnTo>
                  <a:lnTo>
                    <a:pt x="133477" y="751027"/>
                  </a:lnTo>
                  <a:lnTo>
                    <a:pt x="170738" y="726160"/>
                  </a:lnTo>
                  <a:lnTo>
                    <a:pt x="203365" y="695693"/>
                  </a:lnTo>
                  <a:lnTo>
                    <a:pt x="230670" y="660311"/>
                  </a:lnTo>
                  <a:lnTo>
                    <a:pt x="252006" y="620687"/>
                  </a:lnTo>
                  <a:lnTo>
                    <a:pt x="266661" y="577481"/>
                  </a:lnTo>
                  <a:lnTo>
                    <a:pt x="274002" y="531406"/>
                  </a:lnTo>
                  <a:lnTo>
                    <a:pt x="281165" y="577672"/>
                  </a:lnTo>
                  <a:lnTo>
                    <a:pt x="295732" y="621042"/>
                  </a:lnTo>
                  <a:lnTo>
                    <a:pt x="316992" y="660844"/>
                  </a:lnTo>
                  <a:lnTo>
                    <a:pt x="344284" y="696379"/>
                  </a:lnTo>
                  <a:lnTo>
                    <a:pt x="376936" y="726973"/>
                  </a:lnTo>
                  <a:lnTo>
                    <a:pt x="414248" y="751954"/>
                  </a:lnTo>
                  <a:lnTo>
                    <a:pt x="455549" y="770636"/>
                  </a:lnTo>
                  <a:lnTo>
                    <a:pt x="500164" y="782345"/>
                  </a:lnTo>
                  <a:lnTo>
                    <a:pt x="548081" y="786396"/>
                  </a:lnTo>
                  <a:close/>
                </a:path>
                <a:path w="548640" h="786764">
                  <a:moveTo>
                    <a:pt x="548081" y="520865"/>
                  </a:moveTo>
                  <a:lnTo>
                    <a:pt x="542632" y="472706"/>
                  </a:lnTo>
                  <a:lnTo>
                    <a:pt x="529234" y="427443"/>
                  </a:lnTo>
                  <a:lnTo>
                    <a:pt x="508622" y="385813"/>
                  </a:lnTo>
                  <a:lnTo>
                    <a:pt x="481533" y="348564"/>
                  </a:lnTo>
                  <a:lnTo>
                    <a:pt x="448691" y="316407"/>
                  </a:lnTo>
                  <a:lnTo>
                    <a:pt x="410832" y="290106"/>
                  </a:lnTo>
                  <a:lnTo>
                    <a:pt x="368706" y="270370"/>
                  </a:lnTo>
                  <a:lnTo>
                    <a:pt x="323037" y="257949"/>
                  </a:lnTo>
                  <a:lnTo>
                    <a:pt x="274561" y="253568"/>
                  </a:lnTo>
                  <a:lnTo>
                    <a:pt x="273342" y="253568"/>
                  </a:lnTo>
                  <a:lnTo>
                    <a:pt x="224993" y="257924"/>
                  </a:lnTo>
                  <a:lnTo>
                    <a:pt x="179438" y="270294"/>
                  </a:lnTo>
                  <a:lnTo>
                    <a:pt x="137401" y="289941"/>
                  </a:lnTo>
                  <a:lnTo>
                    <a:pt x="99618" y="316128"/>
                  </a:lnTo>
                  <a:lnTo>
                    <a:pt x="66814" y="348145"/>
                  </a:lnTo>
                  <a:lnTo>
                    <a:pt x="39725" y="385254"/>
                  </a:lnTo>
                  <a:lnTo>
                    <a:pt x="19088" y="426707"/>
                  </a:lnTo>
                  <a:lnTo>
                    <a:pt x="5613" y="471805"/>
                  </a:lnTo>
                  <a:lnTo>
                    <a:pt x="50" y="519785"/>
                  </a:lnTo>
                  <a:lnTo>
                    <a:pt x="47713" y="515759"/>
                  </a:lnTo>
                  <a:lnTo>
                    <a:pt x="92240" y="504101"/>
                  </a:lnTo>
                  <a:lnTo>
                    <a:pt x="133477" y="485495"/>
                  </a:lnTo>
                  <a:lnTo>
                    <a:pt x="170738" y="460629"/>
                  </a:lnTo>
                  <a:lnTo>
                    <a:pt x="203365" y="430161"/>
                  </a:lnTo>
                  <a:lnTo>
                    <a:pt x="230670" y="394779"/>
                  </a:lnTo>
                  <a:lnTo>
                    <a:pt x="252006" y="355155"/>
                  </a:lnTo>
                  <a:lnTo>
                    <a:pt x="266661" y="311962"/>
                  </a:lnTo>
                  <a:lnTo>
                    <a:pt x="274002" y="265874"/>
                  </a:lnTo>
                  <a:lnTo>
                    <a:pt x="281165" y="312140"/>
                  </a:lnTo>
                  <a:lnTo>
                    <a:pt x="295732" y="355511"/>
                  </a:lnTo>
                  <a:lnTo>
                    <a:pt x="316992" y="395312"/>
                  </a:lnTo>
                  <a:lnTo>
                    <a:pt x="344284" y="430847"/>
                  </a:lnTo>
                  <a:lnTo>
                    <a:pt x="376936" y="461441"/>
                  </a:lnTo>
                  <a:lnTo>
                    <a:pt x="414248" y="486422"/>
                  </a:lnTo>
                  <a:lnTo>
                    <a:pt x="455549" y="505104"/>
                  </a:lnTo>
                  <a:lnTo>
                    <a:pt x="500164" y="516813"/>
                  </a:lnTo>
                  <a:lnTo>
                    <a:pt x="548081" y="520865"/>
                  </a:lnTo>
                  <a:close/>
                </a:path>
                <a:path w="548640" h="786764">
                  <a:moveTo>
                    <a:pt x="548093" y="267335"/>
                  </a:moveTo>
                  <a:lnTo>
                    <a:pt x="542645" y="219163"/>
                  </a:lnTo>
                  <a:lnTo>
                    <a:pt x="529247" y="173888"/>
                  </a:lnTo>
                  <a:lnTo>
                    <a:pt x="508635" y="132257"/>
                  </a:lnTo>
                  <a:lnTo>
                    <a:pt x="492937" y="110693"/>
                  </a:lnTo>
                  <a:lnTo>
                    <a:pt x="481533" y="95008"/>
                  </a:lnTo>
                  <a:lnTo>
                    <a:pt x="448691" y="62865"/>
                  </a:lnTo>
                  <a:lnTo>
                    <a:pt x="410845" y="36563"/>
                  </a:lnTo>
                  <a:lnTo>
                    <a:pt x="368706" y="16802"/>
                  </a:lnTo>
                  <a:lnTo>
                    <a:pt x="323037" y="4381"/>
                  </a:lnTo>
                  <a:lnTo>
                    <a:pt x="274561" y="0"/>
                  </a:lnTo>
                  <a:lnTo>
                    <a:pt x="273342" y="0"/>
                  </a:lnTo>
                  <a:lnTo>
                    <a:pt x="224993" y="4356"/>
                  </a:lnTo>
                  <a:lnTo>
                    <a:pt x="179438" y="16725"/>
                  </a:lnTo>
                  <a:lnTo>
                    <a:pt x="137401" y="36372"/>
                  </a:lnTo>
                  <a:lnTo>
                    <a:pt x="99618" y="62572"/>
                  </a:lnTo>
                  <a:lnTo>
                    <a:pt x="66814" y="94576"/>
                  </a:lnTo>
                  <a:lnTo>
                    <a:pt x="59588" y="104470"/>
                  </a:lnTo>
                  <a:lnTo>
                    <a:pt x="39700" y="131699"/>
                  </a:lnTo>
                  <a:lnTo>
                    <a:pt x="19050" y="173151"/>
                  </a:lnTo>
                  <a:lnTo>
                    <a:pt x="5575" y="218224"/>
                  </a:lnTo>
                  <a:lnTo>
                    <a:pt x="0" y="266204"/>
                  </a:lnTo>
                  <a:lnTo>
                    <a:pt x="47713" y="262191"/>
                  </a:lnTo>
                  <a:lnTo>
                    <a:pt x="92240" y="250532"/>
                  </a:lnTo>
                  <a:lnTo>
                    <a:pt x="133477" y="231940"/>
                  </a:lnTo>
                  <a:lnTo>
                    <a:pt x="170738" y="207060"/>
                  </a:lnTo>
                  <a:lnTo>
                    <a:pt x="203365" y="176606"/>
                  </a:lnTo>
                  <a:lnTo>
                    <a:pt x="230682" y="141224"/>
                  </a:lnTo>
                  <a:lnTo>
                    <a:pt x="252006" y="101612"/>
                  </a:lnTo>
                  <a:lnTo>
                    <a:pt x="266674" y="58420"/>
                  </a:lnTo>
                  <a:lnTo>
                    <a:pt x="274002" y="12331"/>
                  </a:lnTo>
                  <a:lnTo>
                    <a:pt x="275920" y="24739"/>
                  </a:lnTo>
                  <a:lnTo>
                    <a:pt x="281165" y="58585"/>
                  </a:lnTo>
                  <a:lnTo>
                    <a:pt x="295732" y="101955"/>
                  </a:lnTo>
                  <a:lnTo>
                    <a:pt x="316992" y="141744"/>
                  </a:lnTo>
                  <a:lnTo>
                    <a:pt x="344284" y="177279"/>
                  </a:lnTo>
                  <a:lnTo>
                    <a:pt x="376936" y="207886"/>
                  </a:lnTo>
                  <a:lnTo>
                    <a:pt x="414248" y="232867"/>
                  </a:lnTo>
                  <a:lnTo>
                    <a:pt x="455561" y="251561"/>
                  </a:lnTo>
                  <a:lnTo>
                    <a:pt x="500176" y="263271"/>
                  </a:lnTo>
                  <a:lnTo>
                    <a:pt x="548093" y="267335"/>
                  </a:lnTo>
                  <a:close/>
                </a:path>
              </a:pathLst>
            </a:custGeom>
            <a:solidFill>
              <a:srgbClr val="2DB7EA"/>
            </a:solidFill>
          </p:spPr>
          <p:txBody>
            <a:bodyPr wrap="square" lIns="0" tIns="0" rIns="0" bIns="0" rtlCol="0"/>
            <a:lstStyle/>
            <a:p>
              <a:endParaRPr dirty="0"/>
            </a:p>
          </p:txBody>
        </p:sp>
        <p:pic>
          <p:nvPicPr>
            <p:cNvPr id="194" name="object 192">
              <a:extLst>
                <a:ext uri="{FF2B5EF4-FFF2-40B4-BE49-F238E27FC236}">
                  <a16:creationId xmlns:a16="http://schemas.microsoft.com/office/drawing/2014/main" id="{A38B6B6C-332C-FAD0-4CFE-B9BC4F7D8AF5}"/>
                </a:ext>
              </a:extLst>
            </p:cNvPr>
            <p:cNvPicPr/>
            <p:nvPr/>
          </p:nvPicPr>
          <p:blipFill>
            <a:blip r:embed="rId16" cstate="print"/>
            <a:stretch>
              <a:fillRect/>
            </a:stretch>
          </p:blipFill>
          <p:spPr>
            <a:xfrm>
              <a:off x="11947657" y="3010234"/>
              <a:ext cx="106445" cy="107156"/>
            </a:xfrm>
            <a:prstGeom prst="rect">
              <a:avLst/>
            </a:prstGeom>
          </p:spPr>
        </p:pic>
        <p:sp>
          <p:nvSpPr>
            <p:cNvPr id="195" name="object 193">
              <a:extLst>
                <a:ext uri="{FF2B5EF4-FFF2-40B4-BE49-F238E27FC236}">
                  <a16:creationId xmlns:a16="http://schemas.microsoft.com/office/drawing/2014/main" id="{5C8E8148-33F4-7F1D-808F-8C5491575D83}"/>
                </a:ext>
              </a:extLst>
            </p:cNvPr>
            <p:cNvSpPr/>
            <p:nvPr/>
          </p:nvSpPr>
          <p:spPr>
            <a:xfrm>
              <a:off x="11834385" y="3208700"/>
              <a:ext cx="332700" cy="477101"/>
            </a:xfrm>
            <a:custGeom>
              <a:avLst/>
              <a:gdLst/>
              <a:ahLst/>
              <a:cxnLst/>
              <a:rect l="l" t="t" r="r" b="b"/>
              <a:pathLst>
                <a:path w="548640" h="786764">
                  <a:moveTo>
                    <a:pt x="548081" y="786384"/>
                  </a:moveTo>
                  <a:lnTo>
                    <a:pt x="542632" y="738225"/>
                  </a:lnTo>
                  <a:lnTo>
                    <a:pt x="529234" y="692962"/>
                  </a:lnTo>
                  <a:lnTo>
                    <a:pt x="508622" y="651344"/>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47"/>
                  </a:lnTo>
                  <a:lnTo>
                    <a:pt x="66814" y="613664"/>
                  </a:lnTo>
                  <a:lnTo>
                    <a:pt x="39725" y="650773"/>
                  </a:lnTo>
                  <a:lnTo>
                    <a:pt x="19088" y="692226"/>
                  </a:lnTo>
                  <a:lnTo>
                    <a:pt x="5613" y="737323"/>
                  </a:lnTo>
                  <a:lnTo>
                    <a:pt x="50" y="785317"/>
                  </a:lnTo>
                  <a:lnTo>
                    <a:pt x="47713" y="781278"/>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59"/>
                  </a:lnTo>
                  <a:lnTo>
                    <a:pt x="295732" y="621042"/>
                  </a:lnTo>
                  <a:lnTo>
                    <a:pt x="316992" y="660831"/>
                  </a:lnTo>
                  <a:lnTo>
                    <a:pt x="344284" y="696366"/>
                  </a:lnTo>
                  <a:lnTo>
                    <a:pt x="376936" y="726960"/>
                  </a:lnTo>
                  <a:lnTo>
                    <a:pt x="414248" y="751941"/>
                  </a:lnTo>
                  <a:lnTo>
                    <a:pt x="455549" y="770623"/>
                  </a:lnTo>
                  <a:lnTo>
                    <a:pt x="500164" y="782332"/>
                  </a:lnTo>
                  <a:lnTo>
                    <a:pt x="548081" y="786384"/>
                  </a:lnTo>
                  <a:close/>
                </a:path>
                <a:path w="548640" h="786764">
                  <a:moveTo>
                    <a:pt x="548081" y="520865"/>
                  </a:moveTo>
                  <a:lnTo>
                    <a:pt x="542632" y="472694"/>
                  </a:lnTo>
                  <a:lnTo>
                    <a:pt x="529234" y="427431"/>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11"/>
                  </a:lnTo>
                  <a:lnTo>
                    <a:pt x="179438" y="270281"/>
                  </a:lnTo>
                  <a:lnTo>
                    <a:pt x="137401" y="289928"/>
                  </a:lnTo>
                  <a:lnTo>
                    <a:pt x="99618" y="316115"/>
                  </a:lnTo>
                  <a:lnTo>
                    <a:pt x="66814" y="348132"/>
                  </a:lnTo>
                  <a:lnTo>
                    <a:pt x="39725" y="385241"/>
                  </a:lnTo>
                  <a:lnTo>
                    <a:pt x="19088" y="426694"/>
                  </a:lnTo>
                  <a:lnTo>
                    <a:pt x="5613" y="471792"/>
                  </a:lnTo>
                  <a:lnTo>
                    <a:pt x="50" y="519785"/>
                  </a:lnTo>
                  <a:lnTo>
                    <a:pt x="47713" y="515747"/>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40"/>
                  </a:lnTo>
                  <a:lnTo>
                    <a:pt x="295732" y="355511"/>
                  </a:lnTo>
                  <a:lnTo>
                    <a:pt x="316992" y="395300"/>
                  </a:lnTo>
                  <a:lnTo>
                    <a:pt x="344284" y="430834"/>
                  </a:lnTo>
                  <a:lnTo>
                    <a:pt x="376936" y="461429"/>
                  </a:lnTo>
                  <a:lnTo>
                    <a:pt x="414248" y="486410"/>
                  </a:lnTo>
                  <a:lnTo>
                    <a:pt x="455549" y="505091"/>
                  </a:lnTo>
                  <a:lnTo>
                    <a:pt x="500164" y="516801"/>
                  </a:lnTo>
                  <a:lnTo>
                    <a:pt x="548081" y="520865"/>
                  </a:lnTo>
                  <a:close/>
                </a:path>
                <a:path w="548640" h="786764">
                  <a:moveTo>
                    <a:pt x="548093" y="267322"/>
                  </a:moveTo>
                  <a:lnTo>
                    <a:pt x="542645" y="219151"/>
                  </a:lnTo>
                  <a:lnTo>
                    <a:pt x="529247" y="173888"/>
                  </a:lnTo>
                  <a:lnTo>
                    <a:pt x="508635" y="132257"/>
                  </a:lnTo>
                  <a:lnTo>
                    <a:pt x="481533" y="94996"/>
                  </a:lnTo>
                  <a:lnTo>
                    <a:pt x="448691" y="62852"/>
                  </a:lnTo>
                  <a:lnTo>
                    <a:pt x="410845" y="36550"/>
                  </a:lnTo>
                  <a:lnTo>
                    <a:pt x="368719" y="16814"/>
                  </a:lnTo>
                  <a:lnTo>
                    <a:pt x="323037" y="4368"/>
                  </a:lnTo>
                  <a:lnTo>
                    <a:pt x="274561" y="0"/>
                  </a:lnTo>
                  <a:lnTo>
                    <a:pt x="273342" y="0"/>
                  </a:lnTo>
                  <a:lnTo>
                    <a:pt x="224993" y="4356"/>
                  </a:lnTo>
                  <a:lnTo>
                    <a:pt x="179438" y="16725"/>
                  </a:lnTo>
                  <a:lnTo>
                    <a:pt x="137401" y="36360"/>
                  </a:lnTo>
                  <a:lnTo>
                    <a:pt x="99618" y="62560"/>
                  </a:lnTo>
                  <a:lnTo>
                    <a:pt x="66814" y="94576"/>
                  </a:lnTo>
                  <a:lnTo>
                    <a:pt x="39700" y="131686"/>
                  </a:lnTo>
                  <a:lnTo>
                    <a:pt x="19050" y="173139"/>
                  </a:lnTo>
                  <a:lnTo>
                    <a:pt x="5575" y="218224"/>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4002" y="12331"/>
                  </a:lnTo>
                  <a:lnTo>
                    <a:pt x="275920" y="24739"/>
                  </a:lnTo>
                  <a:lnTo>
                    <a:pt x="281165" y="58572"/>
                  </a:lnTo>
                  <a:lnTo>
                    <a:pt x="295732" y="101942"/>
                  </a:lnTo>
                  <a:lnTo>
                    <a:pt x="316992" y="141744"/>
                  </a:lnTo>
                  <a:lnTo>
                    <a:pt x="344284" y="177279"/>
                  </a:lnTo>
                  <a:lnTo>
                    <a:pt x="376936" y="207873"/>
                  </a:lnTo>
                  <a:lnTo>
                    <a:pt x="414248" y="232867"/>
                  </a:lnTo>
                  <a:lnTo>
                    <a:pt x="455561" y="251548"/>
                  </a:lnTo>
                  <a:lnTo>
                    <a:pt x="500176" y="263271"/>
                  </a:lnTo>
                  <a:lnTo>
                    <a:pt x="548093" y="267322"/>
                  </a:lnTo>
                  <a:close/>
                </a:path>
              </a:pathLst>
            </a:custGeom>
            <a:solidFill>
              <a:srgbClr val="7ED3F1"/>
            </a:solidFill>
          </p:spPr>
          <p:txBody>
            <a:bodyPr wrap="square" lIns="0" tIns="0" rIns="0" bIns="0" rtlCol="0"/>
            <a:lstStyle/>
            <a:p>
              <a:endParaRPr dirty="0"/>
            </a:p>
          </p:txBody>
        </p:sp>
        <p:pic>
          <p:nvPicPr>
            <p:cNvPr id="196" name="object 194">
              <a:extLst>
                <a:ext uri="{FF2B5EF4-FFF2-40B4-BE49-F238E27FC236}">
                  <a16:creationId xmlns:a16="http://schemas.microsoft.com/office/drawing/2014/main" id="{567EBAAD-F3CD-AD4A-777C-969E1EE95E8D}"/>
                </a:ext>
              </a:extLst>
            </p:cNvPr>
            <p:cNvPicPr/>
            <p:nvPr/>
          </p:nvPicPr>
          <p:blipFill>
            <a:blip r:embed="rId17" cstate="print"/>
            <a:stretch>
              <a:fillRect/>
            </a:stretch>
          </p:blipFill>
          <p:spPr>
            <a:xfrm>
              <a:off x="11947657" y="3664400"/>
              <a:ext cx="106445" cy="107156"/>
            </a:xfrm>
            <a:prstGeom prst="rect">
              <a:avLst/>
            </a:prstGeom>
          </p:spPr>
        </p:pic>
        <p:sp>
          <p:nvSpPr>
            <p:cNvPr id="197" name="object 195">
              <a:extLst>
                <a:ext uri="{FF2B5EF4-FFF2-40B4-BE49-F238E27FC236}">
                  <a16:creationId xmlns:a16="http://schemas.microsoft.com/office/drawing/2014/main" id="{B8BD3672-0886-3300-7721-BA4A28C18501}"/>
                </a:ext>
              </a:extLst>
            </p:cNvPr>
            <p:cNvSpPr/>
            <p:nvPr/>
          </p:nvSpPr>
          <p:spPr>
            <a:xfrm>
              <a:off x="11834385" y="1246203"/>
              <a:ext cx="332700" cy="477101"/>
            </a:xfrm>
            <a:custGeom>
              <a:avLst/>
              <a:gdLst/>
              <a:ahLst/>
              <a:cxnLst/>
              <a:rect l="l" t="t" r="r" b="b"/>
              <a:pathLst>
                <a:path w="548640" h="786764">
                  <a:moveTo>
                    <a:pt x="548081" y="786384"/>
                  </a:moveTo>
                  <a:lnTo>
                    <a:pt x="542632" y="738225"/>
                  </a:lnTo>
                  <a:lnTo>
                    <a:pt x="529234"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47"/>
                  </a:lnTo>
                  <a:lnTo>
                    <a:pt x="66814" y="613664"/>
                  </a:lnTo>
                  <a:lnTo>
                    <a:pt x="39725" y="650760"/>
                  </a:lnTo>
                  <a:lnTo>
                    <a:pt x="19088" y="692226"/>
                  </a:lnTo>
                  <a:lnTo>
                    <a:pt x="5613" y="737323"/>
                  </a:lnTo>
                  <a:lnTo>
                    <a:pt x="50" y="785304"/>
                  </a:lnTo>
                  <a:lnTo>
                    <a:pt x="47713" y="781278"/>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59"/>
                  </a:lnTo>
                  <a:lnTo>
                    <a:pt x="295732" y="621030"/>
                  </a:lnTo>
                  <a:lnTo>
                    <a:pt x="316992" y="660831"/>
                  </a:lnTo>
                  <a:lnTo>
                    <a:pt x="344284" y="696366"/>
                  </a:lnTo>
                  <a:lnTo>
                    <a:pt x="376936" y="726960"/>
                  </a:lnTo>
                  <a:lnTo>
                    <a:pt x="414248" y="751941"/>
                  </a:lnTo>
                  <a:lnTo>
                    <a:pt x="455549" y="770623"/>
                  </a:lnTo>
                  <a:lnTo>
                    <a:pt x="500164" y="782332"/>
                  </a:lnTo>
                  <a:lnTo>
                    <a:pt x="548081" y="786384"/>
                  </a:lnTo>
                  <a:close/>
                </a:path>
                <a:path w="548640" h="786764">
                  <a:moveTo>
                    <a:pt x="548081" y="520852"/>
                  </a:moveTo>
                  <a:lnTo>
                    <a:pt x="542632" y="472694"/>
                  </a:lnTo>
                  <a:lnTo>
                    <a:pt x="529234" y="427431"/>
                  </a:lnTo>
                  <a:lnTo>
                    <a:pt x="508622" y="385813"/>
                  </a:lnTo>
                  <a:lnTo>
                    <a:pt x="481533" y="348551"/>
                  </a:lnTo>
                  <a:lnTo>
                    <a:pt x="448691" y="316395"/>
                  </a:lnTo>
                  <a:lnTo>
                    <a:pt x="410832" y="290093"/>
                  </a:lnTo>
                  <a:lnTo>
                    <a:pt x="368706" y="270357"/>
                  </a:lnTo>
                  <a:lnTo>
                    <a:pt x="323037" y="257937"/>
                  </a:lnTo>
                  <a:lnTo>
                    <a:pt x="274561" y="253555"/>
                  </a:lnTo>
                  <a:lnTo>
                    <a:pt x="273342" y="253555"/>
                  </a:lnTo>
                  <a:lnTo>
                    <a:pt x="224993" y="257911"/>
                  </a:lnTo>
                  <a:lnTo>
                    <a:pt x="179438" y="270281"/>
                  </a:lnTo>
                  <a:lnTo>
                    <a:pt x="137401" y="289928"/>
                  </a:lnTo>
                  <a:lnTo>
                    <a:pt x="99618" y="316115"/>
                  </a:lnTo>
                  <a:lnTo>
                    <a:pt x="66814" y="348132"/>
                  </a:lnTo>
                  <a:lnTo>
                    <a:pt x="39725" y="385241"/>
                  </a:lnTo>
                  <a:lnTo>
                    <a:pt x="19088" y="426694"/>
                  </a:lnTo>
                  <a:lnTo>
                    <a:pt x="5613" y="471792"/>
                  </a:lnTo>
                  <a:lnTo>
                    <a:pt x="50" y="519785"/>
                  </a:lnTo>
                  <a:lnTo>
                    <a:pt x="47713" y="515747"/>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27"/>
                  </a:lnTo>
                  <a:lnTo>
                    <a:pt x="295732" y="355511"/>
                  </a:lnTo>
                  <a:lnTo>
                    <a:pt x="316992" y="395300"/>
                  </a:lnTo>
                  <a:lnTo>
                    <a:pt x="344284" y="430834"/>
                  </a:lnTo>
                  <a:lnTo>
                    <a:pt x="376936" y="461429"/>
                  </a:lnTo>
                  <a:lnTo>
                    <a:pt x="414248" y="486410"/>
                  </a:lnTo>
                  <a:lnTo>
                    <a:pt x="455549" y="505091"/>
                  </a:lnTo>
                  <a:lnTo>
                    <a:pt x="500164" y="516801"/>
                  </a:lnTo>
                  <a:lnTo>
                    <a:pt x="548081" y="520852"/>
                  </a:lnTo>
                  <a:close/>
                </a:path>
                <a:path w="548640" h="786764">
                  <a:moveTo>
                    <a:pt x="548093" y="267322"/>
                  </a:moveTo>
                  <a:lnTo>
                    <a:pt x="542645" y="219151"/>
                  </a:lnTo>
                  <a:lnTo>
                    <a:pt x="529247" y="173875"/>
                  </a:lnTo>
                  <a:lnTo>
                    <a:pt x="508635" y="132257"/>
                  </a:lnTo>
                  <a:lnTo>
                    <a:pt x="481533" y="94996"/>
                  </a:lnTo>
                  <a:lnTo>
                    <a:pt x="448691" y="62852"/>
                  </a:lnTo>
                  <a:lnTo>
                    <a:pt x="410845" y="36550"/>
                  </a:lnTo>
                  <a:lnTo>
                    <a:pt x="368706" y="16789"/>
                  </a:lnTo>
                  <a:lnTo>
                    <a:pt x="323037" y="4368"/>
                  </a:lnTo>
                  <a:lnTo>
                    <a:pt x="274561" y="0"/>
                  </a:lnTo>
                  <a:lnTo>
                    <a:pt x="273342" y="0"/>
                  </a:lnTo>
                  <a:lnTo>
                    <a:pt x="224993" y="4356"/>
                  </a:lnTo>
                  <a:lnTo>
                    <a:pt x="179438" y="16713"/>
                  </a:lnTo>
                  <a:lnTo>
                    <a:pt x="137401" y="36360"/>
                  </a:lnTo>
                  <a:lnTo>
                    <a:pt x="99618" y="62560"/>
                  </a:lnTo>
                  <a:lnTo>
                    <a:pt x="66814" y="94576"/>
                  </a:lnTo>
                  <a:lnTo>
                    <a:pt x="39700" y="131686"/>
                  </a:lnTo>
                  <a:lnTo>
                    <a:pt x="19050" y="173139"/>
                  </a:lnTo>
                  <a:lnTo>
                    <a:pt x="5575" y="218211"/>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4002" y="12319"/>
                  </a:lnTo>
                  <a:lnTo>
                    <a:pt x="275920" y="24726"/>
                  </a:lnTo>
                  <a:lnTo>
                    <a:pt x="281165" y="58572"/>
                  </a:lnTo>
                  <a:lnTo>
                    <a:pt x="295732" y="101942"/>
                  </a:lnTo>
                  <a:lnTo>
                    <a:pt x="316992" y="141744"/>
                  </a:lnTo>
                  <a:lnTo>
                    <a:pt x="344284" y="177279"/>
                  </a:lnTo>
                  <a:lnTo>
                    <a:pt x="376936" y="207873"/>
                  </a:lnTo>
                  <a:lnTo>
                    <a:pt x="414248" y="232867"/>
                  </a:lnTo>
                  <a:lnTo>
                    <a:pt x="455561" y="251548"/>
                  </a:lnTo>
                  <a:lnTo>
                    <a:pt x="500176" y="263271"/>
                  </a:lnTo>
                  <a:lnTo>
                    <a:pt x="548093" y="267322"/>
                  </a:lnTo>
                  <a:close/>
                </a:path>
              </a:pathLst>
            </a:custGeom>
            <a:solidFill>
              <a:srgbClr val="2DB7EA"/>
            </a:solidFill>
          </p:spPr>
          <p:txBody>
            <a:bodyPr wrap="square" lIns="0" tIns="0" rIns="0" bIns="0" rtlCol="0"/>
            <a:lstStyle/>
            <a:p>
              <a:endParaRPr dirty="0"/>
            </a:p>
          </p:txBody>
        </p:sp>
        <p:pic>
          <p:nvPicPr>
            <p:cNvPr id="198" name="object 196">
              <a:extLst>
                <a:ext uri="{FF2B5EF4-FFF2-40B4-BE49-F238E27FC236}">
                  <a16:creationId xmlns:a16="http://schemas.microsoft.com/office/drawing/2014/main" id="{5EC7CC9C-1D9B-8389-590F-2BD130C176FA}"/>
                </a:ext>
              </a:extLst>
            </p:cNvPr>
            <p:cNvPicPr/>
            <p:nvPr/>
          </p:nvPicPr>
          <p:blipFill>
            <a:blip r:embed="rId16" cstate="print"/>
            <a:stretch>
              <a:fillRect/>
            </a:stretch>
          </p:blipFill>
          <p:spPr>
            <a:xfrm>
              <a:off x="11947657" y="1701903"/>
              <a:ext cx="106445" cy="107156"/>
            </a:xfrm>
            <a:prstGeom prst="rect">
              <a:avLst/>
            </a:prstGeom>
          </p:spPr>
        </p:pic>
        <p:sp>
          <p:nvSpPr>
            <p:cNvPr id="199" name="object 197">
              <a:extLst>
                <a:ext uri="{FF2B5EF4-FFF2-40B4-BE49-F238E27FC236}">
                  <a16:creationId xmlns:a16="http://schemas.microsoft.com/office/drawing/2014/main" id="{36587C07-3EAD-1F32-9733-3E4906E2A7CE}"/>
                </a:ext>
              </a:extLst>
            </p:cNvPr>
            <p:cNvSpPr/>
            <p:nvPr/>
          </p:nvSpPr>
          <p:spPr>
            <a:xfrm>
              <a:off x="11834385" y="1900365"/>
              <a:ext cx="332700" cy="477101"/>
            </a:xfrm>
            <a:custGeom>
              <a:avLst/>
              <a:gdLst/>
              <a:ahLst/>
              <a:cxnLst/>
              <a:rect l="l" t="t" r="r" b="b"/>
              <a:pathLst>
                <a:path w="548640" h="786764">
                  <a:moveTo>
                    <a:pt x="548081" y="786396"/>
                  </a:moveTo>
                  <a:lnTo>
                    <a:pt x="542632" y="738225"/>
                  </a:lnTo>
                  <a:lnTo>
                    <a:pt x="529234" y="692962"/>
                  </a:lnTo>
                  <a:lnTo>
                    <a:pt x="508622" y="651344"/>
                  </a:lnTo>
                  <a:lnTo>
                    <a:pt x="481533" y="614083"/>
                  </a:lnTo>
                  <a:lnTo>
                    <a:pt x="448691" y="581939"/>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60"/>
                  </a:lnTo>
                  <a:lnTo>
                    <a:pt x="66814" y="613664"/>
                  </a:lnTo>
                  <a:lnTo>
                    <a:pt x="39725" y="650773"/>
                  </a:lnTo>
                  <a:lnTo>
                    <a:pt x="19088" y="692238"/>
                  </a:lnTo>
                  <a:lnTo>
                    <a:pt x="5613" y="737323"/>
                  </a:lnTo>
                  <a:lnTo>
                    <a:pt x="50" y="785317"/>
                  </a:lnTo>
                  <a:lnTo>
                    <a:pt x="47713" y="781278"/>
                  </a:lnTo>
                  <a:lnTo>
                    <a:pt x="92240" y="769620"/>
                  </a:lnTo>
                  <a:lnTo>
                    <a:pt x="133477" y="751027"/>
                  </a:lnTo>
                  <a:lnTo>
                    <a:pt x="170738" y="726147"/>
                  </a:lnTo>
                  <a:lnTo>
                    <a:pt x="203365" y="695680"/>
                  </a:lnTo>
                  <a:lnTo>
                    <a:pt x="230670" y="660298"/>
                  </a:lnTo>
                  <a:lnTo>
                    <a:pt x="252006" y="620674"/>
                  </a:lnTo>
                  <a:lnTo>
                    <a:pt x="266661" y="577481"/>
                  </a:lnTo>
                  <a:lnTo>
                    <a:pt x="274002" y="531393"/>
                  </a:lnTo>
                  <a:lnTo>
                    <a:pt x="281165" y="577672"/>
                  </a:lnTo>
                  <a:lnTo>
                    <a:pt x="295732" y="621042"/>
                  </a:lnTo>
                  <a:lnTo>
                    <a:pt x="316992" y="660831"/>
                  </a:lnTo>
                  <a:lnTo>
                    <a:pt x="344284" y="696366"/>
                  </a:lnTo>
                  <a:lnTo>
                    <a:pt x="376936" y="726960"/>
                  </a:lnTo>
                  <a:lnTo>
                    <a:pt x="414248" y="751941"/>
                  </a:lnTo>
                  <a:lnTo>
                    <a:pt x="455549" y="770636"/>
                  </a:lnTo>
                  <a:lnTo>
                    <a:pt x="500164" y="782332"/>
                  </a:lnTo>
                  <a:lnTo>
                    <a:pt x="548081" y="786396"/>
                  </a:lnTo>
                  <a:close/>
                </a:path>
                <a:path w="548640" h="786764">
                  <a:moveTo>
                    <a:pt x="548081" y="520865"/>
                  </a:moveTo>
                  <a:lnTo>
                    <a:pt x="542632" y="472706"/>
                  </a:lnTo>
                  <a:lnTo>
                    <a:pt x="529234" y="427443"/>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24"/>
                  </a:lnTo>
                  <a:lnTo>
                    <a:pt x="179438" y="270281"/>
                  </a:lnTo>
                  <a:lnTo>
                    <a:pt x="137401" y="289928"/>
                  </a:lnTo>
                  <a:lnTo>
                    <a:pt x="99618" y="316128"/>
                  </a:lnTo>
                  <a:lnTo>
                    <a:pt x="66814" y="348132"/>
                  </a:lnTo>
                  <a:lnTo>
                    <a:pt x="39725" y="385241"/>
                  </a:lnTo>
                  <a:lnTo>
                    <a:pt x="19088" y="426707"/>
                  </a:lnTo>
                  <a:lnTo>
                    <a:pt x="5613" y="471792"/>
                  </a:lnTo>
                  <a:lnTo>
                    <a:pt x="50" y="519785"/>
                  </a:lnTo>
                  <a:lnTo>
                    <a:pt x="47713" y="515747"/>
                  </a:lnTo>
                  <a:lnTo>
                    <a:pt x="92240" y="504088"/>
                  </a:lnTo>
                  <a:lnTo>
                    <a:pt x="133477" y="485495"/>
                  </a:lnTo>
                  <a:lnTo>
                    <a:pt x="170738" y="460616"/>
                  </a:lnTo>
                  <a:lnTo>
                    <a:pt x="203365" y="430161"/>
                  </a:lnTo>
                  <a:lnTo>
                    <a:pt x="230670" y="394766"/>
                  </a:lnTo>
                  <a:lnTo>
                    <a:pt x="252006" y="355142"/>
                  </a:lnTo>
                  <a:lnTo>
                    <a:pt x="266661" y="311950"/>
                  </a:lnTo>
                  <a:lnTo>
                    <a:pt x="274002" y="265861"/>
                  </a:lnTo>
                  <a:lnTo>
                    <a:pt x="281165" y="312140"/>
                  </a:lnTo>
                  <a:lnTo>
                    <a:pt x="295732" y="355511"/>
                  </a:lnTo>
                  <a:lnTo>
                    <a:pt x="316992" y="395300"/>
                  </a:lnTo>
                  <a:lnTo>
                    <a:pt x="344284" y="430834"/>
                  </a:lnTo>
                  <a:lnTo>
                    <a:pt x="376936" y="461441"/>
                  </a:lnTo>
                  <a:lnTo>
                    <a:pt x="414248" y="486410"/>
                  </a:lnTo>
                  <a:lnTo>
                    <a:pt x="455549" y="505104"/>
                  </a:lnTo>
                  <a:lnTo>
                    <a:pt x="500164" y="516813"/>
                  </a:lnTo>
                  <a:lnTo>
                    <a:pt x="548081" y="520865"/>
                  </a:lnTo>
                  <a:close/>
                </a:path>
                <a:path w="548640" h="786764">
                  <a:moveTo>
                    <a:pt x="548093" y="267322"/>
                  </a:moveTo>
                  <a:lnTo>
                    <a:pt x="542645" y="219151"/>
                  </a:lnTo>
                  <a:lnTo>
                    <a:pt x="529247" y="173888"/>
                  </a:lnTo>
                  <a:lnTo>
                    <a:pt x="508635" y="132257"/>
                  </a:lnTo>
                  <a:lnTo>
                    <a:pt x="501230" y="122097"/>
                  </a:lnTo>
                  <a:lnTo>
                    <a:pt x="481533" y="95008"/>
                  </a:lnTo>
                  <a:lnTo>
                    <a:pt x="448691" y="62852"/>
                  </a:lnTo>
                  <a:lnTo>
                    <a:pt x="410845" y="36550"/>
                  </a:lnTo>
                  <a:lnTo>
                    <a:pt x="368719" y="16814"/>
                  </a:lnTo>
                  <a:lnTo>
                    <a:pt x="323037" y="4381"/>
                  </a:lnTo>
                  <a:lnTo>
                    <a:pt x="274561" y="0"/>
                  </a:lnTo>
                  <a:lnTo>
                    <a:pt x="273342" y="0"/>
                  </a:lnTo>
                  <a:lnTo>
                    <a:pt x="224993" y="4356"/>
                  </a:lnTo>
                  <a:lnTo>
                    <a:pt x="179438" y="16725"/>
                  </a:lnTo>
                  <a:lnTo>
                    <a:pt x="137401" y="36372"/>
                  </a:lnTo>
                  <a:lnTo>
                    <a:pt x="99618" y="62560"/>
                  </a:lnTo>
                  <a:lnTo>
                    <a:pt x="66814" y="94576"/>
                  </a:lnTo>
                  <a:lnTo>
                    <a:pt x="39700" y="131686"/>
                  </a:lnTo>
                  <a:lnTo>
                    <a:pt x="19050" y="173139"/>
                  </a:lnTo>
                  <a:lnTo>
                    <a:pt x="5575" y="218224"/>
                  </a:lnTo>
                  <a:lnTo>
                    <a:pt x="0" y="266192"/>
                  </a:lnTo>
                  <a:lnTo>
                    <a:pt x="47713" y="262191"/>
                  </a:lnTo>
                  <a:lnTo>
                    <a:pt x="92240" y="250532"/>
                  </a:lnTo>
                  <a:lnTo>
                    <a:pt x="133477" y="231927"/>
                  </a:lnTo>
                  <a:lnTo>
                    <a:pt x="170738" y="207060"/>
                  </a:lnTo>
                  <a:lnTo>
                    <a:pt x="203365" y="176593"/>
                  </a:lnTo>
                  <a:lnTo>
                    <a:pt x="230682" y="141224"/>
                  </a:lnTo>
                  <a:lnTo>
                    <a:pt x="252006" y="101600"/>
                  </a:lnTo>
                  <a:lnTo>
                    <a:pt x="266674" y="58420"/>
                  </a:lnTo>
                  <a:lnTo>
                    <a:pt x="274002" y="12331"/>
                  </a:lnTo>
                  <a:lnTo>
                    <a:pt x="275920" y="24739"/>
                  </a:lnTo>
                  <a:lnTo>
                    <a:pt x="281165" y="58572"/>
                  </a:lnTo>
                  <a:lnTo>
                    <a:pt x="290842" y="87388"/>
                  </a:lnTo>
                  <a:lnTo>
                    <a:pt x="295732" y="101955"/>
                  </a:lnTo>
                  <a:lnTo>
                    <a:pt x="316992" y="141744"/>
                  </a:lnTo>
                  <a:lnTo>
                    <a:pt x="344284" y="177279"/>
                  </a:lnTo>
                  <a:lnTo>
                    <a:pt x="376936" y="207886"/>
                  </a:lnTo>
                  <a:lnTo>
                    <a:pt x="414248" y="232867"/>
                  </a:lnTo>
                  <a:lnTo>
                    <a:pt x="455561"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200" name="object 198">
              <a:extLst>
                <a:ext uri="{FF2B5EF4-FFF2-40B4-BE49-F238E27FC236}">
                  <a16:creationId xmlns:a16="http://schemas.microsoft.com/office/drawing/2014/main" id="{46271FE4-1942-6ACB-3903-795E2EF1FBD1}"/>
                </a:ext>
              </a:extLst>
            </p:cNvPr>
            <p:cNvPicPr/>
            <p:nvPr/>
          </p:nvPicPr>
          <p:blipFill>
            <a:blip r:embed="rId17" cstate="print"/>
            <a:stretch>
              <a:fillRect/>
            </a:stretch>
          </p:blipFill>
          <p:spPr>
            <a:xfrm>
              <a:off x="11947657" y="2356067"/>
              <a:ext cx="106445" cy="107156"/>
            </a:xfrm>
            <a:prstGeom prst="rect">
              <a:avLst/>
            </a:prstGeom>
          </p:spPr>
        </p:pic>
        <p:sp>
          <p:nvSpPr>
            <p:cNvPr id="201" name="object 199">
              <a:extLst>
                <a:ext uri="{FF2B5EF4-FFF2-40B4-BE49-F238E27FC236}">
                  <a16:creationId xmlns:a16="http://schemas.microsoft.com/office/drawing/2014/main" id="{BC90CC45-1E04-7512-3DA7-AE2E10338FDD}"/>
                </a:ext>
              </a:extLst>
            </p:cNvPr>
            <p:cNvSpPr/>
            <p:nvPr/>
          </p:nvSpPr>
          <p:spPr>
            <a:xfrm>
              <a:off x="11834389"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202" name="object 200">
              <a:extLst>
                <a:ext uri="{FF2B5EF4-FFF2-40B4-BE49-F238E27FC236}">
                  <a16:creationId xmlns:a16="http://schemas.microsoft.com/office/drawing/2014/main" id="{8576851D-D5C6-D776-97E0-CF84A927078C}"/>
                </a:ext>
              </a:extLst>
            </p:cNvPr>
            <p:cNvPicPr/>
            <p:nvPr/>
          </p:nvPicPr>
          <p:blipFill>
            <a:blip r:embed="rId22" cstate="print"/>
            <a:stretch>
              <a:fillRect/>
            </a:stretch>
          </p:blipFill>
          <p:spPr>
            <a:xfrm>
              <a:off x="11834417" y="123"/>
              <a:ext cx="152433" cy="99184"/>
            </a:xfrm>
            <a:prstGeom prst="rect">
              <a:avLst/>
            </a:prstGeom>
          </p:spPr>
        </p:pic>
        <p:pic>
          <p:nvPicPr>
            <p:cNvPr id="203" name="object 201">
              <a:extLst>
                <a:ext uri="{FF2B5EF4-FFF2-40B4-BE49-F238E27FC236}">
                  <a16:creationId xmlns:a16="http://schemas.microsoft.com/office/drawing/2014/main" id="{1DA12498-D889-3D4C-0271-BAD99D3CFEEA}"/>
                </a:ext>
              </a:extLst>
            </p:cNvPr>
            <p:cNvPicPr/>
            <p:nvPr/>
          </p:nvPicPr>
          <p:blipFill>
            <a:blip r:embed="rId21" cstate="print"/>
            <a:stretch>
              <a:fillRect/>
            </a:stretch>
          </p:blipFill>
          <p:spPr>
            <a:xfrm>
              <a:off x="12013952" y="123"/>
              <a:ext cx="152798" cy="99837"/>
            </a:xfrm>
            <a:prstGeom prst="rect">
              <a:avLst/>
            </a:prstGeom>
          </p:spPr>
        </p:pic>
        <p:sp>
          <p:nvSpPr>
            <p:cNvPr id="204" name="object 202">
              <a:extLst>
                <a:ext uri="{FF2B5EF4-FFF2-40B4-BE49-F238E27FC236}">
                  <a16:creationId xmlns:a16="http://schemas.microsoft.com/office/drawing/2014/main" id="{EA72EC76-FBEA-1320-2792-256DA0DB4671}"/>
                </a:ext>
              </a:extLst>
            </p:cNvPr>
            <p:cNvSpPr/>
            <p:nvPr/>
          </p:nvSpPr>
          <p:spPr>
            <a:xfrm>
              <a:off x="11834416" y="91626"/>
              <a:ext cx="332700" cy="323458"/>
            </a:xfrm>
            <a:custGeom>
              <a:avLst/>
              <a:gdLst/>
              <a:ahLst/>
              <a:cxnLst/>
              <a:rect l="l" t="t" r="r" b="b"/>
              <a:pathLst>
                <a:path w="548640" h="533400">
                  <a:moveTo>
                    <a:pt x="548030" y="532841"/>
                  </a:moveTo>
                  <a:lnTo>
                    <a:pt x="542582" y="484682"/>
                  </a:lnTo>
                  <a:lnTo>
                    <a:pt x="529183" y="439420"/>
                  </a:lnTo>
                  <a:lnTo>
                    <a:pt x="508571" y="397789"/>
                  </a:lnTo>
                  <a:lnTo>
                    <a:pt x="481482" y="360527"/>
                  </a:lnTo>
                  <a:lnTo>
                    <a:pt x="448640" y="328383"/>
                  </a:lnTo>
                  <a:lnTo>
                    <a:pt x="410781" y="302069"/>
                  </a:lnTo>
                  <a:lnTo>
                    <a:pt x="368655" y="282333"/>
                  </a:lnTo>
                  <a:lnTo>
                    <a:pt x="322986" y="269913"/>
                  </a:lnTo>
                  <a:lnTo>
                    <a:pt x="274510" y="265544"/>
                  </a:lnTo>
                  <a:lnTo>
                    <a:pt x="273291" y="265544"/>
                  </a:lnTo>
                  <a:lnTo>
                    <a:pt x="224942" y="269900"/>
                  </a:lnTo>
                  <a:lnTo>
                    <a:pt x="179387" y="282257"/>
                  </a:lnTo>
                  <a:lnTo>
                    <a:pt x="137350" y="301904"/>
                  </a:lnTo>
                  <a:lnTo>
                    <a:pt x="99568" y="328104"/>
                  </a:lnTo>
                  <a:lnTo>
                    <a:pt x="66763" y="360121"/>
                  </a:lnTo>
                  <a:lnTo>
                    <a:pt x="39674" y="397217"/>
                  </a:lnTo>
                  <a:lnTo>
                    <a:pt x="19037" y="438683"/>
                  </a:lnTo>
                  <a:lnTo>
                    <a:pt x="5562" y="483768"/>
                  </a:lnTo>
                  <a:lnTo>
                    <a:pt x="0" y="531761"/>
                  </a:lnTo>
                  <a:lnTo>
                    <a:pt x="47663" y="527723"/>
                  </a:lnTo>
                  <a:lnTo>
                    <a:pt x="92189" y="516064"/>
                  </a:lnTo>
                  <a:lnTo>
                    <a:pt x="133426" y="497471"/>
                  </a:lnTo>
                  <a:lnTo>
                    <a:pt x="170688" y="472592"/>
                  </a:lnTo>
                  <a:lnTo>
                    <a:pt x="203314" y="442137"/>
                  </a:lnTo>
                  <a:lnTo>
                    <a:pt x="230619" y="406755"/>
                  </a:lnTo>
                  <a:lnTo>
                    <a:pt x="251955" y="367118"/>
                  </a:lnTo>
                  <a:lnTo>
                    <a:pt x="266611" y="323926"/>
                  </a:lnTo>
                  <a:lnTo>
                    <a:pt x="273951" y="277837"/>
                  </a:lnTo>
                  <a:lnTo>
                    <a:pt x="281114" y="324116"/>
                  </a:lnTo>
                  <a:lnTo>
                    <a:pt x="295681" y="367487"/>
                  </a:lnTo>
                  <a:lnTo>
                    <a:pt x="316941" y="407276"/>
                  </a:lnTo>
                  <a:lnTo>
                    <a:pt x="344233" y="442810"/>
                  </a:lnTo>
                  <a:lnTo>
                    <a:pt x="376885" y="473417"/>
                  </a:lnTo>
                  <a:lnTo>
                    <a:pt x="414197" y="498398"/>
                  </a:lnTo>
                  <a:lnTo>
                    <a:pt x="455498" y="517080"/>
                  </a:lnTo>
                  <a:lnTo>
                    <a:pt x="500113" y="528789"/>
                  </a:lnTo>
                  <a:lnTo>
                    <a:pt x="548030" y="532841"/>
                  </a:lnTo>
                  <a:close/>
                </a:path>
                <a:path w="548640" h="533400">
                  <a:moveTo>
                    <a:pt x="548030" y="267309"/>
                  </a:moveTo>
                  <a:lnTo>
                    <a:pt x="542582" y="219138"/>
                  </a:lnTo>
                  <a:lnTo>
                    <a:pt x="529183" y="173888"/>
                  </a:lnTo>
                  <a:lnTo>
                    <a:pt x="508571" y="132257"/>
                  </a:lnTo>
                  <a:lnTo>
                    <a:pt x="481482" y="94996"/>
                  </a:lnTo>
                  <a:lnTo>
                    <a:pt x="448640" y="62852"/>
                  </a:lnTo>
                  <a:lnTo>
                    <a:pt x="410781" y="36537"/>
                  </a:lnTo>
                  <a:lnTo>
                    <a:pt x="368655" y="16802"/>
                  </a:lnTo>
                  <a:lnTo>
                    <a:pt x="322986" y="4381"/>
                  </a:lnTo>
                  <a:lnTo>
                    <a:pt x="274510" y="0"/>
                  </a:lnTo>
                  <a:lnTo>
                    <a:pt x="273291" y="0"/>
                  </a:lnTo>
                  <a:lnTo>
                    <a:pt x="224942" y="4356"/>
                  </a:lnTo>
                  <a:lnTo>
                    <a:pt x="179387" y="16725"/>
                  </a:lnTo>
                  <a:lnTo>
                    <a:pt x="137350" y="36372"/>
                  </a:lnTo>
                  <a:lnTo>
                    <a:pt x="99568" y="62572"/>
                  </a:lnTo>
                  <a:lnTo>
                    <a:pt x="66763" y="94576"/>
                  </a:lnTo>
                  <a:lnTo>
                    <a:pt x="39674" y="131686"/>
                  </a:lnTo>
                  <a:lnTo>
                    <a:pt x="19037" y="173151"/>
                  </a:lnTo>
                  <a:lnTo>
                    <a:pt x="5562" y="218236"/>
                  </a:lnTo>
                  <a:lnTo>
                    <a:pt x="0" y="266230"/>
                  </a:lnTo>
                  <a:lnTo>
                    <a:pt x="47663" y="262191"/>
                  </a:lnTo>
                  <a:lnTo>
                    <a:pt x="92189" y="250532"/>
                  </a:lnTo>
                  <a:lnTo>
                    <a:pt x="133426" y="231940"/>
                  </a:lnTo>
                  <a:lnTo>
                    <a:pt x="170688" y="207060"/>
                  </a:lnTo>
                  <a:lnTo>
                    <a:pt x="203314" y="176593"/>
                  </a:lnTo>
                  <a:lnTo>
                    <a:pt x="230619" y="141211"/>
                  </a:lnTo>
                  <a:lnTo>
                    <a:pt x="251955" y="101587"/>
                  </a:lnTo>
                  <a:lnTo>
                    <a:pt x="266611" y="58394"/>
                  </a:lnTo>
                  <a:lnTo>
                    <a:pt x="273951" y="12306"/>
                  </a:lnTo>
                  <a:lnTo>
                    <a:pt x="281114" y="58585"/>
                  </a:lnTo>
                  <a:lnTo>
                    <a:pt x="295681" y="101955"/>
                  </a:lnTo>
                  <a:lnTo>
                    <a:pt x="316941" y="141744"/>
                  </a:lnTo>
                  <a:lnTo>
                    <a:pt x="344233" y="177279"/>
                  </a:lnTo>
                  <a:lnTo>
                    <a:pt x="376885" y="207873"/>
                  </a:lnTo>
                  <a:lnTo>
                    <a:pt x="414197" y="232854"/>
                  </a:lnTo>
                  <a:lnTo>
                    <a:pt x="455498" y="251548"/>
                  </a:lnTo>
                  <a:lnTo>
                    <a:pt x="500113" y="263258"/>
                  </a:lnTo>
                  <a:lnTo>
                    <a:pt x="548030" y="267309"/>
                  </a:lnTo>
                  <a:close/>
                </a:path>
              </a:pathLst>
            </a:custGeom>
            <a:solidFill>
              <a:srgbClr val="2DB7EA"/>
            </a:solidFill>
          </p:spPr>
          <p:txBody>
            <a:bodyPr wrap="square" lIns="0" tIns="0" rIns="0" bIns="0" rtlCol="0"/>
            <a:lstStyle/>
            <a:p>
              <a:endParaRPr dirty="0"/>
            </a:p>
          </p:txBody>
        </p:sp>
        <p:pic>
          <p:nvPicPr>
            <p:cNvPr id="205" name="object 203">
              <a:extLst>
                <a:ext uri="{FF2B5EF4-FFF2-40B4-BE49-F238E27FC236}">
                  <a16:creationId xmlns:a16="http://schemas.microsoft.com/office/drawing/2014/main" id="{2D09C568-88E6-B5EC-7718-075FF99D4C91}"/>
                </a:ext>
              </a:extLst>
            </p:cNvPr>
            <p:cNvPicPr/>
            <p:nvPr/>
          </p:nvPicPr>
          <p:blipFill>
            <a:blip r:embed="rId16" cstate="print"/>
            <a:stretch>
              <a:fillRect/>
            </a:stretch>
          </p:blipFill>
          <p:spPr>
            <a:xfrm>
              <a:off x="11947657" y="393572"/>
              <a:ext cx="106445" cy="107156"/>
            </a:xfrm>
            <a:prstGeom prst="rect">
              <a:avLst/>
            </a:prstGeom>
          </p:spPr>
        </p:pic>
        <p:sp>
          <p:nvSpPr>
            <p:cNvPr id="206" name="object 204">
              <a:extLst>
                <a:ext uri="{FF2B5EF4-FFF2-40B4-BE49-F238E27FC236}">
                  <a16:creationId xmlns:a16="http://schemas.microsoft.com/office/drawing/2014/main" id="{64214872-D8FF-DF63-0EED-8F529E1FF5D9}"/>
                </a:ext>
              </a:extLst>
            </p:cNvPr>
            <p:cNvSpPr/>
            <p:nvPr/>
          </p:nvSpPr>
          <p:spPr>
            <a:xfrm>
              <a:off x="11834385" y="592039"/>
              <a:ext cx="332700" cy="477101"/>
            </a:xfrm>
            <a:custGeom>
              <a:avLst/>
              <a:gdLst/>
              <a:ahLst/>
              <a:cxnLst/>
              <a:rect l="l" t="t" r="r" b="b"/>
              <a:pathLst>
                <a:path w="548640" h="786764">
                  <a:moveTo>
                    <a:pt x="548081" y="786384"/>
                  </a:moveTo>
                  <a:lnTo>
                    <a:pt x="542632" y="738225"/>
                  </a:lnTo>
                  <a:lnTo>
                    <a:pt x="529234"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47"/>
                  </a:lnTo>
                  <a:lnTo>
                    <a:pt x="66814" y="613664"/>
                  </a:lnTo>
                  <a:lnTo>
                    <a:pt x="39725" y="650760"/>
                  </a:lnTo>
                  <a:lnTo>
                    <a:pt x="19088" y="692226"/>
                  </a:lnTo>
                  <a:lnTo>
                    <a:pt x="5613" y="737323"/>
                  </a:lnTo>
                  <a:lnTo>
                    <a:pt x="50" y="785304"/>
                  </a:lnTo>
                  <a:lnTo>
                    <a:pt x="47713" y="781278"/>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59"/>
                  </a:lnTo>
                  <a:lnTo>
                    <a:pt x="295732" y="621030"/>
                  </a:lnTo>
                  <a:lnTo>
                    <a:pt x="316992" y="660831"/>
                  </a:lnTo>
                  <a:lnTo>
                    <a:pt x="344284" y="696366"/>
                  </a:lnTo>
                  <a:lnTo>
                    <a:pt x="376936" y="726960"/>
                  </a:lnTo>
                  <a:lnTo>
                    <a:pt x="414248" y="751941"/>
                  </a:lnTo>
                  <a:lnTo>
                    <a:pt x="455549" y="770623"/>
                  </a:lnTo>
                  <a:lnTo>
                    <a:pt x="500164" y="782332"/>
                  </a:lnTo>
                  <a:lnTo>
                    <a:pt x="548081" y="786384"/>
                  </a:lnTo>
                  <a:close/>
                </a:path>
                <a:path w="548640" h="786764">
                  <a:moveTo>
                    <a:pt x="548081" y="520852"/>
                  </a:moveTo>
                  <a:lnTo>
                    <a:pt x="542632" y="472694"/>
                  </a:lnTo>
                  <a:lnTo>
                    <a:pt x="529234" y="427431"/>
                  </a:lnTo>
                  <a:lnTo>
                    <a:pt x="508622" y="385800"/>
                  </a:lnTo>
                  <a:lnTo>
                    <a:pt x="481533" y="348551"/>
                  </a:lnTo>
                  <a:lnTo>
                    <a:pt x="448691" y="316395"/>
                  </a:lnTo>
                  <a:lnTo>
                    <a:pt x="410832" y="290080"/>
                  </a:lnTo>
                  <a:lnTo>
                    <a:pt x="368706" y="270357"/>
                  </a:lnTo>
                  <a:lnTo>
                    <a:pt x="323037" y="257924"/>
                  </a:lnTo>
                  <a:lnTo>
                    <a:pt x="274561" y="253555"/>
                  </a:lnTo>
                  <a:lnTo>
                    <a:pt x="273342" y="253555"/>
                  </a:lnTo>
                  <a:lnTo>
                    <a:pt x="224993" y="257911"/>
                  </a:lnTo>
                  <a:lnTo>
                    <a:pt x="179438" y="270281"/>
                  </a:lnTo>
                  <a:lnTo>
                    <a:pt x="137401" y="289915"/>
                  </a:lnTo>
                  <a:lnTo>
                    <a:pt x="99618" y="316115"/>
                  </a:lnTo>
                  <a:lnTo>
                    <a:pt x="66814" y="348132"/>
                  </a:lnTo>
                  <a:lnTo>
                    <a:pt x="39725" y="385229"/>
                  </a:lnTo>
                  <a:lnTo>
                    <a:pt x="19088" y="426694"/>
                  </a:lnTo>
                  <a:lnTo>
                    <a:pt x="5613" y="471779"/>
                  </a:lnTo>
                  <a:lnTo>
                    <a:pt x="50" y="519772"/>
                  </a:lnTo>
                  <a:lnTo>
                    <a:pt x="47713" y="515734"/>
                  </a:lnTo>
                  <a:lnTo>
                    <a:pt x="92240" y="504088"/>
                  </a:lnTo>
                  <a:lnTo>
                    <a:pt x="133477" y="485482"/>
                  </a:lnTo>
                  <a:lnTo>
                    <a:pt x="170738" y="460616"/>
                  </a:lnTo>
                  <a:lnTo>
                    <a:pt x="203365" y="430149"/>
                  </a:lnTo>
                  <a:lnTo>
                    <a:pt x="230670" y="394766"/>
                  </a:lnTo>
                  <a:lnTo>
                    <a:pt x="252006" y="355142"/>
                  </a:lnTo>
                  <a:lnTo>
                    <a:pt x="266661" y="311937"/>
                  </a:lnTo>
                  <a:lnTo>
                    <a:pt x="274002" y="265861"/>
                  </a:lnTo>
                  <a:lnTo>
                    <a:pt x="281165" y="312127"/>
                  </a:lnTo>
                  <a:lnTo>
                    <a:pt x="295732" y="355498"/>
                  </a:lnTo>
                  <a:lnTo>
                    <a:pt x="316992" y="395300"/>
                  </a:lnTo>
                  <a:lnTo>
                    <a:pt x="344284" y="430834"/>
                  </a:lnTo>
                  <a:lnTo>
                    <a:pt x="376936" y="461429"/>
                  </a:lnTo>
                  <a:lnTo>
                    <a:pt x="414248" y="486410"/>
                  </a:lnTo>
                  <a:lnTo>
                    <a:pt x="455549" y="505091"/>
                  </a:lnTo>
                  <a:lnTo>
                    <a:pt x="500164" y="516801"/>
                  </a:lnTo>
                  <a:lnTo>
                    <a:pt x="548081" y="520852"/>
                  </a:lnTo>
                  <a:close/>
                </a:path>
                <a:path w="548640" h="786764">
                  <a:moveTo>
                    <a:pt x="548093" y="267322"/>
                  </a:moveTo>
                  <a:lnTo>
                    <a:pt x="542645" y="219138"/>
                  </a:lnTo>
                  <a:lnTo>
                    <a:pt x="529247" y="173875"/>
                  </a:lnTo>
                  <a:lnTo>
                    <a:pt x="508635" y="132245"/>
                  </a:lnTo>
                  <a:lnTo>
                    <a:pt x="492937" y="110680"/>
                  </a:lnTo>
                  <a:lnTo>
                    <a:pt x="481533" y="94996"/>
                  </a:lnTo>
                  <a:lnTo>
                    <a:pt x="448691" y="62839"/>
                  </a:lnTo>
                  <a:lnTo>
                    <a:pt x="410845" y="36537"/>
                  </a:lnTo>
                  <a:lnTo>
                    <a:pt x="368706" y="16789"/>
                  </a:lnTo>
                  <a:lnTo>
                    <a:pt x="323037" y="4368"/>
                  </a:lnTo>
                  <a:lnTo>
                    <a:pt x="274574" y="12"/>
                  </a:lnTo>
                  <a:lnTo>
                    <a:pt x="273342" y="0"/>
                  </a:lnTo>
                  <a:lnTo>
                    <a:pt x="224993" y="4356"/>
                  </a:lnTo>
                  <a:lnTo>
                    <a:pt x="179438" y="16713"/>
                  </a:lnTo>
                  <a:lnTo>
                    <a:pt x="137401" y="36360"/>
                  </a:lnTo>
                  <a:lnTo>
                    <a:pt x="99618" y="62560"/>
                  </a:lnTo>
                  <a:lnTo>
                    <a:pt x="66814" y="94576"/>
                  </a:lnTo>
                  <a:lnTo>
                    <a:pt x="39700" y="131686"/>
                  </a:lnTo>
                  <a:lnTo>
                    <a:pt x="19050" y="173139"/>
                  </a:lnTo>
                  <a:lnTo>
                    <a:pt x="5575" y="218211"/>
                  </a:lnTo>
                  <a:lnTo>
                    <a:pt x="0" y="266192"/>
                  </a:lnTo>
                  <a:lnTo>
                    <a:pt x="47713" y="262178"/>
                  </a:lnTo>
                  <a:lnTo>
                    <a:pt x="92240" y="250520"/>
                  </a:lnTo>
                  <a:lnTo>
                    <a:pt x="133477" y="231927"/>
                  </a:lnTo>
                  <a:lnTo>
                    <a:pt x="170738" y="207048"/>
                  </a:lnTo>
                  <a:lnTo>
                    <a:pt x="203365" y="176593"/>
                  </a:lnTo>
                  <a:lnTo>
                    <a:pt x="230682" y="141211"/>
                  </a:lnTo>
                  <a:lnTo>
                    <a:pt x="252006" y="101587"/>
                  </a:lnTo>
                  <a:lnTo>
                    <a:pt x="266674" y="58407"/>
                  </a:lnTo>
                  <a:lnTo>
                    <a:pt x="274002" y="12319"/>
                  </a:lnTo>
                  <a:lnTo>
                    <a:pt x="275691" y="23253"/>
                  </a:lnTo>
                  <a:lnTo>
                    <a:pt x="281165" y="58572"/>
                  </a:lnTo>
                  <a:lnTo>
                    <a:pt x="295732" y="101942"/>
                  </a:lnTo>
                  <a:lnTo>
                    <a:pt x="316992" y="141732"/>
                  </a:lnTo>
                  <a:lnTo>
                    <a:pt x="344284" y="177266"/>
                  </a:lnTo>
                  <a:lnTo>
                    <a:pt x="376936" y="207873"/>
                  </a:lnTo>
                  <a:lnTo>
                    <a:pt x="414248" y="232854"/>
                  </a:lnTo>
                  <a:lnTo>
                    <a:pt x="455561"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207" name="object 205">
              <a:extLst>
                <a:ext uri="{FF2B5EF4-FFF2-40B4-BE49-F238E27FC236}">
                  <a16:creationId xmlns:a16="http://schemas.microsoft.com/office/drawing/2014/main" id="{19FC7425-9F7E-1215-195A-AF9637BBB105}"/>
                </a:ext>
              </a:extLst>
            </p:cNvPr>
            <p:cNvPicPr/>
            <p:nvPr/>
          </p:nvPicPr>
          <p:blipFill>
            <a:blip r:embed="rId17" cstate="print"/>
            <a:stretch>
              <a:fillRect/>
            </a:stretch>
          </p:blipFill>
          <p:spPr>
            <a:xfrm>
              <a:off x="11947657" y="1047738"/>
              <a:ext cx="106445" cy="107156"/>
            </a:xfrm>
            <a:prstGeom prst="rect">
              <a:avLst/>
            </a:prstGeom>
          </p:spPr>
        </p:pic>
        <p:sp>
          <p:nvSpPr>
            <p:cNvPr id="243" name="object 241">
              <a:extLst>
                <a:ext uri="{FF2B5EF4-FFF2-40B4-BE49-F238E27FC236}">
                  <a16:creationId xmlns:a16="http://schemas.microsoft.com/office/drawing/2014/main" id="{436AC2AD-F604-9C1E-6E03-784BEF626A08}"/>
                </a:ext>
              </a:extLst>
            </p:cNvPr>
            <p:cNvSpPr/>
            <p:nvPr/>
          </p:nvSpPr>
          <p:spPr>
            <a:xfrm>
              <a:off x="7598678" y="804428"/>
              <a:ext cx="332700" cy="477101"/>
            </a:xfrm>
            <a:custGeom>
              <a:avLst/>
              <a:gdLst/>
              <a:ahLst/>
              <a:cxnLst/>
              <a:rect l="l" t="t" r="r" b="b"/>
              <a:pathLst>
                <a:path w="548640" h="786764">
                  <a:moveTo>
                    <a:pt x="548043" y="266598"/>
                  </a:moveTo>
                  <a:lnTo>
                    <a:pt x="500367" y="270637"/>
                  </a:lnTo>
                  <a:lnTo>
                    <a:pt x="455841" y="282295"/>
                  </a:lnTo>
                  <a:lnTo>
                    <a:pt x="414616" y="300901"/>
                  </a:lnTo>
                  <a:lnTo>
                    <a:pt x="377342" y="325767"/>
                  </a:lnTo>
                  <a:lnTo>
                    <a:pt x="344728" y="356235"/>
                  </a:lnTo>
                  <a:lnTo>
                    <a:pt x="317411" y="391617"/>
                  </a:lnTo>
                  <a:lnTo>
                    <a:pt x="296087" y="431241"/>
                  </a:lnTo>
                  <a:lnTo>
                    <a:pt x="281419" y="474433"/>
                  </a:lnTo>
                  <a:lnTo>
                    <a:pt x="274091" y="520522"/>
                  </a:lnTo>
                  <a:lnTo>
                    <a:pt x="266915" y="474256"/>
                  </a:lnTo>
                  <a:lnTo>
                    <a:pt x="252361" y="430872"/>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88"/>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42"/>
                  </a:lnTo>
                  <a:lnTo>
                    <a:pt x="529005" y="359689"/>
                  </a:lnTo>
                  <a:lnTo>
                    <a:pt x="542480" y="314591"/>
                  </a:lnTo>
                  <a:lnTo>
                    <a:pt x="548043" y="266598"/>
                  </a:lnTo>
                  <a:close/>
                </a:path>
                <a:path w="548640" h="786764">
                  <a:moveTo>
                    <a:pt x="548043" y="1079"/>
                  </a:moveTo>
                  <a:lnTo>
                    <a:pt x="500367" y="5105"/>
                  </a:lnTo>
                  <a:lnTo>
                    <a:pt x="455841" y="16764"/>
                  </a:lnTo>
                  <a:lnTo>
                    <a:pt x="414616" y="35369"/>
                  </a:lnTo>
                  <a:lnTo>
                    <a:pt x="377342" y="60236"/>
                  </a:lnTo>
                  <a:lnTo>
                    <a:pt x="344728"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80" y="49060"/>
                  </a:lnTo>
                  <a:lnTo>
                    <a:pt x="548043" y="1079"/>
                  </a:lnTo>
                  <a:close/>
                </a:path>
                <a:path w="548640" h="786764">
                  <a:moveTo>
                    <a:pt x="548081" y="520192"/>
                  </a:moveTo>
                  <a:lnTo>
                    <a:pt x="500367" y="524205"/>
                  </a:lnTo>
                  <a:lnTo>
                    <a:pt x="455841" y="535851"/>
                  </a:lnTo>
                  <a:lnTo>
                    <a:pt x="414616" y="554456"/>
                  </a:lnTo>
                  <a:lnTo>
                    <a:pt x="377342" y="579323"/>
                  </a:lnTo>
                  <a:lnTo>
                    <a:pt x="360464" y="595083"/>
                  </a:lnTo>
                  <a:lnTo>
                    <a:pt x="344728" y="609790"/>
                  </a:lnTo>
                  <a:lnTo>
                    <a:pt x="317398" y="645160"/>
                  </a:lnTo>
                  <a:lnTo>
                    <a:pt x="296075" y="684784"/>
                  </a:lnTo>
                  <a:lnTo>
                    <a:pt x="281419" y="727976"/>
                  </a:lnTo>
                  <a:lnTo>
                    <a:pt x="274078" y="774039"/>
                  </a:lnTo>
                  <a:lnTo>
                    <a:pt x="268224" y="736295"/>
                  </a:lnTo>
                  <a:lnTo>
                    <a:pt x="266915" y="727811"/>
                  </a:lnTo>
                  <a:lnTo>
                    <a:pt x="252361" y="684441"/>
                  </a:lnTo>
                  <a:lnTo>
                    <a:pt x="231089" y="644652"/>
                  </a:lnTo>
                  <a:lnTo>
                    <a:pt x="203796" y="609117"/>
                  </a:lnTo>
                  <a:lnTo>
                    <a:pt x="171157" y="578510"/>
                  </a:lnTo>
                  <a:lnTo>
                    <a:pt x="133845" y="553529"/>
                  </a:lnTo>
                  <a:lnTo>
                    <a:pt x="92532" y="534847"/>
                  </a:lnTo>
                  <a:lnTo>
                    <a:pt x="47904" y="523113"/>
                  </a:lnTo>
                  <a:lnTo>
                    <a:pt x="0" y="519061"/>
                  </a:lnTo>
                  <a:lnTo>
                    <a:pt x="5448" y="567245"/>
                  </a:lnTo>
                  <a:lnTo>
                    <a:pt x="8496" y="577583"/>
                  </a:lnTo>
                  <a:lnTo>
                    <a:pt x="18834" y="612508"/>
                  </a:lnTo>
                  <a:lnTo>
                    <a:pt x="32626" y="640346"/>
                  </a:lnTo>
                  <a:lnTo>
                    <a:pt x="39458" y="654138"/>
                  </a:lnTo>
                  <a:lnTo>
                    <a:pt x="66548" y="691388"/>
                  </a:lnTo>
                  <a:lnTo>
                    <a:pt x="98704" y="722871"/>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49275" y="723023"/>
                  </a:lnTo>
                  <a:lnTo>
                    <a:pt x="481266" y="691807"/>
                  </a:lnTo>
                  <a:lnTo>
                    <a:pt x="508393" y="654697"/>
                  </a:lnTo>
                  <a:lnTo>
                    <a:pt x="529043" y="613244"/>
                  </a:lnTo>
                  <a:lnTo>
                    <a:pt x="542518" y="568172"/>
                  </a:lnTo>
                  <a:lnTo>
                    <a:pt x="548081" y="520192"/>
                  </a:lnTo>
                  <a:close/>
                </a:path>
              </a:pathLst>
            </a:custGeom>
            <a:solidFill>
              <a:srgbClr val="2DB7EA"/>
            </a:solidFill>
          </p:spPr>
          <p:txBody>
            <a:bodyPr wrap="square" lIns="0" tIns="0" rIns="0" bIns="0" rtlCol="0"/>
            <a:lstStyle/>
            <a:p>
              <a:endParaRPr dirty="0"/>
            </a:p>
          </p:txBody>
        </p:sp>
        <p:pic>
          <p:nvPicPr>
            <p:cNvPr id="244" name="object 242">
              <a:extLst>
                <a:ext uri="{FF2B5EF4-FFF2-40B4-BE49-F238E27FC236}">
                  <a16:creationId xmlns:a16="http://schemas.microsoft.com/office/drawing/2014/main" id="{DB836A4F-66F1-07C3-62CC-98ADD5CCF717}"/>
                </a:ext>
              </a:extLst>
            </p:cNvPr>
            <p:cNvPicPr/>
            <p:nvPr/>
          </p:nvPicPr>
          <p:blipFill>
            <a:blip r:embed="rId5" cstate="print"/>
            <a:stretch>
              <a:fillRect/>
            </a:stretch>
          </p:blipFill>
          <p:spPr>
            <a:xfrm>
              <a:off x="7711331" y="718433"/>
              <a:ext cx="106445" cy="107156"/>
            </a:xfrm>
            <a:prstGeom prst="rect">
              <a:avLst/>
            </a:prstGeom>
          </p:spPr>
        </p:pic>
        <p:sp>
          <p:nvSpPr>
            <p:cNvPr id="245" name="object 243">
              <a:extLst>
                <a:ext uri="{FF2B5EF4-FFF2-40B4-BE49-F238E27FC236}">
                  <a16:creationId xmlns:a16="http://schemas.microsoft.com/office/drawing/2014/main" id="{3E430CD5-7DAB-A556-FBB4-6BAE7CA834D8}"/>
                </a:ext>
              </a:extLst>
            </p:cNvPr>
            <p:cNvSpPr/>
            <p:nvPr/>
          </p:nvSpPr>
          <p:spPr>
            <a:xfrm>
              <a:off x="7598678" y="150257"/>
              <a:ext cx="332700" cy="477101"/>
            </a:xfrm>
            <a:custGeom>
              <a:avLst/>
              <a:gdLst/>
              <a:ahLst/>
              <a:cxnLst/>
              <a:rect l="l" t="t" r="r" b="b"/>
              <a:pathLst>
                <a:path w="548640" h="786765">
                  <a:moveTo>
                    <a:pt x="548043" y="266611"/>
                  </a:moveTo>
                  <a:lnTo>
                    <a:pt x="500367" y="270649"/>
                  </a:lnTo>
                  <a:lnTo>
                    <a:pt x="455841" y="282308"/>
                  </a:lnTo>
                  <a:lnTo>
                    <a:pt x="414616" y="300901"/>
                  </a:lnTo>
                  <a:lnTo>
                    <a:pt x="377342" y="325767"/>
                  </a:lnTo>
                  <a:lnTo>
                    <a:pt x="344728" y="356235"/>
                  </a:lnTo>
                  <a:lnTo>
                    <a:pt x="317411" y="391617"/>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39"/>
                  </a:lnTo>
                  <a:lnTo>
                    <a:pt x="225044" y="528459"/>
                  </a:lnTo>
                  <a:lnTo>
                    <a:pt x="273519" y="532828"/>
                  </a:lnTo>
                  <a:lnTo>
                    <a:pt x="274751" y="532828"/>
                  </a:lnTo>
                  <a:lnTo>
                    <a:pt x="323088" y="528472"/>
                  </a:lnTo>
                  <a:lnTo>
                    <a:pt x="368642" y="516115"/>
                  </a:lnTo>
                  <a:lnTo>
                    <a:pt x="410679" y="496468"/>
                  </a:lnTo>
                  <a:lnTo>
                    <a:pt x="448462" y="470268"/>
                  </a:lnTo>
                  <a:lnTo>
                    <a:pt x="481266" y="438251"/>
                  </a:lnTo>
                  <a:lnTo>
                    <a:pt x="508355" y="401154"/>
                  </a:lnTo>
                  <a:lnTo>
                    <a:pt x="529005" y="359689"/>
                  </a:lnTo>
                  <a:lnTo>
                    <a:pt x="542480" y="314604"/>
                  </a:lnTo>
                  <a:lnTo>
                    <a:pt x="548043" y="266611"/>
                  </a:lnTo>
                  <a:close/>
                </a:path>
                <a:path w="548640" h="786765">
                  <a:moveTo>
                    <a:pt x="548043" y="1079"/>
                  </a:moveTo>
                  <a:lnTo>
                    <a:pt x="500367" y="5118"/>
                  </a:lnTo>
                  <a:lnTo>
                    <a:pt x="455841" y="16776"/>
                  </a:lnTo>
                  <a:lnTo>
                    <a:pt x="414616" y="35369"/>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60"/>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36"/>
                  </a:lnTo>
                  <a:lnTo>
                    <a:pt x="481266" y="172732"/>
                  </a:lnTo>
                  <a:lnTo>
                    <a:pt x="508355" y="135623"/>
                  </a:lnTo>
                  <a:lnTo>
                    <a:pt x="529005" y="94157"/>
                  </a:lnTo>
                  <a:lnTo>
                    <a:pt x="542480" y="49072"/>
                  </a:lnTo>
                  <a:lnTo>
                    <a:pt x="548043" y="1079"/>
                  </a:lnTo>
                  <a:close/>
                </a:path>
                <a:path w="548640" h="786765">
                  <a:moveTo>
                    <a:pt x="548081" y="520204"/>
                  </a:moveTo>
                  <a:lnTo>
                    <a:pt x="500367" y="524205"/>
                  </a:lnTo>
                  <a:lnTo>
                    <a:pt x="455841" y="535863"/>
                  </a:lnTo>
                  <a:lnTo>
                    <a:pt x="414616" y="554469"/>
                  </a:lnTo>
                  <a:lnTo>
                    <a:pt x="377342" y="579335"/>
                  </a:lnTo>
                  <a:lnTo>
                    <a:pt x="344728" y="609803"/>
                  </a:lnTo>
                  <a:lnTo>
                    <a:pt x="317398" y="645172"/>
                  </a:lnTo>
                  <a:lnTo>
                    <a:pt x="296075" y="684796"/>
                  </a:lnTo>
                  <a:lnTo>
                    <a:pt x="281419" y="727976"/>
                  </a:lnTo>
                  <a:lnTo>
                    <a:pt x="274078" y="774039"/>
                  </a:lnTo>
                  <a:lnTo>
                    <a:pt x="268224" y="736307"/>
                  </a:lnTo>
                  <a:lnTo>
                    <a:pt x="266915" y="727824"/>
                  </a:lnTo>
                  <a:lnTo>
                    <a:pt x="252361" y="684453"/>
                  </a:lnTo>
                  <a:lnTo>
                    <a:pt x="231089" y="644652"/>
                  </a:lnTo>
                  <a:lnTo>
                    <a:pt x="203796" y="609117"/>
                  </a:lnTo>
                  <a:lnTo>
                    <a:pt x="171157" y="578523"/>
                  </a:lnTo>
                  <a:lnTo>
                    <a:pt x="133845" y="553542"/>
                  </a:lnTo>
                  <a:lnTo>
                    <a:pt x="92532" y="534835"/>
                  </a:lnTo>
                  <a:lnTo>
                    <a:pt x="47904" y="523125"/>
                  </a:lnTo>
                  <a:lnTo>
                    <a:pt x="0" y="519074"/>
                  </a:lnTo>
                  <a:lnTo>
                    <a:pt x="5448" y="567258"/>
                  </a:lnTo>
                  <a:lnTo>
                    <a:pt x="9410" y="580644"/>
                  </a:lnTo>
                  <a:lnTo>
                    <a:pt x="18834" y="612508"/>
                  </a:lnTo>
                  <a:lnTo>
                    <a:pt x="29235" y="633526"/>
                  </a:lnTo>
                  <a:lnTo>
                    <a:pt x="39458" y="654151"/>
                  </a:lnTo>
                  <a:lnTo>
                    <a:pt x="59156" y="681240"/>
                  </a:lnTo>
                  <a:lnTo>
                    <a:pt x="66548" y="691388"/>
                  </a:lnTo>
                  <a:lnTo>
                    <a:pt x="99402" y="723557"/>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7ED3F1"/>
            </a:solidFill>
          </p:spPr>
          <p:txBody>
            <a:bodyPr wrap="square" lIns="0" tIns="0" rIns="0" bIns="0" rtlCol="0"/>
            <a:lstStyle/>
            <a:p>
              <a:endParaRPr dirty="0"/>
            </a:p>
          </p:txBody>
        </p:sp>
        <p:pic>
          <p:nvPicPr>
            <p:cNvPr id="246" name="object 244">
              <a:extLst>
                <a:ext uri="{FF2B5EF4-FFF2-40B4-BE49-F238E27FC236}">
                  <a16:creationId xmlns:a16="http://schemas.microsoft.com/office/drawing/2014/main" id="{B548EE38-1687-0FA4-A7F6-13620F5B9145}"/>
                </a:ext>
              </a:extLst>
            </p:cNvPr>
            <p:cNvPicPr/>
            <p:nvPr/>
          </p:nvPicPr>
          <p:blipFill>
            <a:blip r:embed="rId6" cstate="print"/>
            <a:stretch>
              <a:fillRect/>
            </a:stretch>
          </p:blipFill>
          <p:spPr>
            <a:xfrm>
              <a:off x="7711331" y="64269"/>
              <a:ext cx="106445" cy="107156"/>
            </a:xfrm>
            <a:prstGeom prst="rect">
              <a:avLst/>
            </a:prstGeom>
          </p:spPr>
        </p:pic>
        <p:sp>
          <p:nvSpPr>
            <p:cNvPr id="247" name="object 245">
              <a:extLst>
                <a:ext uri="{FF2B5EF4-FFF2-40B4-BE49-F238E27FC236}">
                  <a16:creationId xmlns:a16="http://schemas.microsoft.com/office/drawing/2014/main" id="{BDF28489-126A-3916-EDBF-8C2CE1276269}"/>
                </a:ext>
              </a:extLst>
            </p:cNvPr>
            <p:cNvSpPr/>
            <p:nvPr/>
          </p:nvSpPr>
          <p:spPr>
            <a:xfrm>
              <a:off x="7598678" y="2112754"/>
              <a:ext cx="332700" cy="477101"/>
            </a:xfrm>
            <a:custGeom>
              <a:avLst/>
              <a:gdLst/>
              <a:ahLst/>
              <a:cxnLst/>
              <a:rect l="l" t="t" r="r" b="b"/>
              <a:pathLst>
                <a:path w="548640" h="786764">
                  <a:moveTo>
                    <a:pt x="548043" y="266611"/>
                  </a:moveTo>
                  <a:lnTo>
                    <a:pt x="500367" y="270649"/>
                  </a:lnTo>
                  <a:lnTo>
                    <a:pt x="455841" y="282308"/>
                  </a:lnTo>
                  <a:lnTo>
                    <a:pt x="414616" y="300901"/>
                  </a:lnTo>
                  <a:lnTo>
                    <a:pt x="377342" y="325780"/>
                  </a:lnTo>
                  <a:lnTo>
                    <a:pt x="344728"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74" y="516039"/>
                  </a:lnTo>
                  <a:lnTo>
                    <a:pt x="225044" y="528459"/>
                  </a:lnTo>
                  <a:lnTo>
                    <a:pt x="273519" y="532841"/>
                  </a:lnTo>
                  <a:lnTo>
                    <a:pt x="274751" y="532841"/>
                  </a:lnTo>
                  <a:lnTo>
                    <a:pt x="323088" y="528485"/>
                  </a:lnTo>
                  <a:lnTo>
                    <a:pt x="368642" y="516115"/>
                  </a:lnTo>
                  <a:lnTo>
                    <a:pt x="410679" y="496468"/>
                  </a:lnTo>
                  <a:lnTo>
                    <a:pt x="448462" y="470268"/>
                  </a:lnTo>
                  <a:lnTo>
                    <a:pt x="481266" y="438264"/>
                  </a:lnTo>
                  <a:lnTo>
                    <a:pt x="508355" y="401154"/>
                  </a:lnTo>
                  <a:lnTo>
                    <a:pt x="529005" y="359689"/>
                  </a:lnTo>
                  <a:lnTo>
                    <a:pt x="542480" y="314604"/>
                  </a:lnTo>
                  <a:lnTo>
                    <a:pt x="548043" y="266611"/>
                  </a:lnTo>
                  <a:close/>
                </a:path>
                <a:path w="548640" h="786764">
                  <a:moveTo>
                    <a:pt x="548043" y="1079"/>
                  </a:moveTo>
                  <a:lnTo>
                    <a:pt x="500367" y="5118"/>
                  </a:lnTo>
                  <a:lnTo>
                    <a:pt x="455841" y="16776"/>
                  </a:lnTo>
                  <a:lnTo>
                    <a:pt x="414616" y="35369"/>
                  </a:lnTo>
                  <a:lnTo>
                    <a:pt x="377342" y="60248"/>
                  </a:lnTo>
                  <a:lnTo>
                    <a:pt x="344728" y="90703"/>
                  </a:lnTo>
                  <a:lnTo>
                    <a:pt x="317411" y="126085"/>
                  </a:lnTo>
                  <a:lnTo>
                    <a:pt x="296087" y="165722"/>
                  </a:lnTo>
                  <a:lnTo>
                    <a:pt x="281419" y="208915"/>
                  </a:lnTo>
                  <a:lnTo>
                    <a:pt x="274091" y="255003"/>
                  </a:lnTo>
                  <a:lnTo>
                    <a:pt x="266915" y="208724"/>
                  </a:lnTo>
                  <a:lnTo>
                    <a:pt x="252361" y="165354"/>
                  </a:lnTo>
                  <a:lnTo>
                    <a:pt x="231089"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13"/>
                  </a:lnTo>
                  <a:lnTo>
                    <a:pt x="99402" y="204457"/>
                  </a:lnTo>
                  <a:lnTo>
                    <a:pt x="137248" y="230771"/>
                  </a:lnTo>
                  <a:lnTo>
                    <a:pt x="179374" y="250507"/>
                  </a:lnTo>
                  <a:lnTo>
                    <a:pt x="225044" y="262928"/>
                  </a:lnTo>
                  <a:lnTo>
                    <a:pt x="273519" y="267296"/>
                  </a:lnTo>
                  <a:lnTo>
                    <a:pt x="274751" y="267296"/>
                  </a:lnTo>
                  <a:lnTo>
                    <a:pt x="323088" y="262940"/>
                  </a:lnTo>
                  <a:lnTo>
                    <a:pt x="368642" y="250583"/>
                  </a:lnTo>
                  <a:lnTo>
                    <a:pt x="410679" y="230936"/>
                  </a:lnTo>
                  <a:lnTo>
                    <a:pt x="448462" y="204736"/>
                  </a:lnTo>
                  <a:lnTo>
                    <a:pt x="481266" y="172720"/>
                  </a:lnTo>
                  <a:lnTo>
                    <a:pt x="508355" y="135623"/>
                  </a:lnTo>
                  <a:lnTo>
                    <a:pt x="529005" y="94157"/>
                  </a:lnTo>
                  <a:lnTo>
                    <a:pt x="542480" y="49072"/>
                  </a:lnTo>
                  <a:lnTo>
                    <a:pt x="548043" y="1079"/>
                  </a:lnTo>
                  <a:close/>
                </a:path>
                <a:path w="548640" h="786764">
                  <a:moveTo>
                    <a:pt x="548081" y="520204"/>
                  </a:moveTo>
                  <a:lnTo>
                    <a:pt x="500367" y="524205"/>
                  </a:lnTo>
                  <a:lnTo>
                    <a:pt x="455841" y="535863"/>
                  </a:lnTo>
                  <a:lnTo>
                    <a:pt x="414616" y="554456"/>
                  </a:lnTo>
                  <a:lnTo>
                    <a:pt x="377342" y="579335"/>
                  </a:lnTo>
                  <a:lnTo>
                    <a:pt x="344728" y="609803"/>
                  </a:lnTo>
                  <a:lnTo>
                    <a:pt x="317398" y="645172"/>
                  </a:lnTo>
                  <a:lnTo>
                    <a:pt x="296075" y="684796"/>
                  </a:lnTo>
                  <a:lnTo>
                    <a:pt x="281419" y="727989"/>
                  </a:lnTo>
                  <a:lnTo>
                    <a:pt x="274078" y="774039"/>
                  </a:lnTo>
                  <a:lnTo>
                    <a:pt x="266915" y="727811"/>
                  </a:lnTo>
                  <a:lnTo>
                    <a:pt x="252361" y="684441"/>
                  </a:lnTo>
                  <a:lnTo>
                    <a:pt x="231089" y="644652"/>
                  </a:lnTo>
                  <a:lnTo>
                    <a:pt x="203796" y="609117"/>
                  </a:lnTo>
                  <a:lnTo>
                    <a:pt x="171157" y="578523"/>
                  </a:lnTo>
                  <a:lnTo>
                    <a:pt x="133845" y="553542"/>
                  </a:lnTo>
                  <a:lnTo>
                    <a:pt x="92532" y="534860"/>
                  </a:lnTo>
                  <a:lnTo>
                    <a:pt x="47904" y="523125"/>
                  </a:lnTo>
                  <a:lnTo>
                    <a:pt x="0" y="519099"/>
                  </a:lnTo>
                  <a:lnTo>
                    <a:pt x="5448" y="567258"/>
                  </a:lnTo>
                  <a:lnTo>
                    <a:pt x="9410" y="580644"/>
                  </a:lnTo>
                  <a:lnTo>
                    <a:pt x="18834" y="612508"/>
                  </a:lnTo>
                  <a:lnTo>
                    <a:pt x="39458" y="654138"/>
                  </a:lnTo>
                  <a:lnTo>
                    <a:pt x="66548" y="691400"/>
                  </a:lnTo>
                  <a:lnTo>
                    <a:pt x="99390" y="72354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2DB7EA"/>
            </a:solidFill>
          </p:spPr>
          <p:txBody>
            <a:bodyPr wrap="square" lIns="0" tIns="0" rIns="0" bIns="0" rtlCol="0"/>
            <a:lstStyle/>
            <a:p>
              <a:endParaRPr dirty="0"/>
            </a:p>
          </p:txBody>
        </p:sp>
        <p:pic>
          <p:nvPicPr>
            <p:cNvPr id="248" name="object 246">
              <a:extLst>
                <a:ext uri="{FF2B5EF4-FFF2-40B4-BE49-F238E27FC236}">
                  <a16:creationId xmlns:a16="http://schemas.microsoft.com/office/drawing/2014/main" id="{052C538D-7F03-94F6-BB13-14A04139BC4B}"/>
                </a:ext>
              </a:extLst>
            </p:cNvPr>
            <p:cNvPicPr/>
            <p:nvPr/>
          </p:nvPicPr>
          <p:blipFill>
            <a:blip r:embed="rId5" cstate="print"/>
            <a:stretch>
              <a:fillRect/>
            </a:stretch>
          </p:blipFill>
          <p:spPr>
            <a:xfrm>
              <a:off x="7711331" y="2026765"/>
              <a:ext cx="106445" cy="107156"/>
            </a:xfrm>
            <a:prstGeom prst="rect">
              <a:avLst/>
            </a:prstGeom>
          </p:spPr>
        </p:pic>
        <p:sp>
          <p:nvSpPr>
            <p:cNvPr id="249" name="object 247">
              <a:extLst>
                <a:ext uri="{FF2B5EF4-FFF2-40B4-BE49-F238E27FC236}">
                  <a16:creationId xmlns:a16="http://schemas.microsoft.com/office/drawing/2014/main" id="{BA150689-5C1B-F351-1E54-38A0F23D8EE0}"/>
                </a:ext>
              </a:extLst>
            </p:cNvPr>
            <p:cNvSpPr/>
            <p:nvPr/>
          </p:nvSpPr>
          <p:spPr>
            <a:xfrm>
              <a:off x="7598678" y="1458591"/>
              <a:ext cx="332700" cy="477101"/>
            </a:xfrm>
            <a:custGeom>
              <a:avLst/>
              <a:gdLst/>
              <a:ahLst/>
              <a:cxnLst/>
              <a:rect l="l" t="t" r="r" b="b"/>
              <a:pathLst>
                <a:path w="548640" h="786764">
                  <a:moveTo>
                    <a:pt x="548043" y="266611"/>
                  </a:moveTo>
                  <a:lnTo>
                    <a:pt x="500367" y="270649"/>
                  </a:lnTo>
                  <a:lnTo>
                    <a:pt x="455841" y="282295"/>
                  </a:lnTo>
                  <a:lnTo>
                    <a:pt x="414616" y="300901"/>
                  </a:lnTo>
                  <a:lnTo>
                    <a:pt x="377342" y="325767"/>
                  </a:lnTo>
                  <a:lnTo>
                    <a:pt x="344728" y="356235"/>
                  </a:lnTo>
                  <a:lnTo>
                    <a:pt x="317411" y="391617"/>
                  </a:lnTo>
                  <a:lnTo>
                    <a:pt x="296087" y="431241"/>
                  </a:lnTo>
                  <a:lnTo>
                    <a:pt x="281419" y="474446"/>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26"/>
                  </a:lnTo>
                  <a:lnTo>
                    <a:pt x="225044" y="528459"/>
                  </a:lnTo>
                  <a:lnTo>
                    <a:pt x="273519" y="532828"/>
                  </a:lnTo>
                  <a:lnTo>
                    <a:pt x="274751" y="532828"/>
                  </a:lnTo>
                  <a:lnTo>
                    <a:pt x="323088" y="528472"/>
                  </a:lnTo>
                  <a:lnTo>
                    <a:pt x="368642" y="516102"/>
                  </a:lnTo>
                  <a:lnTo>
                    <a:pt x="410679" y="496468"/>
                  </a:lnTo>
                  <a:lnTo>
                    <a:pt x="448462" y="470268"/>
                  </a:lnTo>
                  <a:lnTo>
                    <a:pt x="481266" y="438251"/>
                  </a:lnTo>
                  <a:lnTo>
                    <a:pt x="508355" y="401154"/>
                  </a:lnTo>
                  <a:lnTo>
                    <a:pt x="529005" y="359689"/>
                  </a:lnTo>
                  <a:lnTo>
                    <a:pt x="542480" y="314604"/>
                  </a:lnTo>
                  <a:lnTo>
                    <a:pt x="548043" y="266611"/>
                  </a:lnTo>
                  <a:close/>
                </a:path>
                <a:path w="548640" h="786764">
                  <a:moveTo>
                    <a:pt x="548043" y="1079"/>
                  </a:moveTo>
                  <a:lnTo>
                    <a:pt x="500367" y="5105"/>
                  </a:lnTo>
                  <a:lnTo>
                    <a:pt x="455841" y="16764"/>
                  </a:lnTo>
                  <a:lnTo>
                    <a:pt x="414616" y="35369"/>
                  </a:lnTo>
                  <a:lnTo>
                    <a:pt x="377342" y="60236"/>
                  </a:lnTo>
                  <a:lnTo>
                    <a:pt x="344728"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80" y="49060"/>
                  </a:lnTo>
                  <a:lnTo>
                    <a:pt x="548043" y="1079"/>
                  </a:lnTo>
                  <a:close/>
                </a:path>
                <a:path w="548640" h="786764">
                  <a:moveTo>
                    <a:pt x="548081" y="520192"/>
                  </a:moveTo>
                  <a:lnTo>
                    <a:pt x="500367" y="524205"/>
                  </a:lnTo>
                  <a:lnTo>
                    <a:pt x="455841" y="535863"/>
                  </a:lnTo>
                  <a:lnTo>
                    <a:pt x="414616" y="554456"/>
                  </a:lnTo>
                  <a:lnTo>
                    <a:pt x="377342" y="579335"/>
                  </a:lnTo>
                  <a:lnTo>
                    <a:pt x="344728" y="609790"/>
                  </a:lnTo>
                  <a:lnTo>
                    <a:pt x="317398" y="645172"/>
                  </a:lnTo>
                  <a:lnTo>
                    <a:pt x="296075" y="684784"/>
                  </a:lnTo>
                  <a:lnTo>
                    <a:pt x="281419" y="727976"/>
                  </a:lnTo>
                  <a:lnTo>
                    <a:pt x="274078" y="774039"/>
                  </a:lnTo>
                  <a:lnTo>
                    <a:pt x="266915" y="727811"/>
                  </a:lnTo>
                  <a:lnTo>
                    <a:pt x="252361" y="684441"/>
                  </a:lnTo>
                  <a:lnTo>
                    <a:pt x="231089" y="644652"/>
                  </a:lnTo>
                  <a:lnTo>
                    <a:pt x="203796" y="609117"/>
                  </a:lnTo>
                  <a:lnTo>
                    <a:pt x="171157" y="578510"/>
                  </a:lnTo>
                  <a:lnTo>
                    <a:pt x="133845" y="553529"/>
                  </a:lnTo>
                  <a:lnTo>
                    <a:pt x="120967" y="547712"/>
                  </a:lnTo>
                  <a:lnTo>
                    <a:pt x="92532" y="534847"/>
                  </a:lnTo>
                  <a:lnTo>
                    <a:pt x="47917" y="523138"/>
                  </a:lnTo>
                  <a:lnTo>
                    <a:pt x="0" y="519061"/>
                  </a:lnTo>
                  <a:lnTo>
                    <a:pt x="5448" y="567245"/>
                  </a:lnTo>
                  <a:lnTo>
                    <a:pt x="18834" y="612508"/>
                  </a:lnTo>
                  <a:lnTo>
                    <a:pt x="39458" y="654138"/>
                  </a:lnTo>
                  <a:lnTo>
                    <a:pt x="66548" y="691388"/>
                  </a:lnTo>
                  <a:lnTo>
                    <a:pt x="67246" y="692073"/>
                  </a:lnTo>
                  <a:lnTo>
                    <a:pt x="99390" y="723544"/>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49275" y="723023"/>
                  </a:lnTo>
                  <a:lnTo>
                    <a:pt x="481266" y="691807"/>
                  </a:lnTo>
                  <a:lnTo>
                    <a:pt x="508393" y="654697"/>
                  </a:lnTo>
                  <a:lnTo>
                    <a:pt x="529043" y="613244"/>
                  </a:lnTo>
                  <a:lnTo>
                    <a:pt x="542518" y="568172"/>
                  </a:lnTo>
                  <a:lnTo>
                    <a:pt x="548081" y="520192"/>
                  </a:lnTo>
                  <a:close/>
                </a:path>
              </a:pathLst>
            </a:custGeom>
            <a:solidFill>
              <a:srgbClr val="7ED3F1"/>
            </a:solidFill>
          </p:spPr>
          <p:txBody>
            <a:bodyPr wrap="square" lIns="0" tIns="0" rIns="0" bIns="0" rtlCol="0"/>
            <a:lstStyle/>
            <a:p>
              <a:endParaRPr dirty="0"/>
            </a:p>
          </p:txBody>
        </p:sp>
        <p:pic>
          <p:nvPicPr>
            <p:cNvPr id="250" name="object 248">
              <a:extLst>
                <a:ext uri="{FF2B5EF4-FFF2-40B4-BE49-F238E27FC236}">
                  <a16:creationId xmlns:a16="http://schemas.microsoft.com/office/drawing/2014/main" id="{D542F109-C947-D54C-DA55-AC4367CC6AFD}"/>
                </a:ext>
              </a:extLst>
            </p:cNvPr>
            <p:cNvPicPr/>
            <p:nvPr/>
          </p:nvPicPr>
          <p:blipFill>
            <a:blip r:embed="rId6" cstate="print"/>
            <a:stretch>
              <a:fillRect/>
            </a:stretch>
          </p:blipFill>
          <p:spPr>
            <a:xfrm>
              <a:off x="7711331" y="1372599"/>
              <a:ext cx="106445" cy="107156"/>
            </a:xfrm>
            <a:prstGeom prst="rect">
              <a:avLst/>
            </a:prstGeom>
          </p:spPr>
        </p:pic>
        <p:sp>
          <p:nvSpPr>
            <p:cNvPr id="251" name="object 249">
              <a:extLst>
                <a:ext uri="{FF2B5EF4-FFF2-40B4-BE49-F238E27FC236}">
                  <a16:creationId xmlns:a16="http://schemas.microsoft.com/office/drawing/2014/main" id="{9676A1C2-2F64-1950-067E-FE22B73E66EA}"/>
                </a:ext>
              </a:extLst>
            </p:cNvPr>
            <p:cNvSpPr/>
            <p:nvPr/>
          </p:nvSpPr>
          <p:spPr>
            <a:xfrm>
              <a:off x="7598678" y="3421088"/>
              <a:ext cx="332700" cy="477101"/>
            </a:xfrm>
            <a:custGeom>
              <a:avLst/>
              <a:gdLst/>
              <a:ahLst/>
              <a:cxnLst/>
              <a:rect l="l" t="t" r="r" b="b"/>
              <a:pathLst>
                <a:path w="548640" h="786764">
                  <a:moveTo>
                    <a:pt x="548043" y="266611"/>
                  </a:moveTo>
                  <a:lnTo>
                    <a:pt x="500367" y="270637"/>
                  </a:lnTo>
                  <a:lnTo>
                    <a:pt x="455841" y="282295"/>
                  </a:lnTo>
                  <a:lnTo>
                    <a:pt x="414616" y="300901"/>
                  </a:lnTo>
                  <a:lnTo>
                    <a:pt x="377342" y="325767"/>
                  </a:lnTo>
                  <a:lnTo>
                    <a:pt x="344728" y="356235"/>
                  </a:lnTo>
                  <a:lnTo>
                    <a:pt x="317411" y="391617"/>
                  </a:lnTo>
                  <a:lnTo>
                    <a:pt x="296087" y="431241"/>
                  </a:lnTo>
                  <a:lnTo>
                    <a:pt x="281419" y="474433"/>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55"/>
                  </a:lnTo>
                  <a:lnTo>
                    <a:pt x="481266" y="438251"/>
                  </a:lnTo>
                  <a:lnTo>
                    <a:pt x="508355" y="401142"/>
                  </a:lnTo>
                  <a:lnTo>
                    <a:pt x="529005" y="359689"/>
                  </a:lnTo>
                  <a:lnTo>
                    <a:pt x="542480" y="314591"/>
                  </a:lnTo>
                  <a:lnTo>
                    <a:pt x="548043" y="266611"/>
                  </a:lnTo>
                  <a:close/>
                </a:path>
                <a:path w="548640" h="786764">
                  <a:moveTo>
                    <a:pt x="548043" y="1079"/>
                  </a:moveTo>
                  <a:lnTo>
                    <a:pt x="500367" y="5118"/>
                  </a:lnTo>
                  <a:lnTo>
                    <a:pt x="455841" y="16764"/>
                  </a:lnTo>
                  <a:lnTo>
                    <a:pt x="414616" y="35369"/>
                  </a:lnTo>
                  <a:lnTo>
                    <a:pt x="377342" y="60236"/>
                  </a:lnTo>
                  <a:lnTo>
                    <a:pt x="344728" y="90703"/>
                  </a:lnTo>
                  <a:lnTo>
                    <a:pt x="317411" y="126085"/>
                  </a:lnTo>
                  <a:lnTo>
                    <a:pt x="296087" y="165709"/>
                  </a:lnTo>
                  <a:lnTo>
                    <a:pt x="281419" y="208915"/>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80" y="49072"/>
                  </a:lnTo>
                  <a:lnTo>
                    <a:pt x="548043" y="1079"/>
                  </a:lnTo>
                  <a:close/>
                </a:path>
                <a:path w="548640" h="786764">
                  <a:moveTo>
                    <a:pt x="548081" y="520192"/>
                  </a:moveTo>
                  <a:lnTo>
                    <a:pt x="500367" y="524217"/>
                  </a:lnTo>
                  <a:lnTo>
                    <a:pt x="455841" y="535863"/>
                  </a:lnTo>
                  <a:lnTo>
                    <a:pt x="427418" y="548690"/>
                  </a:lnTo>
                  <a:lnTo>
                    <a:pt x="414616" y="554469"/>
                  </a:lnTo>
                  <a:lnTo>
                    <a:pt x="377342" y="579335"/>
                  </a:lnTo>
                  <a:lnTo>
                    <a:pt x="344716" y="609790"/>
                  </a:lnTo>
                  <a:lnTo>
                    <a:pt x="317398" y="645172"/>
                  </a:lnTo>
                  <a:lnTo>
                    <a:pt x="296075" y="684784"/>
                  </a:lnTo>
                  <a:lnTo>
                    <a:pt x="281419" y="727976"/>
                  </a:lnTo>
                  <a:lnTo>
                    <a:pt x="274078" y="774039"/>
                  </a:lnTo>
                  <a:lnTo>
                    <a:pt x="268224" y="736295"/>
                  </a:lnTo>
                  <a:lnTo>
                    <a:pt x="266915" y="727811"/>
                  </a:lnTo>
                  <a:lnTo>
                    <a:pt x="252361" y="684441"/>
                  </a:lnTo>
                  <a:lnTo>
                    <a:pt x="231089" y="644652"/>
                  </a:lnTo>
                  <a:lnTo>
                    <a:pt x="203796" y="609117"/>
                  </a:lnTo>
                  <a:lnTo>
                    <a:pt x="171157" y="578510"/>
                  </a:lnTo>
                  <a:lnTo>
                    <a:pt x="133845" y="553529"/>
                  </a:lnTo>
                  <a:lnTo>
                    <a:pt x="92532" y="534847"/>
                  </a:lnTo>
                  <a:lnTo>
                    <a:pt x="47917" y="523138"/>
                  </a:lnTo>
                  <a:lnTo>
                    <a:pt x="0" y="519061"/>
                  </a:lnTo>
                  <a:lnTo>
                    <a:pt x="5448" y="567245"/>
                  </a:lnTo>
                  <a:lnTo>
                    <a:pt x="18834" y="612508"/>
                  </a:lnTo>
                  <a:lnTo>
                    <a:pt x="39458" y="654138"/>
                  </a:lnTo>
                  <a:lnTo>
                    <a:pt x="66548" y="691388"/>
                  </a:lnTo>
                  <a:lnTo>
                    <a:pt x="99402" y="723544"/>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81266" y="691819"/>
                  </a:lnTo>
                  <a:lnTo>
                    <a:pt x="508393" y="654697"/>
                  </a:lnTo>
                  <a:lnTo>
                    <a:pt x="529043" y="613244"/>
                  </a:lnTo>
                  <a:lnTo>
                    <a:pt x="542518" y="568172"/>
                  </a:lnTo>
                  <a:lnTo>
                    <a:pt x="548081" y="520192"/>
                  </a:lnTo>
                  <a:close/>
                </a:path>
              </a:pathLst>
            </a:custGeom>
            <a:solidFill>
              <a:srgbClr val="2DB7EA"/>
            </a:solidFill>
          </p:spPr>
          <p:txBody>
            <a:bodyPr wrap="square" lIns="0" tIns="0" rIns="0" bIns="0" rtlCol="0"/>
            <a:lstStyle/>
            <a:p>
              <a:endParaRPr dirty="0"/>
            </a:p>
          </p:txBody>
        </p:sp>
        <p:pic>
          <p:nvPicPr>
            <p:cNvPr id="252" name="object 250">
              <a:extLst>
                <a:ext uri="{FF2B5EF4-FFF2-40B4-BE49-F238E27FC236}">
                  <a16:creationId xmlns:a16="http://schemas.microsoft.com/office/drawing/2014/main" id="{0A7DE80F-D263-155A-0003-F62B3A99765C}"/>
                </a:ext>
              </a:extLst>
            </p:cNvPr>
            <p:cNvPicPr/>
            <p:nvPr/>
          </p:nvPicPr>
          <p:blipFill>
            <a:blip r:embed="rId5" cstate="print"/>
            <a:stretch>
              <a:fillRect/>
            </a:stretch>
          </p:blipFill>
          <p:spPr>
            <a:xfrm>
              <a:off x="7711331" y="3335097"/>
              <a:ext cx="106445" cy="107156"/>
            </a:xfrm>
            <a:prstGeom prst="rect">
              <a:avLst/>
            </a:prstGeom>
          </p:spPr>
        </p:pic>
        <p:sp>
          <p:nvSpPr>
            <p:cNvPr id="253" name="object 251">
              <a:extLst>
                <a:ext uri="{FF2B5EF4-FFF2-40B4-BE49-F238E27FC236}">
                  <a16:creationId xmlns:a16="http://schemas.microsoft.com/office/drawing/2014/main" id="{82D52477-4328-BE77-1C14-864649E67694}"/>
                </a:ext>
              </a:extLst>
            </p:cNvPr>
            <p:cNvSpPr/>
            <p:nvPr/>
          </p:nvSpPr>
          <p:spPr>
            <a:xfrm>
              <a:off x="7598678" y="2766918"/>
              <a:ext cx="332700" cy="477101"/>
            </a:xfrm>
            <a:custGeom>
              <a:avLst/>
              <a:gdLst/>
              <a:ahLst/>
              <a:cxnLst/>
              <a:rect l="l" t="t" r="r" b="b"/>
              <a:pathLst>
                <a:path w="548640" h="786764">
                  <a:moveTo>
                    <a:pt x="548043" y="266611"/>
                  </a:moveTo>
                  <a:lnTo>
                    <a:pt x="500367" y="270649"/>
                  </a:lnTo>
                  <a:lnTo>
                    <a:pt x="455841" y="282308"/>
                  </a:lnTo>
                  <a:lnTo>
                    <a:pt x="414616" y="300901"/>
                  </a:lnTo>
                  <a:lnTo>
                    <a:pt x="377342" y="325780"/>
                  </a:lnTo>
                  <a:lnTo>
                    <a:pt x="344728"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74" y="516039"/>
                  </a:lnTo>
                  <a:lnTo>
                    <a:pt x="225044" y="528459"/>
                  </a:lnTo>
                  <a:lnTo>
                    <a:pt x="273519" y="532841"/>
                  </a:lnTo>
                  <a:lnTo>
                    <a:pt x="274751" y="532841"/>
                  </a:lnTo>
                  <a:lnTo>
                    <a:pt x="323088" y="528485"/>
                  </a:lnTo>
                  <a:lnTo>
                    <a:pt x="368642" y="516115"/>
                  </a:lnTo>
                  <a:lnTo>
                    <a:pt x="410679" y="496468"/>
                  </a:lnTo>
                  <a:lnTo>
                    <a:pt x="448462" y="470268"/>
                  </a:lnTo>
                  <a:lnTo>
                    <a:pt x="481266" y="438264"/>
                  </a:lnTo>
                  <a:lnTo>
                    <a:pt x="508355" y="401154"/>
                  </a:lnTo>
                  <a:lnTo>
                    <a:pt x="529005" y="359689"/>
                  </a:lnTo>
                  <a:lnTo>
                    <a:pt x="542480" y="314604"/>
                  </a:lnTo>
                  <a:lnTo>
                    <a:pt x="548043" y="266611"/>
                  </a:lnTo>
                  <a:close/>
                </a:path>
                <a:path w="548640" h="786764">
                  <a:moveTo>
                    <a:pt x="548043" y="1079"/>
                  </a:moveTo>
                  <a:lnTo>
                    <a:pt x="500367" y="5118"/>
                  </a:lnTo>
                  <a:lnTo>
                    <a:pt x="455841" y="16776"/>
                  </a:lnTo>
                  <a:lnTo>
                    <a:pt x="414616" y="35369"/>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49"/>
                  </a:lnTo>
                  <a:lnTo>
                    <a:pt x="481266" y="172732"/>
                  </a:lnTo>
                  <a:lnTo>
                    <a:pt x="508355" y="135623"/>
                  </a:lnTo>
                  <a:lnTo>
                    <a:pt x="529005" y="94157"/>
                  </a:lnTo>
                  <a:lnTo>
                    <a:pt x="542480" y="49072"/>
                  </a:lnTo>
                  <a:lnTo>
                    <a:pt x="548043" y="1079"/>
                  </a:lnTo>
                  <a:close/>
                </a:path>
                <a:path w="548640" h="786764">
                  <a:moveTo>
                    <a:pt x="548081" y="520204"/>
                  </a:moveTo>
                  <a:lnTo>
                    <a:pt x="500367" y="524205"/>
                  </a:lnTo>
                  <a:lnTo>
                    <a:pt x="455841" y="535863"/>
                  </a:lnTo>
                  <a:lnTo>
                    <a:pt x="414616" y="554469"/>
                  </a:lnTo>
                  <a:lnTo>
                    <a:pt x="377342" y="579335"/>
                  </a:lnTo>
                  <a:lnTo>
                    <a:pt x="360464" y="595096"/>
                  </a:lnTo>
                  <a:lnTo>
                    <a:pt x="344728" y="609803"/>
                  </a:lnTo>
                  <a:lnTo>
                    <a:pt x="317398" y="645172"/>
                  </a:lnTo>
                  <a:lnTo>
                    <a:pt x="296075" y="684796"/>
                  </a:lnTo>
                  <a:lnTo>
                    <a:pt x="281419" y="727989"/>
                  </a:lnTo>
                  <a:lnTo>
                    <a:pt x="274078" y="774039"/>
                  </a:lnTo>
                  <a:lnTo>
                    <a:pt x="268224" y="736307"/>
                  </a:lnTo>
                  <a:lnTo>
                    <a:pt x="266915" y="727824"/>
                  </a:lnTo>
                  <a:lnTo>
                    <a:pt x="252361" y="684453"/>
                  </a:lnTo>
                  <a:lnTo>
                    <a:pt x="231089" y="644652"/>
                  </a:lnTo>
                  <a:lnTo>
                    <a:pt x="203796" y="609117"/>
                  </a:lnTo>
                  <a:lnTo>
                    <a:pt x="171157" y="578523"/>
                  </a:lnTo>
                  <a:lnTo>
                    <a:pt x="133845" y="553542"/>
                  </a:lnTo>
                  <a:lnTo>
                    <a:pt x="92532" y="534835"/>
                  </a:lnTo>
                  <a:lnTo>
                    <a:pt x="47904" y="523125"/>
                  </a:lnTo>
                  <a:lnTo>
                    <a:pt x="0" y="519074"/>
                  </a:lnTo>
                  <a:lnTo>
                    <a:pt x="5448" y="567258"/>
                  </a:lnTo>
                  <a:lnTo>
                    <a:pt x="9410" y="580644"/>
                  </a:lnTo>
                  <a:lnTo>
                    <a:pt x="18834" y="612508"/>
                  </a:lnTo>
                  <a:lnTo>
                    <a:pt x="39458" y="654151"/>
                  </a:lnTo>
                  <a:lnTo>
                    <a:pt x="66548" y="691400"/>
                  </a:lnTo>
                  <a:lnTo>
                    <a:pt x="98704" y="72288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7ED3F1"/>
            </a:solidFill>
          </p:spPr>
          <p:txBody>
            <a:bodyPr wrap="square" lIns="0" tIns="0" rIns="0" bIns="0" rtlCol="0"/>
            <a:lstStyle/>
            <a:p>
              <a:endParaRPr dirty="0"/>
            </a:p>
          </p:txBody>
        </p:sp>
        <p:pic>
          <p:nvPicPr>
            <p:cNvPr id="254" name="object 252">
              <a:extLst>
                <a:ext uri="{FF2B5EF4-FFF2-40B4-BE49-F238E27FC236}">
                  <a16:creationId xmlns:a16="http://schemas.microsoft.com/office/drawing/2014/main" id="{F9108A36-E947-5F51-8D7E-8B111F2F3832}"/>
                </a:ext>
              </a:extLst>
            </p:cNvPr>
            <p:cNvPicPr/>
            <p:nvPr/>
          </p:nvPicPr>
          <p:blipFill>
            <a:blip r:embed="rId6" cstate="print"/>
            <a:stretch>
              <a:fillRect/>
            </a:stretch>
          </p:blipFill>
          <p:spPr>
            <a:xfrm>
              <a:off x="7711331" y="2680931"/>
              <a:ext cx="106445" cy="107156"/>
            </a:xfrm>
            <a:prstGeom prst="rect">
              <a:avLst/>
            </a:prstGeom>
          </p:spPr>
        </p:pic>
        <p:sp>
          <p:nvSpPr>
            <p:cNvPr id="255" name="object 253">
              <a:extLst>
                <a:ext uri="{FF2B5EF4-FFF2-40B4-BE49-F238E27FC236}">
                  <a16:creationId xmlns:a16="http://schemas.microsoft.com/office/drawing/2014/main" id="{97AE168A-4172-2595-A04D-7E12E5812C66}"/>
                </a:ext>
              </a:extLst>
            </p:cNvPr>
            <p:cNvSpPr/>
            <p:nvPr/>
          </p:nvSpPr>
          <p:spPr>
            <a:xfrm>
              <a:off x="7598678" y="4729423"/>
              <a:ext cx="332700" cy="477101"/>
            </a:xfrm>
            <a:custGeom>
              <a:avLst/>
              <a:gdLst/>
              <a:ahLst/>
              <a:cxnLst/>
              <a:rect l="l" t="t" r="r" b="b"/>
              <a:pathLst>
                <a:path w="548640" h="786765">
                  <a:moveTo>
                    <a:pt x="548043" y="266611"/>
                  </a:moveTo>
                  <a:lnTo>
                    <a:pt x="500367" y="270649"/>
                  </a:lnTo>
                  <a:lnTo>
                    <a:pt x="455841" y="282308"/>
                  </a:lnTo>
                  <a:lnTo>
                    <a:pt x="414616" y="300901"/>
                  </a:lnTo>
                  <a:lnTo>
                    <a:pt x="377342" y="325767"/>
                  </a:lnTo>
                  <a:lnTo>
                    <a:pt x="344728" y="356235"/>
                  </a:lnTo>
                  <a:lnTo>
                    <a:pt x="317411" y="391617"/>
                  </a:lnTo>
                  <a:lnTo>
                    <a:pt x="296087" y="431241"/>
                  </a:lnTo>
                  <a:lnTo>
                    <a:pt x="281419" y="474433"/>
                  </a:lnTo>
                  <a:lnTo>
                    <a:pt x="274091" y="520522"/>
                  </a:lnTo>
                  <a:lnTo>
                    <a:pt x="266915" y="474243"/>
                  </a:lnTo>
                  <a:lnTo>
                    <a:pt x="252361" y="430872"/>
                  </a:lnTo>
                  <a:lnTo>
                    <a:pt x="231089" y="391083"/>
                  </a:lnTo>
                  <a:lnTo>
                    <a:pt x="203796" y="355549"/>
                  </a:lnTo>
                  <a:lnTo>
                    <a:pt x="171157" y="324954"/>
                  </a:lnTo>
                  <a:lnTo>
                    <a:pt x="133845" y="299974"/>
                  </a:lnTo>
                  <a:lnTo>
                    <a:pt x="92532" y="281292"/>
                  </a:lnTo>
                  <a:lnTo>
                    <a:pt x="47917" y="269582"/>
                  </a:lnTo>
                  <a:lnTo>
                    <a:pt x="0" y="265518"/>
                  </a:lnTo>
                  <a:lnTo>
                    <a:pt x="5448" y="313690"/>
                  </a:lnTo>
                  <a:lnTo>
                    <a:pt x="18846" y="358952"/>
                  </a:lnTo>
                  <a:lnTo>
                    <a:pt x="39458" y="400570"/>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54"/>
                  </a:lnTo>
                  <a:lnTo>
                    <a:pt x="529005" y="359689"/>
                  </a:lnTo>
                  <a:lnTo>
                    <a:pt x="542480" y="314604"/>
                  </a:lnTo>
                  <a:lnTo>
                    <a:pt x="548043" y="266611"/>
                  </a:lnTo>
                  <a:close/>
                </a:path>
                <a:path w="548640" h="786765">
                  <a:moveTo>
                    <a:pt x="548043" y="1079"/>
                  </a:moveTo>
                  <a:lnTo>
                    <a:pt x="500367" y="5105"/>
                  </a:lnTo>
                  <a:lnTo>
                    <a:pt x="455841" y="16764"/>
                  </a:lnTo>
                  <a:lnTo>
                    <a:pt x="414616" y="35369"/>
                  </a:lnTo>
                  <a:lnTo>
                    <a:pt x="377342" y="60236"/>
                  </a:lnTo>
                  <a:lnTo>
                    <a:pt x="344728"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39"/>
                  </a:lnTo>
                  <a:lnTo>
                    <a:pt x="66560" y="172300"/>
                  </a:lnTo>
                  <a:lnTo>
                    <a:pt x="99402" y="204444"/>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24"/>
                  </a:lnTo>
                  <a:lnTo>
                    <a:pt x="481266" y="172720"/>
                  </a:lnTo>
                  <a:lnTo>
                    <a:pt x="508355" y="135610"/>
                  </a:lnTo>
                  <a:lnTo>
                    <a:pt x="529005" y="94157"/>
                  </a:lnTo>
                  <a:lnTo>
                    <a:pt x="542480" y="49060"/>
                  </a:lnTo>
                  <a:lnTo>
                    <a:pt x="548043" y="1079"/>
                  </a:lnTo>
                  <a:close/>
                </a:path>
                <a:path w="548640" h="786765">
                  <a:moveTo>
                    <a:pt x="548081" y="520192"/>
                  </a:moveTo>
                  <a:lnTo>
                    <a:pt x="500367" y="524205"/>
                  </a:lnTo>
                  <a:lnTo>
                    <a:pt x="455841" y="535863"/>
                  </a:lnTo>
                  <a:lnTo>
                    <a:pt x="427418" y="548690"/>
                  </a:lnTo>
                  <a:lnTo>
                    <a:pt x="414616" y="554469"/>
                  </a:lnTo>
                  <a:lnTo>
                    <a:pt x="377342" y="579335"/>
                  </a:lnTo>
                  <a:lnTo>
                    <a:pt x="344716" y="609790"/>
                  </a:lnTo>
                  <a:lnTo>
                    <a:pt x="317398" y="645160"/>
                  </a:lnTo>
                  <a:lnTo>
                    <a:pt x="296075" y="684784"/>
                  </a:lnTo>
                  <a:lnTo>
                    <a:pt x="281419" y="727976"/>
                  </a:lnTo>
                  <a:lnTo>
                    <a:pt x="274078" y="774039"/>
                  </a:lnTo>
                  <a:lnTo>
                    <a:pt x="268020" y="734974"/>
                  </a:lnTo>
                  <a:lnTo>
                    <a:pt x="266915" y="727811"/>
                  </a:lnTo>
                  <a:lnTo>
                    <a:pt x="252361" y="684441"/>
                  </a:lnTo>
                  <a:lnTo>
                    <a:pt x="231089" y="644639"/>
                  </a:lnTo>
                  <a:lnTo>
                    <a:pt x="203796" y="609104"/>
                  </a:lnTo>
                  <a:lnTo>
                    <a:pt x="171157" y="578510"/>
                  </a:lnTo>
                  <a:lnTo>
                    <a:pt x="133845" y="553529"/>
                  </a:lnTo>
                  <a:lnTo>
                    <a:pt x="92532" y="534847"/>
                  </a:lnTo>
                  <a:lnTo>
                    <a:pt x="47904" y="523113"/>
                  </a:lnTo>
                  <a:lnTo>
                    <a:pt x="0" y="519061"/>
                  </a:lnTo>
                  <a:lnTo>
                    <a:pt x="5448" y="567245"/>
                  </a:lnTo>
                  <a:lnTo>
                    <a:pt x="8496" y="577583"/>
                  </a:lnTo>
                  <a:lnTo>
                    <a:pt x="18834" y="612508"/>
                  </a:lnTo>
                  <a:lnTo>
                    <a:pt x="32626" y="640346"/>
                  </a:lnTo>
                  <a:lnTo>
                    <a:pt x="39458" y="654138"/>
                  </a:lnTo>
                  <a:lnTo>
                    <a:pt x="66548" y="691388"/>
                  </a:lnTo>
                  <a:lnTo>
                    <a:pt x="98704" y="722871"/>
                  </a:lnTo>
                  <a:lnTo>
                    <a:pt x="137248" y="749858"/>
                  </a:lnTo>
                  <a:lnTo>
                    <a:pt x="179374" y="769581"/>
                  </a:lnTo>
                  <a:lnTo>
                    <a:pt x="225044" y="782015"/>
                  </a:lnTo>
                  <a:lnTo>
                    <a:pt x="273519" y="786384"/>
                  </a:lnTo>
                  <a:lnTo>
                    <a:pt x="274751" y="786384"/>
                  </a:lnTo>
                  <a:lnTo>
                    <a:pt x="323088" y="782027"/>
                  </a:lnTo>
                  <a:lnTo>
                    <a:pt x="368642" y="769670"/>
                  </a:lnTo>
                  <a:lnTo>
                    <a:pt x="410679" y="750023"/>
                  </a:lnTo>
                  <a:lnTo>
                    <a:pt x="448462" y="723823"/>
                  </a:lnTo>
                  <a:lnTo>
                    <a:pt x="449275" y="723023"/>
                  </a:lnTo>
                  <a:lnTo>
                    <a:pt x="481266" y="691807"/>
                  </a:lnTo>
                  <a:lnTo>
                    <a:pt x="508393" y="654697"/>
                  </a:lnTo>
                  <a:lnTo>
                    <a:pt x="529043" y="613244"/>
                  </a:lnTo>
                  <a:lnTo>
                    <a:pt x="542518" y="568172"/>
                  </a:lnTo>
                  <a:lnTo>
                    <a:pt x="548081" y="520192"/>
                  </a:lnTo>
                  <a:close/>
                </a:path>
              </a:pathLst>
            </a:custGeom>
            <a:solidFill>
              <a:srgbClr val="2DB7EA"/>
            </a:solidFill>
          </p:spPr>
          <p:txBody>
            <a:bodyPr wrap="square" lIns="0" tIns="0" rIns="0" bIns="0" rtlCol="0"/>
            <a:lstStyle/>
            <a:p>
              <a:endParaRPr dirty="0"/>
            </a:p>
          </p:txBody>
        </p:sp>
        <p:pic>
          <p:nvPicPr>
            <p:cNvPr id="256" name="object 254">
              <a:extLst>
                <a:ext uri="{FF2B5EF4-FFF2-40B4-BE49-F238E27FC236}">
                  <a16:creationId xmlns:a16="http://schemas.microsoft.com/office/drawing/2014/main" id="{A0D675C9-44EC-448C-997A-15D5E5F13C35}"/>
                </a:ext>
              </a:extLst>
            </p:cNvPr>
            <p:cNvPicPr/>
            <p:nvPr/>
          </p:nvPicPr>
          <p:blipFill>
            <a:blip r:embed="rId5" cstate="print"/>
            <a:stretch>
              <a:fillRect/>
            </a:stretch>
          </p:blipFill>
          <p:spPr>
            <a:xfrm>
              <a:off x="7711331" y="4643430"/>
              <a:ext cx="106445" cy="107156"/>
            </a:xfrm>
            <a:prstGeom prst="rect">
              <a:avLst/>
            </a:prstGeom>
          </p:spPr>
        </p:pic>
        <p:sp>
          <p:nvSpPr>
            <p:cNvPr id="257" name="object 255">
              <a:extLst>
                <a:ext uri="{FF2B5EF4-FFF2-40B4-BE49-F238E27FC236}">
                  <a16:creationId xmlns:a16="http://schemas.microsoft.com/office/drawing/2014/main" id="{8A357C2F-E690-9EC6-108B-6FD7A6C4F8DC}"/>
                </a:ext>
              </a:extLst>
            </p:cNvPr>
            <p:cNvSpPr/>
            <p:nvPr/>
          </p:nvSpPr>
          <p:spPr>
            <a:xfrm>
              <a:off x="7598678" y="4075252"/>
              <a:ext cx="332700" cy="477101"/>
            </a:xfrm>
            <a:custGeom>
              <a:avLst/>
              <a:gdLst/>
              <a:ahLst/>
              <a:cxnLst/>
              <a:rect l="l" t="t" r="r" b="b"/>
              <a:pathLst>
                <a:path w="548640" h="786765">
                  <a:moveTo>
                    <a:pt x="548043" y="266623"/>
                  </a:moveTo>
                  <a:lnTo>
                    <a:pt x="500367" y="270662"/>
                  </a:lnTo>
                  <a:lnTo>
                    <a:pt x="455841" y="282308"/>
                  </a:lnTo>
                  <a:lnTo>
                    <a:pt x="414616" y="300913"/>
                  </a:lnTo>
                  <a:lnTo>
                    <a:pt x="377342" y="325780"/>
                  </a:lnTo>
                  <a:lnTo>
                    <a:pt x="344728"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39"/>
                  </a:lnTo>
                  <a:lnTo>
                    <a:pt x="225044" y="528459"/>
                  </a:lnTo>
                  <a:lnTo>
                    <a:pt x="273519" y="532828"/>
                  </a:lnTo>
                  <a:lnTo>
                    <a:pt x="274751" y="532828"/>
                  </a:lnTo>
                  <a:lnTo>
                    <a:pt x="323088" y="528472"/>
                  </a:lnTo>
                  <a:lnTo>
                    <a:pt x="368642" y="516115"/>
                  </a:lnTo>
                  <a:lnTo>
                    <a:pt x="410679" y="496468"/>
                  </a:lnTo>
                  <a:lnTo>
                    <a:pt x="448462" y="470268"/>
                  </a:lnTo>
                  <a:lnTo>
                    <a:pt x="481266" y="438264"/>
                  </a:lnTo>
                  <a:lnTo>
                    <a:pt x="508355" y="401154"/>
                  </a:lnTo>
                  <a:lnTo>
                    <a:pt x="529005" y="359702"/>
                  </a:lnTo>
                  <a:lnTo>
                    <a:pt x="542480" y="314604"/>
                  </a:lnTo>
                  <a:lnTo>
                    <a:pt x="548043" y="266623"/>
                  </a:lnTo>
                  <a:close/>
                </a:path>
                <a:path w="548640" h="786765">
                  <a:moveTo>
                    <a:pt x="548043" y="1092"/>
                  </a:moveTo>
                  <a:lnTo>
                    <a:pt x="500367" y="5130"/>
                  </a:lnTo>
                  <a:lnTo>
                    <a:pt x="455841" y="16776"/>
                  </a:lnTo>
                  <a:lnTo>
                    <a:pt x="414616" y="35382"/>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60"/>
                  </a:lnTo>
                  <a:lnTo>
                    <a:pt x="47917" y="4051"/>
                  </a:lnTo>
                  <a:lnTo>
                    <a:pt x="0" y="0"/>
                  </a:lnTo>
                  <a:lnTo>
                    <a:pt x="5448" y="48158"/>
                  </a:lnTo>
                  <a:lnTo>
                    <a:pt x="18846" y="93421"/>
                  </a:lnTo>
                  <a:lnTo>
                    <a:pt x="39458" y="135051"/>
                  </a:lnTo>
                  <a:lnTo>
                    <a:pt x="66560" y="172300"/>
                  </a:lnTo>
                  <a:lnTo>
                    <a:pt x="99402" y="204457"/>
                  </a:lnTo>
                  <a:lnTo>
                    <a:pt x="137248" y="230771"/>
                  </a:lnTo>
                  <a:lnTo>
                    <a:pt x="179374" y="250494"/>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70"/>
                  </a:lnTo>
                  <a:lnTo>
                    <a:pt x="542480" y="49072"/>
                  </a:lnTo>
                  <a:lnTo>
                    <a:pt x="548043" y="1092"/>
                  </a:lnTo>
                  <a:close/>
                </a:path>
                <a:path w="548640" h="786765">
                  <a:moveTo>
                    <a:pt x="548081" y="520204"/>
                  </a:moveTo>
                  <a:lnTo>
                    <a:pt x="500367" y="524217"/>
                  </a:lnTo>
                  <a:lnTo>
                    <a:pt x="455841" y="535876"/>
                  </a:lnTo>
                  <a:lnTo>
                    <a:pt x="414616" y="554469"/>
                  </a:lnTo>
                  <a:lnTo>
                    <a:pt x="377342" y="579335"/>
                  </a:lnTo>
                  <a:lnTo>
                    <a:pt x="344728" y="609803"/>
                  </a:lnTo>
                  <a:lnTo>
                    <a:pt x="317398" y="645172"/>
                  </a:lnTo>
                  <a:lnTo>
                    <a:pt x="296075" y="684796"/>
                  </a:lnTo>
                  <a:lnTo>
                    <a:pt x="281419" y="727976"/>
                  </a:lnTo>
                  <a:lnTo>
                    <a:pt x="274078" y="774039"/>
                  </a:lnTo>
                  <a:lnTo>
                    <a:pt x="268224" y="736307"/>
                  </a:lnTo>
                  <a:lnTo>
                    <a:pt x="266915" y="727824"/>
                  </a:lnTo>
                  <a:lnTo>
                    <a:pt x="252361" y="684441"/>
                  </a:lnTo>
                  <a:lnTo>
                    <a:pt x="231089" y="644652"/>
                  </a:lnTo>
                  <a:lnTo>
                    <a:pt x="203796" y="609117"/>
                  </a:lnTo>
                  <a:lnTo>
                    <a:pt x="171157" y="578523"/>
                  </a:lnTo>
                  <a:lnTo>
                    <a:pt x="133845" y="553542"/>
                  </a:lnTo>
                  <a:lnTo>
                    <a:pt x="92532" y="534835"/>
                  </a:lnTo>
                  <a:lnTo>
                    <a:pt x="47904" y="523125"/>
                  </a:lnTo>
                  <a:lnTo>
                    <a:pt x="0" y="519074"/>
                  </a:lnTo>
                  <a:lnTo>
                    <a:pt x="5448" y="567258"/>
                  </a:lnTo>
                  <a:lnTo>
                    <a:pt x="9410" y="580644"/>
                  </a:lnTo>
                  <a:lnTo>
                    <a:pt x="18834" y="612508"/>
                  </a:lnTo>
                  <a:lnTo>
                    <a:pt x="39458" y="654138"/>
                  </a:lnTo>
                  <a:lnTo>
                    <a:pt x="66548" y="691388"/>
                  </a:lnTo>
                  <a:lnTo>
                    <a:pt x="99402" y="723557"/>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7ED3F1"/>
            </a:solidFill>
          </p:spPr>
          <p:txBody>
            <a:bodyPr wrap="square" lIns="0" tIns="0" rIns="0" bIns="0" rtlCol="0"/>
            <a:lstStyle/>
            <a:p>
              <a:endParaRPr dirty="0"/>
            </a:p>
          </p:txBody>
        </p:sp>
        <p:pic>
          <p:nvPicPr>
            <p:cNvPr id="258" name="object 256">
              <a:extLst>
                <a:ext uri="{FF2B5EF4-FFF2-40B4-BE49-F238E27FC236}">
                  <a16:creationId xmlns:a16="http://schemas.microsoft.com/office/drawing/2014/main" id="{0A051E47-D107-C3B3-8B2C-CFF9710ABAD4}"/>
                </a:ext>
              </a:extLst>
            </p:cNvPr>
            <p:cNvPicPr/>
            <p:nvPr/>
          </p:nvPicPr>
          <p:blipFill>
            <a:blip r:embed="rId6" cstate="print"/>
            <a:stretch>
              <a:fillRect/>
            </a:stretch>
          </p:blipFill>
          <p:spPr>
            <a:xfrm>
              <a:off x="7711331" y="3989263"/>
              <a:ext cx="106445" cy="107156"/>
            </a:xfrm>
            <a:prstGeom prst="rect">
              <a:avLst/>
            </a:prstGeom>
          </p:spPr>
        </p:pic>
        <p:sp>
          <p:nvSpPr>
            <p:cNvPr id="259" name="object 257">
              <a:extLst>
                <a:ext uri="{FF2B5EF4-FFF2-40B4-BE49-F238E27FC236}">
                  <a16:creationId xmlns:a16="http://schemas.microsoft.com/office/drawing/2014/main" id="{CD2F9238-41A6-D2DF-FCB2-7AFFC34B159C}"/>
                </a:ext>
              </a:extLst>
            </p:cNvPr>
            <p:cNvSpPr/>
            <p:nvPr/>
          </p:nvSpPr>
          <p:spPr>
            <a:xfrm>
              <a:off x="7226300" y="3862863"/>
              <a:ext cx="319992" cy="477101"/>
            </a:xfrm>
            <a:custGeom>
              <a:avLst/>
              <a:gdLst/>
              <a:ahLst/>
              <a:cxnLst/>
              <a:rect l="l" t="t" r="r" b="b"/>
              <a:pathLst>
                <a:path w="527684" h="786765">
                  <a:moveTo>
                    <a:pt x="527126" y="786396"/>
                  </a:moveTo>
                  <a:lnTo>
                    <a:pt x="521677" y="738238"/>
                  </a:lnTo>
                  <a:lnTo>
                    <a:pt x="508279" y="692975"/>
                  </a:lnTo>
                  <a:lnTo>
                    <a:pt x="487667" y="651344"/>
                  </a:lnTo>
                  <a:lnTo>
                    <a:pt x="460578" y="614083"/>
                  </a:lnTo>
                  <a:lnTo>
                    <a:pt x="427736" y="581939"/>
                  </a:lnTo>
                  <a:lnTo>
                    <a:pt x="389877" y="555625"/>
                  </a:lnTo>
                  <a:lnTo>
                    <a:pt x="347751" y="535889"/>
                  </a:lnTo>
                  <a:lnTo>
                    <a:pt x="302082" y="523468"/>
                  </a:lnTo>
                  <a:lnTo>
                    <a:pt x="253606" y="519099"/>
                  </a:lnTo>
                  <a:lnTo>
                    <a:pt x="252387" y="519099"/>
                  </a:lnTo>
                  <a:lnTo>
                    <a:pt x="204038" y="523455"/>
                  </a:lnTo>
                  <a:lnTo>
                    <a:pt x="158483" y="535813"/>
                  </a:lnTo>
                  <a:lnTo>
                    <a:pt x="116446" y="555459"/>
                  </a:lnTo>
                  <a:lnTo>
                    <a:pt x="78663" y="581660"/>
                  </a:lnTo>
                  <a:lnTo>
                    <a:pt x="45859" y="613664"/>
                  </a:lnTo>
                  <a:lnTo>
                    <a:pt x="18770" y="650773"/>
                  </a:lnTo>
                  <a:lnTo>
                    <a:pt x="0" y="688467"/>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72"/>
                  </a:lnTo>
                  <a:lnTo>
                    <a:pt x="274777" y="621042"/>
                  </a:lnTo>
                  <a:lnTo>
                    <a:pt x="296037" y="660831"/>
                  </a:lnTo>
                  <a:lnTo>
                    <a:pt x="323329" y="696366"/>
                  </a:lnTo>
                  <a:lnTo>
                    <a:pt x="355968" y="726973"/>
                  </a:lnTo>
                  <a:lnTo>
                    <a:pt x="393293" y="751954"/>
                  </a:lnTo>
                  <a:lnTo>
                    <a:pt x="434594" y="770636"/>
                  </a:lnTo>
                  <a:lnTo>
                    <a:pt x="479209" y="782345"/>
                  </a:lnTo>
                  <a:lnTo>
                    <a:pt x="527126" y="786396"/>
                  </a:lnTo>
                  <a:close/>
                </a:path>
                <a:path w="527684" h="786765">
                  <a:moveTo>
                    <a:pt x="527126" y="520865"/>
                  </a:moveTo>
                  <a:lnTo>
                    <a:pt x="521677" y="472706"/>
                  </a:lnTo>
                  <a:lnTo>
                    <a:pt x="508279" y="427443"/>
                  </a:lnTo>
                  <a:lnTo>
                    <a:pt x="487667" y="385813"/>
                  </a:lnTo>
                  <a:lnTo>
                    <a:pt x="460578" y="348564"/>
                  </a:lnTo>
                  <a:lnTo>
                    <a:pt x="427736" y="316407"/>
                  </a:lnTo>
                  <a:lnTo>
                    <a:pt x="389877" y="290106"/>
                  </a:lnTo>
                  <a:lnTo>
                    <a:pt x="347751" y="270370"/>
                  </a:lnTo>
                  <a:lnTo>
                    <a:pt x="302082" y="257949"/>
                  </a:lnTo>
                  <a:lnTo>
                    <a:pt x="253606" y="253568"/>
                  </a:lnTo>
                  <a:lnTo>
                    <a:pt x="252387" y="253568"/>
                  </a:lnTo>
                  <a:lnTo>
                    <a:pt x="204038" y="257924"/>
                  </a:lnTo>
                  <a:lnTo>
                    <a:pt x="158483" y="270294"/>
                  </a:lnTo>
                  <a:lnTo>
                    <a:pt x="116446" y="289941"/>
                  </a:lnTo>
                  <a:lnTo>
                    <a:pt x="78663" y="316128"/>
                  </a:lnTo>
                  <a:lnTo>
                    <a:pt x="45859" y="348145"/>
                  </a:lnTo>
                  <a:lnTo>
                    <a:pt x="18770" y="385241"/>
                  </a:lnTo>
                  <a:lnTo>
                    <a:pt x="0" y="422935"/>
                  </a:lnTo>
                  <a:lnTo>
                    <a:pt x="0" y="518045"/>
                  </a:lnTo>
                  <a:lnTo>
                    <a:pt x="71285" y="504101"/>
                  </a:lnTo>
                  <a:lnTo>
                    <a:pt x="112522" y="485495"/>
                  </a:lnTo>
                  <a:lnTo>
                    <a:pt x="149783" y="460629"/>
                  </a:lnTo>
                  <a:lnTo>
                    <a:pt x="182410" y="430161"/>
                  </a:lnTo>
                  <a:lnTo>
                    <a:pt x="209715" y="394779"/>
                  </a:lnTo>
                  <a:lnTo>
                    <a:pt x="231038" y="355155"/>
                  </a:lnTo>
                  <a:lnTo>
                    <a:pt x="245706" y="311950"/>
                  </a:lnTo>
                  <a:lnTo>
                    <a:pt x="253034" y="265874"/>
                  </a:lnTo>
                  <a:lnTo>
                    <a:pt x="260210" y="312140"/>
                  </a:lnTo>
                  <a:lnTo>
                    <a:pt x="274777" y="355511"/>
                  </a:lnTo>
                  <a:lnTo>
                    <a:pt x="296037" y="395300"/>
                  </a:lnTo>
                  <a:lnTo>
                    <a:pt x="323329" y="430847"/>
                  </a:lnTo>
                  <a:lnTo>
                    <a:pt x="355968" y="461441"/>
                  </a:lnTo>
                  <a:lnTo>
                    <a:pt x="393293" y="486422"/>
                  </a:lnTo>
                  <a:lnTo>
                    <a:pt x="434594" y="505104"/>
                  </a:lnTo>
                  <a:lnTo>
                    <a:pt x="479209" y="516813"/>
                  </a:lnTo>
                  <a:lnTo>
                    <a:pt x="527126" y="520865"/>
                  </a:lnTo>
                  <a:close/>
                </a:path>
                <a:path w="527684" h="786765">
                  <a:moveTo>
                    <a:pt x="527138" y="267322"/>
                  </a:moveTo>
                  <a:lnTo>
                    <a:pt x="521690" y="219151"/>
                  </a:lnTo>
                  <a:lnTo>
                    <a:pt x="508292" y="173888"/>
                  </a:lnTo>
                  <a:lnTo>
                    <a:pt x="487680" y="132257"/>
                  </a:lnTo>
                  <a:lnTo>
                    <a:pt x="471982" y="110693"/>
                  </a:lnTo>
                  <a:lnTo>
                    <a:pt x="460578" y="95008"/>
                  </a:lnTo>
                  <a:lnTo>
                    <a:pt x="427736" y="62852"/>
                  </a:lnTo>
                  <a:lnTo>
                    <a:pt x="389890" y="36550"/>
                  </a:lnTo>
                  <a:lnTo>
                    <a:pt x="347751" y="16802"/>
                  </a:lnTo>
                  <a:lnTo>
                    <a:pt x="302082" y="4381"/>
                  </a:lnTo>
                  <a:lnTo>
                    <a:pt x="253606" y="0"/>
                  </a:lnTo>
                  <a:lnTo>
                    <a:pt x="252387" y="0"/>
                  </a:lnTo>
                  <a:lnTo>
                    <a:pt x="204038" y="4356"/>
                  </a:lnTo>
                  <a:lnTo>
                    <a:pt x="158483" y="16725"/>
                  </a:lnTo>
                  <a:lnTo>
                    <a:pt x="116446" y="36372"/>
                  </a:lnTo>
                  <a:lnTo>
                    <a:pt x="78663" y="62560"/>
                  </a:lnTo>
                  <a:lnTo>
                    <a:pt x="45859" y="94576"/>
                  </a:lnTo>
                  <a:lnTo>
                    <a:pt x="18745" y="131686"/>
                  </a:lnTo>
                  <a:lnTo>
                    <a:pt x="0" y="169303"/>
                  </a:lnTo>
                  <a:lnTo>
                    <a:pt x="0" y="264452"/>
                  </a:lnTo>
                  <a:lnTo>
                    <a:pt x="26758" y="262178"/>
                  </a:lnTo>
                  <a:lnTo>
                    <a:pt x="71285" y="250520"/>
                  </a:lnTo>
                  <a:lnTo>
                    <a:pt x="112522" y="231927"/>
                  </a:lnTo>
                  <a:lnTo>
                    <a:pt x="149783" y="207060"/>
                  </a:lnTo>
                  <a:lnTo>
                    <a:pt x="182410" y="176593"/>
                  </a:lnTo>
                  <a:lnTo>
                    <a:pt x="209727" y="141224"/>
                  </a:lnTo>
                  <a:lnTo>
                    <a:pt x="231051" y="101600"/>
                  </a:lnTo>
                  <a:lnTo>
                    <a:pt x="245719" y="58420"/>
                  </a:lnTo>
                  <a:lnTo>
                    <a:pt x="253034" y="12369"/>
                  </a:lnTo>
                  <a:lnTo>
                    <a:pt x="260210" y="58572"/>
                  </a:lnTo>
                  <a:lnTo>
                    <a:pt x="274777" y="101955"/>
                  </a:lnTo>
                  <a:lnTo>
                    <a:pt x="296037" y="141744"/>
                  </a:lnTo>
                  <a:lnTo>
                    <a:pt x="323329" y="177279"/>
                  </a:lnTo>
                  <a:lnTo>
                    <a:pt x="355981" y="207886"/>
                  </a:lnTo>
                  <a:lnTo>
                    <a:pt x="393293" y="232867"/>
                  </a:lnTo>
                  <a:lnTo>
                    <a:pt x="434606" y="251561"/>
                  </a:lnTo>
                  <a:lnTo>
                    <a:pt x="479221" y="263271"/>
                  </a:lnTo>
                  <a:lnTo>
                    <a:pt x="527138" y="267322"/>
                  </a:lnTo>
                  <a:close/>
                </a:path>
              </a:pathLst>
            </a:custGeom>
            <a:solidFill>
              <a:srgbClr val="2DB7EA"/>
            </a:solidFill>
          </p:spPr>
          <p:txBody>
            <a:bodyPr wrap="square" lIns="0" tIns="0" rIns="0" bIns="0" rtlCol="0"/>
            <a:lstStyle/>
            <a:p>
              <a:endParaRPr dirty="0"/>
            </a:p>
          </p:txBody>
        </p:sp>
        <p:pic>
          <p:nvPicPr>
            <p:cNvPr id="260" name="object 258">
              <a:extLst>
                <a:ext uri="{FF2B5EF4-FFF2-40B4-BE49-F238E27FC236}">
                  <a16:creationId xmlns:a16="http://schemas.microsoft.com/office/drawing/2014/main" id="{6C04F485-0E69-368F-72FB-4AF085A46F32}"/>
                </a:ext>
              </a:extLst>
            </p:cNvPr>
            <p:cNvPicPr/>
            <p:nvPr/>
          </p:nvPicPr>
          <p:blipFill>
            <a:blip r:embed="rId16" cstate="print"/>
            <a:stretch>
              <a:fillRect/>
            </a:stretch>
          </p:blipFill>
          <p:spPr>
            <a:xfrm>
              <a:off x="7326865" y="4318566"/>
              <a:ext cx="106445" cy="107156"/>
            </a:xfrm>
            <a:prstGeom prst="rect">
              <a:avLst/>
            </a:prstGeom>
          </p:spPr>
        </p:pic>
        <p:sp>
          <p:nvSpPr>
            <p:cNvPr id="261" name="object 259">
              <a:extLst>
                <a:ext uri="{FF2B5EF4-FFF2-40B4-BE49-F238E27FC236}">
                  <a16:creationId xmlns:a16="http://schemas.microsoft.com/office/drawing/2014/main" id="{57BB8F92-C17D-7F35-CE62-5A0C84238AD7}"/>
                </a:ext>
              </a:extLst>
            </p:cNvPr>
            <p:cNvSpPr/>
            <p:nvPr/>
          </p:nvSpPr>
          <p:spPr>
            <a:xfrm>
              <a:off x="7226300" y="4517034"/>
              <a:ext cx="319992" cy="477101"/>
            </a:xfrm>
            <a:custGeom>
              <a:avLst/>
              <a:gdLst/>
              <a:ahLst/>
              <a:cxnLst/>
              <a:rect l="l" t="t" r="r" b="b"/>
              <a:pathLst>
                <a:path w="527684" h="786765">
                  <a:moveTo>
                    <a:pt x="527126" y="786384"/>
                  </a:moveTo>
                  <a:lnTo>
                    <a:pt x="521677" y="738225"/>
                  </a:lnTo>
                  <a:lnTo>
                    <a:pt x="508279" y="692962"/>
                  </a:lnTo>
                  <a:lnTo>
                    <a:pt x="487667" y="651332"/>
                  </a:lnTo>
                  <a:lnTo>
                    <a:pt x="460578" y="614083"/>
                  </a:lnTo>
                  <a:lnTo>
                    <a:pt x="427736" y="581926"/>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47"/>
                  </a:lnTo>
                  <a:lnTo>
                    <a:pt x="45859" y="613664"/>
                  </a:lnTo>
                  <a:lnTo>
                    <a:pt x="18770" y="650773"/>
                  </a:lnTo>
                  <a:lnTo>
                    <a:pt x="0" y="688454"/>
                  </a:lnTo>
                  <a:lnTo>
                    <a:pt x="0" y="783564"/>
                  </a:lnTo>
                  <a:lnTo>
                    <a:pt x="71285" y="769620"/>
                  </a:lnTo>
                  <a:lnTo>
                    <a:pt x="112522" y="751014"/>
                  </a:lnTo>
                  <a:lnTo>
                    <a:pt x="149783" y="726147"/>
                  </a:lnTo>
                  <a:lnTo>
                    <a:pt x="182410" y="695680"/>
                  </a:lnTo>
                  <a:lnTo>
                    <a:pt x="209715" y="660298"/>
                  </a:lnTo>
                  <a:lnTo>
                    <a:pt x="231038" y="620674"/>
                  </a:lnTo>
                  <a:lnTo>
                    <a:pt x="245706" y="577469"/>
                  </a:lnTo>
                  <a:lnTo>
                    <a:pt x="253034" y="531393"/>
                  </a:lnTo>
                  <a:lnTo>
                    <a:pt x="260210" y="577659"/>
                  </a:lnTo>
                  <a:lnTo>
                    <a:pt x="274777" y="621030"/>
                  </a:lnTo>
                  <a:lnTo>
                    <a:pt x="296037" y="660831"/>
                  </a:lnTo>
                  <a:lnTo>
                    <a:pt x="323329" y="696366"/>
                  </a:lnTo>
                  <a:lnTo>
                    <a:pt x="355968" y="726960"/>
                  </a:lnTo>
                  <a:lnTo>
                    <a:pt x="393293" y="751941"/>
                  </a:lnTo>
                  <a:lnTo>
                    <a:pt x="434594" y="770623"/>
                  </a:lnTo>
                  <a:lnTo>
                    <a:pt x="479209" y="782332"/>
                  </a:lnTo>
                  <a:lnTo>
                    <a:pt x="527126" y="786384"/>
                  </a:lnTo>
                  <a:close/>
                </a:path>
                <a:path w="527684" h="786765">
                  <a:moveTo>
                    <a:pt x="527126" y="520852"/>
                  </a:moveTo>
                  <a:lnTo>
                    <a:pt x="521677" y="472694"/>
                  </a:lnTo>
                  <a:lnTo>
                    <a:pt x="508279" y="427431"/>
                  </a:lnTo>
                  <a:lnTo>
                    <a:pt x="487667" y="385813"/>
                  </a:lnTo>
                  <a:lnTo>
                    <a:pt x="460578" y="348551"/>
                  </a:lnTo>
                  <a:lnTo>
                    <a:pt x="427736" y="316407"/>
                  </a:lnTo>
                  <a:lnTo>
                    <a:pt x="389877" y="290093"/>
                  </a:lnTo>
                  <a:lnTo>
                    <a:pt x="347751" y="270357"/>
                  </a:lnTo>
                  <a:lnTo>
                    <a:pt x="302082" y="257937"/>
                  </a:lnTo>
                  <a:lnTo>
                    <a:pt x="253606" y="253555"/>
                  </a:lnTo>
                  <a:lnTo>
                    <a:pt x="252387" y="253555"/>
                  </a:lnTo>
                  <a:lnTo>
                    <a:pt x="204038" y="257911"/>
                  </a:lnTo>
                  <a:lnTo>
                    <a:pt x="158483" y="270281"/>
                  </a:lnTo>
                  <a:lnTo>
                    <a:pt x="116446" y="289928"/>
                  </a:lnTo>
                  <a:lnTo>
                    <a:pt x="78663" y="316128"/>
                  </a:lnTo>
                  <a:lnTo>
                    <a:pt x="45859" y="348132"/>
                  </a:lnTo>
                  <a:lnTo>
                    <a:pt x="18770" y="385241"/>
                  </a:lnTo>
                  <a:lnTo>
                    <a:pt x="0" y="422922"/>
                  </a:lnTo>
                  <a:lnTo>
                    <a:pt x="0" y="518020"/>
                  </a:lnTo>
                  <a:lnTo>
                    <a:pt x="71285" y="504075"/>
                  </a:lnTo>
                  <a:lnTo>
                    <a:pt x="112522" y="485482"/>
                  </a:lnTo>
                  <a:lnTo>
                    <a:pt x="149783" y="460616"/>
                  </a:lnTo>
                  <a:lnTo>
                    <a:pt x="182410" y="430149"/>
                  </a:lnTo>
                  <a:lnTo>
                    <a:pt x="209715" y="394766"/>
                  </a:lnTo>
                  <a:lnTo>
                    <a:pt x="231038" y="355142"/>
                  </a:lnTo>
                  <a:lnTo>
                    <a:pt x="245706" y="311950"/>
                  </a:lnTo>
                  <a:lnTo>
                    <a:pt x="253034" y="265861"/>
                  </a:lnTo>
                  <a:lnTo>
                    <a:pt x="260210" y="312127"/>
                  </a:lnTo>
                  <a:lnTo>
                    <a:pt x="274777" y="355511"/>
                  </a:lnTo>
                  <a:lnTo>
                    <a:pt x="296037" y="395300"/>
                  </a:lnTo>
                  <a:lnTo>
                    <a:pt x="323329" y="430834"/>
                  </a:lnTo>
                  <a:lnTo>
                    <a:pt x="355968" y="461429"/>
                  </a:lnTo>
                  <a:lnTo>
                    <a:pt x="393293" y="486410"/>
                  </a:lnTo>
                  <a:lnTo>
                    <a:pt x="434594" y="505091"/>
                  </a:lnTo>
                  <a:lnTo>
                    <a:pt x="479209" y="516801"/>
                  </a:lnTo>
                  <a:lnTo>
                    <a:pt x="527126" y="520852"/>
                  </a:lnTo>
                  <a:close/>
                </a:path>
                <a:path w="527684" h="786765">
                  <a:moveTo>
                    <a:pt x="527138" y="267322"/>
                  </a:moveTo>
                  <a:lnTo>
                    <a:pt x="521690" y="219151"/>
                  </a:lnTo>
                  <a:lnTo>
                    <a:pt x="508292" y="173875"/>
                  </a:lnTo>
                  <a:lnTo>
                    <a:pt x="487680" y="132245"/>
                  </a:lnTo>
                  <a:lnTo>
                    <a:pt x="460578" y="94996"/>
                  </a:lnTo>
                  <a:lnTo>
                    <a:pt x="427736" y="62852"/>
                  </a:lnTo>
                  <a:lnTo>
                    <a:pt x="405396" y="47332"/>
                  </a:lnTo>
                  <a:lnTo>
                    <a:pt x="389890" y="36537"/>
                  </a:lnTo>
                  <a:lnTo>
                    <a:pt x="370154" y="27305"/>
                  </a:lnTo>
                  <a:lnTo>
                    <a:pt x="347764" y="16814"/>
                  </a:lnTo>
                  <a:lnTo>
                    <a:pt x="302082" y="4368"/>
                  </a:lnTo>
                  <a:lnTo>
                    <a:pt x="253606" y="0"/>
                  </a:lnTo>
                  <a:lnTo>
                    <a:pt x="252387" y="0"/>
                  </a:lnTo>
                  <a:lnTo>
                    <a:pt x="204038" y="4356"/>
                  </a:lnTo>
                  <a:lnTo>
                    <a:pt x="158483" y="16725"/>
                  </a:lnTo>
                  <a:lnTo>
                    <a:pt x="116446" y="36372"/>
                  </a:lnTo>
                  <a:lnTo>
                    <a:pt x="78663" y="62560"/>
                  </a:lnTo>
                  <a:lnTo>
                    <a:pt x="45859" y="94576"/>
                  </a:lnTo>
                  <a:lnTo>
                    <a:pt x="18745" y="131686"/>
                  </a:lnTo>
                  <a:lnTo>
                    <a:pt x="0" y="169291"/>
                  </a:lnTo>
                  <a:lnTo>
                    <a:pt x="0" y="264439"/>
                  </a:lnTo>
                  <a:lnTo>
                    <a:pt x="26758" y="262166"/>
                  </a:lnTo>
                  <a:lnTo>
                    <a:pt x="71285" y="250520"/>
                  </a:lnTo>
                  <a:lnTo>
                    <a:pt x="112522" y="231914"/>
                  </a:lnTo>
                  <a:lnTo>
                    <a:pt x="149783" y="207048"/>
                  </a:lnTo>
                  <a:lnTo>
                    <a:pt x="182410" y="176593"/>
                  </a:lnTo>
                  <a:lnTo>
                    <a:pt x="209727" y="141211"/>
                  </a:lnTo>
                  <a:lnTo>
                    <a:pt x="231051" y="101600"/>
                  </a:lnTo>
                  <a:lnTo>
                    <a:pt x="245719" y="58407"/>
                  </a:lnTo>
                  <a:lnTo>
                    <a:pt x="253034" y="12357"/>
                  </a:lnTo>
                  <a:lnTo>
                    <a:pt x="260210" y="58572"/>
                  </a:lnTo>
                  <a:lnTo>
                    <a:pt x="274777" y="101942"/>
                  </a:lnTo>
                  <a:lnTo>
                    <a:pt x="296037" y="141732"/>
                  </a:lnTo>
                  <a:lnTo>
                    <a:pt x="323329" y="177279"/>
                  </a:lnTo>
                  <a:lnTo>
                    <a:pt x="355968" y="207873"/>
                  </a:lnTo>
                  <a:lnTo>
                    <a:pt x="393293" y="232867"/>
                  </a:lnTo>
                  <a:lnTo>
                    <a:pt x="434606" y="251548"/>
                  </a:lnTo>
                  <a:lnTo>
                    <a:pt x="479221" y="263271"/>
                  </a:lnTo>
                  <a:lnTo>
                    <a:pt x="527138" y="267322"/>
                  </a:lnTo>
                  <a:close/>
                </a:path>
              </a:pathLst>
            </a:custGeom>
            <a:solidFill>
              <a:srgbClr val="7ED3F1"/>
            </a:solidFill>
          </p:spPr>
          <p:txBody>
            <a:bodyPr wrap="square" lIns="0" tIns="0" rIns="0" bIns="0" rtlCol="0"/>
            <a:lstStyle/>
            <a:p>
              <a:endParaRPr dirty="0"/>
            </a:p>
          </p:txBody>
        </p:sp>
        <p:pic>
          <p:nvPicPr>
            <p:cNvPr id="262" name="object 260">
              <a:extLst>
                <a:ext uri="{FF2B5EF4-FFF2-40B4-BE49-F238E27FC236}">
                  <a16:creationId xmlns:a16="http://schemas.microsoft.com/office/drawing/2014/main" id="{3D12A703-A98C-2B4B-8A4F-1D0D2282FE86}"/>
                </a:ext>
              </a:extLst>
            </p:cNvPr>
            <p:cNvPicPr/>
            <p:nvPr/>
          </p:nvPicPr>
          <p:blipFill>
            <a:blip r:embed="rId17" cstate="print"/>
            <a:stretch>
              <a:fillRect/>
            </a:stretch>
          </p:blipFill>
          <p:spPr>
            <a:xfrm>
              <a:off x="7326865" y="4972731"/>
              <a:ext cx="106445" cy="107156"/>
            </a:xfrm>
            <a:prstGeom prst="rect">
              <a:avLst/>
            </a:prstGeom>
          </p:spPr>
        </p:pic>
        <p:sp>
          <p:nvSpPr>
            <p:cNvPr id="263" name="object 261">
              <a:extLst>
                <a:ext uri="{FF2B5EF4-FFF2-40B4-BE49-F238E27FC236}">
                  <a16:creationId xmlns:a16="http://schemas.microsoft.com/office/drawing/2014/main" id="{AE787B7D-8DEA-1D97-FF0C-516BCF8EBFC1}"/>
                </a:ext>
              </a:extLst>
            </p:cNvPr>
            <p:cNvSpPr/>
            <p:nvPr/>
          </p:nvSpPr>
          <p:spPr>
            <a:xfrm>
              <a:off x="7226300" y="2554529"/>
              <a:ext cx="319992" cy="477101"/>
            </a:xfrm>
            <a:custGeom>
              <a:avLst/>
              <a:gdLst/>
              <a:ahLst/>
              <a:cxnLst/>
              <a:rect l="l" t="t" r="r" b="b"/>
              <a:pathLst>
                <a:path w="527684" h="786764">
                  <a:moveTo>
                    <a:pt x="527126" y="786396"/>
                  </a:moveTo>
                  <a:lnTo>
                    <a:pt x="521677" y="738238"/>
                  </a:lnTo>
                  <a:lnTo>
                    <a:pt x="508279" y="692975"/>
                  </a:lnTo>
                  <a:lnTo>
                    <a:pt x="487667" y="651344"/>
                  </a:lnTo>
                  <a:lnTo>
                    <a:pt x="460578" y="614095"/>
                  </a:lnTo>
                  <a:lnTo>
                    <a:pt x="427736" y="581939"/>
                  </a:lnTo>
                  <a:lnTo>
                    <a:pt x="389877" y="555625"/>
                  </a:lnTo>
                  <a:lnTo>
                    <a:pt x="347751" y="535901"/>
                  </a:lnTo>
                  <a:lnTo>
                    <a:pt x="302082" y="523468"/>
                  </a:lnTo>
                  <a:lnTo>
                    <a:pt x="253606" y="519099"/>
                  </a:lnTo>
                  <a:lnTo>
                    <a:pt x="252387" y="519099"/>
                  </a:lnTo>
                  <a:lnTo>
                    <a:pt x="204038" y="523455"/>
                  </a:lnTo>
                  <a:lnTo>
                    <a:pt x="158483" y="535825"/>
                  </a:lnTo>
                  <a:lnTo>
                    <a:pt x="116446" y="555459"/>
                  </a:lnTo>
                  <a:lnTo>
                    <a:pt x="78663" y="581660"/>
                  </a:lnTo>
                  <a:lnTo>
                    <a:pt x="45859" y="613676"/>
                  </a:lnTo>
                  <a:lnTo>
                    <a:pt x="18770" y="650773"/>
                  </a:lnTo>
                  <a:lnTo>
                    <a:pt x="0" y="688467"/>
                  </a:lnTo>
                  <a:lnTo>
                    <a:pt x="0" y="783577"/>
                  </a:lnTo>
                  <a:lnTo>
                    <a:pt x="71285" y="769632"/>
                  </a:lnTo>
                  <a:lnTo>
                    <a:pt x="112522" y="751027"/>
                  </a:lnTo>
                  <a:lnTo>
                    <a:pt x="149783" y="726160"/>
                  </a:lnTo>
                  <a:lnTo>
                    <a:pt x="182410" y="695693"/>
                  </a:lnTo>
                  <a:lnTo>
                    <a:pt x="209715" y="660311"/>
                  </a:lnTo>
                  <a:lnTo>
                    <a:pt x="231038" y="620687"/>
                  </a:lnTo>
                  <a:lnTo>
                    <a:pt x="245706" y="577481"/>
                  </a:lnTo>
                  <a:lnTo>
                    <a:pt x="253034" y="531406"/>
                  </a:lnTo>
                  <a:lnTo>
                    <a:pt x="260210" y="577672"/>
                  </a:lnTo>
                  <a:lnTo>
                    <a:pt x="274777" y="621042"/>
                  </a:lnTo>
                  <a:lnTo>
                    <a:pt x="296037" y="660844"/>
                  </a:lnTo>
                  <a:lnTo>
                    <a:pt x="323329" y="696379"/>
                  </a:lnTo>
                  <a:lnTo>
                    <a:pt x="355968" y="726973"/>
                  </a:lnTo>
                  <a:lnTo>
                    <a:pt x="393293" y="751954"/>
                  </a:lnTo>
                  <a:lnTo>
                    <a:pt x="434594" y="770636"/>
                  </a:lnTo>
                  <a:lnTo>
                    <a:pt x="479209" y="782345"/>
                  </a:lnTo>
                  <a:lnTo>
                    <a:pt x="527126" y="786396"/>
                  </a:lnTo>
                  <a:close/>
                </a:path>
                <a:path w="527684" h="786764">
                  <a:moveTo>
                    <a:pt x="527126" y="520865"/>
                  </a:moveTo>
                  <a:lnTo>
                    <a:pt x="521677" y="472706"/>
                  </a:lnTo>
                  <a:lnTo>
                    <a:pt x="508279" y="427443"/>
                  </a:lnTo>
                  <a:lnTo>
                    <a:pt x="487667" y="385813"/>
                  </a:lnTo>
                  <a:lnTo>
                    <a:pt x="460578" y="348564"/>
                  </a:lnTo>
                  <a:lnTo>
                    <a:pt x="427736" y="316407"/>
                  </a:lnTo>
                  <a:lnTo>
                    <a:pt x="389877" y="290106"/>
                  </a:lnTo>
                  <a:lnTo>
                    <a:pt x="347751" y="270370"/>
                  </a:lnTo>
                  <a:lnTo>
                    <a:pt x="302082" y="257949"/>
                  </a:lnTo>
                  <a:lnTo>
                    <a:pt x="253606" y="253568"/>
                  </a:lnTo>
                  <a:lnTo>
                    <a:pt x="252387" y="253568"/>
                  </a:lnTo>
                  <a:lnTo>
                    <a:pt x="204038" y="257924"/>
                  </a:lnTo>
                  <a:lnTo>
                    <a:pt x="158483" y="270294"/>
                  </a:lnTo>
                  <a:lnTo>
                    <a:pt x="116446" y="289941"/>
                  </a:lnTo>
                  <a:lnTo>
                    <a:pt x="78663" y="316128"/>
                  </a:lnTo>
                  <a:lnTo>
                    <a:pt x="45859" y="348145"/>
                  </a:lnTo>
                  <a:lnTo>
                    <a:pt x="18770" y="385254"/>
                  </a:lnTo>
                  <a:lnTo>
                    <a:pt x="0" y="422935"/>
                  </a:lnTo>
                  <a:lnTo>
                    <a:pt x="0" y="518045"/>
                  </a:lnTo>
                  <a:lnTo>
                    <a:pt x="71285" y="504101"/>
                  </a:lnTo>
                  <a:lnTo>
                    <a:pt x="112522" y="485495"/>
                  </a:lnTo>
                  <a:lnTo>
                    <a:pt x="149783" y="460629"/>
                  </a:lnTo>
                  <a:lnTo>
                    <a:pt x="182410" y="430161"/>
                  </a:lnTo>
                  <a:lnTo>
                    <a:pt x="209715" y="394779"/>
                  </a:lnTo>
                  <a:lnTo>
                    <a:pt x="231038" y="355155"/>
                  </a:lnTo>
                  <a:lnTo>
                    <a:pt x="245706" y="311962"/>
                  </a:lnTo>
                  <a:lnTo>
                    <a:pt x="253034" y="265874"/>
                  </a:lnTo>
                  <a:lnTo>
                    <a:pt x="260210" y="312140"/>
                  </a:lnTo>
                  <a:lnTo>
                    <a:pt x="274777" y="355511"/>
                  </a:lnTo>
                  <a:lnTo>
                    <a:pt x="296037" y="395312"/>
                  </a:lnTo>
                  <a:lnTo>
                    <a:pt x="323329" y="430847"/>
                  </a:lnTo>
                  <a:lnTo>
                    <a:pt x="355968" y="461441"/>
                  </a:lnTo>
                  <a:lnTo>
                    <a:pt x="393293" y="486422"/>
                  </a:lnTo>
                  <a:lnTo>
                    <a:pt x="434594" y="505104"/>
                  </a:lnTo>
                  <a:lnTo>
                    <a:pt x="479209" y="516813"/>
                  </a:lnTo>
                  <a:lnTo>
                    <a:pt x="527126" y="520865"/>
                  </a:lnTo>
                  <a:close/>
                </a:path>
                <a:path w="527684" h="786764">
                  <a:moveTo>
                    <a:pt x="527138" y="267335"/>
                  </a:moveTo>
                  <a:lnTo>
                    <a:pt x="521690" y="219163"/>
                  </a:lnTo>
                  <a:lnTo>
                    <a:pt x="508292" y="173888"/>
                  </a:lnTo>
                  <a:lnTo>
                    <a:pt x="487680" y="132257"/>
                  </a:lnTo>
                  <a:lnTo>
                    <a:pt x="471982" y="110693"/>
                  </a:lnTo>
                  <a:lnTo>
                    <a:pt x="460578" y="95008"/>
                  </a:lnTo>
                  <a:lnTo>
                    <a:pt x="427736" y="62865"/>
                  </a:lnTo>
                  <a:lnTo>
                    <a:pt x="389890" y="36563"/>
                  </a:lnTo>
                  <a:lnTo>
                    <a:pt x="347751" y="16802"/>
                  </a:lnTo>
                  <a:lnTo>
                    <a:pt x="302082" y="4381"/>
                  </a:lnTo>
                  <a:lnTo>
                    <a:pt x="253606" y="0"/>
                  </a:lnTo>
                  <a:lnTo>
                    <a:pt x="252387" y="0"/>
                  </a:lnTo>
                  <a:lnTo>
                    <a:pt x="204038" y="4356"/>
                  </a:lnTo>
                  <a:lnTo>
                    <a:pt x="158483" y="16725"/>
                  </a:lnTo>
                  <a:lnTo>
                    <a:pt x="116446" y="36372"/>
                  </a:lnTo>
                  <a:lnTo>
                    <a:pt x="78663" y="62572"/>
                  </a:lnTo>
                  <a:lnTo>
                    <a:pt x="45859" y="94576"/>
                  </a:lnTo>
                  <a:lnTo>
                    <a:pt x="38633" y="104470"/>
                  </a:lnTo>
                  <a:lnTo>
                    <a:pt x="18745" y="131699"/>
                  </a:lnTo>
                  <a:lnTo>
                    <a:pt x="0" y="169303"/>
                  </a:lnTo>
                  <a:lnTo>
                    <a:pt x="0" y="264452"/>
                  </a:lnTo>
                  <a:lnTo>
                    <a:pt x="26758" y="262191"/>
                  </a:lnTo>
                  <a:lnTo>
                    <a:pt x="71285" y="250532"/>
                  </a:lnTo>
                  <a:lnTo>
                    <a:pt x="112522" y="231940"/>
                  </a:lnTo>
                  <a:lnTo>
                    <a:pt x="149783" y="207060"/>
                  </a:lnTo>
                  <a:lnTo>
                    <a:pt x="182410" y="176606"/>
                  </a:lnTo>
                  <a:lnTo>
                    <a:pt x="209727" y="141224"/>
                  </a:lnTo>
                  <a:lnTo>
                    <a:pt x="231051" y="101612"/>
                  </a:lnTo>
                  <a:lnTo>
                    <a:pt x="245719" y="58420"/>
                  </a:lnTo>
                  <a:lnTo>
                    <a:pt x="253034" y="12369"/>
                  </a:lnTo>
                  <a:lnTo>
                    <a:pt x="260210" y="58585"/>
                  </a:lnTo>
                  <a:lnTo>
                    <a:pt x="274777" y="101955"/>
                  </a:lnTo>
                  <a:lnTo>
                    <a:pt x="296037" y="141744"/>
                  </a:lnTo>
                  <a:lnTo>
                    <a:pt x="323329" y="177279"/>
                  </a:lnTo>
                  <a:lnTo>
                    <a:pt x="355981" y="207886"/>
                  </a:lnTo>
                  <a:lnTo>
                    <a:pt x="393293" y="232867"/>
                  </a:lnTo>
                  <a:lnTo>
                    <a:pt x="434606" y="251561"/>
                  </a:lnTo>
                  <a:lnTo>
                    <a:pt x="479221" y="263271"/>
                  </a:lnTo>
                  <a:lnTo>
                    <a:pt x="527138" y="267335"/>
                  </a:lnTo>
                  <a:close/>
                </a:path>
              </a:pathLst>
            </a:custGeom>
            <a:solidFill>
              <a:srgbClr val="2DB7EA"/>
            </a:solidFill>
          </p:spPr>
          <p:txBody>
            <a:bodyPr wrap="square" lIns="0" tIns="0" rIns="0" bIns="0" rtlCol="0"/>
            <a:lstStyle/>
            <a:p>
              <a:endParaRPr dirty="0"/>
            </a:p>
          </p:txBody>
        </p:sp>
        <p:pic>
          <p:nvPicPr>
            <p:cNvPr id="264" name="object 262">
              <a:extLst>
                <a:ext uri="{FF2B5EF4-FFF2-40B4-BE49-F238E27FC236}">
                  <a16:creationId xmlns:a16="http://schemas.microsoft.com/office/drawing/2014/main" id="{380D722E-DB8D-BF60-BDB7-79D8C2E54FCF}"/>
                </a:ext>
              </a:extLst>
            </p:cNvPr>
            <p:cNvPicPr/>
            <p:nvPr/>
          </p:nvPicPr>
          <p:blipFill>
            <a:blip r:embed="rId16" cstate="print"/>
            <a:stretch>
              <a:fillRect/>
            </a:stretch>
          </p:blipFill>
          <p:spPr>
            <a:xfrm>
              <a:off x="7326865" y="3010234"/>
              <a:ext cx="106445" cy="107156"/>
            </a:xfrm>
            <a:prstGeom prst="rect">
              <a:avLst/>
            </a:prstGeom>
          </p:spPr>
        </p:pic>
        <p:sp>
          <p:nvSpPr>
            <p:cNvPr id="265" name="object 263">
              <a:extLst>
                <a:ext uri="{FF2B5EF4-FFF2-40B4-BE49-F238E27FC236}">
                  <a16:creationId xmlns:a16="http://schemas.microsoft.com/office/drawing/2014/main" id="{F914979E-21DC-A5C0-5C88-74A8BA446E01}"/>
                </a:ext>
              </a:extLst>
            </p:cNvPr>
            <p:cNvSpPr/>
            <p:nvPr/>
          </p:nvSpPr>
          <p:spPr>
            <a:xfrm>
              <a:off x="7226300" y="3208700"/>
              <a:ext cx="319992" cy="477101"/>
            </a:xfrm>
            <a:custGeom>
              <a:avLst/>
              <a:gdLst/>
              <a:ahLst/>
              <a:cxnLst/>
              <a:rect l="l" t="t" r="r" b="b"/>
              <a:pathLst>
                <a:path w="527684" h="786764">
                  <a:moveTo>
                    <a:pt x="527126" y="786384"/>
                  </a:moveTo>
                  <a:lnTo>
                    <a:pt x="521677" y="738225"/>
                  </a:lnTo>
                  <a:lnTo>
                    <a:pt x="508279" y="692962"/>
                  </a:lnTo>
                  <a:lnTo>
                    <a:pt x="487667" y="651344"/>
                  </a:lnTo>
                  <a:lnTo>
                    <a:pt x="460578" y="614083"/>
                  </a:lnTo>
                  <a:lnTo>
                    <a:pt x="427736" y="581926"/>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47"/>
                  </a:lnTo>
                  <a:lnTo>
                    <a:pt x="45859" y="613664"/>
                  </a:lnTo>
                  <a:lnTo>
                    <a:pt x="18770" y="650773"/>
                  </a:lnTo>
                  <a:lnTo>
                    <a:pt x="0" y="688454"/>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59"/>
                  </a:lnTo>
                  <a:lnTo>
                    <a:pt x="274777" y="621042"/>
                  </a:lnTo>
                  <a:lnTo>
                    <a:pt x="296037" y="660831"/>
                  </a:lnTo>
                  <a:lnTo>
                    <a:pt x="323329" y="696366"/>
                  </a:lnTo>
                  <a:lnTo>
                    <a:pt x="355968" y="726960"/>
                  </a:lnTo>
                  <a:lnTo>
                    <a:pt x="393293" y="751941"/>
                  </a:lnTo>
                  <a:lnTo>
                    <a:pt x="434594" y="770623"/>
                  </a:lnTo>
                  <a:lnTo>
                    <a:pt x="479209" y="782332"/>
                  </a:lnTo>
                  <a:lnTo>
                    <a:pt x="527126" y="786384"/>
                  </a:lnTo>
                  <a:close/>
                </a:path>
                <a:path w="527684" h="786764">
                  <a:moveTo>
                    <a:pt x="527126" y="520865"/>
                  </a:moveTo>
                  <a:lnTo>
                    <a:pt x="521677" y="472694"/>
                  </a:lnTo>
                  <a:lnTo>
                    <a:pt x="508279" y="427431"/>
                  </a:lnTo>
                  <a:lnTo>
                    <a:pt x="487667" y="385813"/>
                  </a:lnTo>
                  <a:lnTo>
                    <a:pt x="460578" y="348551"/>
                  </a:lnTo>
                  <a:lnTo>
                    <a:pt x="427736" y="316407"/>
                  </a:lnTo>
                  <a:lnTo>
                    <a:pt x="389877" y="290093"/>
                  </a:lnTo>
                  <a:lnTo>
                    <a:pt x="347751" y="270357"/>
                  </a:lnTo>
                  <a:lnTo>
                    <a:pt x="302082" y="257937"/>
                  </a:lnTo>
                  <a:lnTo>
                    <a:pt x="253606" y="253555"/>
                  </a:lnTo>
                  <a:lnTo>
                    <a:pt x="252387" y="253555"/>
                  </a:lnTo>
                  <a:lnTo>
                    <a:pt x="204038" y="257911"/>
                  </a:lnTo>
                  <a:lnTo>
                    <a:pt x="158483" y="270281"/>
                  </a:lnTo>
                  <a:lnTo>
                    <a:pt x="116446" y="289928"/>
                  </a:lnTo>
                  <a:lnTo>
                    <a:pt x="78663" y="316115"/>
                  </a:lnTo>
                  <a:lnTo>
                    <a:pt x="45859" y="348132"/>
                  </a:lnTo>
                  <a:lnTo>
                    <a:pt x="18770" y="385241"/>
                  </a:lnTo>
                  <a:lnTo>
                    <a:pt x="0" y="422935"/>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40"/>
                  </a:lnTo>
                  <a:lnTo>
                    <a:pt x="274777" y="355511"/>
                  </a:lnTo>
                  <a:lnTo>
                    <a:pt x="296037" y="395300"/>
                  </a:lnTo>
                  <a:lnTo>
                    <a:pt x="323329" y="430834"/>
                  </a:lnTo>
                  <a:lnTo>
                    <a:pt x="355968" y="461429"/>
                  </a:lnTo>
                  <a:lnTo>
                    <a:pt x="393293" y="486410"/>
                  </a:lnTo>
                  <a:lnTo>
                    <a:pt x="434594" y="505091"/>
                  </a:lnTo>
                  <a:lnTo>
                    <a:pt x="479209" y="516801"/>
                  </a:lnTo>
                  <a:lnTo>
                    <a:pt x="527126" y="520865"/>
                  </a:lnTo>
                  <a:close/>
                </a:path>
                <a:path w="527684" h="786764">
                  <a:moveTo>
                    <a:pt x="527138" y="267322"/>
                  </a:moveTo>
                  <a:lnTo>
                    <a:pt x="521690" y="219151"/>
                  </a:lnTo>
                  <a:lnTo>
                    <a:pt x="508292" y="173888"/>
                  </a:lnTo>
                  <a:lnTo>
                    <a:pt x="487680" y="132257"/>
                  </a:lnTo>
                  <a:lnTo>
                    <a:pt x="460578" y="94996"/>
                  </a:lnTo>
                  <a:lnTo>
                    <a:pt x="427736" y="62852"/>
                  </a:lnTo>
                  <a:lnTo>
                    <a:pt x="389890" y="36550"/>
                  </a:lnTo>
                  <a:lnTo>
                    <a:pt x="347764" y="16814"/>
                  </a:lnTo>
                  <a:lnTo>
                    <a:pt x="302082" y="4368"/>
                  </a:lnTo>
                  <a:lnTo>
                    <a:pt x="253606" y="0"/>
                  </a:lnTo>
                  <a:lnTo>
                    <a:pt x="252387" y="0"/>
                  </a:lnTo>
                  <a:lnTo>
                    <a:pt x="204038" y="4356"/>
                  </a:lnTo>
                  <a:lnTo>
                    <a:pt x="158483" y="16725"/>
                  </a:lnTo>
                  <a:lnTo>
                    <a:pt x="116446" y="36360"/>
                  </a:lnTo>
                  <a:lnTo>
                    <a:pt x="78663" y="62560"/>
                  </a:lnTo>
                  <a:lnTo>
                    <a:pt x="45859" y="94576"/>
                  </a:lnTo>
                  <a:lnTo>
                    <a:pt x="18745" y="131686"/>
                  </a:lnTo>
                  <a:lnTo>
                    <a:pt x="0" y="169291"/>
                  </a:lnTo>
                  <a:lnTo>
                    <a:pt x="0" y="264452"/>
                  </a:lnTo>
                  <a:lnTo>
                    <a:pt x="26758" y="262191"/>
                  </a:lnTo>
                  <a:lnTo>
                    <a:pt x="71285" y="250532"/>
                  </a:lnTo>
                  <a:lnTo>
                    <a:pt x="112522" y="231927"/>
                  </a:lnTo>
                  <a:lnTo>
                    <a:pt x="149783" y="207060"/>
                  </a:lnTo>
                  <a:lnTo>
                    <a:pt x="182410" y="176593"/>
                  </a:lnTo>
                  <a:lnTo>
                    <a:pt x="209727" y="141224"/>
                  </a:lnTo>
                  <a:lnTo>
                    <a:pt x="231051" y="101600"/>
                  </a:lnTo>
                  <a:lnTo>
                    <a:pt x="245719" y="58407"/>
                  </a:lnTo>
                  <a:lnTo>
                    <a:pt x="253034" y="12369"/>
                  </a:lnTo>
                  <a:lnTo>
                    <a:pt x="260210" y="58572"/>
                  </a:lnTo>
                  <a:lnTo>
                    <a:pt x="269887" y="87388"/>
                  </a:lnTo>
                  <a:lnTo>
                    <a:pt x="274777" y="101955"/>
                  </a:lnTo>
                  <a:lnTo>
                    <a:pt x="296037" y="141744"/>
                  </a:lnTo>
                  <a:lnTo>
                    <a:pt x="323329" y="177279"/>
                  </a:lnTo>
                  <a:lnTo>
                    <a:pt x="355968" y="207873"/>
                  </a:lnTo>
                  <a:lnTo>
                    <a:pt x="393293" y="232867"/>
                  </a:lnTo>
                  <a:lnTo>
                    <a:pt x="434606" y="251548"/>
                  </a:lnTo>
                  <a:lnTo>
                    <a:pt x="479221" y="263271"/>
                  </a:lnTo>
                  <a:lnTo>
                    <a:pt x="527138" y="267322"/>
                  </a:lnTo>
                  <a:close/>
                </a:path>
              </a:pathLst>
            </a:custGeom>
            <a:solidFill>
              <a:srgbClr val="7ED3F1"/>
            </a:solidFill>
          </p:spPr>
          <p:txBody>
            <a:bodyPr wrap="square" lIns="0" tIns="0" rIns="0" bIns="0" rtlCol="0"/>
            <a:lstStyle/>
            <a:p>
              <a:endParaRPr dirty="0"/>
            </a:p>
          </p:txBody>
        </p:sp>
        <p:pic>
          <p:nvPicPr>
            <p:cNvPr id="266" name="object 264">
              <a:extLst>
                <a:ext uri="{FF2B5EF4-FFF2-40B4-BE49-F238E27FC236}">
                  <a16:creationId xmlns:a16="http://schemas.microsoft.com/office/drawing/2014/main" id="{CADE12C9-4E4B-B10C-4CE0-C9878574CA67}"/>
                </a:ext>
              </a:extLst>
            </p:cNvPr>
            <p:cNvPicPr/>
            <p:nvPr/>
          </p:nvPicPr>
          <p:blipFill>
            <a:blip r:embed="rId17" cstate="print"/>
            <a:stretch>
              <a:fillRect/>
            </a:stretch>
          </p:blipFill>
          <p:spPr>
            <a:xfrm>
              <a:off x="7326865" y="3664400"/>
              <a:ext cx="106445" cy="107156"/>
            </a:xfrm>
            <a:prstGeom prst="rect">
              <a:avLst/>
            </a:prstGeom>
          </p:spPr>
        </p:pic>
        <p:sp>
          <p:nvSpPr>
            <p:cNvPr id="267" name="object 265">
              <a:extLst>
                <a:ext uri="{FF2B5EF4-FFF2-40B4-BE49-F238E27FC236}">
                  <a16:creationId xmlns:a16="http://schemas.microsoft.com/office/drawing/2014/main" id="{82E26168-3735-2C76-9BA6-7BCEBF04FCAE}"/>
                </a:ext>
              </a:extLst>
            </p:cNvPr>
            <p:cNvSpPr/>
            <p:nvPr/>
          </p:nvSpPr>
          <p:spPr>
            <a:xfrm>
              <a:off x="7226300" y="1246203"/>
              <a:ext cx="319992" cy="477101"/>
            </a:xfrm>
            <a:custGeom>
              <a:avLst/>
              <a:gdLst/>
              <a:ahLst/>
              <a:cxnLst/>
              <a:rect l="l" t="t" r="r" b="b"/>
              <a:pathLst>
                <a:path w="527684" h="786764">
                  <a:moveTo>
                    <a:pt x="527126" y="786384"/>
                  </a:moveTo>
                  <a:lnTo>
                    <a:pt x="521677" y="738225"/>
                  </a:lnTo>
                  <a:lnTo>
                    <a:pt x="508279" y="692962"/>
                  </a:lnTo>
                  <a:lnTo>
                    <a:pt x="487667" y="651332"/>
                  </a:lnTo>
                  <a:lnTo>
                    <a:pt x="460578" y="614083"/>
                  </a:lnTo>
                  <a:lnTo>
                    <a:pt x="427736" y="581926"/>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47"/>
                  </a:lnTo>
                  <a:lnTo>
                    <a:pt x="45859" y="613664"/>
                  </a:lnTo>
                  <a:lnTo>
                    <a:pt x="18770" y="650760"/>
                  </a:lnTo>
                  <a:lnTo>
                    <a:pt x="0" y="688454"/>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59"/>
                  </a:lnTo>
                  <a:lnTo>
                    <a:pt x="274777" y="621030"/>
                  </a:lnTo>
                  <a:lnTo>
                    <a:pt x="296037" y="660831"/>
                  </a:lnTo>
                  <a:lnTo>
                    <a:pt x="323329" y="696366"/>
                  </a:lnTo>
                  <a:lnTo>
                    <a:pt x="355968" y="726960"/>
                  </a:lnTo>
                  <a:lnTo>
                    <a:pt x="393293" y="751941"/>
                  </a:lnTo>
                  <a:lnTo>
                    <a:pt x="434594" y="770623"/>
                  </a:lnTo>
                  <a:lnTo>
                    <a:pt x="479209" y="782332"/>
                  </a:lnTo>
                  <a:lnTo>
                    <a:pt x="527126" y="786384"/>
                  </a:lnTo>
                  <a:close/>
                </a:path>
                <a:path w="527684" h="786764">
                  <a:moveTo>
                    <a:pt x="527126" y="520852"/>
                  </a:moveTo>
                  <a:lnTo>
                    <a:pt x="521677" y="472694"/>
                  </a:lnTo>
                  <a:lnTo>
                    <a:pt x="508279" y="427431"/>
                  </a:lnTo>
                  <a:lnTo>
                    <a:pt x="487667" y="385813"/>
                  </a:lnTo>
                  <a:lnTo>
                    <a:pt x="460578" y="348551"/>
                  </a:lnTo>
                  <a:lnTo>
                    <a:pt x="427736" y="316395"/>
                  </a:lnTo>
                  <a:lnTo>
                    <a:pt x="389877" y="290093"/>
                  </a:lnTo>
                  <a:lnTo>
                    <a:pt x="347751" y="270357"/>
                  </a:lnTo>
                  <a:lnTo>
                    <a:pt x="302082" y="257937"/>
                  </a:lnTo>
                  <a:lnTo>
                    <a:pt x="253606" y="253555"/>
                  </a:lnTo>
                  <a:lnTo>
                    <a:pt x="252387" y="253555"/>
                  </a:lnTo>
                  <a:lnTo>
                    <a:pt x="204038" y="257911"/>
                  </a:lnTo>
                  <a:lnTo>
                    <a:pt x="158483" y="270281"/>
                  </a:lnTo>
                  <a:lnTo>
                    <a:pt x="116446" y="289928"/>
                  </a:lnTo>
                  <a:lnTo>
                    <a:pt x="78663" y="316115"/>
                  </a:lnTo>
                  <a:lnTo>
                    <a:pt x="45859" y="348132"/>
                  </a:lnTo>
                  <a:lnTo>
                    <a:pt x="18770" y="385241"/>
                  </a:lnTo>
                  <a:lnTo>
                    <a:pt x="0" y="422935"/>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27"/>
                  </a:lnTo>
                  <a:lnTo>
                    <a:pt x="274777" y="355511"/>
                  </a:lnTo>
                  <a:lnTo>
                    <a:pt x="296037" y="395300"/>
                  </a:lnTo>
                  <a:lnTo>
                    <a:pt x="323329" y="430834"/>
                  </a:lnTo>
                  <a:lnTo>
                    <a:pt x="355968" y="461429"/>
                  </a:lnTo>
                  <a:lnTo>
                    <a:pt x="393293" y="486410"/>
                  </a:lnTo>
                  <a:lnTo>
                    <a:pt x="434594" y="505091"/>
                  </a:lnTo>
                  <a:lnTo>
                    <a:pt x="479209" y="516801"/>
                  </a:lnTo>
                  <a:lnTo>
                    <a:pt x="527126" y="520852"/>
                  </a:lnTo>
                  <a:close/>
                </a:path>
                <a:path w="527684" h="786764">
                  <a:moveTo>
                    <a:pt x="527138" y="267322"/>
                  </a:moveTo>
                  <a:lnTo>
                    <a:pt x="521690" y="219151"/>
                  </a:lnTo>
                  <a:lnTo>
                    <a:pt x="508292" y="173875"/>
                  </a:lnTo>
                  <a:lnTo>
                    <a:pt x="487680" y="132257"/>
                  </a:lnTo>
                  <a:lnTo>
                    <a:pt x="460578" y="94996"/>
                  </a:lnTo>
                  <a:lnTo>
                    <a:pt x="427736" y="62852"/>
                  </a:lnTo>
                  <a:lnTo>
                    <a:pt x="389890" y="36550"/>
                  </a:lnTo>
                  <a:lnTo>
                    <a:pt x="347751" y="16789"/>
                  </a:lnTo>
                  <a:lnTo>
                    <a:pt x="302082" y="4368"/>
                  </a:lnTo>
                  <a:lnTo>
                    <a:pt x="253606" y="0"/>
                  </a:lnTo>
                  <a:lnTo>
                    <a:pt x="252387" y="0"/>
                  </a:lnTo>
                  <a:lnTo>
                    <a:pt x="204038" y="4356"/>
                  </a:lnTo>
                  <a:lnTo>
                    <a:pt x="158483" y="16713"/>
                  </a:lnTo>
                  <a:lnTo>
                    <a:pt x="116446" y="36360"/>
                  </a:lnTo>
                  <a:lnTo>
                    <a:pt x="78663" y="62560"/>
                  </a:lnTo>
                  <a:lnTo>
                    <a:pt x="45859" y="94576"/>
                  </a:lnTo>
                  <a:lnTo>
                    <a:pt x="18745" y="131686"/>
                  </a:lnTo>
                  <a:lnTo>
                    <a:pt x="0" y="169291"/>
                  </a:lnTo>
                  <a:lnTo>
                    <a:pt x="0" y="264452"/>
                  </a:lnTo>
                  <a:lnTo>
                    <a:pt x="26758" y="262178"/>
                  </a:lnTo>
                  <a:lnTo>
                    <a:pt x="71285" y="250520"/>
                  </a:lnTo>
                  <a:lnTo>
                    <a:pt x="112522" y="231927"/>
                  </a:lnTo>
                  <a:lnTo>
                    <a:pt x="149783" y="207060"/>
                  </a:lnTo>
                  <a:lnTo>
                    <a:pt x="182410" y="176593"/>
                  </a:lnTo>
                  <a:lnTo>
                    <a:pt x="209727" y="141224"/>
                  </a:lnTo>
                  <a:lnTo>
                    <a:pt x="231051" y="101600"/>
                  </a:lnTo>
                  <a:lnTo>
                    <a:pt x="245719" y="58407"/>
                  </a:lnTo>
                  <a:lnTo>
                    <a:pt x="253034" y="12357"/>
                  </a:lnTo>
                  <a:lnTo>
                    <a:pt x="260210" y="58572"/>
                  </a:lnTo>
                  <a:lnTo>
                    <a:pt x="274777" y="101942"/>
                  </a:lnTo>
                  <a:lnTo>
                    <a:pt x="296037" y="141744"/>
                  </a:lnTo>
                  <a:lnTo>
                    <a:pt x="323329" y="177279"/>
                  </a:lnTo>
                  <a:lnTo>
                    <a:pt x="355968" y="207873"/>
                  </a:lnTo>
                  <a:lnTo>
                    <a:pt x="393293" y="232867"/>
                  </a:lnTo>
                  <a:lnTo>
                    <a:pt x="434606" y="251548"/>
                  </a:lnTo>
                  <a:lnTo>
                    <a:pt x="479221" y="263271"/>
                  </a:lnTo>
                  <a:lnTo>
                    <a:pt x="527138" y="267322"/>
                  </a:lnTo>
                  <a:close/>
                </a:path>
              </a:pathLst>
            </a:custGeom>
            <a:solidFill>
              <a:srgbClr val="2DB7EA"/>
            </a:solidFill>
          </p:spPr>
          <p:txBody>
            <a:bodyPr wrap="square" lIns="0" tIns="0" rIns="0" bIns="0" rtlCol="0"/>
            <a:lstStyle/>
            <a:p>
              <a:endParaRPr dirty="0"/>
            </a:p>
          </p:txBody>
        </p:sp>
        <p:pic>
          <p:nvPicPr>
            <p:cNvPr id="268" name="object 266">
              <a:extLst>
                <a:ext uri="{FF2B5EF4-FFF2-40B4-BE49-F238E27FC236}">
                  <a16:creationId xmlns:a16="http://schemas.microsoft.com/office/drawing/2014/main" id="{ED5EC6CD-5C15-8F61-2355-F9D33DAFA27F}"/>
                </a:ext>
              </a:extLst>
            </p:cNvPr>
            <p:cNvPicPr/>
            <p:nvPr/>
          </p:nvPicPr>
          <p:blipFill>
            <a:blip r:embed="rId16" cstate="print"/>
            <a:stretch>
              <a:fillRect/>
            </a:stretch>
          </p:blipFill>
          <p:spPr>
            <a:xfrm>
              <a:off x="7326865" y="1701903"/>
              <a:ext cx="106445" cy="107156"/>
            </a:xfrm>
            <a:prstGeom prst="rect">
              <a:avLst/>
            </a:prstGeom>
          </p:spPr>
        </p:pic>
        <p:sp>
          <p:nvSpPr>
            <p:cNvPr id="269" name="object 267">
              <a:extLst>
                <a:ext uri="{FF2B5EF4-FFF2-40B4-BE49-F238E27FC236}">
                  <a16:creationId xmlns:a16="http://schemas.microsoft.com/office/drawing/2014/main" id="{7CCDFF9A-B1AA-2230-2998-AC1E452DE23A}"/>
                </a:ext>
              </a:extLst>
            </p:cNvPr>
            <p:cNvSpPr/>
            <p:nvPr/>
          </p:nvSpPr>
          <p:spPr>
            <a:xfrm>
              <a:off x="7226300" y="1900365"/>
              <a:ext cx="319992" cy="477101"/>
            </a:xfrm>
            <a:custGeom>
              <a:avLst/>
              <a:gdLst/>
              <a:ahLst/>
              <a:cxnLst/>
              <a:rect l="l" t="t" r="r" b="b"/>
              <a:pathLst>
                <a:path w="527684" h="786764">
                  <a:moveTo>
                    <a:pt x="527126" y="786396"/>
                  </a:moveTo>
                  <a:lnTo>
                    <a:pt x="521677" y="738225"/>
                  </a:lnTo>
                  <a:lnTo>
                    <a:pt x="508279" y="692962"/>
                  </a:lnTo>
                  <a:lnTo>
                    <a:pt x="487667" y="651344"/>
                  </a:lnTo>
                  <a:lnTo>
                    <a:pt x="460578" y="614083"/>
                  </a:lnTo>
                  <a:lnTo>
                    <a:pt x="427736" y="581939"/>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60"/>
                  </a:lnTo>
                  <a:lnTo>
                    <a:pt x="45859" y="613664"/>
                  </a:lnTo>
                  <a:lnTo>
                    <a:pt x="18770" y="650773"/>
                  </a:lnTo>
                  <a:lnTo>
                    <a:pt x="0" y="688467"/>
                  </a:lnTo>
                  <a:lnTo>
                    <a:pt x="0" y="783564"/>
                  </a:lnTo>
                  <a:lnTo>
                    <a:pt x="71285" y="769620"/>
                  </a:lnTo>
                  <a:lnTo>
                    <a:pt x="112522" y="751027"/>
                  </a:lnTo>
                  <a:lnTo>
                    <a:pt x="149783" y="726147"/>
                  </a:lnTo>
                  <a:lnTo>
                    <a:pt x="182410" y="695680"/>
                  </a:lnTo>
                  <a:lnTo>
                    <a:pt x="209715" y="660298"/>
                  </a:lnTo>
                  <a:lnTo>
                    <a:pt x="231038" y="620674"/>
                  </a:lnTo>
                  <a:lnTo>
                    <a:pt x="245706" y="577481"/>
                  </a:lnTo>
                  <a:lnTo>
                    <a:pt x="253034" y="531393"/>
                  </a:lnTo>
                  <a:lnTo>
                    <a:pt x="260210" y="577672"/>
                  </a:lnTo>
                  <a:lnTo>
                    <a:pt x="274777" y="621042"/>
                  </a:lnTo>
                  <a:lnTo>
                    <a:pt x="296037" y="660831"/>
                  </a:lnTo>
                  <a:lnTo>
                    <a:pt x="323329" y="696366"/>
                  </a:lnTo>
                  <a:lnTo>
                    <a:pt x="355968" y="726960"/>
                  </a:lnTo>
                  <a:lnTo>
                    <a:pt x="393293" y="751941"/>
                  </a:lnTo>
                  <a:lnTo>
                    <a:pt x="434594" y="770636"/>
                  </a:lnTo>
                  <a:lnTo>
                    <a:pt x="479209" y="782332"/>
                  </a:lnTo>
                  <a:lnTo>
                    <a:pt x="527126" y="786396"/>
                  </a:lnTo>
                  <a:close/>
                </a:path>
                <a:path w="527684" h="786764">
                  <a:moveTo>
                    <a:pt x="527126" y="520865"/>
                  </a:moveTo>
                  <a:lnTo>
                    <a:pt x="521677" y="472706"/>
                  </a:lnTo>
                  <a:lnTo>
                    <a:pt x="508279" y="427443"/>
                  </a:lnTo>
                  <a:lnTo>
                    <a:pt x="487667" y="385813"/>
                  </a:lnTo>
                  <a:lnTo>
                    <a:pt x="460578" y="348551"/>
                  </a:lnTo>
                  <a:lnTo>
                    <a:pt x="427736" y="316407"/>
                  </a:lnTo>
                  <a:lnTo>
                    <a:pt x="389877" y="290093"/>
                  </a:lnTo>
                  <a:lnTo>
                    <a:pt x="347751" y="270357"/>
                  </a:lnTo>
                  <a:lnTo>
                    <a:pt x="302082" y="257937"/>
                  </a:lnTo>
                  <a:lnTo>
                    <a:pt x="253606" y="253555"/>
                  </a:lnTo>
                  <a:lnTo>
                    <a:pt x="252387" y="253555"/>
                  </a:lnTo>
                  <a:lnTo>
                    <a:pt x="204038" y="257911"/>
                  </a:lnTo>
                  <a:lnTo>
                    <a:pt x="158483" y="270281"/>
                  </a:lnTo>
                  <a:lnTo>
                    <a:pt x="116446" y="289928"/>
                  </a:lnTo>
                  <a:lnTo>
                    <a:pt x="78663" y="316128"/>
                  </a:lnTo>
                  <a:lnTo>
                    <a:pt x="45859" y="348132"/>
                  </a:lnTo>
                  <a:lnTo>
                    <a:pt x="18770" y="385241"/>
                  </a:lnTo>
                  <a:lnTo>
                    <a:pt x="0" y="422935"/>
                  </a:lnTo>
                  <a:lnTo>
                    <a:pt x="0" y="518033"/>
                  </a:lnTo>
                  <a:lnTo>
                    <a:pt x="71285" y="504088"/>
                  </a:lnTo>
                  <a:lnTo>
                    <a:pt x="112522" y="485495"/>
                  </a:lnTo>
                  <a:lnTo>
                    <a:pt x="149783" y="460616"/>
                  </a:lnTo>
                  <a:lnTo>
                    <a:pt x="182410" y="430161"/>
                  </a:lnTo>
                  <a:lnTo>
                    <a:pt x="209715" y="394766"/>
                  </a:lnTo>
                  <a:lnTo>
                    <a:pt x="231038" y="355142"/>
                  </a:lnTo>
                  <a:lnTo>
                    <a:pt x="245706" y="311950"/>
                  </a:lnTo>
                  <a:lnTo>
                    <a:pt x="253034" y="265861"/>
                  </a:lnTo>
                  <a:lnTo>
                    <a:pt x="260210" y="312140"/>
                  </a:lnTo>
                  <a:lnTo>
                    <a:pt x="274777" y="355511"/>
                  </a:lnTo>
                  <a:lnTo>
                    <a:pt x="296037" y="395300"/>
                  </a:lnTo>
                  <a:lnTo>
                    <a:pt x="323329" y="430834"/>
                  </a:lnTo>
                  <a:lnTo>
                    <a:pt x="355968" y="461441"/>
                  </a:lnTo>
                  <a:lnTo>
                    <a:pt x="393293" y="486410"/>
                  </a:lnTo>
                  <a:lnTo>
                    <a:pt x="434594" y="505104"/>
                  </a:lnTo>
                  <a:lnTo>
                    <a:pt x="479209" y="516813"/>
                  </a:lnTo>
                  <a:lnTo>
                    <a:pt x="527126" y="520865"/>
                  </a:lnTo>
                  <a:close/>
                </a:path>
                <a:path w="527684" h="786764">
                  <a:moveTo>
                    <a:pt x="527138" y="267322"/>
                  </a:moveTo>
                  <a:lnTo>
                    <a:pt x="521690" y="219151"/>
                  </a:lnTo>
                  <a:lnTo>
                    <a:pt x="508292" y="173888"/>
                  </a:lnTo>
                  <a:lnTo>
                    <a:pt x="487680" y="132257"/>
                  </a:lnTo>
                  <a:lnTo>
                    <a:pt x="480275" y="122097"/>
                  </a:lnTo>
                  <a:lnTo>
                    <a:pt x="460578" y="95008"/>
                  </a:lnTo>
                  <a:lnTo>
                    <a:pt x="427736" y="62852"/>
                  </a:lnTo>
                  <a:lnTo>
                    <a:pt x="389890" y="36550"/>
                  </a:lnTo>
                  <a:lnTo>
                    <a:pt x="347764" y="16814"/>
                  </a:lnTo>
                  <a:lnTo>
                    <a:pt x="302082" y="4381"/>
                  </a:lnTo>
                  <a:lnTo>
                    <a:pt x="253606" y="0"/>
                  </a:lnTo>
                  <a:lnTo>
                    <a:pt x="252387" y="0"/>
                  </a:lnTo>
                  <a:lnTo>
                    <a:pt x="204038" y="4356"/>
                  </a:lnTo>
                  <a:lnTo>
                    <a:pt x="158483" y="16725"/>
                  </a:lnTo>
                  <a:lnTo>
                    <a:pt x="116446" y="36372"/>
                  </a:lnTo>
                  <a:lnTo>
                    <a:pt x="78663" y="62560"/>
                  </a:lnTo>
                  <a:lnTo>
                    <a:pt x="45859" y="94576"/>
                  </a:lnTo>
                  <a:lnTo>
                    <a:pt x="18745" y="131686"/>
                  </a:lnTo>
                  <a:lnTo>
                    <a:pt x="0" y="169303"/>
                  </a:lnTo>
                  <a:lnTo>
                    <a:pt x="0" y="264452"/>
                  </a:lnTo>
                  <a:lnTo>
                    <a:pt x="26758" y="262191"/>
                  </a:lnTo>
                  <a:lnTo>
                    <a:pt x="71285" y="250532"/>
                  </a:lnTo>
                  <a:lnTo>
                    <a:pt x="112522" y="231927"/>
                  </a:lnTo>
                  <a:lnTo>
                    <a:pt x="149783" y="207060"/>
                  </a:lnTo>
                  <a:lnTo>
                    <a:pt x="182410" y="176593"/>
                  </a:lnTo>
                  <a:lnTo>
                    <a:pt x="209727" y="141224"/>
                  </a:lnTo>
                  <a:lnTo>
                    <a:pt x="231051" y="101600"/>
                  </a:lnTo>
                  <a:lnTo>
                    <a:pt x="245719" y="58420"/>
                  </a:lnTo>
                  <a:lnTo>
                    <a:pt x="253034" y="12369"/>
                  </a:lnTo>
                  <a:lnTo>
                    <a:pt x="260210" y="58572"/>
                  </a:lnTo>
                  <a:lnTo>
                    <a:pt x="269887" y="87388"/>
                  </a:lnTo>
                  <a:lnTo>
                    <a:pt x="274777" y="101955"/>
                  </a:lnTo>
                  <a:lnTo>
                    <a:pt x="296037" y="141744"/>
                  </a:lnTo>
                  <a:lnTo>
                    <a:pt x="323329" y="177279"/>
                  </a:lnTo>
                  <a:lnTo>
                    <a:pt x="355981" y="207886"/>
                  </a:lnTo>
                  <a:lnTo>
                    <a:pt x="393293" y="232867"/>
                  </a:lnTo>
                  <a:lnTo>
                    <a:pt x="434606" y="251561"/>
                  </a:lnTo>
                  <a:lnTo>
                    <a:pt x="479221" y="263271"/>
                  </a:lnTo>
                  <a:lnTo>
                    <a:pt x="527138" y="267322"/>
                  </a:lnTo>
                  <a:close/>
                </a:path>
              </a:pathLst>
            </a:custGeom>
            <a:solidFill>
              <a:srgbClr val="7ED3F1"/>
            </a:solidFill>
          </p:spPr>
          <p:txBody>
            <a:bodyPr wrap="square" lIns="0" tIns="0" rIns="0" bIns="0" rtlCol="0"/>
            <a:lstStyle/>
            <a:p>
              <a:endParaRPr dirty="0"/>
            </a:p>
          </p:txBody>
        </p:sp>
        <p:pic>
          <p:nvPicPr>
            <p:cNvPr id="270" name="object 268">
              <a:extLst>
                <a:ext uri="{FF2B5EF4-FFF2-40B4-BE49-F238E27FC236}">
                  <a16:creationId xmlns:a16="http://schemas.microsoft.com/office/drawing/2014/main" id="{17CCF374-229C-2CEF-4BB6-724B6D5827A9}"/>
                </a:ext>
              </a:extLst>
            </p:cNvPr>
            <p:cNvPicPr/>
            <p:nvPr/>
          </p:nvPicPr>
          <p:blipFill>
            <a:blip r:embed="rId17" cstate="print"/>
            <a:stretch>
              <a:fillRect/>
            </a:stretch>
          </p:blipFill>
          <p:spPr>
            <a:xfrm>
              <a:off x="7326865" y="2356067"/>
              <a:ext cx="106445" cy="107156"/>
            </a:xfrm>
            <a:prstGeom prst="rect">
              <a:avLst/>
            </a:prstGeom>
          </p:spPr>
        </p:pic>
        <p:sp>
          <p:nvSpPr>
            <p:cNvPr id="271" name="object 269">
              <a:extLst>
                <a:ext uri="{FF2B5EF4-FFF2-40B4-BE49-F238E27FC236}">
                  <a16:creationId xmlns:a16="http://schemas.microsoft.com/office/drawing/2014/main" id="{30023A27-ECF5-0B34-5183-7D71CE7859D4}"/>
                </a:ext>
              </a:extLst>
            </p:cNvPr>
            <p:cNvSpPr/>
            <p:nvPr/>
          </p:nvSpPr>
          <p:spPr>
            <a:xfrm>
              <a:off x="7226307" y="123"/>
              <a:ext cx="319992" cy="100118"/>
            </a:xfrm>
            <a:custGeom>
              <a:avLst/>
              <a:gdLst/>
              <a:ahLst/>
              <a:cxnLst/>
              <a:rect l="l" t="t" r="r" b="b"/>
              <a:pathLst>
                <a:path w="527684" h="165100">
                  <a:moveTo>
                    <a:pt x="230473" y="0"/>
                  </a:moveTo>
                  <a:lnTo>
                    <a:pt x="39936" y="0"/>
                  </a:lnTo>
                  <a:lnTo>
                    <a:pt x="18738" y="29019"/>
                  </a:lnTo>
                  <a:lnTo>
                    <a:pt x="0" y="66629"/>
                  </a:lnTo>
                  <a:lnTo>
                    <a:pt x="0" y="161781"/>
                  </a:lnTo>
                  <a:lnTo>
                    <a:pt x="71285" y="147841"/>
                  </a:lnTo>
                  <a:lnTo>
                    <a:pt x="112519" y="129246"/>
                  </a:lnTo>
                  <a:lnTo>
                    <a:pt x="149785" y="104384"/>
                  </a:lnTo>
                  <a:lnTo>
                    <a:pt x="182410" y="73928"/>
                  </a:lnTo>
                  <a:lnTo>
                    <a:pt x="209722" y="38553"/>
                  </a:lnTo>
                  <a:lnTo>
                    <a:pt x="230473" y="0"/>
                  </a:lnTo>
                  <a:close/>
                </a:path>
                <a:path w="527684" h="165100">
                  <a:moveTo>
                    <a:pt x="466153" y="0"/>
                  </a:moveTo>
                  <a:lnTo>
                    <a:pt x="275154" y="0"/>
                  </a:lnTo>
                  <a:lnTo>
                    <a:pt x="296036" y="39074"/>
                  </a:lnTo>
                  <a:lnTo>
                    <a:pt x="323330" y="74611"/>
                  </a:lnTo>
                  <a:lnTo>
                    <a:pt x="355974" y="105212"/>
                  </a:lnTo>
                  <a:lnTo>
                    <a:pt x="393290" y="130198"/>
                  </a:lnTo>
                  <a:lnTo>
                    <a:pt x="434597" y="148888"/>
                  </a:lnTo>
                  <a:lnTo>
                    <a:pt x="479217" y="160601"/>
                  </a:lnTo>
                  <a:lnTo>
                    <a:pt x="526470" y="164656"/>
                  </a:lnTo>
                  <a:lnTo>
                    <a:pt x="527130" y="164656"/>
                  </a:lnTo>
                  <a:lnTo>
                    <a:pt x="521684" y="116483"/>
                  </a:lnTo>
                  <a:lnTo>
                    <a:pt x="508286" y="71216"/>
                  </a:lnTo>
                  <a:lnTo>
                    <a:pt x="487672" y="29587"/>
                  </a:lnTo>
                  <a:lnTo>
                    <a:pt x="466153" y="0"/>
                  </a:lnTo>
                  <a:close/>
                </a:path>
              </a:pathLst>
            </a:custGeom>
            <a:solidFill>
              <a:srgbClr val="2DB7EA"/>
            </a:solidFill>
          </p:spPr>
          <p:txBody>
            <a:bodyPr wrap="square" lIns="0" tIns="0" rIns="0" bIns="0" rtlCol="0"/>
            <a:lstStyle/>
            <a:p>
              <a:endParaRPr dirty="0"/>
            </a:p>
          </p:txBody>
        </p:sp>
        <p:pic>
          <p:nvPicPr>
            <p:cNvPr id="272" name="object 270">
              <a:extLst>
                <a:ext uri="{FF2B5EF4-FFF2-40B4-BE49-F238E27FC236}">
                  <a16:creationId xmlns:a16="http://schemas.microsoft.com/office/drawing/2014/main" id="{D9589705-02CF-9BC4-731D-C54C010649A4}"/>
                </a:ext>
              </a:extLst>
            </p:cNvPr>
            <p:cNvPicPr/>
            <p:nvPr/>
          </p:nvPicPr>
          <p:blipFill>
            <a:blip r:embed="rId24" cstate="print"/>
            <a:stretch>
              <a:fillRect/>
            </a:stretch>
          </p:blipFill>
          <p:spPr>
            <a:xfrm>
              <a:off x="7226307" y="123"/>
              <a:ext cx="139752" cy="98125"/>
            </a:xfrm>
            <a:prstGeom prst="rect">
              <a:avLst/>
            </a:prstGeom>
          </p:spPr>
        </p:pic>
        <p:pic>
          <p:nvPicPr>
            <p:cNvPr id="273" name="object 271">
              <a:extLst>
                <a:ext uri="{FF2B5EF4-FFF2-40B4-BE49-F238E27FC236}">
                  <a16:creationId xmlns:a16="http://schemas.microsoft.com/office/drawing/2014/main" id="{131A7A64-83B7-7DE6-FD3F-1B6124D21DD2}"/>
                </a:ext>
              </a:extLst>
            </p:cNvPr>
            <p:cNvPicPr/>
            <p:nvPr/>
          </p:nvPicPr>
          <p:blipFill>
            <a:blip r:embed="rId21" cstate="print"/>
            <a:stretch>
              <a:fillRect/>
            </a:stretch>
          </p:blipFill>
          <p:spPr>
            <a:xfrm>
              <a:off x="7393159" y="123"/>
              <a:ext cx="152798" cy="99837"/>
            </a:xfrm>
            <a:prstGeom prst="rect">
              <a:avLst/>
            </a:prstGeom>
          </p:spPr>
        </p:pic>
        <p:sp>
          <p:nvSpPr>
            <p:cNvPr id="274" name="object 272">
              <a:extLst>
                <a:ext uri="{FF2B5EF4-FFF2-40B4-BE49-F238E27FC236}">
                  <a16:creationId xmlns:a16="http://schemas.microsoft.com/office/drawing/2014/main" id="{74EAA01F-B77A-B1F2-059B-F36F8852519F}"/>
                </a:ext>
              </a:extLst>
            </p:cNvPr>
            <p:cNvSpPr/>
            <p:nvPr/>
          </p:nvSpPr>
          <p:spPr>
            <a:xfrm>
              <a:off x="7226300" y="91626"/>
              <a:ext cx="319992" cy="323458"/>
            </a:xfrm>
            <a:custGeom>
              <a:avLst/>
              <a:gdLst/>
              <a:ahLst/>
              <a:cxnLst/>
              <a:rect l="l" t="t" r="r" b="b"/>
              <a:pathLst>
                <a:path w="527684" h="533400">
                  <a:moveTo>
                    <a:pt x="527126" y="532841"/>
                  </a:moveTo>
                  <a:lnTo>
                    <a:pt x="521677" y="484682"/>
                  </a:lnTo>
                  <a:lnTo>
                    <a:pt x="508279" y="439420"/>
                  </a:lnTo>
                  <a:lnTo>
                    <a:pt x="487667" y="397789"/>
                  </a:lnTo>
                  <a:lnTo>
                    <a:pt x="460578" y="360527"/>
                  </a:lnTo>
                  <a:lnTo>
                    <a:pt x="427736" y="328383"/>
                  </a:lnTo>
                  <a:lnTo>
                    <a:pt x="389877" y="302069"/>
                  </a:lnTo>
                  <a:lnTo>
                    <a:pt x="347751" y="282333"/>
                  </a:lnTo>
                  <a:lnTo>
                    <a:pt x="302082" y="269913"/>
                  </a:lnTo>
                  <a:lnTo>
                    <a:pt x="253606" y="265544"/>
                  </a:lnTo>
                  <a:lnTo>
                    <a:pt x="252387" y="265544"/>
                  </a:lnTo>
                  <a:lnTo>
                    <a:pt x="204038" y="269900"/>
                  </a:lnTo>
                  <a:lnTo>
                    <a:pt x="158483" y="282257"/>
                  </a:lnTo>
                  <a:lnTo>
                    <a:pt x="116446" y="301904"/>
                  </a:lnTo>
                  <a:lnTo>
                    <a:pt x="78663" y="328104"/>
                  </a:lnTo>
                  <a:lnTo>
                    <a:pt x="45859" y="360121"/>
                  </a:lnTo>
                  <a:lnTo>
                    <a:pt x="18770" y="397217"/>
                  </a:lnTo>
                  <a:lnTo>
                    <a:pt x="0" y="434911"/>
                  </a:lnTo>
                  <a:lnTo>
                    <a:pt x="0" y="530021"/>
                  </a:lnTo>
                  <a:lnTo>
                    <a:pt x="71285" y="516064"/>
                  </a:lnTo>
                  <a:lnTo>
                    <a:pt x="112522" y="497471"/>
                  </a:lnTo>
                  <a:lnTo>
                    <a:pt x="149783" y="472592"/>
                  </a:lnTo>
                  <a:lnTo>
                    <a:pt x="182410" y="442137"/>
                  </a:lnTo>
                  <a:lnTo>
                    <a:pt x="209715" y="406755"/>
                  </a:lnTo>
                  <a:lnTo>
                    <a:pt x="231038" y="367118"/>
                  </a:lnTo>
                  <a:lnTo>
                    <a:pt x="245706" y="323926"/>
                  </a:lnTo>
                  <a:lnTo>
                    <a:pt x="253034" y="277837"/>
                  </a:lnTo>
                  <a:lnTo>
                    <a:pt x="260210" y="324116"/>
                  </a:lnTo>
                  <a:lnTo>
                    <a:pt x="274777" y="367487"/>
                  </a:lnTo>
                  <a:lnTo>
                    <a:pt x="296037" y="407276"/>
                  </a:lnTo>
                  <a:lnTo>
                    <a:pt x="323329" y="442810"/>
                  </a:lnTo>
                  <a:lnTo>
                    <a:pt x="355968" y="473417"/>
                  </a:lnTo>
                  <a:lnTo>
                    <a:pt x="393293" y="498398"/>
                  </a:lnTo>
                  <a:lnTo>
                    <a:pt x="434594" y="517080"/>
                  </a:lnTo>
                  <a:lnTo>
                    <a:pt x="479209" y="528789"/>
                  </a:lnTo>
                  <a:lnTo>
                    <a:pt x="527126" y="532841"/>
                  </a:lnTo>
                  <a:close/>
                </a:path>
                <a:path w="527684" h="533400">
                  <a:moveTo>
                    <a:pt x="527126" y="267309"/>
                  </a:moveTo>
                  <a:lnTo>
                    <a:pt x="521677" y="219138"/>
                  </a:lnTo>
                  <a:lnTo>
                    <a:pt x="508279" y="173888"/>
                  </a:lnTo>
                  <a:lnTo>
                    <a:pt x="487667" y="132257"/>
                  </a:lnTo>
                  <a:lnTo>
                    <a:pt x="460578" y="94996"/>
                  </a:lnTo>
                  <a:lnTo>
                    <a:pt x="427736" y="62852"/>
                  </a:lnTo>
                  <a:lnTo>
                    <a:pt x="389877" y="36537"/>
                  </a:lnTo>
                  <a:lnTo>
                    <a:pt x="347751" y="16802"/>
                  </a:lnTo>
                  <a:lnTo>
                    <a:pt x="302082" y="4381"/>
                  </a:lnTo>
                  <a:lnTo>
                    <a:pt x="253606" y="0"/>
                  </a:lnTo>
                  <a:lnTo>
                    <a:pt x="252387" y="0"/>
                  </a:lnTo>
                  <a:lnTo>
                    <a:pt x="204038" y="4356"/>
                  </a:lnTo>
                  <a:lnTo>
                    <a:pt x="158483" y="16725"/>
                  </a:lnTo>
                  <a:lnTo>
                    <a:pt x="116446" y="36372"/>
                  </a:lnTo>
                  <a:lnTo>
                    <a:pt x="78663" y="62572"/>
                  </a:lnTo>
                  <a:lnTo>
                    <a:pt x="45859" y="94576"/>
                  </a:lnTo>
                  <a:lnTo>
                    <a:pt x="18770" y="131686"/>
                  </a:lnTo>
                  <a:lnTo>
                    <a:pt x="0" y="169379"/>
                  </a:lnTo>
                  <a:lnTo>
                    <a:pt x="0" y="264477"/>
                  </a:lnTo>
                  <a:lnTo>
                    <a:pt x="71285" y="250532"/>
                  </a:lnTo>
                  <a:lnTo>
                    <a:pt x="112522" y="231940"/>
                  </a:lnTo>
                  <a:lnTo>
                    <a:pt x="149783" y="207060"/>
                  </a:lnTo>
                  <a:lnTo>
                    <a:pt x="182410" y="176593"/>
                  </a:lnTo>
                  <a:lnTo>
                    <a:pt x="209715" y="141211"/>
                  </a:lnTo>
                  <a:lnTo>
                    <a:pt x="231038" y="101587"/>
                  </a:lnTo>
                  <a:lnTo>
                    <a:pt x="245706" y="58394"/>
                  </a:lnTo>
                  <a:lnTo>
                    <a:pt x="253034" y="12306"/>
                  </a:lnTo>
                  <a:lnTo>
                    <a:pt x="260210" y="58585"/>
                  </a:lnTo>
                  <a:lnTo>
                    <a:pt x="274777" y="101955"/>
                  </a:lnTo>
                  <a:lnTo>
                    <a:pt x="296037" y="141744"/>
                  </a:lnTo>
                  <a:lnTo>
                    <a:pt x="323329" y="177279"/>
                  </a:lnTo>
                  <a:lnTo>
                    <a:pt x="355968" y="207873"/>
                  </a:lnTo>
                  <a:lnTo>
                    <a:pt x="393293" y="232854"/>
                  </a:lnTo>
                  <a:lnTo>
                    <a:pt x="434594" y="251548"/>
                  </a:lnTo>
                  <a:lnTo>
                    <a:pt x="479209" y="263258"/>
                  </a:lnTo>
                  <a:lnTo>
                    <a:pt x="527126" y="267309"/>
                  </a:lnTo>
                  <a:close/>
                </a:path>
              </a:pathLst>
            </a:custGeom>
            <a:solidFill>
              <a:srgbClr val="2DB7EA"/>
            </a:solidFill>
          </p:spPr>
          <p:txBody>
            <a:bodyPr wrap="square" lIns="0" tIns="0" rIns="0" bIns="0" rtlCol="0"/>
            <a:lstStyle/>
            <a:p>
              <a:endParaRPr dirty="0"/>
            </a:p>
          </p:txBody>
        </p:sp>
        <p:pic>
          <p:nvPicPr>
            <p:cNvPr id="275" name="object 273">
              <a:extLst>
                <a:ext uri="{FF2B5EF4-FFF2-40B4-BE49-F238E27FC236}">
                  <a16:creationId xmlns:a16="http://schemas.microsoft.com/office/drawing/2014/main" id="{5A73B4ED-7024-9D50-87A2-0EE891228510}"/>
                </a:ext>
              </a:extLst>
            </p:cNvPr>
            <p:cNvPicPr/>
            <p:nvPr/>
          </p:nvPicPr>
          <p:blipFill>
            <a:blip r:embed="rId16" cstate="print"/>
            <a:stretch>
              <a:fillRect/>
            </a:stretch>
          </p:blipFill>
          <p:spPr>
            <a:xfrm>
              <a:off x="7326865" y="393572"/>
              <a:ext cx="106445" cy="107156"/>
            </a:xfrm>
            <a:prstGeom prst="rect">
              <a:avLst/>
            </a:prstGeom>
          </p:spPr>
        </p:pic>
        <p:sp>
          <p:nvSpPr>
            <p:cNvPr id="276" name="object 274">
              <a:extLst>
                <a:ext uri="{FF2B5EF4-FFF2-40B4-BE49-F238E27FC236}">
                  <a16:creationId xmlns:a16="http://schemas.microsoft.com/office/drawing/2014/main" id="{93EFC70E-D8EB-1689-D247-46E28B3536A3}"/>
                </a:ext>
              </a:extLst>
            </p:cNvPr>
            <p:cNvSpPr/>
            <p:nvPr/>
          </p:nvSpPr>
          <p:spPr>
            <a:xfrm>
              <a:off x="7226300" y="592039"/>
              <a:ext cx="319992" cy="477101"/>
            </a:xfrm>
            <a:custGeom>
              <a:avLst/>
              <a:gdLst/>
              <a:ahLst/>
              <a:cxnLst/>
              <a:rect l="l" t="t" r="r" b="b"/>
              <a:pathLst>
                <a:path w="527684" h="786764">
                  <a:moveTo>
                    <a:pt x="527126" y="786384"/>
                  </a:moveTo>
                  <a:lnTo>
                    <a:pt x="521677" y="738225"/>
                  </a:lnTo>
                  <a:lnTo>
                    <a:pt x="508279" y="692962"/>
                  </a:lnTo>
                  <a:lnTo>
                    <a:pt x="487667" y="651332"/>
                  </a:lnTo>
                  <a:lnTo>
                    <a:pt x="460578" y="614083"/>
                  </a:lnTo>
                  <a:lnTo>
                    <a:pt x="427736" y="581926"/>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47"/>
                  </a:lnTo>
                  <a:lnTo>
                    <a:pt x="45859" y="613664"/>
                  </a:lnTo>
                  <a:lnTo>
                    <a:pt x="18770" y="650760"/>
                  </a:lnTo>
                  <a:lnTo>
                    <a:pt x="0" y="688454"/>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59"/>
                  </a:lnTo>
                  <a:lnTo>
                    <a:pt x="274777" y="621030"/>
                  </a:lnTo>
                  <a:lnTo>
                    <a:pt x="296037" y="660831"/>
                  </a:lnTo>
                  <a:lnTo>
                    <a:pt x="323329" y="696366"/>
                  </a:lnTo>
                  <a:lnTo>
                    <a:pt x="355968" y="726960"/>
                  </a:lnTo>
                  <a:lnTo>
                    <a:pt x="393293" y="751941"/>
                  </a:lnTo>
                  <a:lnTo>
                    <a:pt x="434594" y="770623"/>
                  </a:lnTo>
                  <a:lnTo>
                    <a:pt x="479209" y="782332"/>
                  </a:lnTo>
                  <a:lnTo>
                    <a:pt x="527126" y="786384"/>
                  </a:lnTo>
                  <a:close/>
                </a:path>
                <a:path w="527684" h="786764">
                  <a:moveTo>
                    <a:pt x="527126" y="520852"/>
                  </a:moveTo>
                  <a:lnTo>
                    <a:pt x="521677" y="472694"/>
                  </a:lnTo>
                  <a:lnTo>
                    <a:pt x="508279" y="427431"/>
                  </a:lnTo>
                  <a:lnTo>
                    <a:pt x="487667" y="385800"/>
                  </a:lnTo>
                  <a:lnTo>
                    <a:pt x="460578" y="348551"/>
                  </a:lnTo>
                  <a:lnTo>
                    <a:pt x="427736" y="316395"/>
                  </a:lnTo>
                  <a:lnTo>
                    <a:pt x="389877" y="290080"/>
                  </a:lnTo>
                  <a:lnTo>
                    <a:pt x="347751" y="270357"/>
                  </a:lnTo>
                  <a:lnTo>
                    <a:pt x="302082" y="257924"/>
                  </a:lnTo>
                  <a:lnTo>
                    <a:pt x="253606" y="253555"/>
                  </a:lnTo>
                  <a:lnTo>
                    <a:pt x="252387" y="253555"/>
                  </a:lnTo>
                  <a:lnTo>
                    <a:pt x="204038" y="257911"/>
                  </a:lnTo>
                  <a:lnTo>
                    <a:pt x="158483" y="270281"/>
                  </a:lnTo>
                  <a:lnTo>
                    <a:pt x="116446" y="289915"/>
                  </a:lnTo>
                  <a:lnTo>
                    <a:pt x="78663" y="316115"/>
                  </a:lnTo>
                  <a:lnTo>
                    <a:pt x="45859" y="348132"/>
                  </a:lnTo>
                  <a:lnTo>
                    <a:pt x="18770" y="385229"/>
                  </a:lnTo>
                  <a:lnTo>
                    <a:pt x="0" y="422922"/>
                  </a:lnTo>
                  <a:lnTo>
                    <a:pt x="0" y="518033"/>
                  </a:lnTo>
                  <a:lnTo>
                    <a:pt x="71285" y="504088"/>
                  </a:lnTo>
                  <a:lnTo>
                    <a:pt x="112522" y="485482"/>
                  </a:lnTo>
                  <a:lnTo>
                    <a:pt x="149783" y="460616"/>
                  </a:lnTo>
                  <a:lnTo>
                    <a:pt x="182410" y="430149"/>
                  </a:lnTo>
                  <a:lnTo>
                    <a:pt x="209715" y="394766"/>
                  </a:lnTo>
                  <a:lnTo>
                    <a:pt x="231038" y="355142"/>
                  </a:lnTo>
                  <a:lnTo>
                    <a:pt x="245706" y="311937"/>
                  </a:lnTo>
                  <a:lnTo>
                    <a:pt x="253034" y="265861"/>
                  </a:lnTo>
                  <a:lnTo>
                    <a:pt x="260210" y="312127"/>
                  </a:lnTo>
                  <a:lnTo>
                    <a:pt x="274777" y="355498"/>
                  </a:lnTo>
                  <a:lnTo>
                    <a:pt x="296037" y="395300"/>
                  </a:lnTo>
                  <a:lnTo>
                    <a:pt x="323329" y="430834"/>
                  </a:lnTo>
                  <a:lnTo>
                    <a:pt x="355968" y="461429"/>
                  </a:lnTo>
                  <a:lnTo>
                    <a:pt x="393293" y="486410"/>
                  </a:lnTo>
                  <a:lnTo>
                    <a:pt x="434594" y="505091"/>
                  </a:lnTo>
                  <a:lnTo>
                    <a:pt x="479209" y="516801"/>
                  </a:lnTo>
                  <a:lnTo>
                    <a:pt x="527126" y="520852"/>
                  </a:lnTo>
                  <a:close/>
                </a:path>
                <a:path w="527684" h="786764">
                  <a:moveTo>
                    <a:pt x="527138" y="267322"/>
                  </a:moveTo>
                  <a:lnTo>
                    <a:pt x="521690" y="219138"/>
                  </a:lnTo>
                  <a:lnTo>
                    <a:pt x="508292" y="173875"/>
                  </a:lnTo>
                  <a:lnTo>
                    <a:pt x="487680" y="132245"/>
                  </a:lnTo>
                  <a:lnTo>
                    <a:pt x="471982" y="110680"/>
                  </a:lnTo>
                  <a:lnTo>
                    <a:pt x="460578" y="94996"/>
                  </a:lnTo>
                  <a:lnTo>
                    <a:pt x="427736" y="62839"/>
                  </a:lnTo>
                  <a:lnTo>
                    <a:pt x="389890" y="36537"/>
                  </a:lnTo>
                  <a:lnTo>
                    <a:pt x="347751" y="16789"/>
                  </a:lnTo>
                  <a:lnTo>
                    <a:pt x="302082" y="4368"/>
                  </a:lnTo>
                  <a:lnTo>
                    <a:pt x="253619" y="12"/>
                  </a:lnTo>
                  <a:lnTo>
                    <a:pt x="252387" y="0"/>
                  </a:lnTo>
                  <a:lnTo>
                    <a:pt x="204038" y="4356"/>
                  </a:lnTo>
                  <a:lnTo>
                    <a:pt x="158483" y="16713"/>
                  </a:lnTo>
                  <a:lnTo>
                    <a:pt x="116446" y="36360"/>
                  </a:lnTo>
                  <a:lnTo>
                    <a:pt x="78663" y="62560"/>
                  </a:lnTo>
                  <a:lnTo>
                    <a:pt x="45859" y="94576"/>
                  </a:lnTo>
                  <a:lnTo>
                    <a:pt x="18745" y="131686"/>
                  </a:lnTo>
                  <a:lnTo>
                    <a:pt x="0" y="169291"/>
                  </a:lnTo>
                  <a:lnTo>
                    <a:pt x="0" y="264439"/>
                  </a:lnTo>
                  <a:lnTo>
                    <a:pt x="26758" y="262178"/>
                  </a:lnTo>
                  <a:lnTo>
                    <a:pt x="71285" y="250520"/>
                  </a:lnTo>
                  <a:lnTo>
                    <a:pt x="112522" y="231927"/>
                  </a:lnTo>
                  <a:lnTo>
                    <a:pt x="149783" y="207048"/>
                  </a:lnTo>
                  <a:lnTo>
                    <a:pt x="182410" y="176593"/>
                  </a:lnTo>
                  <a:lnTo>
                    <a:pt x="209727" y="141211"/>
                  </a:lnTo>
                  <a:lnTo>
                    <a:pt x="231051" y="101600"/>
                  </a:lnTo>
                  <a:lnTo>
                    <a:pt x="245719" y="58407"/>
                  </a:lnTo>
                  <a:lnTo>
                    <a:pt x="253034" y="12357"/>
                  </a:lnTo>
                  <a:lnTo>
                    <a:pt x="260210" y="58572"/>
                  </a:lnTo>
                  <a:lnTo>
                    <a:pt x="274777" y="101942"/>
                  </a:lnTo>
                  <a:lnTo>
                    <a:pt x="296037" y="141732"/>
                  </a:lnTo>
                  <a:lnTo>
                    <a:pt x="323329" y="177266"/>
                  </a:lnTo>
                  <a:lnTo>
                    <a:pt x="355968" y="207873"/>
                  </a:lnTo>
                  <a:lnTo>
                    <a:pt x="393293" y="232854"/>
                  </a:lnTo>
                  <a:lnTo>
                    <a:pt x="434606" y="251548"/>
                  </a:lnTo>
                  <a:lnTo>
                    <a:pt x="479221" y="263258"/>
                  </a:lnTo>
                  <a:lnTo>
                    <a:pt x="527138" y="267322"/>
                  </a:lnTo>
                  <a:close/>
                </a:path>
              </a:pathLst>
            </a:custGeom>
            <a:solidFill>
              <a:srgbClr val="7ED3F1"/>
            </a:solidFill>
          </p:spPr>
          <p:txBody>
            <a:bodyPr wrap="square" lIns="0" tIns="0" rIns="0" bIns="0" rtlCol="0"/>
            <a:lstStyle/>
            <a:p>
              <a:endParaRPr dirty="0"/>
            </a:p>
          </p:txBody>
        </p:sp>
        <p:pic>
          <p:nvPicPr>
            <p:cNvPr id="277" name="object 275">
              <a:extLst>
                <a:ext uri="{FF2B5EF4-FFF2-40B4-BE49-F238E27FC236}">
                  <a16:creationId xmlns:a16="http://schemas.microsoft.com/office/drawing/2014/main" id="{ADA3D2FA-B93E-7523-8E0C-5FDEDA98D3E5}"/>
                </a:ext>
              </a:extLst>
            </p:cNvPr>
            <p:cNvPicPr/>
            <p:nvPr/>
          </p:nvPicPr>
          <p:blipFill>
            <a:blip r:embed="rId17" cstate="print"/>
            <a:stretch>
              <a:fillRect/>
            </a:stretch>
          </p:blipFill>
          <p:spPr>
            <a:xfrm>
              <a:off x="7326865" y="1047738"/>
              <a:ext cx="106445" cy="107156"/>
            </a:xfrm>
            <a:prstGeom prst="rect">
              <a:avLst/>
            </a:prstGeom>
          </p:spPr>
        </p:pic>
        <p:sp>
          <p:nvSpPr>
            <p:cNvPr id="278" name="object 276">
              <a:extLst>
                <a:ext uri="{FF2B5EF4-FFF2-40B4-BE49-F238E27FC236}">
                  <a16:creationId xmlns:a16="http://schemas.microsoft.com/office/drawing/2014/main" id="{FE99E962-DAB9-7C4D-B589-C14004890692}"/>
                </a:ext>
              </a:extLst>
            </p:cNvPr>
            <p:cNvSpPr/>
            <p:nvPr/>
          </p:nvSpPr>
          <p:spPr>
            <a:xfrm>
              <a:off x="8368808" y="804428"/>
              <a:ext cx="332700" cy="477101"/>
            </a:xfrm>
            <a:custGeom>
              <a:avLst/>
              <a:gdLst/>
              <a:ahLst/>
              <a:cxnLst/>
              <a:rect l="l" t="t" r="r" b="b"/>
              <a:pathLst>
                <a:path w="548640" h="786764">
                  <a:moveTo>
                    <a:pt x="548043" y="266598"/>
                  </a:moveTo>
                  <a:lnTo>
                    <a:pt x="500367" y="270637"/>
                  </a:lnTo>
                  <a:lnTo>
                    <a:pt x="455841" y="282295"/>
                  </a:lnTo>
                  <a:lnTo>
                    <a:pt x="414616" y="300901"/>
                  </a:lnTo>
                  <a:lnTo>
                    <a:pt x="377342" y="325767"/>
                  </a:lnTo>
                  <a:lnTo>
                    <a:pt x="344716" y="356235"/>
                  </a:lnTo>
                  <a:lnTo>
                    <a:pt x="317411" y="391617"/>
                  </a:lnTo>
                  <a:lnTo>
                    <a:pt x="296087" y="431241"/>
                  </a:lnTo>
                  <a:lnTo>
                    <a:pt x="281419" y="474433"/>
                  </a:lnTo>
                  <a:lnTo>
                    <a:pt x="274091" y="520522"/>
                  </a:lnTo>
                  <a:lnTo>
                    <a:pt x="266915" y="474256"/>
                  </a:lnTo>
                  <a:lnTo>
                    <a:pt x="252361" y="430872"/>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88"/>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42"/>
                  </a:lnTo>
                  <a:lnTo>
                    <a:pt x="529005" y="359689"/>
                  </a:lnTo>
                  <a:lnTo>
                    <a:pt x="542467" y="314591"/>
                  </a:lnTo>
                  <a:lnTo>
                    <a:pt x="548043" y="266598"/>
                  </a:lnTo>
                  <a:close/>
                </a:path>
                <a:path w="548640" h="786764">
                  <a:moveTo>
                    <a:pt x="548043" y="1079"/>
                  </a:moveTo>
                  <a:lnTo>
                    <a:pt x="500367" y="5105"/>
                  </a:lnTo>
                  <a:lnTo>
                    <a:pt x="455841" y="16764"/>
                  </a:lnTo>
                  <a:lnTo>
                    <a:pt x="414616" y="35369"/>
                  </a:lnTo>
                  <a:lnTo>
                    <a:pt x="377342" y="60236"/>
                  </a:lnTo>
                  <a:lnTo>
                    <a:pt x="344716"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67" y="49060"/>
                  </a:lnTo>
                  <a:lnTo>
                    <a:pt x="548043" y="1079"/>
                  </a:lnTo>
                  <a:close/>
                </a:path>
                <a:path w="548640" h="786764">
                  <a:moveTo>
                    <a:pt x="548093" y="520192"/>
                  </a:moveTo>
                  <a:lnTo>
                    <a:pt x="500367" y="524205"/>
                  </a:lnTo>
                  <a:lnTo>
                    <a:pt x="455841" y="535851"/>
                  </a:lnTo>
                  <a:lnTo>
                    <a:pt x="414616" y="554456"/>
                  </a:lnTo>
                  <a:lnTo>
                    <a:pt x="377342" y="579323"/>
                  </a:lnTo>
                  <a:lnTo>
                    <a:pt x="344716" y="609790"/>
                  </a:lnTo>
                  <a:lnTo>
                    <a:pt x="317411" y="645160"/>
                  </a:lnTo>
                  <a:lnTo>
                    <a:pt x="296087" y="684784"/>
                  </a:lnTo>
                  <a:lnTo>
                    <a:pt x="281419" y="727976"/>
                  </a:lnTo>
                  <a:lnTo>
                    <a:pt x="274091" y="774065"/>
                  </a:lnTo>
                  <a:lnTo>
                    <a:pt x="266915" y="727811"/>
                  </a:lnTo>
                  <a:lnTo>
                    <a:pt x="252361" y="684441"/>
                  </a:lnTo>
                  <a:lnTo>
                    <a:pt x="231089" y="644652"/>
                  </a:lnTo>
                  <a:lnTo>
                    <a:pt x="203796" y="609117"/>
                  </a:lnTo>
                  <a:lnTo>
                    <a:pt x="171157" y="578510"/>
                  </a:lnTo>
                  <a:lnTo>
                    <a:pt x="133845" y="553529"/>
                  </a:lnTo>
                  <a:lnTo>
                    <a:pt x="92532" y="534847"/>
                  </a:lnTo>
                  <a:lnTo>
                    <a:pt x="47917" y="523113"/>
                  </a:lnTo>
                  <a:lnTo>
                    <a:pt x="0" y="519061"/>
                  </a:lnTo>
                  <a:lnTo>
                    <a:pt x="5448" y="567245"/>
                  </a:lnTo>
                  <a:lnTo>
                    <a:pt x="18846" y="612508"/>
                  </a:lnTo>
                  <a:lnTo>
                    <a:pt x="39458" y="654138"/>
                  </a:lnTo>
                  <a:lnTo>
                    <a:pt x="66548" y="691388"/>
                  </a:lnTo>
                  <a:lnTo>
                    <a:pt x="98704" y="722871"/>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81266" y="691807"/>
                  </a:lnTo>
                  <a:lnTo>
                    <a:pt x="508393" y="654697"/>
                  </a:lnTo>
                  <a:lnTo>
                    <a:pt x="529043" y="613244"/>
                  </a:lnTo>
                  <a:lnTo>
                    <a:pt x="542518" y="568172"/>
                  </a:lnTo>
                  <a:lnTo>
                    <a:pt x="548093" y="520192"/>
                  </a:lnTo>
                  <a:close/>
                </a:path>
              </a:pathLst>
            </a:custGeom>
            <a:solidFill>
              <a:srgbClr val="2DB7EA"/>
            </a:solidFill>
          </p:spPr>
          <p:txBody>
            <a:bodyPr wrap="square" lIns="0" tIns="0" rIns="0" bIns="0" rtlCol="0"/>
            <a:lstStyle/>
            <a:p>
              <a:endParaRPr dirty="0"/>
            </a:p>
          </p:txBody>
        </p:sp>
        <p:pic>
          <p:nvPicPr>
            <p:cNvPr id="279" name="object 277">
              <a:extLst>
                <a:ext uri="{FF2B5EF4-FFF2-40B4-BE49-F238E27FC236}">
                  <a16:creationId xmlns:a16="http://schemas.microsoft.com/office/drawing/2014/main" id="{17958CA6-5B3E-DCD2-1224-1098E5BCDFD2}"/>
                </a:ext>
              </a:extLst>
            </p:cNvPr>
            <p:cNvPicPr/>
            <p:nvPr/>
          </p:nvPicPr>
          <p:blipFill>
            <a:blip r:embed="rId5" cstate="print"/>
            <a:stretch>
              <a:fillRect/>
            </a:stretch>
          </p:blipFill>
          <p:spPr>
            <a:xfrm>
              <a:off x="8481461" y="718433"/>
              <a:ext cx="106445" cy="107156"/>
            </a:xfrm>
            <a:prstGeom prst="rect">
              <a:avLst/>
            </a:prstGeom>
          </p:spPr>
        </p:pic>
        <p:sp>
          <p:nvSpPr>
            <p:cNvPr id="280" name="object 278">
              <a:extLst>
                <a:ext uri="{FF2B5EF4-FFF2-40B4-BE49-F238E27FC236}">
                  <a16:creationId xmlns:a16="http://schemas.microsoft.com/office/drawing/2014/main" id="{D2055E55-4095-A492-8AA6-F26556780F5A}"/>
                </a:ext>
              </a:extLst>
            </p:cNvPr>
            <p:cNvSpPr/>
            <p:nvPr/>
          </p:nvSpPr>
          <p:spPr>
            <a:xfrm>
              <a:off x="8368808" y="150257"/>
              <a:ext cx="332700" cy="477101"/>
            </a:xfrm>
            <a:custGeom>
              <a:avLst/>
              <a:gdLst/>
              <a:ahLst/>
              <a:cxnLst/>
              <a:rect l="l" t="t" r="r" b="b"/>
              <a:pathLst>
                <a:path w="548640" h="786765">
                  <a:moveTo>
                    <a:pt x="548043" y="266611"/>
                  </a:moveTo>
                  <a:lnTo>
                    <a:pt x="500367" y="270649"/>
                  </a:lnTo>
                  <a:lnTo>
                    <a:pt x="455841" y="282308"/>
                  </a:lnTo>
                  <a:lnTo>
                    <a:pt x="414616" y="300901"/>
                  </a:lnTo>
                  <a:lnTo>
                    <a:pt x="377342" y="325767"/>
                  </a:lnTo>
                  <a:lnTo>
                    <a:pt x="344716" y="356235"/>
                  </a:lnTo>
                  <a:lnTo>
                    <a:pt x="317411" y="391617"/>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39"/>
                  </a:lnTo>
                  <a:lnTo>
                    <a:pt x="225044" y="528459"/>
                  </a:lnTo>
                  <a:lnTo>
                    <a:pt x="273519" y="532828"/>
                  </a:lnTo>
                  <a:lnTo>
                    <a:pt x="274751" y="532828"/>
                  </a:lnTo>
                  <a:lnTo>
                    <a:pt x="323088" y="528472"/>
                  </a:lnTo>
                  <a:lnTo>
                    <a:pt x="368642" y="516115"/>
                  </a:lnTo>
                  <a:lnTo>
                    <a:pt x="410679" y="496468"/>
                  </a:lnTo>
                  <a:lnTo>
                    <a:pt x="448462" y="470268"/>
                  </a:lnTo>
                  <a:lnTo>
                    <a:pt x="481266" y="438251"/>
                  </a:lnTo>
                  <a:lnTo>
                    <a:pt x="508355" y="401154"/>
                  </a:lnTo>
                  <a:lnTo>
                    <a:pt x="529005" y="359689"/>
                  </a:lnTo>
                  <a:lnTo>
                    <a:pt x="542467" y="314604"/>
                  </a:lnTo>
                  <a:lnTo>
                    <a:pt x="548043" y="266611"/>
                  </a:lnTo>
                  <a:close/>
                </a:path>
                <a:path w="548640" h="786765">
                  <a:moveTo>
                    <a:pt x="548043" y="1079"/>
                  </a:moveTo>
                  <a:lnTo>
                    <a:pt x="500367" y="5118"/>
                  </a:lnTo>
                  <a:lnTo>
                    <a:pt x="455841" y="16776"/>
                  </a:lnTo>
                  <a:lnTo>
                    <a:pt x="414616" y="35369"/>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60"/>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36"/>
                  </a:lnTo>
                  <a:lnTo>
                    <a:pt x="481266" y="172732"/>
                  </a:lnTo>
                  <a:lnTo>
                    <a:pt x="508355" y="135623"/>
                  </a:lnTo>
                  <a:lnTo>
                    <a:pt x="529005" y="94157"/>
                  </a:lnTo>
                  <a:lnTo>
                    <a:pt x="542467" y="49072"/>
                  </a:lnTo>
                  <a:lnTo>
                    <a:pt x="548043" y="1079"/>
                  </a:lnTo>
                  <a:close/>
                </a:path>
                <a:path w="548640" h="786765">
                  <a:moveTo>
                    <a:pt x="548093" y="520204"/>
                  </a:moveTo>
                  <a:lnTo>
                    <a:pt x="500367" y="524205"/>
                  </a:lnTo>
                  <a:lnTo>
                    <a:pt x="455841" y="535863"/>
                  </a:lnTo>
                  <a:lnTo>
                    <a:pt x="414616" y="554469"/>
                  </a:lnTo>
                  <a:lnTo>
                    <a:pt x="377342" y="579335"/>
                  </a:lnTo>
                  <a:lnTo>
                    <a:pt x="344716" y="609803"/>
                  </a:lnTo>
                  <a:lnTo>
                    <a:pt x="317411" y="645172"/>
                  </a:lnTo>
                  <a:lnTo>
                    <a:pt x="296087" y="684796"/>
                  </a:lnTo>
                  <a:lnTo>
                    <a:pt x="281419" y="727976"/>
                  </a:lnTo>
                  <a:lnTo>
                    <a:pt x="274091" y="774065"/>
                  </a:lnTo>
                  <a:lnTo>
                    <a:pt x="266915" y="727824"/>
                  </a:lnTo>
                  <a:lnTo>
                    <a:pt x="252361" y="684453"/>
                  </a:lnTo>
                  <a:lnTo>
                    <a:pt x="231089"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51"/>
                  </a:lnTo>
                  <a:lnTo>
                    <a:pt x="66548" y="691388"/>
                  </a:lnTo>
                  <a:lnTo>
                    <a:pt x="99402" y="723557"/>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7ED3F1"/>
            </a:solidFill>
          </p:spPr>
          <p:txBody>
            <a:bodyPr wrap="square" lIns="0" tIns="0" rIns="0" bIns="0" rtlCol="0"/>
            <a:lstStyle/>
            <a:p>
              <a:endParaRPr dirty="0"/>
            </a:p>
          </p:txBody>
        </p:sp>
        <p:pic>
          <p:nvPicPr>
            <p:cNvPr id="281" name="object 279">
              <a:extLst>
                <a:ext uri="{FF2B5EF4-FFF2-40B4-BE49-F238E27FC236}">
                  <a16:creationId xmlns:a16="http://schemas.microsoft.com/office/drawing/2014/main" id="{5DE6943D-D942-93F7-AADB-E362B9CABA35}"/>
                </a:ext>
              </a:extLst>
            </p:cNvPr>
            <p:cNvPicPr/>
            <p:nvPr/>
          </p:nvPicPr>
          <p:blipFill>
            <a:blip r:embed="rId6" cstate="print"/>
            <a:stretch>
              <a:fillRect/>
            </a:stretch>
          </p:blipFill>
          <p:spPr>
            <a:xfrm>
              <a:off x="8481461" y="64269"/>
              <a:ext cx="106445" cy="107156"/>
            </a:xfrm>
            <a:prstGeom prst="rect">
              <a:avLst/>
            </a:prstGeom>
          </p:spPr>
        </p:pic>
        <p:sp>
          <p:nvSpPr>
            <p:cNvPr id="282" name="object 280">
              <a:extLst>
                <a:ext uri="{FF2B5EF4-FFF2-40B4-BE49-F238E27FC236}">
                  <a16:creationId xmlns:a16="http://schemas.microsoft.com/office/drawing/2014/main" id="{A5FA49C4-E17D-8EDE-1820-87EB22D6BA85}"/>
                </a:ext>
              </a:extLst>
            </p:cNvPr>
            <p:cNvSpPr/>
            <p:nvPr/>
          </p:nvSpPr>
          <p:spPr>
            <a:xfrm>
              <a:off x="8368808" y="2112754"/>
              <a:ext cx="332700" cy="477101"/>
            </a:xfrm>
            <a:custGeom>
              <a:avLst/>
              <a:gdLst/>
              <a:ahLst/>
              <a:cxnLst/>
              <a:rect l="l" t="t" r="r" b="b"/>
              <a:pathLst>
                <a:path w="548640" h="786764">
                  <a:moveTo>
                    <a:pt x="548043" y="266611"/>
                  </a:moveTo>
                  <a:lnTo>
                    <a:pt x="500367" y="270649"/>
                  </a:lnTo>
                  <a:lnTo>
                    <a:pt x="455841" y="282308"/>
                  </a:lnTo>
                  <a:lnTo>
                    <a:pt x="414616" y="300901"/>
                  </a:lnTo>
                  <a:lnTo>
                    <a:pt x="377342" y="325780"/>
                  </a:lnTo>
                  <a:lnTo>
                    <a:pt x="344716"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74" y="516039"/>
                  </a:lnTo>
                  <a:lnTo>
                    <a:pt x="225044" y="528459"/>
                  </a:lnTo>
                  <a:lnTo>
                    <a:pt x="273519" y="532841"/>
                  </a:lnTo>
                  <a:lnTo>
                    <a:pt x="274751" y="532841"/>
                  </a:lnTo>
                  <a:lnTo>
                    <a:pt x="323088" y="528485"/>
                  </a:lnTo>
                  <a:lnTo>
                    <a:pt x="368642" y="516115"/>
                  </a:lnTo>
                  <a:lnTo>
                    <a:pt x="410679" y="496468"/>
                  </a:lnTo>
                  <a:lnTo>
                    <a:pt x="448462" y="470268"/>
                  </a:lnTo>
                  <a:lnTo>
                    <a:pt x="481266" y="438264"/>
                  </a:lnTo>
                  <a:lnTo>
                    <a:pt x="508355" y="401154"/>
                  </a:lnTo>
                  <a:lnTo>
                    <a:pt x="529005" y="359689"/>
                  </a:lnTo>
                  <a:lnTo>
                    <a:pt x="542467" y="314604"/>
                  </a:lnTo>
                  <a:lnTo>
                    <a:pt x="548043" y="266611"/>
                  </a:lnTo>
                  <a:close/>
                </a:path>
                <a:path w="548640" h="786764">
                  <a:moveTo>
                    <a:pt x="548043" y="1079"/>
                  </a:moveTo>
                  <a:lnTo>
                    <a:pt x="500367" y="5118"/>
                  </a:lnTo>
                  <a:lnTo>
                    <a:pt x="455841" y="16776"/>
                  </a:lnTo>
                  <a:lnTo>
                    <a:pt x="414616" y="35369"/>
                  </a:lnTo>
                  <a:lnTo>
                    <a:pt x="377342" y="60248"/>
                  </a:lnTo>
                  <a:lnTo>
                    <a:pt x="344716" y="90703"/>
                  </a:lnTo>
                  <a:lnTo>
                    <a:pt x="317411" y="126085"/>
                  </a:lnTo>
                  <a:lnTo>
                    <a:pt x="296087" y="165722"/>
                  </a:lnTo>
                  <a:lnTo>
                    <a:pt x="281419" y="208915"/>
                  </a:lnTo>
                  <a:lnTo>
                    <a:pt x="274091" y="255003"/>
                  </a:lnTo>
                  <a:lnTo>
                    <a:pt x="266915" y="208724"/>
                  </a:lnTo>
                  <a:lnTo>
                    <a:pt x="252361" y="165354"/>
                  </a:lnTo>
                  <a:lnTo>
                    <a:pt x="231089"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13"/>
                  </a:lnTo>
                  <a:lnTo>
                    <a:pt x="99402" y="204457"/>
                  </a:lnTo>
                  <a:lnTo>
                    <a:pt x="137248" y="230771"/>
                  </a:lnTo>
                  <a:lnTo>
                    <a:pt x="179374" y="250507"/>
                  </a:lnTo>
                  <a:lnTo>
                    <a:pt x="225044" y="262928"/>
                  </a:lnTo>
                  <a:lnTo>
                    <a:pt x="273519" y="267296"/>
                  </a:lnTo>
                  <a:lnTo>
                    <a:pt x="274751" y="267296"/>
                  </a:lnTo>
                  <a:lnTo>
                    <a:pt x="323088" y="262940"/>
                  </a:lnTo>
                  <a:lnTo>
                    <a:pt x="368642" y="250583"/>
                  </a:lnTo>
                  <a:lnTo>
                    <a:pt x="410679" y="230936"/>
                  </a:lnTo>
                  <a:lnTo>
                    <a:pt x="448462" y="204736"/>
                  </a:lnTo>
                  <a:lnTo>
                    <a:pt x="481266" y="172720"/>
                  </a:lnTo>
                  <a:lnTo>
                    <a:pt x="508355" y="135623"/>
                  </a:lnTo>
                  <a:lnTo>
                    <a:pt x="529005" y="94157"/>
                  </a:lnTo>
                  <a:lnTo>
                    <a:pt x="542467" y="49072"/>
                  </a:lnTo>
                  <a:lnTo>
                    <a:pt x="548043" y="1079"/>
                  </a:lnTo>
                  <a:close/>
                </a:path>
                <a:path w="548640" h="786764">
                  <a:moveTo>
                    <a:pt x="548093" y="520204"/>
                  </a:moveTo>
                  <a:lnTo>
                    <a:pt x="500367" y="524205"/>
                  </a:lnTo>
                  <a:lnTo>
                    <a:pt x="455841" y="535863"/>
                  </a:lnTo>
                  <a:lnTo>
                    <a:pt x="414616" y="554456"/>
                  </a:lnTo>
                  <a:lnTo>
                    <a:pt x="377342" y="579335"/>
                  </a:lnTo>
                  <a:lnTo>
                    <a:pt x="344716" y="609803"/>
                  </a:lnTo>
                  <a:lnTo>
                    <a:pt x="317411" y="645172"/>
                  </a:lnTo>
                  <a:lnTo>
                    <a:pt x="296087" y="684796"/>
                  </a:lnTo>
                  <a:lnTo>
                    <a:pt x="281419" y="727989"/>
                  </a:lnTo>
                  <a:lnTo>
                    <a:pt x="274091" y="774065"/>
                  </a:lnTo>
                  <a:lnTo>
                    <a:pt x="266915" y="727811"/>
                  </a:lnTo>
                  <a:lnTo>
                    <a:pt x="252361" y="684441"/>
                  </a:lnTo>
                  <a:lnTo>
                    <a:pt x="231089" y="644652"/>
                  </a:lnTo>
                  <a:lnTo>
                    <a:pt x="203796" y="609117"/>
                  </a:lnTo>
                  <a:lnTo>
                    <a:pt x="171157" y="578523"/>
                  </a:lnTo>
                  <a:lnTo>
                    <a:pt x="133845" y="553542"/>
                  </a:lnTo>
                  <a:lnTo>
                    <a:pt x="92532" y="534860"/>
                  </a:lnTo>
                  <a:lnTo>
                    <a:pt x="47917" y="523125"/>
                  </a:lnTo>
                  <a:lnTo>
                    <a:pt x="0" y="519099"/>
                  </a:lnTo>
                  <a:lnTo>
                    <a:pt x="5448" y="567258"/>
                  </a:lnTo>
                  <a:lnTo>
                    <a:pt x="18846" y="612521"/>
                  </a:lnTo>
                  <a:lnTo>
                    <a:pt x="39458" y="654138"/>
                  </a:lnTo>
                  <a:lnTo>
                    <a:pt x="66548" y="691400"/>
                  </a:lnTo>
                  <a:lnTo>
                    <a:pt x="99390" y="72354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2DB7EA"/>
            </a:solidFill>
          </p:spPr>
          <p:txBody>
            <a:bodyPr wrap="square" lIns="0" tIns="0" rIns="0" bIns="0" rtlCol="0"/>
            <a:lstStyle/>
            <a:p>
              <a:endParaRPr dirty="0"/>
            </a:p>
          </p:txBody>
        </p:sp>
        <p:pic>
          <p:nvPicPr>
            <p:cNvPr id="283" name="object 281">
              <a:extLst>
                <a:ext uri="{FF2B5EF4-FFF2-40B4-BE49-F238E27FC236}">
                  <a16:creationId xmlns:a16="http://schemas.microsoft.com/office/drawing/2014/main" id="{DC0A90E7-B6A5-DEF3-44FB-D0CF947D1139}"/>
                </a:ext>
              </a:extLst>
            </p:cNvPr>
            <p:cNvPicPr/>
            <p:nvPr/>
          </p:nvPicPr>
          <p:blipFill>
            <a:blip r:embed="rId5" cstate="print"/>
            <a:stretch>
              <a:fillRect/>
            </a:stretch>
          </p:blipFill>
          <p:spPr>
            <a:xfrm>
              <a:off x="8481461" y="2026765"/>
              <a:ext cx="106445" cy="107156"/>
            </a:xfrm>
            <a:prstGeom prst="rect">
              <a:avLst/>
            </a:prstGeom>
          </p:spPr>
        </p:pic>
        <p:sp>
          <p:nvSpPr>
            <p:cNvPr id="284" name="object 282">
              <a:extLst>
                <a:ext uri="{FF2B5EF4-FFF2-40B4-BE49-F238E27FC236}">
                  <a16:creationId xmlns:a16="http://schemas.microsoft.com/office/drawing/2014/main" id="{D1987B30-AABB-ECA5-C484-B971CEA757A2}"/>
                </a:ext>
              </a:extLst>
            </p:cNvPr>
            <p:cNvSpPr/>
            <p:nvPr/>
          </p:nvSpPr>
          <p:spPr>
            <a:xfrm>
              <a:off x="8368808" y="1458591"/>
              <a:ext cx="332700" cy="477101"/>
            </a:xfrm>
            <a:custGeom>
              <a:avLst/>
              <a:gdLst/>
              <a:ahLst/>
              <a:cxnLst/>
              <a:rect l="l" t="t" r="r" b="b"/>
              <a:pathLst>
                <a:path w="548640" h="786764">
                  <a:moveTo>
                    <a:pt x="548043" y="266611"/>
                  </a:moveTo>
                  <a:lnTo>
                    <a:pt x="500367" y="270649"/>
                  </a:lnTo>
                  <a:lnTo>
                    <a:pt x="455841" y="282295"/>
                  </a:lnTo>
                  <a:lnTo>
                    <a:pt x="414616" y="300901"/>
                  </a:lnTo>
                  <a:lnTo>
                    <a:pt x="377342" y="325767"/>
                  </a:lnTo>
                  <a:lnTo>
                    <a:pt x="344716" y="356235"/>
                  </a:lnTo>
                  <a:lnTo>
                    <a:pt x="317411" y="391617"/>
                  </a:lnTo>
                  <a:lnTo>
                    <a:pt x="296087" y="431241"/>
                  </a:lnTo>
                  <a:lnTo>
                    <a:pt x="281419" y="474446"/>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26"/>
                  </a:lnTo>
                  <a:lnTo>
                    <a:pt x="225044" y="528459"/>
                  </a:lnTo>
                  <a:lnTo>
                    <a:pt x="273519" y="532828"/>
                  </a:lnTo>
                  <a:lnTo>
                    <a:pt x="274751" y="532828"/>
                  </a:lnTo>
                  <a:lnTo>
                    <a:pt x="323088" y="528472"/>
                  </a:lnTo>
                  <a:lnTo>
                    <a:pt x="368642" y="516102"/>
                  </a:lnTo>
                  <a:lnTo>
                    <a:pt x="410679" y="496468"/>
                  </a:lnTo>
                  <a:lnTo>
                    <a:pt x="448462" y="470268"/>
                  </a:lnTo>
                  <a:lnTo>
                    <a:pt x="481266" y="438251"/>
                  </a:lnTo>
                  <a:lnTo>
                    <a:pt x="508355" y="401154"/>
                  </a:lnTo>
                  <a:lnTo>
                    <a:pt x="529005" y="359689"/>
                  </a:lnTo>
                  <a:lnTo>
                    <a:pt x="542467" y="314604"/>
                  </a:lnTo>
                  <a:lnTo>
                    <a:pt x="548043" y="266611"/>
                  </a:lnTo>
                  <a:close/>
                </a:path>
                <a:path w="548640" h="786764">
                  <a:moveTo>
                    <a:pt x="548043" y="1079"/>
                  </a:moveTo>
                  <a:lnTo>
                    <a:pt x="500367" y="5105"/>
                  </a:lnTo>
                  <a:lnTo>
                    <a:pt x="455841" y="16764"/>
                  </a:lnTo>
                  <a:lnTo>
                    <a:pt x="414616" y="35369"/>
                  </a:lnTo>
                  <a:lnTo>
                    <a:pt x="377342" y="60236"/>
                  </a:lnTo>
                  <a:lnTo>
                    <a:pt x="344716"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67" y="49060"/>
                  </a:lnTo>
                  <a:lnTo>
                    <a:pt x="548043" y="1079"/>
                  </a:lnTo>
                  <a:close/>
                </a:path>
                <a:path w="548640" h="786764">
                  <a:moveTo>
                    <a:pt x="548093" y="520192"/>
                  </a:moveTo>
                  <a:lnTo>
                    <a:pt x="500367" y="524205"/>
                  </a:lnTo>
                  <a:lnTo>
                    <a:pt x="455841" y="535863"/>
                  </a:lnTo>
                  <a:lnTo>
                    <a:pt x="414616" y="554456"/>
                  </a:lnTo>
                  <a:lnTo>
                    <a:pt x="377342" y="579335"/>
                  </a:lnTo>
                  <a:lnTo>
                    <a:pt x="344716" y="609790"/>
                  </a:lnTo>
                  <a:lnTo>
                    <a:pt x="317411" y="645172"/>
                  </a:lnTo>
                  <a:lnTo>
                    <a:pt x="296087" y="684784"/>
                  </a:lnTo>
                  <a:lnTo>
                    <a:pt x="281419" y="727976"/>
                  </a:lnTo>
                  <a:lnTo>
                    <a:pt x="274091" y="774065"/>
                  </a:lnTo>
                  <a:lnTo>
                    <a:pt x="266915" y="727811"/>
                  </a:lnTo>
                  <a:lnTo>
                    <a:pt x="252361" y="684441"/>
                  </a:lnTo>
                  <a:lnTo>
                    <a:pt x="231089" y="644652"/>
                  </a:lnTo>
                  <a:lnTo>
                    <a:pt x="203796" y="609117"/>
                  </a:lnTo>
                  <a:lnTo>
                    <a:pt x="171157" y="578510"/>
                  </a:lnTo>
                  <a:lnTo>
                    <a:pt x="133845" y="553529"/>
                  </a:lnTo>
                  <a:lnTo>
                    <a:pt x="92532" y="534847"/>
                  </a:lnTo>
                  <a:lnTo>
                    <a:pt x="47917" y="523138"/>
                  </a:lnTo>
                  <a:lnTo>
                    <a:pt x="0" y="519061"/>
                  </a:lnTo>
                  <a:lnTo>
                    <a:pt x="5448" y="567245"/>
                  </a:lnTo>
                  <a:lnTo>
                    <a:pt x="18846" y="612508"/>
                  </a:lnTo>
                  <a:lnTo>
                    <a:pt x="39458" y="654138"/>
                  </a:lnTo>
                  <a:lnTo>
                    <a:pt x="66548" y="691388"/>
                  </a:lnTo>
                  <a:lnTo>
                    <a:pt x="67246" y="692073"/>
                  </a:lnTo>
                  <a:lnTo>
                    <a:pt x="99390" y="723544"/>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81266" y="691807"/>
                  </a:lnTo>
                  <a:lnTo>
                    <a:pt x="508393" y="654697"/>
                  </a:lnTo>
                  <a:lnTo>
                    <a:pt x="529043" y="613244"/>
                  </a:lnTo>
                  <a:lnTo>
                    <a:pt x="542518" y="568172"/>
                  </a:lnTo>
                  <a:lnTo>
                    <a:pt x="548093" y="520192"/>
                  </a:lnTo>
                  <a:close/>
                </a:path>
              </a:pathLst>
            </a:custGeom>
            <a:solidFill>
              <a:srgbClr val="7ED3F1"/>
            </a:solidFill>
          </p:spPr>
          <p:txBody>
            <a:bodyPr wrap="square" lIns="0" tIns="0" rIns="0" bIns="0" rtlCol="0"/>
            <a:lstStyle/>
            <a:p>
              <a:endParaRPr dirty="0"/>
            </a:p>
          </p:txBody>
        </p:sp>
        <p:pic>
          <p:nvPicPr>
            <p:cNvPr id="285" name="object 283">
              <a:extLst>
                <a:ext uri="{FF2B5EF4-FFF2-40B4-BE49-F238E27FC236}">
                  <a16:creationId xmlns:a16="http://schemas.microsoft.com/office/drawing/2014/main" id="{8E8BCC53-24BE-E3C4-9B2F-479BA517C799}"/>
                </a:ext>
              </a:extLst>
            </p:cNvPr>
            <p:cNvPicPr/>
            <p:nvPr/>
          </p:nvPicPr>
          <p:blipFill>
            <a:blip r:embed="rId6" cstate="print"/>
            <a:stretch>
              <a:fillRect/>
            </a:stretch>
          </p:blipFill>
          <p:spPr>
            <a:xfrm>
              <a:off x="8481461" y="1372599"/>
              <a:ext cx="106445" cy="107156"/>
            </a:xfrm>
            <a:prstGeom prst="rect">
              <a:avLst/>
            </a:prstGeom>
          </p:spPr>
        </p:pic>
        <p:sp>
          <p:nvSpPr>
            <p:cNvPr id="286" name="object 284">
              <a:extLst>
                <a:ext uri="{FF2B5EF4-FFF2-40B4-BE49-F238E27FC236}">
                  <a16:creationId xmlns:a16="http://schemas.microsoft.com/office/drawing/2014/main" id="{9D9897DA-134E-65E1-5526-52E61F251476}"/>
                </a:ext>
              </a:extLst>
            </p:cNvPr>
            <p:cNvSpPr/>
            <p:nvPr/>
          </p:nvSpPr>
          <p:spPr>
            <a:xfrm>
              <a:off x="8368808" y="3421088"/>
              <a:ext cx="332700" cy="477101"/>
            </a:xfrm>
            <a:custGeom>
              <a:avLst/>
              <a:gdLst/>
              <a:ahLst/>
              <a:cxnLst/>
              <a:rect l="l" t="t" r="r" b="b"/>
              <a:pathLst>
                <a:path w="548640" h="786764">
                  <a:moveTo>
                    <a:pt x="548043" y="266611"/>
                  </a:moveTo>
                  <a:lnTo>
                    <a:pt x="500367" y="270637"/>
                  </a:lnTo>
                  <a:lnTo>
                    <a:pt x="455841" y="282295"/>
                  </a:lnTo>
                  <a:lnTo>
                    <a:pt x="414616" y="300901"/>
                  </a:lnTo>
                  <a:lnTo>
                    <a:pt x="377342" y="325767"/>
                  </a:lnTo>
                  <a:lnTo>
                    <a:pt x="344716" y="356235"/>
                  </a:lnTo>
                  <a:lnTo>
                    <a:pt x="317411" y="391617"/>
                  </a:lnTo>
                  <a:lnTo>
                    <a:pt x="296087" y="431241"/>
                  </a:lnTo>
                  <a:lnTo>
                    <a:pt x="281419" y="474433"/>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55"/>
                  </a:lnTo>
                  <a:lnTo>
                    <a:pt x="481266" y="438251"/>
                  </a:lnTo>
                  <a:lnTo>
                    <a:pt x="508355" y="401142"/>
                  </a:lnTo>
                  <a:lnTo>
                    <a:pt x="529005" y="359689"/>
                  </a:lnTo>
                  <a:lnTo>
                    <a:pt x="542467" y="314591"/>
                  </a:lnTo>
                  <a:lnTo>
                    <a:pt x="548043" y="266611"/>
                  </a:lnTo>
                  <a:close/>
                </a:path>
                <a:path w="548640" h="786764">
                  <a:moveTo>
                    <a:pt x="548043" y="1079"/>
                  </a:moveTo>
                  <a:lnTo>
                    <a:pt x="500367" y="5118"/>
                  </a:lnTo>
                  <a:lnTo>
                    <a:pt x="455841" y="16764"/>
                  </a:lnTo>
                  <a:lnTo>
                    <a:pt x="414616" y="35369"/>
                  </a:lnTo>
                  <a:lnTo>
                    <a:pt x="377342" y="60236"/>
                  </a:lnTo>
                  <a:lnTo>
                    <a:pt x="344716" y="90703"/>
                  </a:lnTo>
                  <a:lnTo>
                    <a:pt x="317411" y="126085"/>
                  </a:lnTo>
                  <a:lnTo>
                    <a:pt x="296087" y="165709"/>
                  </a:lnTo>
                  <a:lnTo>
                    <a:pt x="281419" y="208915"/>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67" y="49072"/>
                  </a:lnTo>
                  <a:lnTo>
                    <a:pt x="548043" y="1079"/>
                  </a:lnTo>
                  <a:close/>
                </a:path>
                <a:path w="548640" h="786764">
                  <a:moveTo>
                    <a:pt x="548093" y="520192"/>
                  </a:moveTo>
                  <a:lnTo>
                    <a:pt x="500367" y="524217"/>
                  </a:lnTo>
                  <a:lnTo>
                    <a:pt x="455841" y="535863"/>
                  </a:lnTo>
                  <a:lnTo>
                    <a:pt x="414616" y="554469"/>
                  </a:lnTo>
                  <a:lnTo>
                    <a:pt x="377342" y="579335"/>
                  </a:lnTo>
                  <a:lnTo>
                    <a:pt x="344716" y="609790"/>
                  </a:lnTo>
                  <a:lnTo>
                    <a:pt x="317411" y="645172"/>
                  </a:lnTo>
                  <a:lnTo>
                    <a:pt x="296087" y="684784"/>
                  </a:lnTo>
                  <a:lnTo>
                    <a:pt x="281419" y="727976"/>
                  </a:lnTo>
                  <a:lnTo>
                    <a:pt x="274091" y="774065"/>
                  </a:lnTo>
                  <a:lnTo>
                    <a:pt x="266915" y="727811"/>
                  </a:lnTo>
                  <a:lnTo>
                    <a:pt x="252361" y="684441"/>
                  </a:lnTo>
                  <a:lnTo>
                    <a:pt x="231089" y="644652"/>
                  </a:lnTo>
                  <a:lnTo>
                    <a:pt x="203796" y="609117"/>
                  </a:lnTo>
                  <a:lnTo>
                    <a:pt x="171157" y="578510"/>
                  </a:lnTo>
                  <a:lnTo>
                    <a:pt x="133845" y="553529"/>
                  </a:lnTo>
                  <a:lnTo>
                    <a:pt x="92532" y="534847"/>
                  </a:lnTo>
                  <a:lnTo>
                    <a:pt x="47917" y="523138"/>
                  </a:lnTo>
                  <a:lnTo>
                    <a:pt x="0" y="519061"/>
                  </a:lnTo>
                  <a:lnTo>
                    <a:pt x="5448" y="567245"/>
                  </a:lnTo>
                  <a:lnTo>
                    <a:pt x="18846" y="612508"/>
                  </a:lnTo>
                  <a:lnTo>
                    <a:pt x="39458" y="654138"/>
                  </a:lnTo>
                  <a:lnTo>
                    <a:pt x="66548" y="691388"/>
                  </a:lnTo>
                  <a:lnTo>
                    <a:pt x="99402" y="723544"/>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79691" y="693356"/>
                  </a:lnTo>
                  <a:lnTo>
                    <a:pt x="481266" y="691819"/>
                  </a:lnTo>
                  <a:lnTo>
                    <a:pt x="508393" y="654697"/>
                  </a:lnTo>
                  <a:lnTo>
                    <a:pt x="529043" y="613244"/>
                  </a:lnTo>
                  <a:lnTo>
                    <a:pt x="542518" y="568172"/>
                  </a:lnTo>
                  <a:lnTo>
                    <a:pt x="548093" y="520192"/>
                  </a:lnTo>
                  <a:close/>
                </a:path>
              </a:pathLst>
            </a:custGeom>
            <a:solidFill>
              <a:srgbClr val="2DB7EA"/>
            </a:solidFill>
          </p:spPr>
          <p:txBody>
            <a:bodyPr wrap="square" lIns="0" tIns="0" rIns="0" bIns="0" rtlCol="0"/>
            <a:lstStyle/>
            <a:p>
              <a:endParaRPr dirty="0"/>
            </a:p>
          </p:txBody>
        </p:sp>
        <p:pic>
          <p:nvPicPr>
            <p:cNvPr id="287" name="object 285">
              <a:extLst>
                <a:ext uri="{FF2B5EF4-FFF2-40B4-BE49-F238E27FC236}">
                  <a16:creationId xmlns:a16="http://schemas.microsoft.com/office/drawing/2014/main" id="{2758AC9A-1D3A-0C2D-8330-C8FABA6BEBE4}"/>
                </a:ext>
              </a:extLst>
            </p:cNvPr>
            <p:cNvPicPr/>
            <p:nvPr/>
          </p:nvPicPr>
          <p:blipFill>
            <a:blip r:embed="rId5" cstate="print"/>
            <a:stretch>
              <a:fillRect/>
            </a:stretch>
          </p:blipFill>
          <p:spPr>
            <a:xfrm>
              <a:off x="8481461" y="3335097"/>
              <a:ext cx="106445" cy="107156"/>
            </a:xfrm>
            <a:prstGeom prst="rect">
              <a:avLst/>
            </a:prstGeom>
          </p:spPr>
        </p:pic>
        <p:sp>
          <p:nvSpPr>
            <p:cNvPr id="288" name="object 286">
              <a:extLst>
                <a:ext uri="{FF2B5EF4-FFF2-40B4-BE49-F238E27FC236}">
                  <a16:creationId xmlns:a16="http://schemas.microsoft.com/office/drawing/2014/main" id="{344A8D42-E085-DB18-557C-A4CC6C801D2F}"/>
                </a:ext>
              </a:extLst>
            </p:cNvPr>
            <p:cNvSpPr/>
            <p:nvPr/>
          </p:nvSpPr>
          <p:spPr>
            <a:xfrm>
              <a:off x="8368808" y="2766918"/>
              <a:ext cx="332700" cy="477101"/>
            </a:xfrm>
            <a:custGeom>
              <a:avLst/>
              <a:gdLst/>
              <a:ahLst/>
              <a:cxnLst/>
              <a:rect l="l" t="t" r="r" b="b"/>
              <a:pathLst>
                <a:path w="548640" h="786764">
                  <a:moveTo>
                    <a:pt x="548043" y="266611"/>
                  </a:moveTo>
                  <a:lnTo>
                    <a:pt x="500367" y="270649"/>
                  </a:lnTo>
                  <a:lnTo>
                    <a:pt x="455841" y="282308"/>
                  </a:lnTo>
                  <a:lnTo>
                    <a:pt x="414616" y="300901"/>
                  </a:lnTo>
                  <a:lnTo>
                    <a:pt x="377342" y="325780"/>
                  </a:lnTo>
                  <a:lnTo>
                    <a:pt x="344716"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74" y="516039"/>
                  </a:lnTo>
                  <a:lnTo>
                    <a:pt x="225044" y="528459"/>
                  </a:lnTo>
                  <a:lnTo>
                    <a:pt x="273519" y="532841"/>
                  </a:lnTo>
                  <a:lnTo>
                    <a:pt x="274751" y="532841"/>
                  </a:lnTo>
                  <a:lnTo>
                    <a:pt x="323088" y="528485"/>
                  </a:lnTo>
                  <a:lnTo>
                    <a:pt x="368642" y="516115"/>
                  </a:lnTo>
                  <a:lnTo>
                    <a:pt x="410679" y="496468"/>
                  </a:lnTo>
                  <a:lnTo>
                    <a:pt x="448462" y="470268"/>
                  </a:lnTo>
                  <a:lnTo>
                    <a:pt x="481266" y="438264"/>
                  </a:lnTo>
                  <a:lnTo>
                    <a:pt x="508355" y="401154"/>
                  </a:lnTo>
                  <a:lnTo>
                    <a:pt x="529005" y="359689"/>
                  </a:lnTo>
                  <a:lnTo>
                    <a:pt x="542467" y="314604"/>
                  </a:lnTo>
                  <a:lnTo>
                    <a:pt x="548043" y="266611"/>
                  </a:lnTo>
                  <a:close/>
                </a:path>
                <a:path w="548640" h="786764">
                  <a:moveTo>
                    <a:pt x="548043" y="1079"/>
                  </a:moveTo>
                  <a:lnTo>
                    <a:pt x="500367" y="5118"/>
                  </a:lnTo>
                  <a:lnTo>
                    <a:pt x="455841" y="16776"/>
                  </a:lnTo>
                  <a:lnTo>
                    <a:pt x="414616" y="35369"/>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49"/>
                  </a:lnTo>
                  <a:lnTo>
                    <a:pt x="481266" y="172732"/>
                  </a:lnTo>
                  <a:lnTo>
                    <a:pt x="508355" y="135623"/>
                  </a:lnTo>
                  <a:lnTo>
                    <a:pt x="529005" y="94157"/>
                  </a:lnTo>
                  <a:lnTo>
                    <a:pt x="542467" y="49072"/>
                  </a:lnTo>
                  <a:lnTo>
                    <a:pt x="548043" y="1079"/>
                  </a:lnTo>
                  <a:close/>
                </a:path>
                <a:path w="548640" h="786764">
                  <a:moveTo>
                    <a:pt x="548093" y="520204"/>
                  </a:moveTo>
                  <a:lnTo>
                    <a:pt x="500367" y="524205"/>
                  </a:lnTo>
                  <a:lnTo>
                    <a:pt x="455841" y="535863"/>
                  </a:lnTo>
                  <a:lnTo>
                    <a:pt x="414616" y="554469"/>
                  </a:lnTo>
                  <a:lnTo>
                    <a:pt x="377342" y="579335"/>
                  </a:lnTo>
                  <a:lnTo>
                    <a:pt x="344716" y="609803"/>
                  </a:lnTo>
                  <a:lnTo>
                    <a:pt x="317411" y="645172"/>
                  </a:lnTo>
                  <a:lnTo>
                    <a:pt x="296087" y="684796"/>
                  </a:lnTo>
                  <a:lnTo>
                    <a:pt x="281419" y="727989"/>
                  </a:lnTo>
                  <a:lnTo>
                    <a:pt x="274091" y="774065"/>
                  </a:lnTo>
                  <a:lnTo>
                    <a:pt x="266915" y="727824"/>
                  </a:lnTo>
                  <a:lnTo>
                    <a:pt x="252361" y="684453"/>
                  </a:lnTo>
                  <a:lnTo>
                    <a:pt x="231089"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51"/>
                  </a:lnTo>
                  <a:lnTo>
                    <a:pt x="66548" y="691400"/>
                  </a:lnTo>
                  <a:lnTo>
                    <a:pt x="98704" y="72288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7ED3F1"/>
            </a:solidFill>
          </p:spPr>
          <p:txBody>
            <a:bodyPr wrap="square" lIns="0" tIns="0" rIns="0" bIns="0" rtlCol="0"/>
            <a:lstStyle/>
            <a:p>
              <a:endParaRPr dirty="0"/>
            </a:p>
          </p:txBody>
        </p:sp>
        <p:pic>
          <p:nvPicPr>
            <p:cNvPr id="289" name="object 287">
              <a:extLst>
                <a:ext uri="{FF2B5EF4-FFF2-40B4-BE49-F238E27FC236}">
                  <a16:creationId xmlns:a16="http://schemas.microsoft.com/office/drawing/2014/main" id="{347AA3BB-64B2-FF52-9E8D-C334892F6142}"/>
                </a:ext>
              </a:extLst>
            </p:cNvPr>
            <p:cNvPicPr/>
            <p:nvPr/>
          </p:nvPicPr>
          <p:blipFill>
            <a:blip r:embed="rId6" cstate="print"/>
            <a:stretch>
              <a:fillRect/>
            </a:stretch>
          </p:blipFill>
          <p:spPr>
            <a:xfrm>
              <a:off x="8481461" y="2680931"/>
              <a:ext cx="106445" cy="107156"/>
            </a:xfrm>
            <a:prstGeom prst="rect">
              <a:avLst/>
            </a:prstGeom>
          </p:spPr>
        </p:pic>
        <p:sp>
          <p:nvSpPr>
            <p:cNvPr id="290" name="object 288">
              <a:extLst>
                <a:ext uri="{FF2B5EF4-FFF2-40B4-BE49-F238E27FC236}">
                  <a16:creationId xmlns:a16="http://schemas.microsoft.com/office/drawing/2014/main" id="{83F4429B-8BD9-71DD-8603-49D7D9D5E9F1}"/>
                </a:ext>
              </a:extLst>
            </p:cNvPr>
            <p:cNvSpPr/>
            <p:nvPr/>
          </p:nvSpPr>
          <p:spPr>
            <a:xfrm>
              <a:off x="8368808" y="4729423"/>
              <a:ext cx="332700" cy="477101"/>
            </a:xfrm>
            <a:custGeom>
              <a:avLst/>
              <a:gdLst/>
              <a:ahLst/>
              <a:cxnLst/>
              <a:rect l="l" t="t" r="r" b="b"/>
              <a:pathLst>
                <a:path w="548640" h="786765">
                  <a:moveTo>
                    <a:pt x="548043" y="266611"/>
                  </a:moveTo>
                  <a:lnTo>
                    <a:pt x="500367" y="270649"/>
                  </a:lnTo>
                  <a:lnTo>
                    <a:pt x="455841" y="282308"/>
                  </a:lnTo>
                  <a:lnTo>
                    <a:pt x="414616" y="300901"/>
                  </a:lnTo>
                  <a:lnTo>
                    <a:pt x="377342" y="325767"/>
                  </a:lnTo>
                  <a:lnTo>
                    <a:pt x="344716" y="356235"/>
                  </a:lnTo>
                  <a:lnTo>
                    <a:pt x="317411" y="391617"/>
                  </a:lnTo>
                  <a:lnTo>
                    <a:pt x="296087" y="431241"/>
                  </a:lnTo>
                  <a:lnTo>
                    <a:pt x="281419" y="474433"/>
                  </a:lnTo>
                  <a:lnTo>
                    <a:pt x="274091" y="520522"/>
                  </a:lnTo>
                  <a:lnTo>
                    <a:pt x="266915" y="474243"/>
                  </a:lnTo>
                  <a:lnTo>
                    <a:pt x="252361" y="430872"/>
                  </a:lnTo>
                  <a:lnTo>
                    <a:pt x="231089" y="391083"/>
                  </a:lnTo>
                  <a:lnTo>
                    <a:pt x="203796" y="355549"/>
                  </a:lnTo>
                  <a:lnTo>
                    <a:pt x="171157" y="324954"/>
                  </a:lnTo>
                  <a:lnTo>
                    <a:pt x="133845" y="299974"/>
                  </a:lnTo>
                  <a:lnTo>
                    <a:pt x="92532" y="281292"/>
                  </a:lnTo>
                  <a:lnTo>
                    <a:pt x="47917" y="269582"/>
                  </a:lnTo>
                  <a:lnTo>
                    <a:pt x="0" y="265518"/>
                  </a:lnTo>
                  <a:lnTo>
                    <a:pt x="5448" y="313690"/>
                  </a:lnTo>
                  <a:lnTo>
                    <a:pt x="18846" y="358952"/>
                  </a:lnTo>
                  <a:lnTo>
                    <a:pt x="39458" y="400570"/>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54"/>
                  </a:lnTo>
                  <a:lnTo>
                    <a:pt x="529005" y="359689"/>
                  </a:lnTo>
                  <a:lnTo>
                    <a:pt x="542467" y="314604"/>
                  </a:lnTo>
                  <a:lnTo>
                    <a:pt x="548043" y="266611"/>
                  </a:lnTo>
                  <a:close/>
                </a:path>
                <a:path w="548640" h="786765">
                  <a:moveTo>
                    <a:pt x="548043" y="1079"/>
                  </a:moveTo>
                  <a:lnTo>
                    <a:pt x="500367" y="5105"/>
                  </a:lnTo>
                  <a:lnTo>
                    <a:pt x="455841" y="16764"/>
                  </a:lnTo>
                  <a:lnTo>
                    <a:pt x="414616" y="35369"/>
                  </a:lnTo>
                  <a:lnTo>
                    <a:pt x="377342" y="60236"/>
                  </a:lnTo>
                  <a:lnTo>
                    <a:pt x="344716"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39"/>
                  </a:lnTo>
                  <a:lnTo>
                    <a:pt x="66560" y="172300"/>
                  </a:lnTo>
                  <a:lnTo>
                    <a:pt x="99402" y="204444"/>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24"/>
                  </a:lnTo>
                  <a:lnTo>
                    <a:pt x="481266" y="172720"/>
                  </a:lnTo>
                  <a:lnTo>
                    <a:pt x="508355" y="135610"/>
                  </a:lnTo>
                  <a:lnTo>
                    <a:pt x="529005" y="94157"/>
                  </a:lnTo>
                  <a:lnTo>
                    <a:pt x="542467" y="49060"/>
                  </a:lnTo>
                  <a:lnTo>
                    <a:pt x="548043" y="1079"/>
                  </a:lnTo>
                  <a:close/>
                </a:path>
                <a:path w="548640" h="786765">
                  <a:moveTo>
                    <a:pt x="548093" y="520192"/>
                  </a:moveTo>
                  <a:lnTo>
                    <a:pt x="500367" y="524205"/>
                  </a:lnTo>
                  <a:lnTo>
                    <a:pt x="455841" y="535863"/>
                  </a:lnTo>
                  <a:lnTo>
                    <a:pt x="414616" y="554469"/>
                  </a:lnTo>
                  <a:lnTo>
                    <a:pt x="377342" y="579335"/>
                  </a:lnTo>
                  <a:lnTo>
                    <a:pt x="344716" y="609790"/>
                  </a:lnTo>
                  <a:lnTo>
                    <a:pt x="317411" y="645160"/>
                  </a:lnTo>
                  <a:lnTo>
                    <a:pt x="296087" y="684784"/>
                  </a:lnTo>
                  <a:lnTo>
                    <a:pt x="281419" y="727976"/>
                  </a:lnTo>
                  <a:lnTo>
                    <a:pt x="274091" y="774065"/>
                  </a:lnTo>
                  <a:lnTo>
                    <a:pt x="266915" y="727811"/>
                  </a:lnTo>
                  <a:lnTo>
                    <a:pt x="252361" y="684441"/>
                  </a:lnTo>
                  <a:lnTo>
                    <a:pt x="231089" y="644639"/>
                  </a:lnTo>
                  <a:lnTo>
                    <a:pt x="203796" y="609104"/>
                  </a:lnTo>
                  <a:lnTo>
                    <a:pt x="171157" y="578510"/>
                  </a:lnTo>
                  <a:lnTo>
                    <a:pt x="133845" y="553529"/>
                  </a:lnTo>
                  <a:lnTo>
                    <a:pt x="92532" y="534847"/>
                  </a:lnTo>
                  <a:lnTo>
                    <a:pt x="47917" y="523113"/>
                  </a:lnTo>
                  <a:lnTo>
                    <a:pt x="0" y="519061"/>
                  </a:lnTo>
                  <a:lnTo>
                    <a:pt x="5448" y="567245"/>
                  </a:lnTo>
                  <a:lnTo>
                    <a:pt x="18846" y="612508"/>
                  </a:lnTo>
                  <a:lnTo>
                    <a:pt x="39458" y="654138"/>
                  </a:lnTo>
                  <a:lnTo>
                    <a:pt x="66548" y="691388"/>
                  </a:lnTo>
                  <a:lnTo>
                    <a:pt x="98704" y="722871"/>
                  </a:lnTo>
                  <a:lnTo>
                    <a:pt x="137248" y="749858"/>
                  </a:lnTo>
                  <a:lnTo>
                    <a:pt x="179374" y="769581"/>
                  </a:lnTo>
                  <a:lnTo>
                    <a:pt x="225044" y="782015"/>
                  </a:lnTo>
                  <a:lnTo>
                    <a:pt x="273519" y="786384"/>
                  </a:lnTo>
                  <a:lnTo>
                    <a:pt x="274751" y="786384"/>
                  </a:lnTo>
                  <a:lnTo>
                    <a:pt x="323088" y="782027"/>
                  </a:lnTo>
                  <a:lnTo>
                    <a:pt x="368642" y="769670"/>
                  </a:lnTo>
                  <a:lnTo>
                    <a:pt x="410679" y="750023"/>
                  </a:lnTo>
                  <a:lnTo>
                    <a:pt x="448462" y="723823"/>
                  </a:lnTo>
                  <a:lnTo>
                    <a:pt x="481266" y="691807"/>
                  </a:lnTo>
                  <a:lnTo>
                    <a:pt x="508393" y="654697"/>
                  </a:lnTo>
                  <a:lnTo>
                    <a:pt x="529043" y="613244"/>
                  </a:lnTo>
                  <a:lnTo>
                    <a:pt x="542518" y="568172"/>
                  </a:lnTo>
                  <a:lnTo>
                    <a:pt x="548093" y="520192"/>
                  </a:lnTo>
                  <a:close/>
                </a:path>
              </a:pathLst>
            </a:custGeom>
            <a:solidFill>
              <a:srgbClr val="2DB7EA"/>
            </a:solidFill>
          </p:spPr>
          <p:txBody>
            <a:bodyPr wrap="square" lIns="0" tIns="0" rIns="0" bIns="0" rtlCol="0"/>
            <a:lstStyle/>
            <a:p>
              <a:endParaRPr dirty="0"/>
            </a:p>
          </p:txBody>
        </p:sp>
        <p:pic>
          <p:nvPicPr>
            <p:cNvPr id="291" name="object 289">
              <a:extLst>
                <a:ext uri="{FF2B5EF4-FFF2-40B4-BE49-F238E27FC236}">
                  <a16:creationId xmlns:a16="http://schemas.microsoft.com/office/drawing/2014/main" id="{6EC03D42-1888-45E2-323F-1594DE7AE2F4}"/>
                </a:ext>
              </a:extLst>
            </p:cNvPr>
            <p:cNvPicPr/>
            <p:nvPr/>
          </p:nvPicPr>
          <p:blipFill>
            <a:blip r:embed="rId5" cstate="print"/>
            <a:stretch>
              <a:fillRect/>
            </a:stretch>
          </p:blipFill>
          <p:spPr>
            <a:xfrm>
              <a:off x="8481461" y="4643430"/>
              <a:ext cx="106445" cy="107156"/>
            </a:xfrm>
            <a:prstGeom prst="rect">
              <a:avLst/>
            </a:prstGeom>
          </p:spPr>
        </p:pic>
        <p:sp>
          <p:nvSpPr>
            <p:cNvPr id="292" name="object 290">
              <a:extLst>
                <a:ext uri="{FF2B5EF4-FFF2-40B4-BE49-F238E27FC236}">
                  <a16:creationId xmlns:a16="http://schemas.microsoft.com/office/drawing/2014/main" id="{5463A671-04D3-9769-7F89-5441629FF265}"/>
                </a:ext>
              </a:extLst>
            </p:cNvPr>
            <p:cNvSpPr/>
            <p:nvPr/>
          </p:nvSpPr>
          <p:spPr>
            <a:xfrm>
              <a:off x="8368808" y="4075252"/>
              <a:ext cx="332700" cy="477101"/>
            </a:xfrm>
            <a:custGeom>
              <a:avLst/>
              <a:gdLst/>
              <a:ahLst/>
              <a:cxnLst/>
              <a:rect l="l" t="t" r="r" b="b"/>
              <a:pathLst>
                <a:path w="548640" h="786765">
                  <a:moveTo>
                    <a:pt x="548043" y="266623"/>
                  </a:moveTo>
                  <a:lnTo>
                    <a:pt x="500367" y="270662"/>
                  </a:lnTo>
                  <a:lnTo>
                    <a:pt x="455841" y="282308"/>
                  </a:lnTo>
                  <a:lnTo>
                    <a:pt x="414616" y="300913"/>
                  </a:lnTo>
                  <a:lnTo>
                    <a:pt x="377342" y="325780"/>
                  </a:lnTo>
                  <a:lnTo>
                    <a:pt x="344716"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39"/>
                  </a:lnTo>
                  <a:lnTo>
                    <a:pt x="225044" y="528459"/>
                  </a:lnTo>
                  <a:lnTo>
                    <a:pt x="273519" y="532828"/>
                  </a:lnTo>
                  <a:lnTo>
                    <a:pt x="274751" y="532828"/>
                  </a:lnTo>
                  <a:lnTo>
                    <a:pt x="323088" y="528472"/>
                  </a:lnTo>
                  <a:lnTo>
                    <a:pt x="368642" y="516115"/>
                  </a:lnTo>
                  <a:lnTo>
                    <a:pt x="410679" y="496468"/>
                  </a:lnTo>
                  <a:lnTo>
                    <a:pt x="448462" y="470268"/>
                  </a:lnTo>
                  <a:lnTo>
                    <a:pt x="481266" y="438264"/>
                  </a:lnTo>
                  <a:lnTo>
                    <a:pt x="508355" y="401154"/>
                  </a:lnTo>
                  <a:lnTo>
                    <a:pt x="529005" y="359702"/>
                  </a:lnTo>
                  <a:lnTo>
                    <a:pt x="542467" y="314604"/>
                  </a:lnTo>
                  <a:lnTo>
                    <a:pt x="548043" y="266623"/>
                  </a:lnTo>
                  <a:close/>
                </a:path>
                <a:path w="548640" h="786765">
                  <a:moveTo>
                    <a:pt x="548043" y="1092"/>
                  </a:moveTo>
                  <a:lnTo>
                    <a:pt x="500367" y="5130"/>
                  </a:lnTo>
                  <a:lnTo>
                    <a:pt x="455841" y="16776"/>
                  </a:lnTo>
                  <a:lnTo>
                    <a:pt x="414616" y="35382"/>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60"/>
                  </a:lnTo>
                  <a:lnTo>
                    <a:pt x="47917" y="4051"/>
                  </a:lnTo>
                  <a:lnTo>
                    <a:pt x="0" y="0"/>
                  </a:lnTo>
                  <a:lnTo>
                    <a:pt x="5448" y="48158"/>
                  </a:lnTo>
                  <a:lnTo>
                    <a:pt x="18846" y="93421"/>
                  </a:lnTo>
                  <a:lnTo>
                    <a:pt x="39458" y="135051"/>
                  </a:lnTo>
                  <a:lnTo>
                    <a:pt x="66560" y="172300"/>
                  </a:lnTo>
                  <a:lnTo>
                    <a:pt x="99402" y="204457"/>
                  </a:lnTo>
                  <a:lnTo>
                    <a:pt x="137248" y="230771"/>
                  </a:lnTo>
                  <a:lnTo>
                    <a:pt x="179374" y="250494"/>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70"/>
                  </a:lnTo>
                  <a:lnTo>
                    <a:pt x="542467" y="49072"/>
                  </a:lnTo>
                  <a:lnTo>
                    <a:pt x="548043" y="1092"/>
                  </a:lnTo>
                  <a:close/>
                </a:path>
                <a:path w="548640" h="786765">
                  <a:moveTo>
                    <a:pt x="548093" y="520204"/>
                  </a:moveTo>
                  <a:lnTo>
                    <a:pt x="500367" y="524217"/>
                  </a:lnTo>
                  <a:lnTo>
                    <a:pt x="455841" y="535876"/>
                  </a:lnTo>
                  <a:lnTo>
                    <a:pt x="414616" y="554469"/>
                  </a:lnTo>
                  <a:lnTo>
                    <a:pt x="377342" y="579335"/>
                  </a:lnTo>
                  <a:lnTo>
                    <a:pt x="344716" y="609803"/>
                  </a:lnTo>
                  <a:lnTo>
                    <a:pt x="317411" y="645172"/>
                  </a:lnTo>
                  <a:lnTo>
                    <a:pt x="296087" y="684796"/>
                  </a:lnTo>
                  <a:lnTo>
                    <a:pt x="281419" y="727976"/>
                  </a:lnTo>
                  <a:lnTo>
                    <a:pt x="274091" y="774065"/>
                  </a:lnTo>
                  <a:lnTo>
                    <a:pt x="266915" y="727824"/>
                  </a:lnTo>
                  <a:lnTo>
                    <a:pt x="252361" y="684441"/>
                  </a:lnTo>
                  <a:lnTo>
                    <a:pt x="231089"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38"/>
                  </a:lnTo>
                  <a:lnTo>
                    <a:pt x="66548" y="691388"/>
                  </a:lnTo>
                  <a:lnTo>
                    <a:pt x="99402" y="723557"/>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7ED3F1"/>
            </a:solidFill>
          </p:spPr>
          <p:txBody>
            <a:bodyPr wrap="square" lIns="0" tIns="0" rIns="0" bIns="0" rtlCol="0"/>
            <a:lstStyle/>
            <a:p>
              <a:endParaRPr dirty="0"/>
            </a:p>
          </p:txBody>
        </p:sp>
        <p:pic>
          <p:nvPicPr>
            <p:cNvPr id="293" name="object 291">
              <a:extLst>
                <a:ext uri="{FF2B5EF4-FFF2-40B4-BE49-F238E27FC236}">
                  <a16:creationId xmlns:a16="http://schemas.microsoft.com/office/drawing/2014/main" id="{B6FED186-A52A-577E-5971-907C6F967EC4}"/>
                </a:ext>
              </a:extLst>
            </p:cNvPr>
            <p:cNvPicPr/>
            <p:nvPr/>
          </p:nvPicPr>
          <p:blipFill>
            <a:blip r:embed="rId6" cstate="print"/>
            <a:stretch>
              <a:fillRect/>
            </a:stretch>
          </p:blipFill>
          <p:spPr>
            <a:xfrm>
              <a:off x="8481461" y="3989263"/>
              <a:ext cx="106445" cy="107156"/>
            </a:xfrm>
            <a:prstGeom prst="rect">
              <a:avLst/>
            </a:prstGeom>
          </p:spPr>
        </p:pic>
        <p:sp>
          <p:nvSpPr>
            <p:cNvPr id="294" name="object 292">
              <a:extLst>
                <a:ext uri="{FF2B5EF4-FFF2-40B4-BE49-F238E27FC236}">
                  <a16:creationId xmlns:a16="http://schemas.microsoft.com/office/drawing/2014/main" id="{841C56D7-6724-4114-0A34-A6C3E9C59C43}"/>
                </a:ext>
              </a:extLst>
            </p:cNvPr>
            <p:cNvSpPr/>
            <p:nvPr/>
          </p:nvSpPr>
          <p:spPr>
            <a:xfrm>
              <a:off x="7983731" y="3862863"/>
              <a:ext cx="332700" cy="477101"/>
            </a:xfrm>
            <a:custGeom>
              <a:avLst/>
              <a:gdLst/>
              <a:ahLst/>
              <a:cxnLst/>
              <a:rect l="l" t="t" r="r" b="b"/>
              <a:pathLst>
                <a:path w="548640" h="786765">
                  <a:moveTo>
                    <a:pt x="548068" y="786396"/>
                  </a:moveTo>
                  <a:lnTo>
                    <a:pt x="542632" y="738238"/>
                  </a:lnTo>
                  <a:lnTo>
                    <a:pt x="529234" y="692975"/>
                  </a:lnTo>
                  <a:lnTo>
                    <a:pt x="508609" y="651344"/>
                  </a:lnTo>
                  <a:lnTo>
                    <a:pt x="481520" y="614083"/>
                  </a:lnTo>
                  <a:lnTo>
                    <a:pt x="448678" y="581939"/>
                  </a:lnTo>
                  <a:lnTo>
                    <a:pt x="410819" y="555625"/>
                  </a:lnTo>
                  <a:lnTo>
                    <a:pt x="368693" y="535889"/>
                  </a:lnTo>
                  <a:lnTo>
                    <a:pt x="323024" y="523468"/>
                  </a:lnTo>
                  <a:lnTo>
                    <a:pt x="274548" y="519099"/>
                  </a:lnTo>
                  <a:lnTo>
                    <a:pt x="273329" y="519099"/>
                  </a:lnTo>
                  <a:lnTo>
                    <a:pt x="224980" y="523455"/>
                  </a:lnTo>
                  <a:lnTo>
                    <a:pt x="179438" y="535813"/>
                  </a:lnTo>
                  <a:lnTo>
                    <a:pt x="137401" y="555459"/>
                  </a:lnTo>
                  <a:lnTo>
                    <a:pt x="99618" y="581660"/>
                  </a:lnTo>
                  <a:lnTo>
                    <a:pt x="66814" y="613664"/>
                  </a:lnTo>
                  <a:lnTo>
                    <a:pt x="39725" y="650773"/>
                  </a:lnTo>
                  <a:lnTo>
                    <a:pt x="19075" y="692226"/>
                  </a:lnTo>
                  <a:lnTo>
                    <a:pt x="5600" y="737323"/>
                  </a:lnTo>
                  <a:lnTo>
                    <a:pt x="38" y="785304"/>
                  </a:lnTo>
                  <a:lnTo>
                    <a:pt x="47713" y="781265"/>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72"/>
                  </a:lnTo>
                  <a:lnTo>
                    <a:pt x="295719" y="621042"/>
                  </a:lnTo>
                  <a:lnTo>
                    <a:pt x="316979" y="660831"/>
                  </a:lnTo>
                  <a:lnTo>
                    <a:pt x="344271" y="696366"/>
                  </a:lnTo>
                  <a:lnTo>
                    <a:pt x="376923" y="726973"/>
                  </a:lnTo>
                  <a:lnTo>
                    <a:pt x="414235" y="751954"/>
                  </a:lnTo>
                  <a:lnTo>
                    <a:pt x="455536" y="770636"/>
                  </a:lnTo>
                  <a:lnTo>
                    <a:pt x="500164" y="782345"/>
                  </a:lnTo>
                  <a:lnTo>
                    <a:pt x="548068" y="786396"/>
                  </a:lnTo>
                  <a:close/>
                </a:path>
                <a:path w="548640" h="786765">
                  <a:moveTo>
                    <a:pt x="548068" y="520865"/>
                  </a:moveTo>
                  <a:lnTo>
                    <a:pt x="542632" y="472706"/>
                  </a:lnTo>
                  <a:lnTo>
                    <a:pt x="529234" y="427443"/>
                  </a:lnTo>
                  <a:lnTo>
                    <a:pt x="508609" y="385813"/>
                  </a:lnTo>
                  <a:lnTo>
                    <a:pt x="481520" y="348564"/>
                  </a:lnTo>
                  <a:lnTo>
                    <a:pt x="448678" y="316407"/>
                  </a:lnTo>
                  <a:lnTo>
                    <a:pt x="410819" y="290106"/>
                  </a:lnTo>
                  <a:lnTo>
                    <a:pt x="368693" y="270370"/>
                  </a:lnTo>
                  <a:lnTo>
                    <a:pt x="323024" y="257949"/>
                  </a:lnTo>
                  <a:lnTo>
                    <a:pt x="274548" y="253568"/>
                  </a:lnTo>
                  <a:lnTo>
                    <a:pt x="273329" y="253568"/>
                  </a:lnTo>
                  <a:lnTo>
                    <a:pt x="224980" y="257924"/>
                  </a:lnTo>
                  <a:lnTo>
                    <a:pt x="179438" y="270294"/>
                  </a:lnTo>
                  <a:lnTo>
                    <a:pt x="137401" y="289941"/>
                  </a:lnTo>
                  <a:lnTo>
                    <a:pt x="99618" y="316128"/>
                  </a:lnTo>
                  <a:lnTo>
                    <a:pt x="66814" y="348145"/>
                  </a:lnTo>
                  <a:lnTo>
                    <a:pt x="39725" y="385241"/>
                  </a:lnTo>
                  <a:lnTo>
                    <a:pt x="19075" y="426707"/>
                  </a:lnTo>
                  <a:lnTo>
                    <a:pt x="5600" y="471792"/>
                  </a:lnTo>
                  <a:lnTo>
                    <a:pt x="38" y="519785"/>
                  </a:lnTo>
                  <a:lnTo>
                    <a:pt x="47713" y="515747"/>
                  </a:lnTo>
                  <a:lnTo>
                    <a:pt x="92227" y="504101"/>
                  </a:lnTo>
                  <a:lnTo>
                    <a:pt x="133464" y="485495"/>
                  </a:lnTo>
                  <a:lnTo>
                    <a:pt x="170726" y="460629"/>
                  </a:lnTo>
                  <a:lnTo>
                    <a:pt x="203352" y="430161"/>
                  </a:lnTo>
                  <a:lnTo>
                    <a:pt x="230670" y="394779"/>
                  </a:lnTo>
                  <a:lnTo>
                    <a:pt x="251993" y="355142"/>
                  </a:lnTo>
                  <a:lnTo>
                    <a:pt x="266649" y="311950"/>
                  </a:lnTo>
                  <a:lnTo>
                    <a:pt x="273989" y="265874"/>
                  </a:lnTo>
                  <a:lnTo>
                    <a:pt x="281165" y="312140"/>
                  </a:lnTo>
                  <a:lnTo>
                    <a:pt x="295719" y="355511"/>
                  </a:lnTo>
                  <a:lnTo>
                    <a:pt x="316979" y="395300"/>
                  </a:lnTo>
                  <a:lnTo>
                    <a:pt x="344271" y="430847"/>
                  </a:lnTo>
                  <a:lnTo>
                    <a:pt x="376923" y="461441"/>
                  </a:lnTo>
                  <a:lnTo>
                    <a:pt x="414235" y="486422"/>
                  </a:lnTo>
                  <a:lnTo>
                    <a:pt x="455536" y="505104"/>
                  </a:lnTo>
                  <a:lnTo>
                    <a:pt x="500164" y="516813"/>
                  </a:lnTo>
                  <a:lnTo>
                    <a:pt x="548068" y="520865"/>
                  </a:lnTo>
                  <a:close/>
                </a:path>
                <a:path w="548640" h="786765">
                  <a:moveTo>
                    <a:pt x="548081" y="267322"/>
                  </a:moveTo>
                  <a:lnTo>
                    <a:pt x="543242" y="224586"/>
                  </a:lnTo>
                  <a:lnTo>
                    <a:pt x="542632" y="219151"/>
                  </a:lnTo>
                  <a:lnTo>
                    <a:pt x="529234" y="173888"/>
                  </a:lnTo>
                  <a:lnTo>
                    <a:pt x="522401" y="160096"/>
                  </a:lnTo>
                  <a:lnTo>
                    <a:pt x="508622" y="132257"/>
                  </a:lnTo>
                  <a:lnTo>
                    <a:pt x="481533" y="95008"/>
                  </a:lnTo>
                  <a:lnTo>
                    <a:pt x="480834" y="94335"/>
                  </a:lnTo>
                  <a:lnTo>
                    <a:pt x="448691" y="62852"/>
                  </a:lnTo>
                  <a:lnTo>
                    <a:pt x="422376" y="44577"/>
                  </a:lnTo>
                  <a:lnTo>
                    <a:pt x="410832" y="36550"/>
                  </a:lnTo>
                  <a:lnTo>
                    <a:pt x="368693" y="16802"/>
                  </a:lnTo>
                  <a:lnTo>
                    <a:pt x="323024" y="4381"/>
                  </a:lnTo>
                  <a:lnTo>
                    <a:pt x="274548" y="0"/>
                  </a:lnTo>
                  <a:lnTo>
                    <a:pt x="273329" y="0"/>
                  </a:lnTo>
                  <a:lnTo>
                    <a:pt x="224980" y="4356"/>
                  </a:lnTo>
                  <a:lnTo>
                    <a:pt x="179438" y="16725"/>
                  </a:lnTo>
                  <a:lnTo>
                    <a:pt x="137401" y="36372"/>
                  </a:lnTo>
                  <a:lnTo>
                    <a:pt x="99618" y="62560"/>
                  </a:lnTo>
                  <a:lnTo>
                    <a:pt x="98018" y="64122"/>
                  </a:lnTo>
                  <a:lnTo>
                    <a:pt x="66814" y="94576"/>
                  </a:lnTo>
                  <a:lnTo>
                    <a:pt x="39687" y="131686"/>
                  </a:lnTo>
                  <a:lnTo>
                    <a:pt x="19037" y="173139"/>
                  </a:lnTo>
                  <a:lnTo>
                    <a:pt x="5562" y="218224"/>
                  </a:lnTo>
                  <a:lnTo>
                    <a:pt x="0" y="266192"/>
                  </a:lnTo>
                  <a:lnTo>
                    <a:pt x="47713" y="262178"/>
                  </a:lnTo>
                  <a:lnTo>
                    <a:pt x="92227" y="250520"/>
                  </a:lnTo>
                  <a:lnTo>
                    <a:pt x="133464" y="231927"/>
                  </a:lnTo>
                  <a:lnTo>
                    <a:pt x="170738" y="207060"/>
                  </a:lnTo>
                  <a:lnTo>
                    <a:pt x="203365" y="176593"/>
                  </a:lnTo>
                  <a:lnTo>
                    <a:pt x="230670" y="141224"/>
                  </a:lnTo>
                  <a:lnTo>
                    <a:pt x="251993" y="101600"/>
                  </a:lnTo>
                  <a:lnTo>
                    <a:pt x="266661" y="58420"/>
                  </a:lnTo>
                  <a:lnTo>
                    <a:pt x="273989" y="12331"/>
                  </a:lnTo>
                  <a:lnTo>
                    <a:pt x="281165" y="58585"/>
                  </a:lnTo>
                  <a:lnTo>
                    <a:pt x="295719" y="101955"/>
                  </a:lnTo>
                  <a:lnTo>
                    <a:pt x="316979" y="141744"/>
                  </a:lnTo>
                  <a:lnTo>
                    <a:pt x="344271" y="177279"/>
                  </a:lnTo>
                  <a:lnTo>
                    <a:pt x="360070" y="192087"/>
                  </a:lnTo>
                  <a:lnTo>
                    <a:pt x="376923" y="207886"/>
                  </a:lnTo>
                  <a:lnTo>
                    <a:pt x="414235" y="232867"/>
                  </a:lnTo>
                  <a:lnTo>
                    <a:pt x="455549" y="251561"/>
                  </a:lnTo>
                  <a:lnTo>
                    <a:pt x="500164" y="263271"/>
                  </a:lnTo>
                  <a:lnTo>
                    <a:pt x="548081" y="267322"/>
                  </a:lnTo>
                  <a:close/>
                </a:path>
              </a:pathLst>
            </a:custGeom>
            <a:solidFill>
              <a:srgbClr val="2DB7EA"/>
            </a:solidFill>
          </p:spPr>
          <p:txBody>
            <a:bodyPr wrap="square" lIns="0" tIns="0" rIns="0" bIns="0" rtlCol="0"/>
            <a:lstStyle/>
            <a:p>
              <a:endParaRPr dirty="0"/>
            </a:p>
          </p:txBody>
        </p:sp>
        <p:pic>
          <p:nvPicPr>
            <p:cNvPr id="295" name="object 293">
              <a:extLst>
                <a:ext uri="{FF2B5EF4-FFF2-40B4-BE49-F238E27FC236}">
                  <a16:creationId xmlns:a16="http://schemas.microsoft.com/office/drawing/2014/main" id="{97AA9DAC-3DA3-770A-1FAF-A194CBD65A2B}"/>
                </a:ext>
              </a:extLst>
            </p:cNvPr>
            <p:cNvPicPr/>
            <p:nvPr/>
          </p:nvPicPr>
          <p:blipFill>
            <a:blip r:embed="rId16" cstate="print"/>
            <a:stretch>
              <a:fillRect/>
            </a:stretch>
          </p:blipFill>
          <p:spPr>
            <a:xfrm>
              <a:off x="8096998" y="4318566"/>
              <a:ext cx="106445" cy="107156"/>
            </a:xfrm>
            <a:prstGeom prst="rect">
              <a:avLst/>
            </a:prstGeom>
          </p:spPr>
        </p:pic>
        <p:sp>
          <p:nvSpPr>
            <p:cNvPr id="296" name="object 294">
              <a:extLst>
                <a:ext uri="{FF2B5EF4-FFF2-40B4-BE49-F238E27FC236}">
                  <a16:creationId xmlns:a16="http://schemas.microsoft.com/office/drawing/2014/main" id="{0CC7A45A-73A7-794F-C12A-6750254CA324}"/>
                </a:ext>
              </a:extLst>
            </p:cNvPr>
            <p:cNvSpPr/>
            <p:nvPr/>
          </p:nvSpPr>
          <p:spPr>
            <a:xfrm>
              <a:off x="7983731" y="4517034"/>
              <a:ext cx="332700" cy="477101"/>
            </a:xfrm>
            <a:custGeom>
              <a:avLst/>
              <a:gdLst/>
              <a:ahLst/>
              <a:cxnLst/>
              <a:rect l="l" t="t" r="r" b="b"/>
              <a:pathLst>
                <a:path w="548640" h="786765">
                  <a:moveTo>
                    <a:pt x="548068" y="786384"/>
                  </a:moveTo>
                  <a:lnTo>
                    <a:pt x="542632" y="738225"/>
                  </a:lnTo>
                  <a:lnTo>
                    <a:pt x="529234" y="692962"/>
                  </a:lnTo>
                  <a:lnTo>
                    <a:pt x="508609" y="651332"/>
                  </a:lnTo>
                  <a:lnTo>
                    <a:pt x="481520" y="614083"/>
                  </a:lnTo>
                  <a:lnTo>
                    <a:pt x="448678" y="581926"/>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47"/>
                  </a:lnTo>
                  <a:lnTo>
                    <a:pt x="66814" y="613664"/>
                  </a:lnTo>
                  <a:lnTo>
                    <a:pt x="39725" y="650760"/>
                  </a:lnTo>
                  <a:lnTo>
                    <a:pt x="19075" y="692226"/>
                  </a:lnTo>
                  <a:lnTo>
                    <a:pt x="5600" y="737323"/>
                  </a:lnTo>
                  <a:lnTo>
                    <a:pt x="38" y="785304"/>
                  </a:lnTo>
                  <a:lnTo>
                    <a:pt x="47713" y="781265"/>
                  </a:lnTo>
                  <a:lnTo>
                    <a:pt x="92227" y="769620"/>
                  </a:lnTo>
                  <a:lnTo>
                    <a:pt x="133464" y="751014"/>
                  </a:lnTo>
                  <a:lnTo>
                    <a:pt x="170726" y="726147"/>
                  </a:lnTo>
                  <a:lnTo>
                    <a:pt x="203352" y="695680"/>
                  </a:lnTo>
                  <a:lnTo>
                    <a:pt x="230670" y="660298"/>
                  </a:lnTo>
                  <a:lnTo>
                    <a:pt x="251993" y="620674"/>
                  </a:lnTo>
                  <a:lnTo>
                    <a:pt x="266649" y="577469"/>
                  </a:lnTo>
                  <a:lnTo>
                    <a:pt x="273989" y="531393"/>
                  </a:lnTo>
                  <a:lnTo>
                    <a:pt x="281165" y="577659"/>
                  </a:lnTo>
                  <a:lnTo>
                    <a:pt x="295719" y="621030"/>
                  </a:lnTo>
                  <a:lnTo>
                    <a:pt x="316979" y="660831"/>
                  </a:lnTo>
                  <a:lnTo>
                    <a:pt x="344271" y="696366"/>
                  </a:lnTo>
                  <a:lnTo>
                    <a:pt x="376923" y="726960"/>
                  </a:lnTo>
                  <a:lnTo>
                    <a:pt x="414235" y="751941"/>
                  </a:lnTo>
                  <a:lnTo>
                    <a:pt x="455536" y="770623"/>
                  </a:lnTo>
                  <a:lnTo>
                    <a:pt x="500164" y="782332"/>
                  </a:lnTo>
                  <a:lnTo>
                    <a:pt x="548068" y="786384"/>
                  </a:lnTo>
                  <a:close/>
                </a:path>
                <a:path w="548640" h="786765">
                  <a:moveTo>
                    <a:pt x="548068" y="520852"/>
                  </a:moveTo>
                  <a:lnTo>
                    <a:pt x="542632" y="472694"/>
                  </a:lnTo>
                  <a:lnTo>
                    <a:pt x="529234" y="427431"/>
                  </a:lnTo>
                  <a:lnTo>
                    <a:pt x="508609" y="385813"/>
                  </a:lnTo>
                  <a:lnTo>
                    <a:pt x="481520" y="348551"/>
                  </a:lnTo>
                  <a:lnTo>
                    <a:pt x="448678" y="316407"/>
                  </a:lnTo>
                  <a:lnTo>
                    <a:pt x="410819" y="290093"/>
                  </a:lnTo>
                  <a:lnTo>
                    <a:pt x="368693" y="270357"/>
                  </a:lnTo>
                  <a:lnTo>
                    <a:pt x="323024" y="257937"/>
                  </a:lnTo>
                  <a:lnTo>
                    <a:pt x="274548" y="253555"/>
                  </a:lnTo>
                  <a:lnTo>
                    <a:pt x="273329" y="253555"/>
                  </a:lnTo>
                  <a:lnTo>
                    <a:pt x="224980" y="257911"/>
                  </a:lnTo>
                  <a:lnTo>
                    <a:pt x="179438" y="270281"/>
                  </a:lnTo>
                  <a:lnTo>
                    <a:pt x="137401" y="289928"/>
                  </a:lnTo>
                  <a:lnTo>
                    <a:pt x="99618" y="316128"/>
                  </a:lnTo>
                  <a:lnTo>
                    <a:pt x="66814" y="348132"/>
                  </a:lnTo>
                  <a:lnTo>
                    <a:pt x="39725" y="385241"/>
                  </a:lnTo>
                  <a:lnTo>
                    <a:pt x="19075" y="426694"/>
                  </a:lnTo>
                  <a:lnTo>
                    <a:pt x="5600" y="471779"/>
                  </a:lnTo>
                  <a:lnTo>
                    <a:pt x="38" y="519772"/>
                  </a:lnTo>
                  <a:lnTo>
                    <a:pt x="47713" y="515734"/>
                  </a:lnTo>
                  <a:lnTo>
                    <a:pt x="92227" y="504075"/>
                  </a:lnTo>
                  <a:lnTo>
                    <a:pt x="133464" y="485482"/>
                  </a:lnTo>
                  <a:lnTo>
                    <a:pt x="170726" y="460616"/>
                  </a:lnTo>
                  <a:lnTo>
                    <a:pt x="203352" y="430149"/>
                  </a:lnTo>
                  <a:lnTo>
                    <a:pt x="230670" y="394766"/>
                  </a:lnTo>
                  <a:lnTo>
                    <a:pt x="251993" y="355142"/>
                  </a:lnTo>
                  <a:lnTo>
                    <a:pt x="266649" y="311950"/>
                  </a:lnTo>
                  <a:lnTo>
                    <a:pt x="273989" y="265861"/>
                  </a:lnTo>
                  <a:lnTo>
                    <a:pt x="281165" y="312127"/>
                  </a:lnTo>
                  <a:lnTo>
                    <a:pt x="295719" y="355511"/>
                  </a:lnTo>
                  <a:lnTo>
                    <a:pt x="316979" y="395300"/>
                  </a:lnTo>
                  <a:lnTo>
                    <a:pt x="344271" y="430834"/>
                  </a:lnTo>
                  <a:lnTo>
                    <a:pt x="376923" y="461429"/>
                  </a:lnTo>
                  <a:lnTo>
                    <a:pt x="414235" y="486410"/>
                  </a:lnTo>
                  <a:lnTo>
                    <a:pt x="455536" y="505091"/>
                  </a:lnTo>
                  <a:lnTo>
                    <a:pt x="500164" y="516801"/>
                  </a:lnTo>
                  <a:lnTo>
                    <a:pt x="548068" y="520852"/>
                  </a:lnTo>
                  <a:close/>
                </a:path>
                <a:path w="548640" h="786765">
                  <a:moveTo>
                    <a:pt x="548081" y="267322"/>
                  </a:moveTo>
                  <a:lnTo>
                    <a:pt x="543318" y="225285"/>
                  </a:lnTo>
                  <a:lnTo>
                    <a:pt x="542632" y="219151"/>
                  </a:lnTo>
                  <a:lnTo>
                    <a:pt x="529234" y="173875"/>
                  </a:lnTo>
                  <a:lnTo>
                    <a:pt x="508622" y="132245"/>
                  </a:lnTo>
                  <a:lnTo>
                    <a:pt x="481533" y="94996"/>
                  </a:lnTo>
                  <a:lnTo>
                    <a:pt x="449376" y="63525"/>
                  </a:lnTo>
                  <a:lnTo>
                    <a:pt x="448691" y="62852"/>
                  </a:lnTo>
                  <a:lnTo>
                    <a:pt x="437134" y="54825"/>
                  </a:lnTo>
                  <a:lnTo>
                    <a:pt x="410832" y="36537"/>
                  </a:lnTo>
                  <a:lnTo>
                    <a:pt x="391096" y="27305"/>
                  </a:lnTo>
                  <a:lnTo>
                    <a:pt x="368706" y="16814"/>
                  </a:lnTo>
                  <a:lnTo>
                    <a:pt x="323024" y="4368"/>
                  </a:lnTo>
                  <a:lnTo>
                    <a:pt x="274548" y="0"/>
                  </a:lnTo>
                  <a:lnTo>
                    <a:pt x="273329" y="0"/>
                  </a:lnTo>
                  <a:lnTo>
                    <a:pt x="224980" y="4356"/>
                  </a:lnTo>
                  <a:lnTo>
                    <a:pt x="179438" y="16725"/>
                  </a:lnTo>
                  <a:lnTo>
                    <a:pt x="137401" y="36372"/>
                  </a:lnTo>
                  <a:lnTo>
                    <a:pt x="120650" y="47980"/>
                  </a:lnTo>
                  <a:lnTo>
                    <a:pt x="99618" y="62560"/>
                  </a:lnTo>
                  <a:lnTo>
                    <a:pt x="66814" y="94576"/>
                  </a:lnTo>
                  <a:lnTo>
                    <a:pt x="39687" y="131686"/>
                  </a:lnTo>
                  <a:lnTo>
                    <a:pt x="19037" y="173139"/>
                  </a:lnTo>
                  <a:lnTo>
                    <a:pt x="5562" y="218211"/>
                  </a:lnTo>
                  <a:lnTo>
                    <a:pt x="0" y="266192"/>
                  </a:lnTo>
                  <a:lnTo>
                    <a:pt x="47713" y="262166"/>
                  </a:lnTo>
                  <a:lnTo>
                    <a:pt x="92227" y="250520"/>
                  </a:lnTo>
                  <a:lnTo>
                    <a:pt x="133464" y="231914"/>
                  </a:lnTo>
                  <a:lnTo>
                    <a:pt x="170738" y="207048"/>
                  </a:lnTo>
                  <a:lnTo>
                    <a:pt x="203365" y="176593"/>
                  </a:lnTo>
                  <a:lnTo>
                    <a:pt x="230670" y="141211"/>
                  </a:lnTo>
                  <a:lnTo>
                    <a:pt x="251993" y="101600"/>
                  </a:lnTo>
                  <a:lnTo>
                    <a:pt x="266661" y="58407"/>
                  </a:lnTo>
                  <a:lnTo>
                    <a:pt x="273989" y="12319"/>
                  </a:lnTo>
                  <a:lnTo>
                    <a:pt x="281165" y="58585"/>
                  </a:lnTo>
                  <a:lnTo>
                    <a:pt x="295719" y="101942"/>
                  </a:lnTo>
                  <a:lnTo>
                    <a:pt x="316979" y="141732"/>
                  </a:lnTo>
                  <a:lnTo>
                    <a:pt x="344271" y="177266"/>
                  </a:lnTo>
                  <a:lnTo>
                    <a:pt x="376923" y="207873"/>
                  </a:lnTo>
                  <a:lnTo>
                    <a:pt x="414235" y="232867"/>
                  </a:lnTo>
                  <a:lnTo>
                    <a:pt x="455549" y="251548"/>
                  </a:lnTo>
                  <a:lnTo>
                    <a:pt x="500164" y="263258"/>
                  </a:lnTo>
                  <a:lnTo>
                    <a:pt x="548081" y="267322"/>
                  </a:lnTo>
                  <a:close/>
                </a:path>
              </a:pathLst>
            </a:custGeom>
            <a:solidFill>
              <a:srgbClr val="7ED3F1"/>
            </a:solidFill>
          </p:spPr>
          <p:txBody>
            <a:bodyPr wrap="square" lIns="0" tIns="0" rIns="0" bIns="0" rtlCol="0"/>
            <a:lstStyle/>
            <a:p>
              <a:endParaRPr dirty="0"/>
            </a:p>
          </p:txBody>
        </p:sp>
        <p:pic>
          <p:nvPicPr>
            <p:cNvPr id="297" name="object 295">
              <a:extLst>
                <a:ext uri="{FF2B5EF4-FFF2-40B4-BE49-F238E27FC236}">
                  <a16:creationId xmlns:a16="http://schemas.microsoft.com/office/drawing/2014/main" id="{56C35CE7-FE7E-33F9-346E-E642D5B70479}"/>
                </a:ext>
              </a:extLst>
            </p:cNvPr>
            <p:cNvPicPr/>
            <p:nvPr/>
          </p:nvPicPr>
          <p:blipFill>
            <a:blip r:embed="rId17" cstate="print"/>
            <a:stretch>
              <a:fillRect/>
            </a:stretch>
          </p:blipFill>
          <p:spPr>
            <a:xfrm>
              <a:off x="8096998" y="4972731"/>
              <a:ext cx="106445" cy="107156"/>
            </a:xfrm>
            <a:prstGeom prst="rect">
              <a:avLst/>
            </a:prstGeom>
          </p:spPr>
        </p:pic>
        <p:sp>
          <p:nvSpPr>
            <p:cNvPr id="298" name="object 296">
              <a:extLst>
                <a:ext uri="{FF2B5EF4-FFF2-40B4-BE49-F238E27FC236}">
                  <a16:creationId xmlns:a16="http://schemas.microsoft.com/office/drawing/2014/main" id="{9607CFB7-C2D2-65FA-420B-8B64989FB3B8}"/>
                </a:ext>
              </a:extLst>
            </p:cNvPr>
            <p:cNvSpPr/>
            <p:nvPr/>
          </p:nvSpPr>
          <p:spPr>
            <a:xfrm>
              <a:off x="7983731" y="2554529"/>
              <a:ext cx="332700" cy="477101"/>
            </a:xfrm>
            <a:custGeom>
              <a:avLst/>
              <a:gdLst/>
              <a:ahLst/>
              <a:cxnLst/>
              <a:rect l="l" t="t" r="r" b="b"/>
              <a:pathLst>
                <a:path w="548640" h="786764">
                  <a:moveTo>
                    <a:pt x="548068" y="786396"/>
                  </a:moveTo>
                  <a:lnTo>
                    <a:pt x="542632" y="738238"/>
                  </a:lnTo>
                  <a:lnTo>
                    <a:pt x="529234" y="692975"/>
                  </a:lnTo>
                  <a:lnTo>
                    <a:pt x="508609" y="651344"/>
                  </a:lnTo>
                  <a:lnTo>
                    <a:pt x="481520" y="614095"/>
                  </a:lnTo>
                  <a:lnTo>
                    <a:pt x="448678" y="581939"/>
                  </a:lnTo>
                  <a:lnTo>
                    <a:pt x="410819" y="555625"/>
                  </a:lnTo>
                  <a:lnTo>
                    <a:pt x="368693" y="535901"/>
                  </a:lnTo>
                  <a:lnTo>
                    <a:pt x="323024" y="523468"/>
                  </a:lnTo>
                  <a:lnTo>
                    <a:pt x="274548" y="519099"/>
                  </a:lnTo>
                  <a:lnTo>
                    <a:pt x="273329" y="519099"/>
                  </a:lnTo>
                  <a:lnTo>
                    <a:pt x="224980" y="523455"/>
                  </a:lnTo>
                  <a:lnTo>
                    <a:pt x="179438" y="535813"/>
                  </a:lnTo>
                  <a:lnTo>
                    <a:pt x="137401" y="555459"/>
                  </a:lnTo>
                  <a:lnTo>
                    <a:pt x="99618" y="581660"/>
                  </a:lnTo>
                  <a:lnTo>
                    <a:pt x="66814" y="613676"/>
                  </a:lnTo>
                  <a:lnTo>
                    <a:pt x="39725" y="650773"/>
                  </a:lnTo>
                  <a:lnTo>
                    <a:pt x="19075" y="692238"/>
                  </a:lnTo>
                  <a:lnTo>
                    <a:pt x="5600" y="737323"/>
                  </a:lnTo>
                  <a:lnTo>
                    <a:pt x="38" y="785317"/>
                  </a:lnTo>
                  <a:lnTo>
                    <a:pt x="47713" y="781278"/>
                  </a:lnTo>
                  <a:lnTo>
                    <a:pt x="92227" y="769632"/>
                  </a:lnTo>
                  <a:lnTo>
                    <a:pt x="133464" y="751027"/>
                  </a:lnTo>
                  <a:lnTo>
                    <a:pt x="170726" y="726160"/>
                  </a:lnTo>
                  <a:lnTo>
                    <a:pt x="203352" y="695693"/>
                  </a:lnTo>
                  <a:lnTo>
                    <a:pt x="230670" y="660311"/>
                  </a:lnTo>
                  <a:lnTo>
                    <a:pt x="251993" y="620687"/>
                  </a:lnTo>
                  <a:lnTo>
                    <a:pt x="266649" y="577481"/>
                  </a:lnTo>
                  <a:lnTo>
                    <a:pt x="273989" y="531406"/>
                  </a:lnTo>
                  <a:lnTo>
                    <a:pt x="281165" y="577672"/>
                  </a:lnTo>
                  <a:lnTo>
                    <a:pt x="295719" y="621042"/>
                  </a:lnTo>
                  <a:lnTo>
                    <a:pt x="316979" y="660844"/>
                  </a:lnTo>
                  <a:lnTo>
                    <a:pt x="344271" y="696379"/>
                  </a:lnTo>
                  <a:lnTo>
                    <a:pt x="376923" y="726973"/>
                  </a:lnTo>
                  <a:lnTo>
                    <a:pt x="414235" y="751954"/>
                  </a:lnTo>
                  <a:lnTo>
                    <a:pt x="455536" y="770636"/>
                  </a:lnTo>
                  <a:lnTo>
                    <a:pt x="500164" y="782345"/>
                  </a:lnTo>
                  <a:lnTo>
                    <a:pt x="548068" y="786396"/>
                  </a:lnTo>
                  <a:close/>
                </a:path>
                <a:path w="548640" h="786764">
                  <a:moveTo>
                    <a:pt x="548068" y="520865"/>
                  </a:moveTo>
                  <a:lnTo>
                    <a:pt x="542632" y="472706"/>
                  </a:lnTo>
                  <a:lnTo>
                    <a:pt x="529234" y="427443"/>
                  </a:lnTo>
                  <a:lnTo>
                    <a:pt x="508609" y="385813"/>
                  </a:lnTo>
                  <a:lnTo>
                    <a:pt x="481520" y="348564"/>
                  </a:lnTo>
                  <a:lnTo>
                    <a:pt x="448678" y="316407"/>
                  </a:lnTo>
                  <a:lnTo>
                    <a:pt x="410819" y="290106"/>
                  </a:lnTo>
                  <a:lnTo>
                    <a:pt x="368693" y="270370"/>
                  </a:lnTo>
                  <a:lnTo>
                    <a:pt x="323024" y="257949"/>
                  </a:lnTo>
                  <a:lnTo>
                    <a:pt x="274548" y="253568"/>
                  </a:lnTo>
                  <a:lnTo>
                    <a:pt x="273329" y="253568"/>
                  </a:lnTo>
                  <a:lnTo>
                    <a:pt x="224980" y="257924"/>
                  </a:lnTo>
                  <a:lnTo>
                    <a:pt x="179438" y="270294"/>
                  </a:lnTo>
                  <a:lnTo>
                    <a:pt x="137401" y="289941"/>
                  </a:lnTo>
                  <a:lnTo>
                    <a:pt x="99618" y="316128"/>
                  </a:lnTo>
                  <a:lnTo>
                    <a:pt x="66814" y="348145"/>
                  </a:lnTo>
                  <a:lnTo>
                    <a:pt x="39725" y="385254"/>
                  </a:lnTo>
                  <a:lnTo>
                    <a:pt x="19075" y="426707"/>
                  </a:lnTo>
                  <a:lnTo>
                    <a:pt x="5600" y="471805"/>
                  </a:lnTo>
                  <a:lnTo>
                    <a:pt x="38" y="519785"/>
                  </a:lnTo>
                  <a:lnTo>
                    <a:pt x="47713" y="515759"/>
                  </a:lnTo>
                  <a:lnTo>
                    <a:pt x="92227" y="504101"/>
                  </a:lnTo>
                  <a:lnTo>
                    <a:pt x="133464" y="485495"/>
                  </a:lnTo>
                  <a:lnTo>
                    <a:pt x="170726" y="460629"/>
                  </a:lnTo>
                  <a:lnTo>
                    <a:pt x="203352" y="430161"/>
                  </a:lnTo>
                  <a:lnTo>
                    <a:pt x="230670" y="394779"/>
                  </a:lnTo>
                  <a:lnTo>
                    <a:pt x="251993" y="355155"/>
                  </a:lnTo>
                  <a:lnTo>
                    <a:pt x="266649" y="311962"/>
                  </a:lnTo>
                  <a:lnTo>
                    <a:pt x="273989" y="265874"/>
                  </a:lnTo>
                  <a:lnTo>
                    <a:pt x="281165" y="312140"/>
                  </a:lnTo>
                  <a:lnTo>
                    <a:pt x="295719" y="355511"/>
                  </a:lnTo>
                  <a:lnTo>
                    <a:pt x="316979" y="395312"/>
                  </a:lnTo>
                  <a:lnTo>
                    <a:pt x="344271" y="430847"/>
                  </a:lnTo>
                  <a:lnTo>
                    <a:pt x="376923" y="461441"/>
                  </a:lnTo>
                  <a:lnTo>
                    <a:pt x="414235" y="486422"/>
                  </a:lnTo>
                  <a:lnTo>
                    <a:pt x="455536" y="505104"/>
                  </a:lnTo>
                  <a:lnTo>
                    <a:pt x="500164" y="516813"/>
                  </a:lnTo>
                  <a:lnTo>
                    <a:pt x="548068" y="520865"/>
                  </a:lnTo>
                  <a:close/>
                </a:path>
                <a:path w="548640" h="786764">
                  <a:moveTo>
                    <a:pt x="548081" y="267335"/>
                  </a:moveTo>
                  <a:lnTo>
                    <a:pt x="543852" y="230035"/>
                  </a:lnTo>
                  <a:lnTo>
                    <a:pt x="542632" y="219163"/>
                  </a:lnTo>
                  <a:lnTo>
                    <a:pt x="529234" y="173888"/>
                  </a:lnTo>
                  <a:lnTo>
                    <a:pt x="508622" y="132257"/>
                  </a:lnTo>
                  <a:lnTo>
                    <a:pt x="481533" y="95008"/>
                  </a:lnTo>
                  <a:lnTo>
                    <a:pt x="448691" y="62865"/>
                  </a:lnTo>
                  <a:lnTo>
                    <a:pt x="410832" y="36563"/>
                  </a:lnTo>
                  <a:lnTo>
                    <a:pt x="368693" y="16802"/>
                  </a:lnTo>
                  <a:lnTo>
                    <a:pt x="323024" y="4381"/>
                  </a:lnTo>
                  <a:lnTo>
                    <a:pt x="274548" y="0"/>
                  </a:lnTo>
                  <a:lnTo>
                    <a:pt x="273329" y="0"/>
                  </a:lnTo>
                  <a:lnTo>
                    <a:pt x="224980" y="4356"/>
                  </a:lnTo>
                  <a:lnTo>
                    <a:pt x="179438" y="16725"/>
                  </a:lnTo>
                  <a:lnTo>
                    <a:pt x="137401" y="36372"/>
                  </a:lnTo>
                  <a:lnTo>
                    <a:pt x="99618" y="62572"/>
                  </a:lnTo>
                  <a:lnTo>
                    <a:pt x="66814" y="94576"/>
                  </a:lnTo>
                  <a:lnTo>
                    <a:pt x="39687" y="131699"/>
                  </a:lnTo>
                  <a:lnTo>
                    <a:pt x="19037" y="173151"/>
                  </a:lnTo>
                  <a:lnTo>
                    <a:pt x="5562" y="218224"/>
                  </a:lnTo>
                  <a:lnTo>
                    <a:pt x="0" y="266204"/>
                  </a:lnTo>
                  <a:lnTo>
                    <a:pt x="47713" y="262191"/>
                  </a:lnTo>
                  <a:lnTo>
                    <a:pt x="92227" y="250532"/>
                  </a:lnTo>
                  <a:lnTo>
                    <a:pt x="133464" y="231940"/>
                  </a:lnTo>
                  <a:lnTo>
                    <a:pt x="161404" y="213283"/>
                  </a:lnTo>
                  <a:lnTo>
                    <a:pt x="170738" y="207060"/>
                  </a:lnTo>
                  <a:lnTo>
                    <a:pt x="203365" y="176606"/>
                  </a:lnTo>
                  <a:lnTo>
                    <a:pt x="230670" y="141224"/>
                  </a:lnTo>
                  <a:lnTo>
                    <a:pt x="251993" y="101612"/>
                  </a:lnTo>
                  <a:lnTo>
                    <a:pt x="266661" y="58420"/>
                  </a:lnTo>
                  <a:lnTo>
                    <a:pt x="273989" y="12331"/>
                  </a:lnTo>
                  <a:lnTo>
                    <a:pt x="281165" y="58597"/>
                  </a:lnTo>
                  <a:lnTo>
                    <a:pt x="295719" y="101955"/>
                  </a:lnTo>
                  <a:lnTo>
                    <a:pt x="316979" y="141744"/>
                  </a:lnTo>
                  <a:lnTo>
                    <a:pt x="344271" y="177279"/>
                  </a:lnTo>
                  <a:lnTo>
                    <a:pt x="360070" y="192087"/>
                  </a:lnTo>
                  <a:lnTo>
                    <a:pt x="376923" y="207886"/>
                  </a:lnTo>
                  <a:lnTo>
                    <a:pt x="414235" y="232867"/>
                  </a:lnTo>
                  <a:lnTo>
                    <a:pt x="455549" y="251561"/>
                  </a:lnTo>
                  <a:lnTo>
                    <a:pt x="500164" y="263271"/>
                  </a:lnTo>
                  <a:lnTo>
                    <a:pt x="548081" y="267335"/>
                  </a:lnTo>
                  <a:close/>
                </a:path>
              </a:pathLst>
            </a:custGeom>
            <a:solidFill>
              <a:srgbClr val="2DB7EA"/>
            </a:solidFill>
          </p:spPr>
          <p:txBody>
            <a:bodyPr wrap="square" lIns="0" tIns="0" rIns="0" bIns="0" rtlCol="0"/>
            <a:lstStyle/>
            <a:p>
              <a:endParaRPr dirty="0"/>
            </a:p>
          </p:txBody>
        </p:sp>
        <p:pic>
          <p:nvPicPr>
            <p:cNvPr id="299" name="object 297">
              <a:extLst>
                <a:ext uri="{FF2B5EF4-FFF2-40B4-BE49-F238E27FC236}">
                  <a16:creationId xmlns:a16="http://schemas.microsoft.com/office/drawing/2014/main" id="{92023159-1D86-2222-09F1-CC750AB9B9A2}"/>
                </a:ext>
              </a:extLst>
            </p:cNvPr>
            <p:cNvPicPr/>
            <p:nvPr/>
          </p:nvPicPr>
          <p:blipFill>
            <a:blip r:embed="rId16" cstate="print"/>
            <a:stretch>
              <a:fillRect/>
            </a:stretch>
          </p:blipFill>
          <p:spPr>
            <a:xfrm>
              <a:off x="8096998" y="3010234"/>
              <a:ext cx="106445" cy="107156"/>
            </a:xfrm>
            <a:prstGeom prst="rect">
              <a:avLst/>
            </a:prstGeom>
          </p:spPr>
        </p:pic>
        <p:sp>
          <p:nvSpPr>
            <p:cNvPr id="300" name="object 298">
              <a:extLst>
                <a:ext uri="{FF2B5EF4-FFF2-40B4-BE49-F238E27FC236}">
                  <a16:creationId xmlns:a16="http://schemas.microsoft.com/office/drawing/2014/main" id="{14E7A1B3-2A9B-DA81-8998-AE695FD7899D}"/>
                </a:ext>
              </a:extLst>
            </p:cNvPr>
            <p:cNvSpPr/>
            <p:nvPr/>
          </p:nvSpPr>
          <p:spPr>
            <a:xfrm>
              <a:off x="7983731" y="3208700"/>
              <a:ext cx="332700" cy="477101"/>
            </a:xfrm>
            <a:custGeom>
              <a:avLst/>
              <a:gdLst/>
              <a:ahLst/>
              <a:cxnLst/>
              <a:rect l="l" t="t" r="r" b="b"/>
              <a:pathLst>
                <a:path w="548640" h="786764">
                  <a:moveTo>
                    <a:pt x="548068" y="786384"/>
                  </a:moveTo>
                  <a:lnTo>
                    <a:pt x="542632" y="738225"/>
                  </a:lnTo>
                  <a:lnTo>
                    <a:pt x="529234" y="692962"/>
                  </a:lnTo>
                  <a:lnTo>
                    <a:pt x="508609" y="651344"/>
                  </a:lnTo>
                  <a:lnTo>
                    <a:pt x="481520" y="614083"/>
                  </a:lnTo>
                  <a:lnTo>
                    <a:pt x="448678" y="581926"/>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47"/>
                  </a:lnTo>
                  <a:lnTo>
                    <a:pt x="66814" y="613664"/>
                  </a:lnTo>
                  <a:lnTo>
                    <a:pt x="39725" y="650773"/>
                  </a:lnTo>
                  <a:lnTo>
                    <a:pt x="19075" y="692226"/>
                  </a:lnTo>
                  <a:lnTo>
                    <a:pt x="5600" y="737323"/>
                  </a:lnTo>
                  <a:lnTo>
                    <a:pt x="38" y="785317"/>
                  </a:lnTo>
                  <a:lnTo>
                    <a:pt x="47713" y="781278"/>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59"/>
                  </a:lnTo>
                  <a:lnTo>
                    <a:pt x="295719" y="621042"/>
                  </a:lnTo>
                  <a:lnTo>
                    <a:pt x="316979" y="660831"/>
                  </a:lnTo>
                  <a:lnTo>
                    <a:pt x="344271" y="696366"/>
                  </a:lnTo>
                  <a:lnTo>
                    <a:pt x="376923" y="726960"/>
                  </a:lnTo>
                  <a:lnTo>
                    <a:pt x="414235" y="751941"/>
                  </a:lnTo>
                  <a:lnTo>
                    <a:pt x="455536" y="770623"/>
                  </a:lnTo>
                  <a:lnTo>
                    <a:pt x="500164" y="782332"/>
                  </a:lnTo>
                  <a:lnTo>
                    <a:pt x="548068" y="786384"/>
                  </a:lnTo>
                  <a:close/>
                </a:path>
                <a:path w="548640" h="786764">
                  <a:moveTo>
                    <a:pt x="548068" y="520865"/>
                  </a:moveTo>
                  <a:lnTo>
                    <a:pt x="542632" y="472694"/>
                  </a:lnTo>
                  <a:lnTo>
                    <a:pt x="529234" y="427431"/>
                  </a:lnTo>
                  <a:lnTo>
                    <a:pt x="508609" y="385813"/>
                  </a:lnTo>
                  <a:lnTo>
                    <a:pt x="481520" y="348551"/>
                  </a:lnTo>
                  <a:lnTo>
                    <a:pt x="448678" y="316407"/>
                  </a:lnTo>
                  <a:lnTo>
                    <a:pt x="410819" y="290093"/>
                  </a:lnTo>
                  <a:lnTo>
                    <a:pt x="368693" y="270357"/>
                  </a:lnTo>
                  <a:lnTo>
                    <a:pt x="323024" y="257937"/>
                  </a:lnTo>
                  <a:lnTo>
                    <a:pt x="274548" y="253555"/>
                  </a:lnTo>
                  <a:lnTo>
                    <a:pt x="273329" y="253555"/>
                  </a:lnTo>
                  <a:lnTo>
                    <a:pt x="224980" y="257911"/>
                  </a:lnTo>
                  <a:lnTo>
                    <a:pt x="179438" y="270281"/>
                  </a:lnTo>
                  <a:lnTo>
                    <a:pt x="137401" y="289928"/>
                  </a:lnTo>
                  <a:lnTo>
                    <a:pt x="99618" y="316115"/>
                  </a:lnTo>
                  <a:lnTo>
                    <a:pt x="66814" y="348132"/>
                  </a:lnTo>
                  <a:lnTo>
                    <a:pt x="39725" y="385241"/>
                  </a:lnTo>
                  <a:lnTo>
                    <a:pt x="19075" y="426694"/>
                  </a:lnTo>
                  <a:lnTo>
                    <a:pt x="5600" y="471792"/>
                  </a:lnTo>
                  <a:lnTo>
                    <a:pt x="38" y="519785"/>
                  </a:lnTo>
                  <a:lnTo>
                    <a:pt x="47713" y="515747"/>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40"/>
                  </a:lnTo>
                  <a:lnTo>
                    <a:pt x="295719" y="355511"/>
                  </a:lnTo>
                  <a:lnTo>
                    <a:pt x="316979" y="395300"/>
                  </a:lnTo>
                  <a:lnTo>
                    <a:pt x="344271" y="430834"/>
                  </a:lnTo>
                  <a:lnTo>
                    <a:pt x="376923" y="461429"/>
                  </a:lnTo>
                  <a:lnTo>
                    <a:pt x="414235" y="486410"/>
                  </a:lnTo>
                  <a:lnTo>
                    <a:pt x="455536" y="505091"/>
                  </a:lnTo>
                  <a:lnTo>
                    <a:pt x="500164" y="516801"/>
                  </a:lnTo>
                  <a:lnTo>
                    <a:pt x="548068" y="520865"/>
                  </a:lnTo>
                  <a:close/>
                </a:path>
                <a:path w="548640" h="786764">
                  <a:moveTo>
                    <a:pt x="548081" y="267322"/>
                  </a:moveTo>
                  <a:lnTo>
                    <a:pt x="543318" y="225285"/>
                  </a:lnTo>
                  <a:lnTo>
                    <a:pt x="542632" y="219151"/>
                  </a:lnTo>
                  <a:lnTo>
                    <a:pt x="529234" y="173888"/>
                  </a:lnTo>
                  <a:lnTo>
                    <a:pt x="519010" y="153263"/>
                  </a:lnTo>
                  <a:lnTo>
                    <a:pt x="508622" y="132257"/>
                  </a:lnTo>
                  <a:lnTo>
                    <a:pt x="481533" y="94996"/>
                  </a:lnTo>
                  <a:lnTo>
                    <a:pt x="449376" y="63525"/>
                  </a:lnTo>
                  <a:lnTo>
                    <a:pt x="448691" y="62852"/>
                  </a:lnTo>
                  <a:lnTo>
                    <a:pt x="410832" y="36550"/>
                  </a:lnTo>
                  <a:lnTo>
                    <a:pt x="368706" y="16814"/>
                  </a:lnTo>
                  <a:lnTo>
                    <a:pt x="323024" y="4368"/>
                  </a:lnTo>
                  <a:lnTo>
                    <a:pt x="274548" y="0"/>
                  </a:lnTo>
                  <a:lnTo>
                    <a:pt x="273329" y="0"/>
                  </a:lnTo>
                  <a:lnTo>
                    <a:pt x="224980" y="4356"/>
                  </a:lnTo>
                  <a:lnTo>
                    <a:pt x="179438" y="16725"/>
                  </a:lnTo>
                  <a:lnTo>
                    <a:pt x="137401" y="36360"/>
                  </a:lnTo>
                  <a:lnTo>
                    <a:pt x="99618" y="62560"/>
                  </a:lnTo>
                  <a:lnTo>
                    <a:pt x="98018" y="64122"/>
                  </a:lnTo>
                  <a:lnTo>
                    <a:pt x="66814" y="94576"/>
                  </a:lnTo>
                  <a:lnTo>
                    <a:pt x="39687" y="131686"/>
                  </a:lnTo>
                  <a:lnTo>
                    <a:pt x="19037" y="173139"/>
                  </a:lnTo>
                  <a:lnTo>
                    <a:pt x="5562" y="218224"/>
                  </a:lnTo>
                  <a:lnTo>
                    <a:pt x="0" y="266192"/>
                  </a:lnTo>
                  <a:lnTo>
                    <a:pt x="47713" y="262178"/>
                  </a:lnTo>
                  <a:lnTo>
                    <a:pt x="92227" y="250532"/>
                  </a:lnTo>
                  <a:lnTo>
                    <a:pt x="133464" y="231927"/>
                  </a:lnTo>
                  <a:lnTo>
                    <a:pt x="170726" y="207060"/>
                  </a:lnTo>
                  <a:lnTo>
                    <a:pt x="172897" y="205041"/>
                  </a:lnTo>
                  <a:lnTo>
                    <a:pt x="203365" y="176593"/>
                  </a:lnTo>
                  <a:lnTo>
                    <a:pt x="230670" y="141224"/>
                  </a:lnTo>
                  <a:lnTo>
                    <a:pt x="251993" y="101600"/>
                  </a:lnTo>
                  <a:lnTo>
                    <a:pt x="266661" y="58407"/>
                  </a:lnTo>
                  <a:lnTo>
                    <a:pt x="273989" y="12331"/>
                  </a:lnTo>
                  <a:lnTo>
                    <a:pt x="281165" y="58585"/>
                  </a:lnTo>
                  <a:lnTo>
                    <a:pt x="295719" y="101942"/>
                  </a:lnTo>
                  <a:lnTo>
                    <a:pt x="316979" y="141744"/>
                  </a:lnTo>
                  <a:lnTo>
                    <a:pt x="344271" y="177279"/>
                  </a:lnTo>
                  <a:lnTo>
                    <a:pt x="376923" y="207873"/>
                  </a:lnTo>
                  <a:lnTo>
                    <a:pt x="414235" y="232867"/>
                  </a:lnTo>
                  <a:lnTo>
                    <a:pt x="455549" y="251548"/>
                  </a:lnTo>
                  <a:lnTo>
                    <a:pt x="500164" y="263271"/>
                  </a:lnTo>
                  <a:lnTo>
                    <a:pt x="548081" y="267322"/>
                  </a:lnTo>
                  <a:close/>
                </a:path>
              </a:pathLst>
            </a:custGeom>
            <a:solidFill>
              <a:srgbClr val="7ED3F1"/>
            </a:solidFill>
          </p:spPr>
          <p:txBody>
            <a:bodyPr wrap="square" lIns="0" tIns="0" rIns="0" bIns="0" rtlCol="0"/>
            <a:lstStyle/>
            <a:p>
              <a:endParaRPr dirty="0"/>
            </a:p>
          </p:txBody>
        </p:sp>
        <p:pic>
          <p:nvPicPr>
            <p:cNvPr id="301" name="object 299">
              <a:extLst>
                <a:ext uri="{FF2B5EF4-FFF2-40B4-BE49-F238E27FC236}">
                  <a16:creationId xmlns:a16="http://schemas.microsoft.com/office/drawing/2014/main" id="{7D79F955-E811-8AF3-122D-05EB25E84299}"/>
                </a:ext>
              </a:extLst>
            </p:cNvPr>
            <p:cNvPicPr/>
            <p:nvPr/>
          </p:nvPicPr>
          <p:blipFill>
            <a:blip r:embed="rId17" cstate="print"/>
            <a:stretch>
              <a:fillRect/>
            </a:stretch>
          </p:blipFill>
          <p:spPr>
            <a:xfrm>
              <a:off x="8096998" y="3664400"/>
              <a:ext cx="106445" cy="107156"/>
            </a:xfrm>
            <a:prstGeom prst="rect">
              <a:avLst/>
            </a:prstGeom>
          </p:spPr>
        </p:pic>
        <p:sp>
          <p:nvSpPr>
            <p:cNvPr id="302" name="object 300">
              <a:extLst>
                <a:ext uri="{FF2B5EF4-FFF2-40B4-BE49-F238E27FC236}">
                  <a16:creationId xmlns:a16="http://schemas.microsoft.com/office/drawing/2014/main" id="{8A182554-2E9A-7F92-622E-124595BC4D7A}"/>
                </a:ext>
              </a:extLst>
            </p:cNvPr>
            <p:cNvSpPr/>
            <p:nvPr/>
          </p:nvSpPr>
          <p:spPr>
            <a:xfrm>
              <a:off x="7983731" y="1246203"/>
              <a:ext cx="332700" cy="477101"/>
            </a:xfrm>
            <a:custGeom>
              <a:avLst/>
              <a:gdLst/>
              <a:ahLst/>
              <a:cxnLst/>
              <a:rect l="l" t="t" r="r" b="b"/>
              <a:pathLst>
                <a:path w="548640" h="786764">
                  <a:moveTo>
                    <a:pt x="548068" y="786384"/>
                  </a:moveTo>
                  <a:lnTo>
                    <a:pt x="542632" y="738225"/>
                  </a:lnTo>
                  <a:lnTo>
                    <a:pt x="529234" y="692962"/>
                  </a:lnTo>
                  <a:lnTo>
                    <a:pt x="508609" y="651332"/>
                  </a:lnTo>
                  <a:lnTo>
                    <a:pt x="481520" y="614083"/>
                  </a:lnTo>
                  <a:lnTo>
                    <a:pt x="448678" y="581926"/>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47"/>
                  </a:lnTo>
                  <a:lnTo>
                    <a:pt x="66814" y="613664"/>
                  </a:lnTo>
                  <a:lnTo>
                    <a:pt x="39725" y="650760"/>
                  </a:lnTo>
                  <a:lnTo>
                    <a:pt x="19075" y="692226"/>
                  </a:lnTo>
                  <a:lnTo>
                    <a:pt x="5600" y="737323"/>
                  </a:lnTo>
                  <a:lnTo>
                    <a:pt x="38" y="785304"/>
                  </a:lnTo>
                  <a:lnTo>
                    <a:pt x="47713" y="781278"/>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59"/>
                  </a:lnTo>
                  <a:lnTo>
                    <a:pt x="295719" y="621030"/>
                  </a:lnTo>
                  <a:lnTo>
                    <a:pt x="316979" y="660831"/>
                  </a:lnTo>
                  <a:lnTo>
                    <a:pt x="344271" y="696366"/>
                  </a:lnTo>
                  <a:lnTo>
                    <a:pt x="376923" y="726960"/>
                  </a:lnTo>
                  <a:lnTo>
                    <a:pt x="414235" y="751941"/>
                  </a:lnTo>
                  <a:lnTo>
                    <a:pt x="455536" y="770623"/>
                  </a:lnTo>
                  <a:lnTo>
                    <a:pt x="500164" y="782332"/>
                  </a:lnTo>
                  <a:lnTo>
                    <a:pt x="548068" y="786384"/>
                  </a:lnTo>
                  <a:close/>
                </a:path>
                <a:path w="548640" h="786764">
                  <a:moveTo>
                    <a:pt x="548068" y="520852"/>
                  </a:moveTo>
                  <a:lnTo>
                    <a:pt x="542632" y="472694"/>
                  </a:lnTo>
                  <a:lnTo>
                    <a:pt x="529234" y="427431"/>
                  </a:lnTo>
                  <a:lnTo>
                    <a:pt x="508609" y="385813"/>
                  </a:lnTo>
                  <a:lnTo>
                    <a:pt x="481520" y="348551"/>
                  </a:lnTo>
                  <a:lnTo>
                    <a:pt x="448678" y="316395"/>
                  </a:lnTo>
                  <a:lnTo>
                    <a:pt x="410819" y="290093"/>
                  </a:lnTo>
                  <a:lnTo>
                    <a:pt x="368693" y="270357"/>
                  </a:lnTo>
                  <a:lnTo>
                    <a:pt x="323024" y="257937"/>
                  </a:lnTo>
                  <a:lnTo>
                    <a:pt x="274548" y="253555"/>
                  </a:lnTo>
                  <a:lnTo>
                    <a:pt x="273329" y="253555"/>
                  </a:lnTo>
                  <a:lnTo>
                    <a:pt x="224980" y="257911"/>
                  </a:lnTo>
                  <a:lnTo>
                    <a:pt x="179438" y="270281"/>
                  </a:lnTo>
                  <a:lnTo>
                    <a:pt x="137401" y="289928"/>
                  </a:lnTo>
                  <a:lnTo>
                    <a:pt x="99618" y="316115"/>
                  </a:lnTo>
                  <a:lnTo>
                    <a:pt x="66814" y="348132"/>
                  </a:lnTo>
                  <a:lnTo>
                    <a:pt x="39725" y="385241"/>
                  </a:lnTo>
                  <a:lnTo>
                    <a:pt x="19075" y="426694"/>
                  </a:lnTo>
                  <a:lnTo>
                    <a:pt x="5600" y="471792"/>
                  </a:lnTo>
                  <a:lnTo>
                    <a:pt x="38" y="519785"/>
                  </a:lnTo>
                  <a:lnTo>
                    <a:pt x="47713" y="515747"/>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27"/>
                  </a:lnTo>
                  <a:lnTo>
                    <a:pt x="295719" y="355511"/>
                  </a:lnTo>
                  <a:lnTo>
                    <a:pt x="316979" y="395300"/>
                  </a:lnTo>
                  <a:lnTo>
                    <a:pt x="344271" y="430834"/>
                  </a:lnTo>
                  <a:lnTo>
                    <a:pt x="376923" y="461429"/>
                  </a:lnTo>
                  <a:lnTo>
                    <a:pt x="414235" y="486410"/>
                  </a:lnTo>
                  <a:lnTo>
                    <a:pt x="455536" y="505091"/>
                  </a:lnTo>
                  <a:lnTo>
                    <a:pt x="500164" y="516801"/>
                  </a:lnTo>
                  <a:lnTo>
                    <a:pt x="548068" y="520852"/>
                  </a:lnTo>
                  <a:close/>
                </a:path>
                <a:path w="548640" h="786764">
                  <a:moveTo>
                    <a:pt x="548081" y="267322"/>
                  </a:moveTo>
                  <a:lnTo>
                    <a:pt x="543318" y="225285"/>
                  </a:lnTo>
                  <a:lnTo>
                    <a:pt x="542632" y="219151"/>
                  </a:lnTo>
                  <a:lnTo>
                    <a:pt x="529234" y="173875"/>
                  </a:lnTo>
                  <a:lnTo>
                    <a:pt x="508622" y="132257"/>
                  </a:lnTo>
                  <a:lnTo>
                    <a:pt x="481533" y="94996"/>
                  </a:lnTo>
                  <a:lnTo>
                    <a:pt x="449376" y="63525"/>
                  </a:lnTo>
                  <a:lnTo>
                    <a:pt x="448691" y="62852"/>
                  </a:lnTo>
                  <a:lnTo>
                    <a:pt x="410832" y="36550"/>
                  </a:lnTo>
                  <a:lnTo>
                    <a:pt x="368693" y="16789"/>
                  </a:lnTo>
                  <a:lnTo>
                    <a:pt x="323024" y="4368"/>
                  </a:lnTo>
                  <a:lnTo>
                    <a:pt x="274548" y="0"/>
                  </a:lnTo>
                  <a:lnTo>
                    <a:pt x="273329" y="0"/>
                  </a:lnTo>
                  <a:lnTo>
                    <a:pt x="224980" y="4356"/>
                  </a:lnTo>
                  <a:lnTo>
                    <a:pt x="179438" y="16713"/>
                  </a:lnTo>
                  <a:lnTo>
                    <a:pt x="137401" y="36360"/>
                  </a:lnTo>
                  <a:lnTo>
                    <a:pt x="99618" y="62560"/>
                  </a:lnTo>
                  <a:lnTo>
                    <a:pt x="66814" y="94576"/>
                  </a:lnTo>
                  <a:lnTo>
                    <a:pt x="39687" y="131686"/>
                  </a:lnTo>
                  <a:lnTo>
                    <a:pt x="19037" y="173139"/>
                  </a:lnTo>
                  <a:lnTo>
                    <a:pt x="5562" y="218211"/>
                  </a:lnTo>
                  <a:lnTo>
                    <a:pt x="0" y="266192"/>
                  </a:lnTo>
                  <a:lnTo>
                    <a:pt x="47713" y="262178"/>
                  </a:lnTo>
                  <a:lnTo>
                    <a:pt x="92227" y="250532"/>
                  </a:lnTo>
                  <a:lnTo>
                    <a:pt x="133464" y="231927"/>
                  </a:lnTo>
                  <a:lnTo>
                    <a:pt x="170726" y="207060"/>
                  </a:lnTo>
                  <a:lnTo>
                    <a:pt x="172897" y="205041"/>
                  </a:lnTo>
                  <a:lnTo>
                    <a:pt x="203365" y="176593"/>
                  </a:lnTo>
                  <a:lnTo>
                    <a:pt x="230670" y="141224"/>
                  </a:lnTo>
                  <a:lnTo>
                    <a:pt x="251993" y="101600"/>
                  </a:lnTo>
                  <a:lnTo>
                    <a:pt x="266661" y="58407"/>
                  </a:lnTo>
                  <a:lnTo>
                    <a:pt x="273989" y="12319"/>
                  </a:lnTo>
                  <a:lnTo>
                    <a:pt x="281165" y="58585"/>
                  </a:lnTo>
                  <a:lnTo>
                    <a:pt x="295719" y="101942"/>
                  </a:lnTo>
                  <a:lnTo>
                    <a:pt x="316979" y="141732"/>
                  </a:lnTo>
                  <a:lnTo>
                    <a:pt x="344271" y="177266"/>
                  </a:lnTo>
                  <a:lnTo>
                    <a:pt x="376923" y="207873"/>
                  </a:lnTo>
                  <a:lnTo>
                    <a:pt x="414235" y="232867"/>
                  </a:lnTo>
                  <a:lnTo>
                    <a:pt x="455549" y="251548"/>
                  </a:lnTo>
                  <a:lnTo>
                    <a:pt x="500164" y="263271"/>
                  </a:lnTo>
                  <a:lnTo>
                    <a:pt x="548081" y="267322"/>
                  </a:lnTo>
                  <a:close/>
                </a:path>
              </a:pathLst>
            </a:custGeom>
            <a:solidFill>
              <a:srgbClr val="2DB7EA"/>
            </a:solidFill>
          </p:spPr>
          <p:txBody>
            <a:bodyPr wrap="square" lIns="0" tIns="0" rIns="0" bIns="0" rtlCol="0"/>
            <a:lstStyle/>
            <a:p>
              <a:endParaRPr dirty="0"/>
            </a:p>
          </p:txBody>
        </p:sp>
        <p:pic>
          <p:nvPicPr>
            <p:cNvPr id="303" name="object 301">
              <a:extLst>
                <a:ext uri="{FF2B5EF4-FFF2-40B4-BE49-F238E27FC236}">
                  <a16:creationId xmlns:a16="http://schemas.microsoft.com/office/drawing/2014/main" id="{779492BB-464C-9094-5138-319FCD4EA942}"/>
                </a:ext>
              </a:extLst>
            </p:cNvPr>
            <p:cNvPicPr/>
            <p:nvPr/>
          </p:nvPicPr>
          <p:blipFill>
            <a:blip r:embed="rId16" cstate="print"/>
            <a:stretch>
              <a:fillRect/>
            </a:stretch>
          </p:blipFill>
          <p:spPr>
            <a:xfrm>
              <a:off x="8096998" y="1701903"/>
              <a:ext cx="106445" cy="107156"/>
            </a:xfrm>
            <a:prstGeom prst="rect">
              <a:avLst/>
            </a:prstGeom>
          </p:spPr>
        </p:pic>
        <p:sp>
          <p:nvSpPr>
            <p:cNvPr id="304" name="object 302">
              <a:extLst>
                <a:ext uri="{FF2B5EF4-FFF2-40B4-BE49-F238E27FC236}">
                  <a16:creationId xmlns:a16="http://schemas.microsoft.com/office/drawing/2014/main" id="{3A1955AF-29C4-9089-9DB5-E544B1A6905B}"/>
                </a:ext>
              </a:extLst>
            </p:cNvPr>
            <p:cNvSpPr/>
            <p:nvPr/>
          </p:nvSpPr>
          <p:spPr>
            <a:xfrm>
              <a:off x="7983731" y="1900365"/>
              <a:ext cx="332700" cy="477101"/>
            </a:xfrm>
            <a:custGeom>
              <a:avLst/>
              <a:gdLst/>
              <a:ahLst/>
              <a:cxnLst/>
              <a:rect l="l" t="t" r="r" b="b"/>
              <a:pathLst>
                <a:path w="548640" h="786764">
                  <a:moveTo>
                    <a:pt x="548068" y="786396"/>
                  </a:moveTo>
                  <a:lnTo>
                    <a:pt x="542632" y="738225"/>
                  </a:lnTo>
                  <a:lnTo>
                    <a:pt x="529234" y="692962"/>
                  </a:lnTo>
                  <a:lnTo>
                    <a:pt x="508609" y="651344"/>
                  </a:lnTo>
                  <a:lnTo>
                    <a:pt x="481520" y="614083"/>
                  </a:lnTo>
                  <a:lnTo>
                    <a:pt x="448678" y="581939"/>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60"/>
                  </a:lnTo>
                  <a:lnTo>
                    <a:pt x="66814" y="613664"/>
                  </a:lnTo>
                  <a:lnTo>
                    <a:pt x="39725" y="650773"/>
                  </a:lnTo>
                  <a:lnTo>
                    <a:pt x="19075" y="692238"/>
                  </a:lnTo>
                  <a:lnTo>
                    <a:pt x="5600" y="737323"/>
                  </a:lnTo>
                  <a:lnTo>
                    <a:pt x="38" y="785317"/>
                  </a:lnTo>
                  <a:lnTo>
                    <a:pt x="47713" y="781278"/>
                  </a:lnTo>
                  <a:lnTo>
                    <a:pt x="92227" y="769620"/>
                  </a:lnTo>
                  <a:lnTo>
                    <a:pt x="133464" y="751027"/>
                  </a:lnTo>
                  <a:lnTo>
                    <a:pt x="170726" y="726147"/>
                  </a:lnTo>
                  <a:lnTo>
                    <a:pt x="203352" y="695680"/>
                  </a:lnTo>
                  <a:lnTo>
                    <a:pt x="230670" y="660298"/>
                  </a:lnTo>
                  <a:lnTo>
                    <a:pt x="251993" y="620674"/>
                  </a:lnTo>
                  <a:lnTo>
                    <a:pt x="266649" y="577481"/>
                  </a:lnTo>
                  <a:lnTo>
                    <a:pt x="273989" y="531393"/>
                  </a:lnTo>
                  <a:lnTo>
                    <a:pt x="281165" y="577672"/>
                  </a:lnTo>
                  <a:lnTo>
                    <a:pt x="295719" y="621042"/>
                  </a:lnTo>
                  <a:lnTo>
                    <a:pt x="316979" y="660831"/>
                  </a:lnTo>
                  <a:lnTo>
                    <a:pt x="344271" y="696366"/>
                  </a:lnTo>
                  <a:lnTo>
                    <a:pt x="376923" y="726960"/>
                  </a:lnTo>
                  <a:lnTo>
                    <a:pt x="414235" y="751941"/>
                  </a:lnTo>
                  <a:lnTo>
                    <a:pt x="455536" y="770636"/>
                  </a:lnTo>
                  <a:lnTo>
                    <a:pt x="500164" y="782332"/>
                  </a:lnTo>
                  <a:lnTo>
                    <a:pt x="548068" y="786396"/>
                  </a:lnTo>
                  <a:close/>
                </a:path>
                <a:path w="548640" h="786764">
                  <a:moveTo>
                    <a:pt x="548068" y="520865"/>
                  </a:moveTo>
                  <a:lnTo>
                    <a:pt x="542632" y="472706"/>
                  </a:lnTo>
                  <a:lnTo>
                    <a:pt x="529234" y="427443"/>
                  </a:lnTo>
                  <a:lnTo>
                    <a:pt x="508609" y="385813"/>
                  </a:lnTo>
                  <a:lnTo>
                    <a:pt x="481520" y="348551"/>
                  </a:lnTo>
                  <a:lnTo>
                    <a:pt x="448678" y="316407"/>
                  </a:lnTo>
                  <a:lnTo>
                    <a:pt x="410819" y="290093"/>
                  </a:lnTo>
                  <a:lnTo>
                    <a:pt x="368693" y="270357"/>
                  </a:lnTo>
                  <a:lnTo>
                    <a:pt x="323024" y="257937"/>
                  </a:lnTo>
                  <a:lnTo>
                    <a:pt x="274548" y="253555"/>
                  </a:lnTo>
                  <a:lnTo>
                    <a:pt x="273329" y="253555"/>
                  </a:lnTo>
                  <a:lnTo>
                    <a:pt x="224980" y="257924"/>
                  </a:lnTo>
                  <a:lnTo>
                    <a:pt x="179438" y="270281"/>
                  </a:lnTo>
                  <a:lnTo>
                    <a:pt x="137401" y="289928"/>
                  </a:lnTo>
                  <a:lnTo>
                    <a:pt x="99618" y="316128"/>
                  </a:lnTo>
                  <a:lnTo>
                    <a:pt x="66814" y="348132"/>
                  </a:lnTo>
                  <a:lnTo>
                    <a:pt x="39725" y="385241"/>
                  </a:lnTo>
                  <a:lnTo>
                    <a:pt x="19075" y="426707"/>
                  </a:lnTo>
                  <a:lnTo>
                    <a:pt x="5600" y="471792"/>
                  </a:lnTo>
                  <a:lnTo>
                    <a:pt x="38" y="519785"/>
                  </a:lnTo>
                  <a:lnTo>
                    <a:pt x="47713" y="515747"/>
                  </a:lnTo>
                  <a:lnTo>
                    <a:pt x="92227" y="504088"/>
                  </a:lnTo>
                  <a:lnTo>
                    <a:pt x="133464" y="485495"/>
                  </a:lnTo>
                  <a:lnTo>
                    <a:pt x="170726" y="460616"/>
                  </a:lnTo>
                  <a:lnTo>
                    <a:pt x="203352" y="430161"/>
                  </a:lnTo>
                  <a:lnTo>
                    <a:pt x="230670" y="394766"/>
                  </a:lnTo>
                  <a:lnTo>
                    <a:pt x="251993" y="355142"/>
                  </a:lnTo>
                  <a:lnTo>
                    <a:pt x="266649" y="311950"/>
                  </a:lnTo>
                  <a:lnTo>
                    <a:pt x="273989" y="265861"/>
                  </a:lnTo>
                  <a:lnTo>
                    <a:pt x="281165" y="312140"/>
                  </a:lnTo>
                  <a:lnTo>
                    <a:pt x="295719" y="355511"/>
                  </a:lnTo>
                  <a:lnTo>
                    <a:pt x="316979" y="395300"/>
                  </a:lnTo>
                  <a:lnTo>
                    <a:pt x="344271" y="430834"/>
                  </a:lnTo>
                  <a:lnTo>
                    <a:pt x="376923" y="461441"/>
                  </a:lnTo>
                  <a:lnTo>
                    <a:pt x="414235" y="486410"/>
                  </a:lnTo>
                  <a:lnTo>
                    <a:pt x="455536" y="505104"/>
                  </a:lnTo>
                  <a:lnTo>
                    <a:pt x="500164" y="516813"/>
                  </a:lnTo>
                  <a:lnTo>
                    <a:pt x="548068" y="520865"/>
                  </a:lnTo>
                  <a:close/>
                </a:path>
                <a:path w="548640" h="786764">
                  <a:moveTo>
                    <a:pt x="548081" y="267322"/>
                  </a:moveTo>
                  <a:lnTo>
                    <a:pt x="543318" y="225285"/>
                  </a:lnTo>
                  <a:lnTo>
                    <a:pt x="542632" y="219151"/>
                  </a:lnTo>
                  <a:lnTo>
                    <a:pt x="529234" y="173888"/>
                  </a:lnTo>
                  <a:lnTo>
                    <a:pt x="519010" y="153263"/>
                  </a:lnTo>
                  <a:lnTo>
                    <a:pt x="508622" y="132257"/>
                  </a:lnTo>
                  <a:lnTo>
                    <a:pt x="481533" y="95008"/>
                  </a:lnTo>
                  <a:lnTo>
                    <a:pt x="448691" y="62852"/>
                  </a:lnTo>
                  <a:lnTo>
                    <a:pt x="410832" y="36550"/>
                  </a:lnTo>
                  <a:lnTo>
                    <a:pt x="368706" y="16814"/>
                  </a:lnTo>
                  <a:lnTo>
                    <a:pt x="323024" y="4381"/>
                  </a:lnTo>
                  <a:lnTo>
                    <a:pt x="274548" y="0"/>
                  </a:lnTo>
                  <a:lnTo>
                    <a:pt x="273329" y="0"/>
                  </a:lnTo>
                  <a:lnTo>
                    <a:pt x="224980" y="4356"/>
                  </a:lnTo>
                  <a:lnTo>
                    <a:pt x="179438" y="16725"/>
                  </a:lnTo>
                  <a:lnTo>
                    <a:pt x="137401" y="36372"/>
                  </a:lnTo>
                  <a:lnTo>
                    <a:pt x="99618" y="62560"/>
                  </a:lnTo>
                  <a:lnTo>
                    <a:pt x="98018" y="64122"/>
                  </a:lnTo>
                  <a:lnTo>
                    <a:pt x="66814" y="94576"/>
                  </a:lnTo>
                  <a:lnTo>
                    <a:pt x="39687" y="131686"/>
                  </a:lnTo>
                  <a:lnTo>
                    <a:pt x="19037" y="173139"/>
                  </a:lnTo>
                  <a:lnTo>
                    <a:pt x="5562" y="218224"/>
                  </a:lnTo>
                  <a:lnTo>
                    <a:pt x="0" y="266192"/>
                  </a:lnTo>
                  <a:lnTo>
                    <a:pt x="47713" y="262191"/>
                  </a:lnTo>
                  <a:lnTo>
                    <a:pt x="92227" y="250532"/>
                  </a:lnTo>
                  <a:lnTo>
                    <a:pt x="133464" y="231927"/>
                  </a:lnTo>
                  <a:lnTo>
                    <a:pt x="170738" y="207060"/>
                  </a:lnTo>
                  <a:lnTo>
                    <a:pt x="203365" y="176593"/>
                  </a:lnTo>
                  <a:lnTo>
                    <a:pt x="230670" y="141224"/>
                  </a:lnTo>
                  <a:lnTo>
                    <a:pt x="251993" y="101600"/>
                  </a:lnTo>
                  <a:lnTo>
                    <a:pt x="266661" y="58420"/>
                  </a:lnTo>
                  <a:lnTo>
                    <a:pt x="273989" y="12331"/>
                  </a:lnTo>
                  <a:lnTo>
                    <a:pt x="281165" y="58585"/>
                  </a:lnTo>
                  <a:lnTo>
                    <a:pt x="295719" y="101955"/>
                  </a:lnTo>
                  <a:lnTo>
                    <a:pt x="303123" y="115811"/>
                  </a:lnTo>
                  <a:lnTo>
                    <a:pt x="316979" y="141744"/>
                  </a:lnTo>
                  <a:lnTo>
                    <a:pt x="344271" y="177279"/>
                  </a:lnTo>
                  <a:lnTo>
                    <a:pt x="360070" y="192087"/>
                  </a:lnTo>
                  <a:lnTo>
                    <a:pt x="376923" y="207886"/>
                  </a:lnTo>
                  <a:lnTo>
                    <a:pt x="414235" y="232867"/>
                  </a:lnTo>
                  <a:lnTo>
                    <a:pt x="455549" y="251561"/>
                  </a:lnTo>
                  <a:lnTo>
                    <a:pt x="500164" y="263271"/>
                  </a:lnTo>
                  <a:lnTo>
                    <a:pt x="548081" y="267322"/>
                  </a:lnTo>
                  <a:close/>
                </a:path>
              </a:pathLst>
            </a:custGeom>
            <a:solidFill>
              <a:srgbClr val="7ED3F1"/>
            </a:solidFill>
          </p:spPr>
          <p:txBody>
            <a:bodyPr wrap="square" lIns="0" tIns="0" rIns="0" bIns="0" rtlCol="0"/>
            <a:lstStyle/>
            <a:p>
              <a:endParaRPr dirty="0"/>
            </a:p>
          </p:txBody>
        </p:sp>
        <p:pic>
          <p:nvPicPr>
            <p:cNvPr id="305" name="object 303">
              <a:extLst>
                <a:ext uri="{FF2B5EF4-FFF2-40B4-BE49-F238E27FC236}">
                  <a16:creationId xmlns:a16="http://schemas.microsoft.com/office/drawing/2014/main" id="{4B435D1E-2769-E08E-12E2-A88177CA5E6F}"/>
                </a:ext>
              </a:extLst>
            </p:cNvPr>
            <p:cNvPicPr/>
            <p:nvPr/>
          </p:nvPicPr>
          <p:blipFill>
            <a:blip r:embed="rId17" cstate="print"/>
            <a:stretch>
              <a:fillRect/>
            </a:stretch>
          </p:blipFill>
          <p:spPr>
            <a:xfrm>
              <a:off x="8096998" y="2356067"/>
              <a:ext cx="106445" cy="107156"/>
            </a:xfrm>
            <a:prstGeom prst="rect">
              <a:avLst/>
            </a:prstGeom>
          </p:spPr>
        </p:pic>
        <p:sp>
          <p:nvSpPr>
            <p:cNvPr id="306" name="object 304">
              <a:extLst>
                <a:ext uri="{FF2B5EF4-FFF2-40B4-BE49-F238E27FC236}">
                  <a16:creationId xmlns:a16="http://schemas.microsoft.com/office/drawing/2014/main" id="{5849DC41-C8FF-9DEE-654F-52737AA8D522}"/>
                </a:ext>
              </a:extLst>
            </p:cNvPr>
            <p:cNvSpPr/>
            <p:nvPr/>
          </p:nvSpPr>
          <p:spPr>
            <a:xfrm>
              <a:off x="7983731"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307" name="object 305">
              <a:extLst>
                <a:ext uri="{FF2B5EF4-FFF2-40B4-BE49-F238E27FC236}">
                  <a16:creationId xmlns:a16="http://schemas.microsoft.com/office/drawing/2014/main" id="{031987C3-8BC1-1D09-CCB5-0DE170E96A7B}"/>
                </a:ext>
              </a:extLst>
            </p:cNvPr>
            <p:cNvPicPr/>
            <p:nvPr/>
          </p:nvPicPr>
          <p:blipFill>
            <a:blip r:embed="rId20" cstate="print"/>
            <a:stretch>
              <a:fillRect/>
            </a:stretch>
          </p:blipFill>
          <p:spPr>
            <a:xfrm>
              <a:off x="7983758" y="123"/>
              <a:ext cx="152433" cy="99184"/>
            </a:xfrm>
            <a:prstGeom prst="rect">
              <a:avLst/>
            </a:prstGeom>
          </p:spPr>
        </p:pic>
        <p:pic>
          <p:nvPicPr>
            <p:cNvPr id="308" name="object 306">
              <a:extLst>
                <a:ext uri="{FF2B5EF4-FFF2-40B4-BE49-F238E27FC236}">
                  <a16:creationId xmlns:a16="http://schemas.microsoft.com/office/drawing/2014/main" id="{E43ABA48-6BAA-9B68-6B08-77F017FE86EA}"/>
                </a:ext>
              </a:extLst>
            </p:cNvPr>
            <p:cNvPicPr/>
            <p:nvPr/>
          </p:nvPicPr>
          <p:blipFill>
            <a:blip r:embed="rId21" cstate="print"/>
            <a:stretch>
              <a:fillRect/>
            </a:stretch>
          </p:blipFill>
          <p:spPr>
            <a:xfrm>
              <a:off x="8163292" y="123"/>
              <a:ext cx="152798" cy="99837"/>
            </a:xfrm>
            <a:prstGeom prst="rect">
              <a:avLst/>
            </a:prstGeom>
          </p:spPr>
        </p:pic>
        <p:sp>
          <p:nvSpPr>
            <p:cNvPr id="309" name="object 307">
              <a:extLst>
                <a:ext uri="{FF2B5EF4-FFF2-40B4-BE49-F238E27FC236}">
                  <a16:creationId xmlns:a16="http://schemas.microsoft.com/office/drawing/2014/main" id="{A819080E-8142-2969-7539-9D367B1C3C5D}"/>
                </a:ext>
              </a:extLst>
            </p:cNvPr>
            <p:cNvSpPr/>
            <p:nvPr/>
          </p:nvSpPr>
          <p:spPr>
            <a:xfrm>
              <a:off x="7983754" y="91626"/>
              <a:ext cx="332700" cy="323458"/>
            </a:xfrm>
            <a:custGeom>
              <a:avLst/>
              <a:gdLst/>
              <a:ahLst/>
              <a:cxnLst/>
              <a:rect l="l" t="t" r="r" b="b"/>
              <a:pathLst>
                <a:path w="548640" h="533400">
                  <a:moveTo>
                    <a:pt x="548030" y="532841"/>
                  </a:moveTo>
                  <a:lnTo>
                    <a:pt x="542594" y="484682"/>
                  </a:lnTo>
                  <a:lnTo>
                    <a:pt x="529196" y="439420"/>
                  </a:lnTo>
                  <a:lnTo>
                    <a:pt x="508571" y="397789"/>
                  </a:lnTo>
                  <a:lnTo>
                    <a:pt x="481482" y="360527"/>
                  </a:lnTo>
                  <a:lnTo>
                    <a:pt x="448640" y="328383"/>
                  </a:lnTo>
                  <a:lnTo>
                    <a:pt x="410781" y="302069"/>
                  </a:lnTo>
                  <a:lnTo>
                    <a:pt x="368655" y="282333"/>
                  </a:lnTo>
                  <a:lnTo>
                    <a:pt x="322986" y="269913"/>
                  </a:lnTo>
                  <a:lnTo>
                    <a:pt x="274510" y="265544"/>
                  </a:lnTo>
                  <a:lnTo>
                    <a:pt x="273291" y="265544"/>
                  </a:lnTo>
                  <a:lnTo>
                    <a:pt x="224942" y="269900"/>
                  </a:lnTo>
                  <a:lnTo>
                    <a:pt x="179400" y="282257"/>
                  </a:lnTo>
                  <a:lnTo>
                    <a:pt x="137363" y="301904"/>
                  </a:lnTo>
                  <a:lnTo>
                    <a:pt x="99580" y="328104"/>
                  </a:lnTo>
                  <a:lnTo>
                    <a:pt x="66776" y="360121"/>
                  </a:lnTo>
                  <a:lnTo>
                    <a:pt x="39687" y="397217"/>
                  </a:lnTo>
                  <a:lnTo>
                    <a:pt x="19037" y="438683"/>
                  </a:lnTo>
                  <a:lnTo>
                    <a:pt x="5562" y="483768"/>
                  </a:lnTo>
                  <a:lnTo>
                    <a:pt x="0" y="531761"/>
                  </a:lnTo>
                  <a:lnTo>
                    <a:pt x="47675" y="527723"/>
                  </a:lnTo>
                  <a:lnTo>
                    <a:pt x="92189" y="516064"/>
                  </a:lnTo>
                  <a:lnTo>
                    <a:pt x="133426" y="497471"/>
                  </a:lnTo>
                  <a:lnTo>
                    <a:pt x="170688" y="472592"/>
                  </a:lnTo>
                  <a:lnTo>
                    <a:pt x="203314" y="442137"/>
                  </a:lnTo>
                  <a:lnTo>
                    <a:pt x="230632" y="406755"/>
                  </a:lnTo>
                  <a:lnTo>
                    <a:pt x="251955" y="367118"/>
                  </a:lnTo>
                  <a:lnTo>
                    <a:pt x="266611" y="323926"/>
                  </a:lnTo>
                  <a:lnTo>
                    <a:pt x="273951" y="277837"/>
                  </a:lnTo>
                  <a:lnTo>
                    <a:pt x="281127" y="324116"/>
                  </a:lnTo>
                  <a:lnTo>
                    <a:pt x="295681" y="367487"/>
                  </a:lnTo>
                  <a:lnTo>
                    <a:pt x="316941" y="407276"/>
                  </a:lnTo>
                  <a:lnTo>
                    <a:pt x="344233" y="442810"/>
                  </a:lnTo>
                  <a:lnTo>
                    <a:pt x="376885" y="473417"/>
                  </a:lnTo>
                  <a:lnTo>
                    <a:pt x="414197" y="498398"/>
                  </a:lnTo>
                  <a:lnTo>
                    <a:pt x="455498" y="517080"/>
                  </a:lnTo>
                  <a:lnTo>
                    <a:pt x="500126" y="528789"/>
                  </a:lnTo>
                  <a:lnTo>
                    <a:pt x="548030" y="532841"/>
                  </a:lnTo>
                  <a:close/>
                </a:path>
                <a:path w="548640" h="533400">
                  <a:moveTo>
                    <a:pt x="548030" y="267309"/>
                  </a:moveTo>
                  <a:lnTo>
                    <a:pt x="542594" y="219138"/>
                  </a:lnTo>
                  <a:lnTo>
                    <a:pt x="529196" y="173888"/>
                  </a:lnTo>
                  <a:lnTo>
                    <a:pt x="508571" y="132257"/>
                  </a:lnTo>
                  <a:lnTo>
                    <a:pt x="481482" y="94996"/>
                  </a:lnTo>
                  <a:lnTo>
                    <a:pt x="448640" y="62852"/>
                  </a:lnTo>
                  <a:lnTo>
                    <a:pt x="410781" y="36537"/>
                  </a:lnTo>
                  <a:lnTo>
                    <a:pt x="368655" y="16802"/>
                  </a:lnTo>
                  <a:lnTo>
                    <a:pt x="322986" y="4381"/>
                  </a:lnTo>
                  <a:lnTo>
                    <a:pt x="274510" y="0"/>
                  </a:lnTo>
                  <a:lnTo>
                    <a:pt x="273291" y="0"/>
                  </a:lnTo>
                  <a:lnTo>
                    <a:pt x="224942" y="4356"/>
                  </a:lnTo>
                  <a:lnTo>
                    <a:pt x="179400" y="16725"/>
                  </a:lnTo>
                  <a:lnTo>
                    <a:pt x="137363" y="36372"/>
                  </a:lnTo>
                  <a:lnTo>
                    <a:pt x="99580" y="62572"/>
                  </a:lnTo>
                  <a:lnTo>
                    <a:pt x="66776" y="94576"/>
                  </a:lnTo>
                  <a:lnTo>
                    <a:pt x="39687" y="131686"/>
                  </a:lnTo>
                  <a:lnTo>
                    <a:pt x="19037" y="173151"/>
                  </a:lnTo>
                  <a:lnTo>
                    <a:pt x="5562" y="218236"/>
                  </a:lnTo>
                  <a:lnTo>
                    <a:pt x="0" y="266230"/>
                  </a:lnTo>
                  <a:lnTo>
                    <a:pt x="47675" y="262191"/>
                  </a:lnTo>
                  <a:lnTo>
                    <a:pt x="92189" y="250532"/>
                  </a:lnTo>
                  <a:lnTo>
                    <a:pt x="133426" y="231940"/>
                  </a:lnTo>
                  <a:lnTo>
                    <a:pt x="170688" y="207060"/>
                  </a:lnTo>
                  <a:lnTo>
                    <a:pt x="203314" y="176593"/>
                  </a:lnTo>
                  <a:lnTo>
                    <a:pt x="230632" y="141211"/>
                  </a:lnTo>
                  <a:lnTo>
                    <a:pt x="251955" y="101587"/>
                  </a:lnTo>
                  <a:lnTo>
                    <a:pt x="266611" y="58394"/>
                  </a:lnTo>
                  <a:lnTo>
                    <a:pt x="273951" y="12306"/>
                  </a:lnTo>
                  <a:lnTo>
                    <a:pt x="281127" y="58585"/>
                  </a:lnTo>
                  <a:lnTo>
                    <a:pt x="295681" y="101955"/>
                  </a:lnTo>
                  <a:lnTo>
                    <a:pt x="316941" y="141744"/>
                  </a:lnTo>
                  <a:lnTo>
                    <a:pt x="344233" y="177279"/>
                  </a:lnTo>
                  <a:lnTo>
                    <a:pt x="376885" y="207873"/>
                  </a:lnTo>
                  <a:lnTo>
                    <a:pt x="414197" y="232854"/>
                  </a:lnTo>
                  <a:lnTo>
                    <a:pt x="455498" y="251548"/>
                  </a:lnTo>
                  <a:lnTo>
                    <a:pt x="500126" y="263258"/>
                  </a:lnTo>
                  <a:lnTo>
                    <a:pt x="548030" y="267309"/>
                  </a:lnTo>
                  <a:close/>
                </a:path>
              </a:pathLst>
            </a:custGeom>
            <a:solidFill>
              <a:srgbClr val="2DB7EA"/>
            </a:solidFill>
          </p:spPr>
          <p:txBody>
            <a:bodyPr wrap="square" lIns="0" tIns="0" rIns="0" bIns="0" rtlCol="0"/>
            <a:lstStyle/>
            <a:p>
              <a:endParaRPr dirty="0"/>
            </a:p>
          </p:txBody>
        </p:sp>
        <p:pic>
          <p:nvPicPr>
            <p:cNvPr id="310" name="object 308">
              <a:extLst>
                <a:ext uri="{FF2B5EF4-FFF2-40B4-BE49-F238E27FC236}">
                  <a16:creationId xmlns:a16="http://schemas.microsoft.com/office/drawing/2014/main" id="{2E1649E1-EE6D-43C4-4681-701D91715D0E}"/>
                </a:ext>
              </a:extLst>
            </p:cNvPr>
            <p:cNvPicPr/>
            <p:nvPr/>
          </p:nvPicPr>
          <p:blipFill>
            <a:blip r:embed="rId16" cstate="print"/>
            <a:stretch>
              <a:fillRect/>
            </a:stretch>
          </p:blipFill>
          <p:spPr>
            <a:xfrm>
              <a:off x="8096998" y="393572"/>
              <a:ext cx="106445" cy="107156"/>
            </a:xfrm>
            <a:prstGeom prst="rect">
              <a:avLst/>
            </a:prstGeom>
          </p:spPr>
        </p:pic>
        <p:sp>
          <p:nvSpPr>
            <p:cNvPr id="311" name="object 309">
              <a:extLst>
                <a:ext uri="{FF2B5EF4-FFF2-40B4-BE49-F238E27FC236}">
                  <a16:creationId xmlns:a16="http://schemas.microsoft.com/office/drawing/2014/main" id="{4753D33A-39EC-67E4-A6AB-4EE21647C7A5}"/>
                </a:ext>
              </a:extLst>
            </p:cNvPr>
            <p:cNvSpPr/>
            <p:nvPr/>
          </p:nvSpPr>
          <p:spPr>
            <a:xfrm>
              <a:off x="7983731" y="592039"/>
              <a:ext cx="332700" cy="477101"/>
            </a:xfrm>
            <a:custGeom>
              <a:avLst/>
              <a:gdLst/>
              <a:ahLst/>
              <a:cxnLst/>
              <a:rect l="l" t="t" r="r" b="b"/>
              <a:pathLst>
                <a:path w="548640" h="786764">
                  <a:moveTo>
                    <a:pt x="548068" y="786384"/>
                  </a:moveTo>
                  <a:lnTo>
                    <a:pt x="542632" y="738225"/>
                  </a:lnTo>
                  <a:lnTo>
                    <a:pt x="529234" y="692962"/>
                  </a:lnTo>
                  <a:lnTo>
                    <a:pt x="508609" y="651332"/>
                  </a:lnTo>
                  <a:lnTo>
                    <a:pt x="481520" y="614083"/>
                  </a:lnTo>
                  <a:lnTo>
                    <a:pt x="448678" y="581926"/>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47"/>
                  </a:lnTo>
                  <a:lnTo>
                    <a:pt x="66814" y="613664"/>
                  </a:lnTo>
                  <a:lnTo>
                    <a:pt x="39725" y="650760"/>
                  </a:lnTo>
                  <a:lnTo>
                    <a:pt x="19075" y="692226"/>
                  </a:lnTo>
                  <a:lnTo>
                    <a:pt x="5600" y="737323"/>
                  </a:lnTo>
                  <a:lnTo>
                    <a:pt x="38" y="785304"/>
                  </a:lnTo>
                  <a:lnTo>
                    <a:pt x="47713" y="781278"/>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59"/>
                  </a:lnTo>
                  <a:lnTo>
                    <a:pt x="295719" y="621030"/>
                  </a:lnTo>
                  <a:lnTo>
                    <a:pt x="316979" y="660831"/>
                  </a:lnTo>
                  <a:lnTo>
                    <a:pt x="344271" y="696366"/>
                  </a:lnTo>
                  <a:lnTo>
                    <a:pt x="376923" y="726960"/>
                  </a:lnTo>
                  <a:lnTo>
                    <a:pt x="414235" y="751941"/>
                  </a:lnTo>
                  <a:lnTo>
                    <a:pt x="455536" y="770623"/>
                  </a:lnTo>
                  <a:lnTo>
                    <a:pt x="500164" y="782332"/>
                  </a:lnTo>
                  <a:lnTo>
                    <a:pt x="548068" y="786384"/>
                  </a:lnTo>
                  <a:close/>
                </a:path>
                <a:path w="548640" h="786764">
                  <a:moveTo>
                    <a:pt x="548068" y="520852"/>
                  </a:moveTo>
                  <a:lnTo>
                    <a:pt x="542632" y="472694"/>
                  </a:lnTo>
                  <a:lnTo>
                    <a:pt x="529234" y="427431"/>
                  </a:lnTo>
                  <a:lnTo>
                    <a:pt x="508609" y="385800"/>
                  </a:lnTo>
                  <a:lnTo>
                    <a:pt x="481520" y="348551"/>
                  </a:lnTo>
                  <a:lnTo>
                    <a:pt x="448678" y="316395"/>
                  </a:lnTo>
                  <a:lnTo>
                    <a:pt x="410819" y="290080"/>
                  </a:lnTo>
                  <a:lnTo>
                    <a:pt x="368693" y="270357"/>
                  </a:lnTo>
                  <a:lnTo>
                    <a:pt x="323024" y="257924"/>
                  </a:lnTo>
                  <a:lnTo>
                    <a:pt x="274548" y="253555"/>
                  </a:lnTo>
                  <a:lnTo>
                    <a:pt x="273329" y="253555"/>
                  </a:lnTo>
                  <a:lnTo>
                    <a:pt x="224980" y="257911"/>
                  </a:lnTo>
                  <a:lnTo>
                    <a:pt x="179438" y="270281"/>
                  </a:lnTo>
                  <a:lnTo>
                    <a:pt x="137401" y="289915"/>
                  </a:lnTo>
                  <a:lnTo>
                    <a:pt x="99618" y="316115"/>
                  </a:lnTo>
                  <a:lnTo>
                    <a:pt x="66814" y="348132"/>
                  </a:lnTo>
                  <a:lnTo>
                    <a:pt x="39725" y="385229"/>
                  </a:lnTo>
                  <a:lnTo>
                    <a:pt x="19075" y="426694"/>
                  </a:lnTo>
                  <a:lnTo>
                    <a:pt x="5600" y="471779"/>
                  </a:lnTo>
                  <a:lnTo>
                    <a:pt x="38" y="519772"/>
                  </a:lnTo>
                  <a:lnTo>
                    <a:pt x="47713" y="515734"/>
                  </a:lnTo>
                  <a:lnTo>
                    <a:pt x="92227" y="504088"/>
                  </a:lnTo>
                  <a:lnTo>
                    <a:pt x="133464" y="485482"/>
                  </a:lnTo>
                  <a:lnTo>
                    <a:pt x="170726" y="460616"/>
                  </a:lnTo>
                  <a:lnTo>
                    <a:pt x="203352" y="430149"/>
                  </a:lnTo>
                  <a:lnTo>
                    <a:pt x="230670" y="394766"/>
                  </a:lnTo>
                  <a:lnTo>
                    <a:pt x="251993" y="355142"/>
                  </a:lnTo>
                  <a:lnTo>
                    <a:pt x="266649" y="311937"/>
                  </a:lnTo>
                  <a:lnTo>
                    <a:pt x="273989" y="265861"/>
                  </a:lnTo>
                  <a:lnTo>
                    <a:pt x="281165" y="312127"/>
                  </a:lnTo>
                  <a:lnTo>
                    <a:pt x="295719" y="355498"/>
                  </a:lnTo>
                  <a:lnTo>
                    <a:pt x="316979" y="395300"/>
                  </a:lnTo>
                  <a:lnTo>
                    <a:pt x="344271" y="430834"/>
                  </a:lnTo>
                  <a:lnTo>
                    <a:pt x="376923" y="461429"/>
                  </a:lnTo>
                  <a:lnTo>
                    <a:pt x="414235" y="486410"/>
                  </a:lnTo>
                  <a:lnTo>
                    <a:pt x="455536" y="505091"/>
                  </a:lnTo>
                  <a:lnTo>
                    <a:pt x="500164" y="516801"/>
                  </a:lnTo>
                  <a:lnTo>
                    <a:pt x="548068" y="520852"/>
                  </a:lnTo>
                  <a:close/>
                </a:path>
                <a:path w="548640" h="786764">
                  <a:moveTo>
                    <a:pt x="548081" y="267322"/>
                  </a:moveTo>
                  <a:lnTo>
                    <a:pt x="542632" y="219138"/>
                  </a:lnTo>
                  <a:lnTo>
                    <a:pt x="529234" y="173875"/>
                  </a:lnTo>
                  <a:lnTo>
                    <a:pt x="508622" y="132245"/>
                  </a:lnTo>
                  <a:lnTo>
                    <a:pt x="481533" y="94996"/>
                  </a:lnTo>
                  <a:lnTo>
                    <a:pt x="480834" y="94322"/>
                  </a:lnTo>
                  <a:lnTo>
                    <a:pt x="448691" y="62839"/>
                  </a:lnTo>
                  <a:lnTo>
                    <a:pt x="422376" y="44564"/>
                  </a:lnTo>
                  <a:lnTo>
                    <a:pt x="410832" y="36537"/>
                  </a:lnTo>
                  <a:lnTo>
                    <a:pt x="368693" y="16789"/>
                  </a:lnTo>
                  <a:lnTo>
                    <a:pt x="323024" y="4368"/>
                  </a:lnTo>
                  <a:lnTo>
                    <a:pt x="274561" y="12"/>
                  </a:lnTo>
                  <a:lnTo>
                    <a:pt x="273329" y="0"/>
                  </a:lnTo>
                  <a:lnTo>
                    <a:pt x="224980" y="4356"/>
                  </a:lnTo>
                  <a:lnTo>
                    <a:pt x="179438" y="16713"/>
                  </a:lnTo>
                  <a:lnTo>
                    <a:pt x="137401" y="36360"/>
                  </a:lnTo>
                  <a:lnTo>
                    <a:pt x="108216" y="56591"/>
                  </a:lnTo>
                  <a:lnTo>
                    <a:pt x="99618" y="62560"/>
                  </a:lnTo>
                  <a:lnTo>
                    <a:pt x="66814" y="94576"/>
                  </a:lnTo>
                  <a:lnTo>
                    <a:pt x="39687" y="131686"/>
                  </a:lnTo>
                  <a:lnTo>
                    <a:pt x="19037" y="173139"/>
                  </a:lnTo>
                  <a:lnTo>
                    <a:pt x="5562" y="218211"/>
                  </a:lnTo>
                  <a:lnTo>
                    <a:pt x="0" y="266192"/>
                  </a:lnTo>
                  <a:lnTo>
                    <a:pt x="47713" y="262178"/>
                  </a:lnTo>
                  <a:lnTo>
                    <a:pt x="92227" y="250520"/>
                  </a:lnTo>
                  <a:lnTo>
                    <a:pt x="133464" y="231927"/>
                  </a:lnTo>
                  <a:lnTo>
                    <a:pt x="161404" y="213271"/>
                  </a:lnTo>
                  <a:lnTo>
                    <a:pt x="170738" y="207048"/>
                  </a:lnTo>
                  <a:lnTo>
                    <a:pt x="203365" y="176593"/>
                  </a:lnTo>
                  <a:lnTo>
                    <a:pt x="230670" y="141211"/>
                  </a:lnTo>
                  <a:lnTo>
                    <a:pt x="251993" y="101587"/>
                  </a:lnTo>
                  <a:lnTo>
                    <a:pt x="266661" y="58407"/>
                  </a:lnTo>
                  <a:lnTo>
                    <a:pt x="273989" y="12319"/>
                  </a:lnTo>
                  <a:lnTo>
                    <a:pt x="281165" y="58572"/>
                  </a:lnTo>
                  <a:lnTo>
                    <a:pt x="295719" y="101942"/>
                  </a:lnTo>
                  <a:lnTo>
                    <a:pt x="316979" y="141732"/>
                  </a:lnTo>
                  <a:lnTo>
                    <a:pt x="344271" y="177266"/>
                  </a:lnTo>
                  <a:lnTo>
                    <a:pt x="376923" y="207873"/>
                  </a:lnTo>
                  <a:lnTo>
                    <a:pt x="414235" y="232854"/>
                  </a:lnTo>
                  <a:lnTo>
                    <a:pt x="455549" y="251548"/>
                  </a:lnTo>
                  <a:lnTo>
                    <a:pt x="500164" y="263258"/>
                  </a:lnTo>
                  <a:lnTo>
                    <a:pt x="548081" y="267322"/>
                  </a:lnTo>
                  <a:close/>
                </a:path>
              </a:pathLst>
            </a:custGeom>
            <a:solidFill>
              <a:srgbClr val="7ED3F1"/>
            </a:solidFill>
          </p:spPr>
          <p:txBody>
            <a:bodyPr wrap="square" lIns="0" tIns="0" rIns="0" bIns="0" rtlCol="0"/>
            <a:lstStyle/>
            <a:p>
              <a:endParaRPr dirty="0"/>
            </a:p>
          </p:txBody>
        </p:sp>
        <p:pic>
          <p:nvPicPr>
            <p:cNvPr id="312" name="object 310">
              <a:extLst>
                <a:ext uri="{FF2B5EF4-FFF2-40B4-BE49-F238E27FC236}">
                  <a16:creationId xmlns:a16="http://schemas.microsoft.com/office/drawing/2014/main" id="{533A024F-CA98-057C-F291-04C8E9D6B0D1}"/>
                </a:ext>
              </a:extLst>
            </p:cNvPr>
            <p:cNvPicPr/>
            <p:nvPr/>
          </p:nvPicPr>
          <p:blipFill>
            <a:blip r:embed="rId17" cstate="print"/>
            <a:stretch>
              <a:fillRect/>
            </a:stretch>
          </p:blipFill>
          <p:spPr>
            <a:xfrm>
              <a:off x="8096998" y="1047738"/>
              <a:ext cx="106445" cy="107156"/>
            </a:xfrm>
            <a:prstGeom prst="rect">
              <a:avLst/>
            </a:prstGeom>
          </p:spPr>
        </p:pic>
        <p:sp>
          <p:nvSpPr>
            <p:cNvPr id="313" name="object 311">
              <a:extLst>
                <a:ext uri="{FF2B5EF4-FFF2-40B4-BE49-F238E27FC236}">
                  <a16:creationId xmlns:a16="http://schemas.microsoft.com/office/drawing/2014/main" id="{5A11ADE3-21C2-5444-D253-CEB9D9130848}"/>
                </a:ext>
              </a:extLst>
            </p:cNvPr>
            <p:cNvSpPr/>
            <p:nvPr/>
          </p:nvSpPr>
          <p:spPr>
            <a:xfrm>
              <a:off x="9138939" y="804428"/>
              <a:ext cx="332700" cy="477101"/>
            </a:xfrm>
            <a:custGeom>
              <a:avLst/>
              <a:gdLst/>
              <a:ahLst/>
              <a:cxnLst/>
              <a:rect l="l" t="t" r="r" b="b"/>
              <a:pathLst>
                <a:path w="548640" h="786764">
                  <a:moveTo>
                    <a:pt x="548081" y="520166"/>
                  </a:moveTo>
                  <a:lnTo>
                    <a:pt x="500367" y="524205"/>
                  </a:lnTo>
                  <a:lnTo>
                    <a:pt x="455841" y="535851"/>
                  </a:lnTo>
                  <a:lnTo>
                    <a:pt x="414616" y="554456"/>
                  </a:lnTo>
                  <a:lnTo>
                    <a:pt x="377355" y="579323"/>
                  </a:lnTo>
                  <a:lnTo>
                    <a:pt x="375183" y="581355"/>
                  </a:lnTo>
                  <a:lnTo>
                    <a:pt x="344728" y="609790"/>
                  </a:lnTo>
                  <a:lnTo>
                    <a:pt x="317411" y="645160"/>
                  </a:lnTo>
                  <a:lnTo>
                    <a:pt x="296087" y="684784"/>
                  </a:lnTo>
                  <a:lnTo>
                    <a:pt x="281419" y="727976"/>
                  </a:lnTo>
                  <a:lnTo>
                    <a:pt x="274078" y="774039"/>
                  </a:lnTo>
                  <a:lnTo>
                    <a:pt x="268224" y="736295"/>
                  </a:lnTo>
                  <a:lnTo>
                    <a:pt x="266915" y="727811"/>
                  </a:lnTo>
                  <a:lnTo>
                    <a:pt x="252361" y="684441"/>
                  </a:lnTo>
                  <a:lnTo>
                    <a:pt x="231101" y="644652"/>
                  </a:lnTo>
                  <a:lnTo>
                    <a:pt x="224764" y="636409"/>
                  </a:lnTo>
                  <a:lnTo>
                    <a:pt x="203796" y="609117"/>
                  </a:lnTo>
                  <a:lnTo>
                    <a:pt x="171157" y="578510"/>
                  </a:lnTo>
                  <a:lnTo>
                    <a:pt x="133845" y="553529"/>
                  </a:lnTo>
                  <a:lnTo>
                    <a:pt x="92532" y="534847"/>
                  </a:lnTo>
                  <a:lnTo>
                    <a:pt x="47917" y="523113"/>
                  </a:lnTo>
                  <a:lnTo>
                    <a:pt x="0" y="519061"/>
                  </a:lnTo>
                  <a:lnTo>
                    <a:pt x="5448" y="567245"/>
                  </a:lnTo>
                  <a:lnTo>
                    <a:pt x="18846" y="612508"/>
                  </a:lnTo>
                  <a:lnTo>
                    <a:pt x="39458" y="654138"/>
                  </a:lnTo>
                  <a:lnTo>
                    <a:pt x="66548" y="691388"/>
                  </a:lnTo>
                  <a:lnTo>
                    <a:pt x="98704" y="722871"/>
                  </a:lnTo>
                  <a:lnTo>
                    <a:pt x="137248" y="749858"/>
                  </a:lnTo>
                  <a:lnTo>
                    <a:pt x="179387" y="769594"/>
                  </a:lnTo>
                  <a:lnTo>
                    <a:pt x="225056" y="782015"/>
                  </a:lnTo>
                  <a:lnTo>
                    <a:pt x="273532" y="786384"/>
                  </a:lnTo>
                  <a:lnTo>
                    <a:pt x="274751" y="786384"/>
                  </a:lnTo>
                  <a:lnTo>
                    <a:pt x="323088" y="782027"/>
                  </a:lnTo>
                  <a:lnTo>
                    <a:pt x="368642" y="769670"/>
                  </a:lnTo>
                  <a:lnTo>
                    <a:pt x="410679" y="750023"/>
                  </a:lnTo>
                  <a:lnTo>
                    <a:pt x="448475" y="723823"/>
                  </a:lnTo>
                  <a:lnTo>
                    <a:pt x="481279" y="691807"/>
                  </a:lnTo>
                  <a:lnTo>
                    <a:pt x="508393" y="654697"/>
                  </a:lnTo>
                  <a:lnTo>
                    <a:pt x="529043" y="613244"/>
                  </a:lnTo>
                  <a:lnTo>
                    <a:pt x="542518" y="568172"/>
                  </a:lnTo>
                  <a:lnTo>
                    <a:pt x="548068" y="520204"/>
                  </a:lnTo>
                  <a:close/>
                </a:path>
                <a:path w="548640" h="786764">
                  <a:moveTo>
                    <a:pt x="548081" y="266598"/>
                  </a:moveTo>
                  <a:lnTo>
                    <a:pt x="500367" y="270637"/>
                  </a:lnTo>
                  <a:lnTo>
                    <a:pt x="455841" y="282295"/>
                  </a:lnTo>
                  <a:lnTo>
                    <a:pt x="414616" y="300901"/>
                  </a:lnTo>
                  <a:lnTo>
                    <a:pt x="377355" y="325767"/>
                  </a:lnTo>
                  <a:lnTo>
                    <a:pt x="344728" y="356235"/>
                  </a:lnTo>
                  <a:lnTo>
                    <a:pt x="317411" y="391617"/>
                  </a:lnTo>
                  <a:lnTo>
                    <a:pt x="296087" y="431241"/>
                  </a:lnTo>
                  <a:lnTo>
                    <a:pt x="281419" y="474433"/>
                  </a:lnTo>
                  <a:lnTo>
                    <a:pt x="274091" y="520522"/>
                  </a:lnTo>
                  <a:lnTo>
                    <a:pt x="266915" y="474256"/>
                  </a:lnTo>
                  <a:lnTo>
                    <a:pt x="252361" y="430872"/>
                  </a:lnTo>
                  <a:lnTo>
                    <a:pt x="231101"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88"/>
                  </a:lnTo>
                  <a:lnTo>
                    <a:pt x="137248" y="496290"/>
                  </a:lnTo>
                  <a:lnTo>
                    <a:pt x="179387" y="516026"/>
                  </a:lnTo>
                  <a:lnTo>
                    <a:pt x="225056" y="528447"/>
                  </a:lnTo>
                  <a:lnTo>
                    <a:pt x="273532" y="532828"/>
                  </a:lnTo>
                  <a:lnTo>
                    <a:pt x="274751" y="532828"/>
                  </a:lnTo>
                  <a:lnTo>
                    <a:pt x="323088" y="528472"/>
                  </a:lnTo>
                  <a:lnTo>
                    <a:pt x="368642" y="516102"/>
                  </a:lnTo>
                  <a:lnTo>
                    <a:pt x="410679" y="496455"/>
                  </a:lnTo>
                  <a:lnTo>
                    <a:pt x="448475" y="470268"/>
                  </a:lnTo>
                  <a:lnTo>
                    <a:pt x="481279" y="438251"/>
                  </a:lnTo>
                  <a:lnTo>
                    <a:pt x="508368" y="401142"/>
                  </a:lnTo>
                  <a:lnTo>
                    <a:pt x="529031" y="359689"/>
                  </a:lnTo>
                  <a:lnTo>
                    <a:pt x="542505" y="314591"/>
                  </a:lnTo>
                  <a:lnTo>
                    <a:pt x="548081" y="266598"/>
                  </a:lnTo>
                  <a:close/>
                </a:path>
                <a:path w="548640" h="786764">
                  <a:moveTo>
                    <a:pt x="548081" y="1079"/>
                  </a:moveTo>
                  <a:lnTo>
                    <a:pt x="500367" y="5105"/>
                  </a:lnTo>
                  <a:lnTo>
                    <a:pt x="455841" y="16764"/>
                  </a:lnTo>
                  <a:lnTo>
                    <a:pt x="414616" y="35369"/>
                  </a:lnTo>
                  <a:lnTo>
                    <a:pt x="377355" y="60236"/>
                  </a:lnTo>
                  <a:lnTo>
                    <a:pt x="344728" y="90703"/>
                  </a:lnTo>
                  <a:lnTo>
                    <a:pt x="317411" y="126085"/>
                  </a:lnTo>
                  <a:lnTo>
                    <a:pt x="296087" y="165709"/>
                  </a:lnTo>
                  <a:lnTo>
                    <a:pt x="281419" y="208902"/>
                  </a:lnTo>
                  <a:lnTo>
                    <a:pt x="274091" y="254990"/>
                  </a:lnTo>
                  <a:lnTo>
                    <a:pt x="266915" y="208724"/>
                  </a:lnTo>
                  <a:lnTo>
                    <a:pt x="252361" y="165354"/>
                  </a:lnTo>
                  <a:lnTo>
                    <a:pt x="231101"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36"/>
                  </a:lnTo>
                  <a:lnTo>
                    <a:pt x="481279" y="172720"/>
                  </a:lnTo>
                  <a:lnTo>
                    <a:pt x="508368" y="135623"/>
                  </a:lnTo>
                  <a:lnTo>
                    <a:pt x="529031" y="94157"/>
                  </a:lnTo>
                  <a:lnTo>
                    <a:pt x="542505" y="49060"/>
                  </a:lnTo>
                  <a:lnTo>
                    <a:pt x="548081" y="1079"/>
                  </a:lnTo>
                  <a:close/>
                </a:path>
              </a:pathLst>
            </a:custGeom>
            <a:solidFill>
              <a:srgbClr val="2DB7EA"/>
            </a:solidFill>
          </p:spPr>
          <p:txBody>
            <a:bodyPr wrap="square" lIns="0" tIns="0" rIns="0" bIns="0" rtlCol="0"/>
            <a:lstStyle/>
            <a:p>
              <a:endParaRPr dirty="0"/>
            </a:p>
          </p:txBody>
        </p:sp>
        <p:pic>
          <p:nvPicPr>
            <p:cNvPr id="314" name="object 312">
              <a:extLst>
                <a:ext uri="{FF2B5EF4-FFF2-40B4-BE49-F238E27FC236}">
                  <a16:creationId xmlns:a16="http://schemas.microsoft.com/office/drawing/2014/main" id="{07CE8F11-2C22-81A9-A2C0-1495CEAE7BFA}"/>
                </a:ext>
              </a:extLst>
            </p:cNvPr>
            <p:cNvPicPr/>
            <p:nvPr/>
          </p:nvPicPr>
          <p:blipFill>
            <a:blip r:embed="rId10" cstate="print"/>
            <a:stretch>
              <a:fillRect/>
            </a:stretch>
          </p:blipFill>
          <p:spPr>
            <a:xfrm>
              <a:off x="9251594" y="718433"/>
              <a:ext cx="106445" cy="107156"/>
            </a:xfrm>
            <a:prstGeom prst="rect">
              <a:avLst/>
            </a:prstGeom>
          </p:spPr>
        </p:pic>
        <p:sp>
          <p:nvSpPr>
            <p:cNvPr id="315" name="object 313">
              <a:extLst>
                <a:ext uri="{FF2B5EF4-FFF2-40B4-BE49-F238E27FC236}">
                  <a16:creationId xmlns:a16="http://schemas.microsoft.com/office/drawing/2014/main" id="{BD7B2B31-8C3D-EAB1-90A1-FDEE457D1C88}"/>
                </a:ext>
              </a:extLst>
            </p:cNvPr>
            <p:cNvSpPr/>
            <p:nvPr/>
          </p:nvSpPr>
          <p:spPr>
            <a:xfrm>
              <a:off x="9138939" y="150257"/>
              <a:ext cx="332700" cy="477101"/>
            </a:xfrm>
            <a:custGeom>
              <a:avLst/>
              <a:gdLst/>
              <a:ahLst/>
              <a:cxnLst/>
              <a:rect l="l" t="t" r="r" b="b"/>
              <a:pathLst>
                <a:path w="548640" h="786765">
                  <a:moveTo>
                    <a:pt x="548081" y="520179"/>
                  </a:moveTo>
                  <a:lnTo>
                    <a:pt x="500367" y="524205"/>
                  </a:lnTo>
                  <a:lnTo>
                    <a:pt x="455841" y="535863"/>
                  </a:lnTo>
                  <a:lnTo>
                    <a:pt x="414616" y="554469"/>
                  </a:lnTo>
                  <a:lnTo>
                    <a:pt x="402209" y="562749"/>
                  </a:lnTo>
                  <a:lnTo>
                    <a:pt x="377355" y="579335"/>
                  </a:lnTo>
                  <a:lnTo>
                    <a:pt x="344728" y="609803"/>
                  </a:lnTo>
                  <a:lnTo>
                    <a:pt x="317411" y="645172"/>
                  </a:lnTo>
                  <a:lnTo>
                    <a:pt x="296087" y="684796"/>
                  </a:lnTo>
                  <a:lnTo>
                    <a:pt x="281419" y="727976"/>
                  </a:lnTo>
                  <a:lnTo>
                    <a:pt x="274078" y="774039"/>
                  </a:lnTo>
                  <a:lnTo>
                    <a:pt x="268224" y="736307"/>
                  </a:lnTo>
                  <a:lnTo>
                    <a:pt x="266915" y="727824"/>
                  </a:lnTo>
                  <a:lnTo>
                    <a:pt x="252361" y="684453"/>
                  </a:lnTo>
                  <a:lnTo>
                    <a:pt x="244944" y="670598"/>
                  </a:lnTo>
                  <a:lnTo>
                    <a:pt x="231101"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51"/>
                  </a:lnTo>
                  <a:lnTo>
                    <a:pt x="66548" y="691388"/>
                  </a:lnTo>
                  <a:lnTo>
                    <a:pt x="99402" y="723557"/>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5">
                  <a:moveTo>
                    <a:pt x="548081" y="266611"/>
                  </a:moveTo>
                  <a:lnTo>
                    <a:pt x="500367" y="270649"/>
                  </a:lnTo>
                  <a:lnTo>
                    <a:pt x="455841" y="282308"/>
                  </a:lnTo>
                  <a:lnTo>
                    <a:pt x="414616" y="300901"/>
                  </a:lnTo>
                  <a:lnTo>
                    <a:pt x="377355" y="325767"/>
                  </a:lnTo>
                  <a:lnTo>
                    <a:pt x="344728" y="356235"/>
                  </a:lnTo>
                  <a:lnTo>
                    <a:pt x="317411" y="391617"/>
                  </a:lnTo>
                  <a:lnTo>
                    <a:pt x="296087" y="431253"/>
                  </a:lnTo>
                  <a:lnTo>
                    <a:pt x="281419" y="474446"/>
                  </a:lnTo>
                  <a:lnTo>
                    <a:pt x="274091" y="520534"/>
                  </a:lnTo>
                  <a:lnTo>
                    <a:pt x="266915" y="474256"/>
                  </a:lnTo>
                  <a:lnTo>
                    <a:pt x="252361" y="430885"/>
                  </a:lnTo>
                  <a:lnTo>
                    <a:pt x="231101"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87" y="516039"/>
                  </a:lnTo>
                  <a:lnTo>
                    <a:pt x="225056" y="528459"/>
                  </a:lnTo>
                  <a:lnTo>
                    <a:pt x="273532" y="532828"/>
                  </a:lnTo>
                  <a:lnTo>
                    <a:pt x="274751" y="532828"/>
                  </a:lnTo>
                  <a:lnTo>
                    <a:pt x="323088" y="528472"/>
                  </a:lnTo>
                  <a:lnTo>
                    <a:pt x="368642" y="516115"/>
                  </a:lnTo>
                  <a:lnTo>
                    <a:pt x="410679" y="496468"/>
                  </a:lnTo>
                  <a:lnTo>
                    <a:pt x="448475" y="470268"/>
                  </a:lnTo>
                  <a:lnTo>
                    <a:pt x="481279" y="438251"/>
                  </a:lnTo>
                  <a:lnTo>
                    <a:pt x="508368" y="401154"/>
                  </a:lnTo>
                  <a:lnTo>
                    <a:pt x="529031" y="359689"/>
                  </a:lnTo>
                  <a:lnTo>
                    <a:pt x="542505" y="314604"/>
                  </a:lnTo>
                  <a:lnTo>
                    <a:pt x="548081" y="266611"/>
                  </a:lnTo>
                  <a:close/>
                </a:path>
                <a:path w="548640" h="786765">
                  <a:moveTo>
                    <a:pt x="548081" y="1079"/>
                  </a:moveTo>
                  <a:lnTo>
                    <a:pt x="500367" y="5118"/>
                  </a:lnTo>
                  <a:lnTo>
                    <a:pt x="455841" y="16776"/>
                  </a:lnTo>
                  <a:lnTo>
                    <a:pt x="414616" y="35369"/>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60"/>
                  </a:lnTo>
                  <a:lnTo>
                    <a:pt x="47917" y="4064"/>
                  </a:lnTo>
                  <a:lnTo>
                    <a:pt x="0" y="0"/>
                  </a:lnTo>
                  <a:lnTo>
                    <a:pt x="5448" y="48171"/>
                  </a:lnTo>
                  <a:lnTo>
                    <a:pt x="18846" y="93433"/>
                  </a:lnTo>
                  <a:lnTo>
                    <a:pt x="39458" y="135051"/>
                  </a:lnTo>
                  <a:lnTo>
                    <a:pt x="66560" y="172313"/>
                  </a:lnTo>
                  <a:lnTo>
                    <a:pt x="99402" y="204457"/>
                  </a:lnTo>
                  <a:lnTo>
                    <a:pt x="137248" y="230771"/>
                  </a:lnTo>
                  <a:lnTo>
                    <a:pt x="179387" y="250507"/>
                  </a:lnTo>
                  <a:lnTo>
                    <a:pt x="225056" y="262928"/>
                  </a:lnTo>
                  <a:lnTo>
                    <a:pt x="273532" y="267309"/>
                  </a:lnTo>
                  <a:lnTo>
                    <a:pt x="274751" y="267309"/>
                  </a:lnTo>
                  <a:lnTo>
                    <a:pt x="323088" y="262953"/>
                  </a:lnTo>
                  <a:lnTo>
                    <a:pt x="368642" y="250583"/>
                  </a:lnTo>
                  <a:lnTo>
                    <a:pt x="410679" y="230936"/>
                  </a:lnTo>
                  <a:lnTo>
                    <a:pt x="448475" y="204736"/>
                  </a:lnTo>
                  <a:lnTo>
                    <a:pt x="481279" y="172732"/>
                  </a:lnTo>
                  <a:lnTo>
                    <a:pt x="508368" y="135623"/>
                  </a:lnTo>
                  <a:lnTo>
                    <a:pt x="529031" y="94157"/>
                  </a:lnTo>
                  <a:lnTo>
                    <a:pt x="542505" y="49072"/>
                  </a:lnTo>
                  <a:lnTo>
                    <a:pt x="548081" y="1079"/>
                  </a:lnTo>
                  <a:close/>
                </a:path>
              </a:pathLst>
            </a:custGeom>
            <a:solidFill>
              <a:srgbClr val="7ED3F1"/>
            </a:solidFill>
          </p:spPr>
          <p:txBody>
            <a:bodyPr wrap="square" lIns="0" tIns="0" rIns="0" bIns="0" rtlCol="0"/>
            <a:lstStyle/>
            <a:p>
              <a:endParaRPr dirty="0"/>
            </a:p>
          </p:txBody>
        </p:sp>
        <p:pic>
          <p:nvPicPr>
            <p:cNvPr id="316" name="object 314">
              <a:extLst>
                <a:ext uri="{FF2B5EF4-FFF2-40B4-BE49-F238E27FC236}">
                  <a16:creationId xmlns:a16="http://schemas.microsoft.com/office/drawing/2014/main" id="{B761B291-B870-D2C4-5FCF-A3A686919868}"/>
                </a:ext>
              </a:extLst>
            </p:cNvPr>
            <p:cNvPicPr/>
            <p:nvPr/>
          </p:nvPicPr>
          <p:blipFill>
            <a:blip r:embed="rId11" cstate="print"/>
            <a:stretch>
              <a:fillRect/>
            </a:stretch>
          </p:blipFill>
          <p:spPr>
            <a:xfrm>
              <a:off x="9251594" y="64269"/>
              <a:ext cx="106445" cy="107156"/>
            </a:xfrm>
            <a:prstGeom prst="rect">
              <a:avLst/>
            </a:prstGeom>
          </p:spPr>
        </p:pic>
        <p:sp>
          <p:nvSpPr>
            <p:cNvPr id="317" name="object 315">
              <a:extLst>
                <a:ext uri="{FF2B5EF4-FFF2-40B4-BE49-F238E27FC236}">
                  <a16:creationId xmlns:a16="http://schemas.microsoft.com/office/drawing/2014/main" id="{28373B9B-C5A2-5C00-50F9-7E8B590AD416}"/>
                </a:ext>
              </a:extLst>
            </p:cNvPr>
            <p:cNvSpPr/>
            <p:nvPr/>
          </p:nvSpPr>
          <p:spPr>
            <a:xfrm>
              <a:off x="9138939" y="2112754"/>
              <a:ext cx="332700" cy="477101"/>
            </a:xfrm>
            <a:custGeom>
              <a:avLst/>
              <a:gdLst/>
              <a:ahLst/>
              <a:cxnLst/>
              <a:rect l="l" t="t" r="r" b="b"/>
              <a:pathLst>
                <a:path w="548640" h="786764">
                  <a:moveTo>
                    <a:pt x="548081" y="520166"/>
                  </a:moveTo>
                  <a:lnTo>
                    <a:pt x="500367" y="524205"/>
                  </a:lnTo>
                  <a:lnTo>
                    <a:pt x="455841" y="535863"/>
                  </a:lnTo>
                  <a:lnTo>
                    <a:pt x="414616" y="554456"/>
                  </a:lnTo>
                  <a:lnTo>
                    <a:pt x="377355" y="579335"/>
                  </a:lnTo>
                  <a:lnTo>
                    <a:pt x="375183" y="581367"/>
                  </a:lnTo>
                  <a:lnTo>
                    <a:pt x="344728" y="609803"/>
                  </a:lnTo>
                  <a:lnTo>
                    <a:pt x="317411" y="645172"/>
                  </a:lnTo>
                  <a:lnTo>
                    <a:pt x="296087" y="684796"/>
                  </a:lnTo>
                  <a:lnTo>
                    <a:pt x="281419" y="727989"/>
                  </a:lnTo>
                  <a:lnTo>
                    <a:pt x="274078" y="774039"/>
                  </a:lnTo>
                  <a:lnTo>
                    <a:pt x="266915" y="727811"/>
                  </a:lnTo>
                  <a:lnTo>
                    <a:pt x="252361" y="684441"/>
                  </a:lnTo>
                  <a:lnTo>
                    <a:pt x="231101" y="644652"/>
                  </a:lnTo>
                  <a:lnTo>
                    <a:pt x="203796" y="609117"/>
                  </a:lnTo>
                  <a:lnTo>
                    <a:pt x="171157" y="578523"/>
                  </a:lnTo>
                  <a:lnTo>
                    <a:pt x="133845" y="553542"/>
                  </a:lnTo>
                  <a:lnTo>
                    <a:pt x="92532" y="534860"/>
                  </a:lnTo>
                  <a:lnTo>
                    <a:pt x="47917" y="523125"/>
                  </a:lnTo>
                  <a:lnTo>
                    <a:pt x="0" y="519099"/>
                  </a:lnTo>
                  <a:lnTo>
                    <a:pt x="5448" y="567258"/>
                  </a:lnTo>
                  <a:lnTo>
                    <a:pt x="18846" y="612521"/>
                  </a:lnTo>
                  <a:lnTo>
                    <a:pt x="39458" y="654138"/>
                  </a:lnTo>
                  <a:lnTo>
                    <a:pt x="66548" y="691400"/>
                  </a:lnTo>
                  <a:lnTo>
                    <a:pt x="99390" y="723544"/>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4">
                  <a:moveTo>
                    <a:pt x="548081" y="266611"/>
                  </a:moveTo>
                  <a:lnTo>
                    <a:pt x="500367" y="270649"/>
                  </a:lnTo>
                  <a:lnTo>
                    <a:pt x="455841" y="282308"/>
                  </a:lnTo>
                  <a:lnTo>
                    <a:pt x="414616" y="300901"/>
                  </a:lnTo>
                  <a:lnTo>
                    <a:pt x="377355" y="325780"/>
                  </a:lnTo>
                  <a:lnTo>
                    <a:pt x="344728" y="356247"/>
                  </a:lnTo>
                  <a:lnTo>
                    <a:pt x="317411" y="391629"/>
                  </a:lnTo>
                  <a:lnTo>
                    <a:pt x="296087" y="431253"/>
                  </a:lnTo>
                  <a:lnTo>
                    <a:pt x="281419" y="474446"/>
                  </a:lnTo>
                  <a:lnTo>
                    <a:pt x="274091" y="520534"/>
                  </a:lnTo>
                  <a:lnTo>
                    <a:pt x="266915" y="474256"/>
                  </a:lnTo>
                  <a:lnTo>
                    <a:pt x="252361" y="430885"/>
                  </a:lnTo>
                  <a:lnTo>
                    <a:pt x="231101"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87" y="516039"/>
                  </a:lnTo>
                  <a:lnTo>
                    <a:pt x="225056" y="528459"/>
                  </a:lnTo>
                  <a:lnTo>
                    <a:pt x="273532" y="532841"/>
                  </a:lnTo>
                  <a:lnTo>
                    <a:pt x="274751" y="532841"/>
                  </a:lnTo>
                  <a:lnTo>
                    <a:pt x="323088" y="528485"/>
                  </a:lnTo>
                  <a:lnTo>
                    <a:pt x="368642" y="516115"/>
                  </a:lnTo>
                  <a:lnTo>
                    <a:pt x="410679" y="496468"/>
                  </a:lnTo>
                  <a:lnTo>
                    <a:pt x="448475" y="470268"/>
                  </a:lnTo>
                  <a:lnTo>
                    <a:pt x="481279" y="438264"/>
                  </a:lnTo>
                  <a:lnTo>
                    <a:pt x="508368" y="401154"/>
                  </a:lnTo>
                  <a:lnTo>
                    <a:pt x="529031" y="359689"/>
                  </a:lnTo>
                  <a:lnTo>
                    <a:pt x="542505" y="314604"/>
                  </a:lnTo>
                  <a:lnTo>
                    <a:pt x="548081" y="266611"/>
                  </a:lnTo>
                  <a:close/>
                </a:path>
                <a:path w="548640" h="786764">
                  <a:moveTo>
                    <a:pt x="548081" y="1079"/>
                  </a:moveTo>
                  <a:lnTo>
                    <a:pt x="500367" y="5118"/>
                  </a:lnTo>
                  <a:lnTo>
                    <a:pt x="455841" y="16776"/>
                  </a:lnTo>
                  <a:lnTo>
                    <a:pt x="414616" y="35369"/>
                  </a:lnTo>
                  <a:lnTo>
                    <a:pt x="377355" y="60248"/>
                  </a:lnTo>
                  <a:lnTo>
                    <a:pt x="344728" y="90703"/>
                  </a:lnTo>
                  <a:lnTo>
                    <a:pt x="317411" y="126085"/>
                  </a:lnTo>
                  <a:lnTo>
                    <a:pt x="296087" y="165722"/>
                  </a:lnTo>
                  <a:lnTo>
                    <a:pt x="281419" y="208915"/>
                  </a:lnTo>
                  <a:lnTo>
                    <a:pt x="274091" y="255003"/>
                  </a:lnTo>
                  <a:lnTo>
                    <a:pt x="266915" y="208724"/>
                  </a:lnTo>
                  <a:lnTo>
                    <a:pt x="252361" y="165354"/>
                  </a:lnTo>
                  <a:lnTo>
                    <a:pt x="231101"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13"/>
                  </a:lnTo>
                  <a:lnTo>
                    <a:pt x="99402" y="204457"/>
                  </a:lnTo>
                  <a:lnTo>
                    <a:pt x="137248" y="230771"/>
                  </a:lnTo>
                  <a:lnTo>
                    <a:pt x="179387" y="250507"/>
                  </a:lnTo>
                  <a:lnTo>
                    <a:pt x="225056" y="262928"/>
                  </a:lnTo>
                  <a:lnTo>
                    <a:pt x="273532" y="267296"/>
                  </a:lnTo>
                  <a:lnTo>
                    <a:pt x="274751" y="267296"/>
                  </a:lnTo>
                  <a:lnTo>
                    <a:pt x="323088" y="262940"/>
                  </a:lnTo>
                  <a:lnTo>
                    <a:pt x="368642" y="250583"/>
                  </a:lnTo>
                  <a:lnTo>
                    <a:pt x="410679" y="230936"/>
                  </a:lnTo>
                  <a:lnTo>
                    <a:pt x="448475" y="204736"/>
                  </a:lnTo>
                  <a:lnTo>
                    <a:pt x="481279" y="172720"/>
                  </a:lnTo>
                  <a:lnTo>
                    <a:pt x="508368" y="135623"/>
                  </a:lnTo>
                  <a:lnTo>
                    <a:pt x="529031" y="94157"/>
                  </a:lnTo>
                  <a:lnTo>
                    <a:pt x="542505" y="49072"/>
                  </a:lnTo>
                  <a:lnTo>
                    <a:pt x="548081" y="1079"/>
                  </a:lnTo>
                  <a:close/>
                </a:path>
              </a:pathLst>
            </a:custGeom>
            <a:solidFill>
              <a:srgbClr val="2DB7EA"/>
            </a:solidFill>
          </p:spPr>
          <p:txBody>
            <a:bodyPr wrap="square" lIns="0" tIns="0" rIns="0" bIns="0" rtlCol="0"/>
            <a:lstStyle/>
            <a:p>
              <a:endParaRPr dirty="0"/>
            </a:p>
          </p:txBody>
        </p:sp>
        <p:pic>
          <p:nvPicPr>
            <p:cNvPr id="318" name="object 316">
              <a:extLst>
                <a:ext uri="{FF2B5EF4-FFF2-40B4-BE49-F238E27FC236}">
                  <a16:creationId xmlns:a16="http://schemas.microsoft.com/office/drawing/2014/main" id="{75042BEA-9E99-3640-8496-743515D2177E}"/>
                </a:ext>
              </a:extLst>
            </p:cNvPr>
            <p:cNvPicPr/>
            <p:nvPr/>
          </p:nvPicPr>
          <p:blipFill>
            <a:blip r:embed="rId10" cstate="print"/>
            <a:stretch>
              <a:fillRect/>
            </a:stretch>
          </p:blipFill>
          <p:spPr>
            <a:xfrm>
              <a:off x="9251594" y="2026765"/>
              <a:ext cx="106445" cy="107156"/>
            </a:xfrm>
            <a:prstGeom prst="rect">
              <a:avLst/>
            </a:prstGeom>
          </p:spPr>
        </p:pic>
        <p:sp>
          <p:nvSpPr>
            <p:cNvPr id="319" name="object 317">
              <a:extLst>
                <a:ext uri="{FF2B5EF4-FFF2-40B4-BE49-F238E27FC236}">
                  <a16:creationId xmlns:a16="http://schemas.microsoft.com/office/drawing/2014/main" id="{1F8E2761-3F84-DBAA-8701-6CA389DFE6FA}"/>
                </a:ext>
              </a:extLst>
            </p:cNvPr>
            <p:cNvSpPr/>
            <p:nvPr/>
          </p:nvSpPr>
          <p:spPr>
            <a:xfrm>
              <a:off x="9138939" y="1458591"/>
              <a:ext cx="332700" cy="477101"/>
            </a:xfrm>
            <a:custGeom>
              <a:avLst/>
              <a:gdLst/>
              <a:ahLst/>
              <a:cxnLst/>
              <a:rect l="l" t="t" r="r" b="b"/>
              <a:pathLst>
                <a:path w="548640" h="786764">
                  <a:moveTo>
                    <a:pt x="548081" y="520166"/>
                  </a:moveTo>
                  <a:lnTo>
                    <a:pt x="500367" y="524205"/>
                  </a:lnTo>
                  <a:lnTo>
                    <a:pt x="455841" y="535863"/>
                  </a:lnTo>
                  <a:lnTo>
                    <a:pt x="414616" y="554456"/>
                  </a:lnTo>
                  <a:lnTo>
                    <a:pt x="389775" y="571042"/>
                  </a:lnTo>
                  <a:lnTo>
                    <a:pt x="377355" y="579335"/>
                  </a:lnTo>
                  <a:lnTo>
                    <a:pt x="344728" y="609790"/>
                  </a:lnTo>
                  <a:lnTo>
                    <a:pt x="317411" y="645172"/>
                  </a:lnTo>
                  <a:lnTo>
                    <a:pt x="296087" y="684784"/>
                  </a:lnTo>
                  <a:lnTo>
                    <a:pt x="281419" y="727976"/>
                  </a:lnTo>
                  <a:lnTo>
                    <a:pt x="274078" y="774039"/>
                  </a:lnTo>
                  <a:lnTo>
                    <a:pt x="266915" y="727811"/>
                  </a:lnTo>
                  <a:lnTo>
                    <a:pt x="252361" y="684441"/>
                  </a:lnTo>
                  <a:lnTo>
                    <a:pt x="231101" y="644652"/>
                  </a:lnTo>
                  <a:lnTo>
                    <a:pt x="203796" y="609117"/>
                  </a:lnTo>
                  <a:lnTo>
                    <a:pt x="171157" y="578510"/>
                  </a:lnTo>
                  <a:lnTo>
                    <a:pt x="133845" y="553529"/>
                  </a:lnTo>
                  <a:lnTo>
                    <a:pt x="92532" y="534847"/>
                  </a:lnTo>
                  <a:lnTo>
                    <a:pt x="47917" y="523138"/>
                  </a:lnTo>
                  <a:lnTo>
                    <a:pt x="0" y="519061"/>
                  </a:lnTo>
                  <a:lnTo>
                    <a:pt x="5448" y="567245"/>
                  </a:lnTo>
                  <a:lnTo>
                    <a:pt x="18846" y="612508"/>
                  </a:lnTo>
                  <a:lnTo>
                    <a:pt x="39458" y="654138"/>
                  </a:lnTo>
                  <a:lnTo>
                    <a:pt x="66548" y="691388"/>
                  </a:lnTo>
                  <a:lnTo>
                    <a:pt x="67246" y="692073"/>
                  </a:lnTo>
                  <a:lnTo>
                    <a:pt x="99390" y="723544"/>
                  </a:lnTo>
                  <a:lnTo>
                    <a:pt x="137248" y="749858"/>
                  </a:lnTo>
                  <a:lnTo>
                    <a:pt x="179387" y="769594"/>
                  </a:lnTo>
                  <a:lnTo>
                    <a:pt x="225056" y="782015"/>
                  </a:lnTo>
                  <a:lnTo>
                    <a:pt x="273532" y="786384"/>
                  </a:lnTo>
                  <a:lnTo>
                    <a:pt x="274751" y="786384"/>
                  </a:lnTo>
                  <a:lnTo>
                    <a:pt x="323088" y="782027"/>
                  </a:lnTo>
                  <a:lnTo>
                    <a:pt x="368642" y="769670"/>
                  </a:lnTo>
                  <a:lnTo>
                    <a:pt x="410679" y="750023"/>
                  </a:lnTo>
                  <a:lnTo>
                    <a:pt x="448475" y="723823"/>
                  </a:lnTo>
                  <a:lnTo>
                    <a:pt x="481279" y="691807"/>
                  </a:lnTo>
                  <a:lnTo>
                    <a:pt x="508393" y="654697"/>
                  </a:lnTo>
                  <a:lnTo>
                    <a:pt x="529043" y="613244"/>
                  </a:lnTo>
                  <a:lnTo>
                    <a:pt x="542518" y="568172"/>
                  </a:lnTo>
                  <a:lnTo>
                    <a:pt x="548068" y="520204"/>
                  </a:lnTo>
                  <a:close/>
                </a:path>
                <a:path w="548640" h="786764">
                  <a:moveTo>
                    <a:pt x="548081" y="266611"/>
                  </a:moveTo>
                  <a:lnTo>
                    <a:pt x="500367" y="270649"/>
                  </a:lnTo>
                  <a:lnTo>
                    <a:pt x="455841" y="282295"/>
                  </a:lnTo>
                  <a:lnTo>
                    <a:pt x="414616" y="300901"/>
                  </a:lnTo>
                  <a:lnTo>
                    <a:pt x="377355" y="325767"/>
                  </a:lnTo>
                  <a:lnTo>
                    <a:pt x="344728" y="356235"/>
                  </a:lnTo>
                  <a:lnTo>
                    <a:pt x="317411" y="391617"/>
                  </a:lnTo>
                  <a:lnTo>
                    <a:pt x="296087" y="431241"/>
                  </a:lnTo>
                  <a:lnTo>
                    <a:pt x="281419" y="474446"/>
                  </a:lnTo>
                  <a:lnTo>
                    <a:pt x="274091" y="520522"/>
                  </a:lnTo>
                  <a:lnTo>
                    <a:pt x="266915" y="474256"/>
                  </a:lnTo>
                  <a:lnTo>
                    <a:pt x="252361" y="430885"/>
                  </a:lnTo>
                  <a:lnTo>
                    <a:pt x="231101"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87" y="516026"/>
                  </a:lnTo>
                  <a:lnTo>
                    <a:pt x="225056" y="528459"/>
                  </a:lnTo>
                  <a:lnTo>
                    <a:pt x="273532" y="532828"/>
                  </a:lnTo>
                  <a:lnTo>
                    <a:pt x="274751" y="532828"/>
                  </a:lnTo>
                  <a:lnTo>
                    <a:pt x="323088" y="528472"/>
                  </a:lnTo>
                  <a:lnTo>
                    <a:pt x="368642" y="516102"/>
                  </a:lnTo>
                  <a:lnTo>
                    <a:pt x="410679" y="496468"/>
                  </a:lnTo>
                  <a:lnTo>
                    <a:pt x="448475" y="470268"/>
                  </a:lnTo>
                  <a:lnTo>
                    <a:pt x="481279" y="438251"/>
                  </a:lnTo>
                  <a:lnTo>
                    <a:pt x="508368" y="401154"/>
                  </a:lnTo>
                  <a:lnTo>
                    <a:pt x="529031" y="359689"/>
                  </a:lnTo>
                  <a:lnTo>
                    <a:pt x="542505" y="314604"/>
                  </a:lnTo>
                  <a:lnTo>
                    <a:pt x="548081" y="266611"/>
                  </a:lnTo>
                  <a:close/>
                </a:path>
                <a:path w="548640" h="786764">
                  <a:moveTo>
                    <a:pt x="548081" y="1079"/>
                  </a:moveTo>
                  <a:lnTo>
                    <a:pt x="500367" y="5105"/>
                  </a:lnTo>
                  <a:lnTo>
                    <a:pt x="455841" y="16764"/>
                  </a:lnTo>
                  <a:lnTo>
                    <a:pt x="414616" y="35369"/>
                  </a:lnTo>
                  <a:lnTo>
                    <a:pt x="377355" y="60236"/>
                  </a:lnTo>
                  <a:lnTo>
                    <a:pt x="344728" y="90703"/>
                  </a:lnTo>
                  <a:lnTo>
                    <a:pt x="317411" y="126085"/>
                  </a:lnTo>
                  <a:lnTo>
                    <a:pt x="296087" y="165709"/>
                  </a:lnTo>
                  <a:lnTo>
                    <a:pt x="281419" y="208902"/>
                  </a:lnTo>
                  <a:lnTo>
                    <a:pt x="274091" y="254990"/>
                  </a:lnTo>
                  <a:lnTo>
                    <a:pt x="266915" y="208724"/>
                  </a:lnTo>
                  <a:lnTo>
                    <a:pt x="252361" y="165354"/>
                  </a:lnTo>
                  <a:lnTo>
                    <a:pt x="231101"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36"/>
                  </a:lnTo>
                  <a:lnTo>
                    <a:pt x="481279" y="172720"/>
                  </a:lnTo>
                  <a:lnTo>
                    <a:pt x="508368" y="135623"/>
                  </a:lnTo>
                  <a:lnTo>
                    <a:pt x="529031" y="94157"/>
                  </a:lnTo>
                  <a:lnTo>
                    <a:pt x="542505" y="49060"/>
                  </a:lnTo>
                  <a:lnTo>
                    <a:pt x="548081" y="1079"/>
                  </a:lnTo>
                  <a:close/>
                </a:path>
              </a:pathLst>
            </a:custGeom>
            <a:solidFill>
              <a:srgbClr val="7ED3F1"/>
            </a:solidFill>
          </p:spPr>
          <p:txBody>
            <a:bodyPr wrap="square" lIns="0" tIns="0" rIns="0" bIns="0" rtlCol="0"/>
            <a:lstStyle/>
            <a:p>
              <a:endParaRPr dirty="0"/>
            </a:p>
          </p:txBody>
        </p:sp>
        <p:pic>
          <p:nvPicPr>
            <p:cNvPr id="320" name="object 318">
              <a:extLst>
                <a:ext uri="{FF2B5EF4-FFF2-40B4-BE49-F238E27FC236}">
                  <a16:creationId xmlns:a16="http://schemas.microsoft.com/office/drawing/2014/main" id="{163E3FEE-E13D-6F5E-D5A9-E4FC1EBB3152}"/>
                </a:ext>
              </a:extLst>
            </p:cNvPr>
            <p:cNvPicPr/>
            <p:nvPr/>
          </p:nvPicPr>
          <p:blipFill>
            <a:blip r:embed="rId11" cstate="print"/>
            <a:stretch>
              <a:fillRect/>
            </a:stretch>
          </p:blipFill>
          <p:spPr>
            <a:xfrm>
              <a:off x="9251594" y="1372599"/>
              <a:ext cx="106445" cy="107156"/>
            </a:xfrm>
            <a:prstGeom prst="rect">
              <a:avLst/>
            </a:prstGeom>
          </p:spPr>
        </p:pic>
        <p:sp>
          <p:nvSpPr>
            <p:cNvPr id="321" name="object 319">
              <a:extLst>
                <a:ext uri="{FF2B5EF4-FFF2-40B4-BE49-F238E27FC236}">
                  <a16:creationId xmlns:a16="http://schemas.microsoft.com/office/drawing/2014/main" id="{97C090F6-6A1E-A67A-6511-B538DE532AC3}"/>
                </a:ext>
              </a:extLst>
            </p:cNvPr>
            <p:cNvSpPr/>
            <p:nvPr/>
          </p:nvSpPr>
          <p:spPr>
            <a:xfrm>
              <a:off x="9138939" y="3421088"/>
              <a:ext cx="332700" cy="477101"/>
            </a:xfrm>
            <a:custGeom>
              <a:avLst/>
              <a:gdLst/>
              <a:ahLst/>
              <a:cxnLst/>
              <a:rect l="l" t="t" r="r" b="b"/>
              <a:pathLst>
                <a:path w="548640" h="786764">
                  <a:moveTo>
                    <a:pt x="548081" y="520179"/>
                  </a:moveTo>
                  <a:lnTo>
                    <a:pt x="500367" y="524217"/>
                  </a:lnTo>
                  <a:lnTo>
                    <a:pt x="455841" y="535863"/>
                  </a:lnTo>
                  <a:lnTo>
                    <a:pt x="427418" y="548690"/>
                  </a:lnTo>
                  <a:lnTo>
                    <a:pt x="414616" y="554469"/>
                  </a:lnTo>
                  <a:lnTo>
                    <a:pt x="377355" y="579335"/>
                  </a:lnTo>
                  <a:lnTo>
                    <a:pt x="344716" y="609790"/>
                  </a:lnTo>
                  <a:lnTo>
                    <a:pt x="317411" y="645172"/>
                  </a:lnTo>
                  <a:lnTo>
                    <a:pt x="296087" y="684784"/>
                  </a:lnTo>
                  <a:lnTo>
                    <a:pt x="281419" y="727976"/>
                  </a:lnTo>
                  <a:lnTo>
                    <a:pt x="274078" y="774039"/>
                  </a:lnTo>
                  <a:lnTo>
                    <a:pt x="268224" y="736295"/>
                  </a:lnTo>
                  <a:lnTo>
                    <a:pt x="266915" y="727811"/>
                  </a:lnTo>
                  <a:lnTo>
                    <a:pt x="252361" y="684441"/>
                  </a:lnTo>
                  <a:lnTo>
                    <a:pt x="231101" y="644652"/>
                  </a:lnTo>
                  <a:lnTo>
                    <a:pt x="215646" y="624560"/>
                  </a:lnTo>
                  <a:lnTo>
                    <a:pt x="203796" y="609117"/>
                  </a:lnTo>
                  <a:lnTo>
                    <a:pt x="171157" y="578510"/>
                  </a:lnTo>
                  <a:lnTo>
                    <a:pt x="133845" y="553529"/>
                  </a:lnTo>
                  <a:lnTo>
                    <a:pt x="92532" y="534847"/>
                  </a:lnTo>
                  <a:lnTo>
                    <a:pt x="47917" y="523138"/>
                  </a:lnTo>
                  <a:lnTo>
                    <a:pt x="0" y="519061"/>
                  </a:lnTo>
                  <a:lnTo>
                    <a:pt x="5448" y="567245"/>
                  </a:lnTo>
                  <a:lnTo>
                    <a:pt x="18846" y="612508"/>
                  </a:lnTo>
                  <a:lnTo>
                    <a:pt x="39458" y="654138"/>
                  </a:lnTo>
                  <a:lnTo>
                    <a:pt x="66548" y="691388"/>
                  </a:lnTo>
                  <a:lnTo>
                    <a:pt x="99402" y="723544"/>
                  </a:lnTo>
                  <a:lnTo>
                    <a:pt x="137248" y="749858"/>
                  </a:lnTo>
                  <a:lnTo>
                    <a:pt x="179387" y="769594"/>
                  </a:lnTo>
                  <a:lnTo>
                    <a:pt x="225056" y="782015"/>
                  </a:lnTo>
                  <a:lnTo>
                    <a:pt x="273532" y="786384"/>
                  </a:lnTo>
                  <a:lnTo>
                    <a:pt x="274751" y="786384"/>
                  </a:lnTo>
                  <a:lnTo>
                    <a:pt x="323088" y="782027"/>
                  </a:lnTo>
                  <a:lnTo>
                    <a:pt x="368642" y="769670"/>
                  </a:lnTo>
                  <a:lnTo>
                    <a:pt x="410679" y="750023"/>
                  </a:lnTo>
                  <a:lnTo>
                    <a:pt x="448475" y="723823"/>
                  </a:lnTo>
                  <a:lnTo>
                    <a:pt x="481279" y="691819"/>
                  </a:lnTo>
                  <a:lnTo>
                    <a:pt x="488492" y="681939"/>
                  </a:lnTo>
                  <a:lnTo>
                    <a:pt x="508393" y="654697"/>
                  </a:lnTo>
                  <a:lnTo>
                    <a:pt x="529031" y="613257"/>
                  </a:lnTo>
                  <a:lnTo>
                    <a:pt x="542518" y="568172"/>
                  </a:lnTo>
                  <a:lnTo>
                    <a:pt x="548068" y="520204"/>
                  </a:lnTo>
                  <a:close/>
                </a:path>
                <a:path w="548640" h="786764">
                  <a:moveTo>
                    <a:pt x="548081" y="266611"/>
                  </a:moveTo>
                  <a:lnTo>
                    <a:pt x="500367" y="270637"/>
                  </a:lnTo>
                  <a:lnTo>
                    <a:pt x="455841" y="282295"/>
                  </a:lnTo>
                  <a:lnTo>
                    <a:pt x="414616" y="300901"/>
                  </a:lnTo>
                  <a:lnTo>
                    <a:pt x="377355" y="325767"/>
                  </a:lnTo>
                  <a:lnTo>
                    <a:pt x="344728" y="356235"/>
                  </a:lnTo>
                  <a:lnTo>
                    <a:pt x="317411" y="391617"/>
                  </a:lnTo>
                  <a:lnTo>
                    <a:pt x="296087" y="431241"/>
                  </a:lnTo>
                  <a:lnTo>
                    <a:pt x="281419" y="474433"/>
                  </a:lnTo>
                  <a:lnTo>
                    <a:pt x="274091" y="520522"/>
                  </a:lnTo>
                  <a:lnTo>
                    <a:pt x="266915" y="474256"/>
                  </a:lnTo>
                  <a:lnTo>
                    <a:pt x="252361" y="430885"/>
                  </a:lnTo>
                  <a:lnTo>
                    <a:pt x="231101"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76"/>
                  </a:lnTo>
                  <a:lnTo>
                    <a:pt x="137248" y="496290"/>
                  </a:lnTo>
                  <a:lnTo>
                    <a:pt x="179387" y="516026"/>
                  </a:lnTo>
                  <a:lnTo>
                    <a:pt x="225056" y="528447"/>
                  </a:lnTo>
                  <a:lnTo>
                    <a:pt x="273532" y="532828"/>
                  </a:lnTo>
                  <a:lnTo>
                    <a:pt x="274751" y="532828"/>
                  </a:lnTo>
                  <a:lnTo>
                    <a:pt x="323088" y="528472"/>
                  </a:lnTo>
                  <a:lnTo>
                    <a:pt x="368642" y="516102"/>
                  </a:lnTo>
                  <a:lnTo>
                    <a:pt x="410679" y="496455"/>
                  </a:lnTo>
                  <a:lnTo>
                    <a:pt x="448475" y="470255"/>
                  </a:lnTo>
                  <a:lnTo>
                    <a:pt x="481279" y="438251"/>
                  </a:lnTo>
                  <a:lnTo>
                    <a:pt x="508368" y="401142"/>
                  </a:lnTo>
                  <a:lnTo>
                    <a:pt x="529031" y="359689"/>
                  </a:lnTo>
                  <a:lnTo>
                    <a:pt x="542505" y="314591"/>
                  </a:lnTo>
                  <a:lnTo>
                    <a:pt x="548081" y="266611"/>
                  </a:lnTo>
                  <a:close/>
                </a:path>
                <a:path w="548640" h="786764">
                  <a:moveTo>
                    <a:pt x="548081" y="1079"/>
                  </a:moveTo>
                  <a:lnTo>
                    <a:pt x="500367" y="5118"/>
                  </a:lnTo>
                  <a:lnTo>
                    <a:pt x="455841" y="16764"/>
                  </a:lnTo>
                  <a:lnTo>
                    <a:pt x="414616" y="35369"/>
                  </a:lnTo>
                  <a:lnTo>
                    <a:pt x="377355" y="60236"/>
                  </a:lnTo>
                  <a:lnTo>
                    <a:pt x="344728" y="90703"/>
                  </a:lnTo>
                  <a:lnTo>
                    <a:pt x="317411" y="126085"/>
                  </a:lnTo>
                  <a:lnTo>
                    <a:pt x="296087" y="165709"/>
                  </a:lnTo>
                  <a:lnTo>
                    <a:pt x="281419" y="208915"/>
                  </a:lnTo>
                  <a:lnTo>
                    <a:pt x="274091" y="254990"/>
                  </a:lnTo>
                  <a:lnTo>
                    <a:pt x="266915" y="208724"/>
                  </a:lnTo>
                  <a:lnTo>
                    <a:pt x="252361" y="165354"/>
                  </a:lnTo>
                  <a:lnTo>
                    <a:pt x="231101"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36"/>
                  </a:lnTo>
                  <a:lnTo>
                    <a:pt x="481279" y="172720"/>
                  </a:lnTo>
                  <a:lnTo>
                    <a:pt x="508368" y="135623"/>
                  </a:lnTo>
                  <a:lnTo>
                    <a:pt x="529031" y="94157"/>
                  </a:lnTo>
                  <a:lnTo>
                    <a:pt x="542505" y="49072"/>
                  </a:lnTo>
                  <a:lnTo>
                    <a:pt x="548081" y="1079"/>
                  </a:lnTo>
                  <a:close/>
                </a:path>
              </a:pathLst>
            </a:custGeom>
            <a:solidFill>
              <a:srgbClr val="2DB7EA"/>
            </a:solidFill>
          </p:spPr>
          <p:txBody>
            <a:bodyPr wrap="square" lIns="0" tIns="0" rIns="0" bIns="0" rtlCol="0"/>
            <a:lstStyle/>
            <a:p>
              <a:endParaRPr dirty="0"/>
            </a:p>
          </p:txBody>
        </p:sp>
        <p:pic>
          <p:nvPicPr>
            <p:cNvPr id="322" name="object 320">
              <a:extLst>
                <a:ext uri="{FF2B5EF4-FFF2-40B4-BE49-F238E27FC236}">
                  <a16:creationId xmlns:a16="http://schemas.microsoft.com/office/drawing/2014/main" id="{938A78FE-12B9-C382-F9E3-1C12E3A49FD1}"/>
                </a:ext>
              </a:extLst>
            </p:cNvPr>
            <p:cNvPicPr/>
            <p:nvPr/>
          </p:nvPicPr>
          <p:blipFill>
            <a:blip r:embed="rId10" cstate="print"/>
            <a:stretch>
              <a:fillRect/>
            </a:stretch>
          </p:blipFill>
          <p:spPr>
            <a:xfrm>
              <a:off x="9251594" y="3335097"/>
              <a:ext cx="106445" cy="107156"/>
            </a:xfrm>
            <a:prstGeom prst="rect">
              <a:avLst/>
            </a:prstGeom>
          </p:spPr>
        </p:pic>
        <p:sp>
          <p:nvSpPr>
            <p:cNvPr id="323" name="object 321">
              <a:extLst>
                <a:ext uri="{FF2B5EF4-FFF2-40B4-BE49-F238E27FC236}">
                  <a16:creationId xmlns:a16="http://schemas.microsoft.com/office/drawing/2014/main" id="{70D4F446-FDB0-4213-6782-2E1326D2701C}"/>
                </a:ext>
              </a:extLst>
            </p:cNvPr>
            <p:cNvSpPr/>
            <p:nvPr/>
          </p:nvSpPr>
          <p:spPr>
            <a:xfrm>
              <a:off x="9138939" y="2766918"/>
              <a:ext cx="332700" cy="477101"/>
            </a:xfrm>
            <a:custGeom>
              <a:avLst/>
              <a:gdLst/>
              <a:ahLst/>
              <a:cxnLst/>
              <a:rect l="l" t="t" r="r" b="b"/>
              <a:pathLst>
                <a:path w="548640" h="786764">
                  <a:moveTo>
                    <a:pt x="548081" y="520179"/>
                  </a:moveTo>
                  <a:lnTo>
                    <a:pt x="500367" y="524205"/>
                  </a:lnTo>
                  <a:lnTo>
                    <a:pt x="455841" y="535863"/>
                  </a:lnTo>
                  <a:lnTo>
                    <a:pt x="414616" y="554469"/>
                  </a:lnTo>
                  <a:lnTo>
                    <a:pt x="377355" y="579335"/>
                  </a:lnTo>
                  <a:lnTo>
                    <a:pt x="375183" y="581367"/>
                  </a:lnTo>
                  <a:lnTo>
                    <a:pt x="344728" y="609803"/>
                  </a:lnTo>
                  <a:lnTo>
                    <a:pt x="317411" y="645172"/>
                  </a:lnTo>
                  <a:lnTo>
                    <a:pt x="296087" y="684796"/>
                  </a:lnTo>
                  <a:lnTo>
                    <a:pt x="281419" y="727989"/>
                  </a:lnTo>
                  <a:lnTo>
                    <a:pt x="274078" y="774039"/>
                  </a:lnTo>
                  <a:lnTo>
                    <a:pt x="268224" y="736307"/>
                  </a:lnTo>
                  <a:lnTo>
                    <a:pt x="266915" y="727824"/>
                  </a:lnTo>
                  <a:lnTo>
                    <a:pt x="252361" y="684453"/>
                  </a:lnTo>
                  <a:lnTo>
                    <a:pt x="244944" y="670598"/>
                  </a:lnTo>
                  <a:lnTo>
                    <a:pt x="231101"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51"/>
                  </a:lnTo>
                  <a:lnTo>
                    <a:pt x="66548" y="691400"/>
                  </a:lnTo>
                  <a:lnTo>
                    <a:pt x="98704" y="722884"/>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4">
                  <a:moveTo>
                    <a:pt x="548081" y="266611"/>
                  </a:moveTo>
                  <a:lnTo>
                    <a:pt x="500367" y="270649"/>
                  </a:lnTo>
                  <a:lnTo>
                    <a:pt x="455841" y="282308"/>
                  </a:lnTo>
                  <a:lnTo>
                    <a:pt x="414616" y="300901"/>
                  </a:lnTo>
                  <a:lnTo>
                    <a:pt x="377355" y="325780"/>
                  </a:lnTo>
                  <a:lnTo>
                    <a:pt x="344728" y="356247"/>
                  </a:lnTo>
                  <a:lnTo>
                    <a:pt x="317411" y="391629"/>
                  </a:lnTo>
                  <a:lnTo>
                    <a:pt x="296087" y="431253"/>
                  </a:lnTo>
                  <a:lnTo>
                    <a:pt x="281419" y="474446"/>
                  </a:lnTo>
                  <a:lnTo>
                    <a:pt x="274091" y="520534"/>
                  </a:lnTo>
                  <a:lnTo>
                    <a:pt x="266915" y="474256"/>
                  </a:lnTo>
                  <a:lnTo>
                    <a:pt x="252361" y="430885"/>
                  </a:lnTo>
                  <a:lnTo>
                    <a:pt x="231101"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87" y="516039"/>
                  </a:lnTo>
                  <a:lnTo>
                    <a:pt x="225056" y="528459"/>
                  </a:lnTo>
                  <a:lnTo>
                    <a:pt x="273532" y="532841"/>
                  </a:lnTo>
                  <a:lnTo>
                    <a:pt x="274751" y="532841"/>
                  </a:lnTo>
                  <a:lnTo>
                    <a:pt x="323088" y="528485"/>
                  </a:lnTo>
                  <a:lnTo>
                    <a:pt x="368642" y="516115"/>
                  </a:lnTo>
                  <a:lnTo>
                    <a:pt x="410679" y="496468"/>
                  </a:lnTo>
                  <a:lnTo>
                    <a:pt x="448475" y="470268"/>
                  </a:lnTo>
                  <a:lnTo>
                    <a:pt x="481279" y="438264"/>
                  </a:lnTo>
                  <a:lnTo>
                    <a:pt x="508368" y="401154"/>
                  </a:lnTo>
                  <a:lnTo>
                    <a:pt x="529031" y="359689"/>
                  </a:lnTo>
                  <a:lnTo>
                    <a:pt x="542505" y="314604"/>
                  </a:lnTo>
                  <a:lnTo>
                    <a:pt x="548081" y="266611"/>
                  </a:lnTo>
                  <a:close/>
                </a:path>
                <a:path w="548640" h="786764">
                  <a:moveTo>
                    <a:pt x="548081" y="1079"/>
                  </a:moveTo>
                  <a:lnTo>
                    <a:pt x="500367" y="5118"/>
                  </a:lnTo>
                  <a:lnTo>
                    <a:pt x="455841" y="16776"/>
                  </a:lnTo>
                  <a:lnTo>
                    <a:pt x="414616" y="35369"/>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87" y="250507"/>
                  </a:lnTo>
                  <a:lnTo>
                    <a:pt x="225056" y="262928"/>
                  </a:lnTo>
                  <a:lnTo>
                    <a:pt x="273532" y="267309"/>
                  </a:lnTo>
                  <a:lnTo>
                    <a:pt x="274751" y="267309"/>
                  </a:lnTo>
                  <a:lnTo>
                    <a:pt x="323088" y="262953"/>
                  </a:lnTo>
                  <a:lnTo>
                    <a:pt x="368642" y="250583"/>
                  </a:lnTo>
                  <a:lnTo>
                    <a:pt x="410679" y="230936"/>
                  </a:lnTo>
                  <a:lnTo>
                    <a:pt x="448475" y="204749"/>
                  </a:lnTo>
                  <a:lnTo>
                    <a:pt x="481279" y="172732"/>
                  </a:lnTo>
                  <a:lnTo>
                    <a:pt x="508368" y="135623"/>
                  </a:lnTo>
                  <a:lnTo>
                    <a:pt x="529031" y="94157"/>
                  </a:lnTo>
                  <a:lnTo>
                    <a:pt x="542505" y="49072"/>
                  </a:lnTo>
                  <a:lnTo>
                    <a:pt x="548081" y="1079"/>
                  </a:lnTo>
                  <a:close/>
                </a:path>
              </a:pathLst>
            </a:custGeom>
            <a:solidFill>
              <a:srgbClr val="7ED3F1"/>
            </a:solidFill>
          </p:spPr>
          <p:txBody>
            <a:bodyPr wrap="square" lIns="0" tIns="0" rIns="0" bIns="0" rtlCol="0"/>
            <a:lstStyle/>
            <a:p>
              <a:endParaRPr dirty="0"/>
            </a:p>
          </p:txBody>
        </p:sp>
        <p:pic>
          <p:nvPicPr>
            <p:cNvPr id="324" name="object 322">
              <a:extLst>
                <a:ext uri="{FF2B5EF4-FFF2-40B4-BE49-F238E27FC236}">
                  <a16:creationId xmlns:a16="http://schemas.microsoft.com/office/drawing/2014/main" id="{6D496C90-8C4E-E12A-84F3-FB31632C77E5}"/>
                </a:ext>
              </a:extLst>
            </p:cNvPr>
            <p:cNvPicPr/>
            <p:nvPr/>
          </p:nvPicPr>
          <p:blipFill>
            <a:blip r:embed="rId11" cstate="print"/>
            <a:stretch>
              <a:fillRect/>
            </a:stretch>
          </p:blipFill>
          <p:spPr>
            <a:xfrm>
              <a:off x="9251594" y="2680931"/>
              <a:ext cx="106445" cy="107156"/>
            </a:xfrm>
            <a:prstGeom prst="rect">
              <a:avLst/>
            </a:prstGeom>
          </p:spPr>
        </p:pic>
        <p:sp>
          <p:nvSpPr>
            <p:cNvPr id="325" name="object 323">
              <a:extLst>
                <a:ext uri="{FF2B5EF4-FFF2-40B4-BE49-F238E27FC236}">
                  <a16:creationId xmlns:a16="http://schemas.microsoft.com/office/drawing/2014/main" id="{A20514F1-5B85-84B1-93B7-B03E6DDF1874}"/>
                </a:ext>
              </a:extLst>
            </p:cNvPr>
            <p:cNvSpPr/>
            <p:nvPr/>
          </p:nvSpPr>
          <p:spPr>
            <a:xfrm>
              <a:off x="9138939" y="4729423"/>
              <a:ext cx="332700" cy="477101"/>
            </a:xfrm>
            <a:custGeom>
              <a:avLst/>
              <a:gdLst/>
              <a:ahLst/>
              <a:cxnLst/>
              <a:rect l="l" t="t" r="r" b="b"/>
              <a:pathLst>
                <a:path w="548640" h="786765">
                  <a:moveTo>
                    <a:pt x="548081" y="520179"/>
                  </a:moveTo>
                  <a:lnTo>
                    <a:pt x="500367" y="524205"/>
                  </a:lnTo>
                  <a:lnTo>
                    <a:pt x="455841" y="535863"/>
                  </a:lnTo>
                  <a:lnTo>
                    <a:pt x="427418" y="548690"/>
                  </a:lnTo>
                  <a:lnTo>
                    <a:pt x="414616" y="554469"/>
                  </a:lnTo>
                  <a:lnTo>
                    <a:pt x="377355" y="579335"/>
                  </a:lnTo>
                  <a:lnTo>
                    <a:pt x="344716" y="609790"/>
                  </a:lnTo>
                  <a:lnTo>
                    <a:pt x="317411" y="645160"/>
                  </a:lnTo>
                  <a:lnTo>
                    <a:pt x="296087" y="684784"/>
                  </a:lnTo>
                  <a:lnTo>
                    <a:pt x="281419" y="727976"/>
                  </a:lnTo>
                  <a:lnTo>
                    <a:pt x="274078" y="774039"/>
                  </a:lnTo>
                  <a:lnTo>
                    <a:pt x="268020" y="734974"/>
                  </a:lnTo>
                  <a:lnTo>
                    <a:pt x="266915" y="727811"/>
                  </a:lnTo>
                  <a:lnTo>
                    <a:pt x="252361" y="684441"/>
                  </a:lnTo>
                  <a:lnTo>
                    <a:pt x="231101" y="644639"/>
                  </a:lnTo>
                  <a:lnTo>
                    <a:pt x="203796" y="609104"/>
                  </a:lnTo>
                  <a:lnTo>
                    <a:pt x="171157" y="578510"/>
                  </a:lnTo>
                  <a:lnTo>
                    <a:pt x="133845" y="553529"/>
                  </a:lnTo>
                  <a:lnTo>
                    <a:pt x="92532" y="534847"/>
                  </a:lnTo>
                  <a:lnTo>
                    <a:pt x="47917" y="523113"/>
                  </a:lnTo>
                  <a:lnTo>
                    <a:pt x="0" y="519061"/>
                  </a:lnTo>
                  <a:lnTo>
                    <a:pt x="5448" y="567245"/>
                  </a:lnTo>
                  <a:lnTo>
                    <a:pt x="18846" y="612508"/>
                  </a:lnTo>
                  <a:lnTo>
                    <a:pt x="39458" y="654138"/>
                  </a:lnTo>
                  <a:lnTo>
                    <a:pt x="66548" y="691388"/>
                  </a:lnTo>
                  <a:lnTo>
                    <a:pt x="98704" y="722871"/>
                  </a:lnTo>
                  <a:lnTo>
                    <a:pt x="137248" y="749858"/>
                  </a:lnTo>
                  <a:lnTo>
                    <a:pt x="179387" y="769581"/>
                  </a:lnTo>
                  <a:lnTo>
                    <a:pt x="225056" y="782015"/>
                  </a:lnTo>
                  <a:lnTo>
                    <a:pt x="273532" y="786384"/>
                  </a:lnTo>
                  <a:lnTo>
                    <a:pt x="274751" y="786384"/>
                  </a:lnTo>
                  <a:lnTo>
                    <a:pt x="323088" y="782027"/>
                  </a:lnTo>
                  <a:lnTo>
                    <a:pt x="368642" y="769670"/>
                  </a:lnTo>
                  <a:lnTo>
                    <a:pt x="410679" y="750023"/>
                  </a:lnTo>
                  <a:lnTo>
                    <a:pt x="448475" y="723823"/>
                  </a:lnTo>
                  <a:lnTo>
                    <a:pt x="481279" y="691807"/>
                  </a:lnTo>
                  <a:lnTo>
                    <a:pt x="508393" y="654697"/>
                  </a:lnTo>
                  <a:lnTo>
                    <a:pt x="529043" y="613244"/>
                  </a:lnTo>
                  <a:lnTo>
                    <a:pt x="542518" y="568172"/>
                  </a:lnTo>
                  <a:lnTo>
                    <a:pt x="548068" y="520204"/>
                  </a:lnTo>
                  <a:close/>
                </a:path>
                <a:path w="548640" h="786765">
                  <a:moveTo>
                    <a:pt x="548081" y="266611"/>
                  </a:moveTo>
                  <a:lnTo>
                    <a:pt x="500367" y="270649"/>
                  </a:lnTo>
                  <a:lnTo>
                    <a:pt x="455841" y="282308"/>
                  </a:lnTo>
                  <a:lnTo>
                    <a:pt x="414616" y="300901"/>
                  </a:lnTo>
                  <a:lnTo>
                    <a:pt x="377355" y="325767"/>
                  </a:lnTo>
                  <a:lnTo>
                    <a:pt x="344728" y="356235"/>
                  </a:lnTo>
                  <a:lnTo>
                    <a:pt x="317411" y="391617"/>
                  </a:lnTo>
                  <a:lnTo>
                    <a:pt x="296087" y="431241"/>
                  </a:lnTo>
                  <a:lnTo>
                    <a:pt x="281419" y="474433"/>
                  </a:lnTo>
                  <a:lnTo>
                    <a:pt x="274091" y="520522"/>
                  </a:lnTo>
                  <a:lnTo>
                    <a:pt x="266915" y="474243"/>
                  </a:lnTo>
                  <a:lnTo>
                    <a:pt x="252361" y="430872"/>
                  </a:lnTo>
                  <a:lnTo>
                    <a:pt x="231101" y="391083"/>
                  </a:lnTo>
                  <a:lnTo>
                    <a:pt x="203796" y="355549"/>
                  </a:lnTo>
                  <a:lnTo>
                    <a:pt x="171157" y="324954"/>
                  </a:lnTo>
                  <a:lnTo>
                    <a:pt x="133845" y="299974"/>
                  </a:lnTo>
                  <a:lnTo>
                    <a:pt x="92532" y="281292"/>
                  </a:lnTo>
                  <a:lnTo>
                    <a:pt x="47917" y="269582"/>
                  </a:lnTo>
                  <a:lnTo>
                    <a:pt x="0" y="265518"/>
                  </a:lnTo>
                  <a:lnTo>
                    <a:pt x="5448" y="313690"/>
                  </a:lnTo>
                  <a:lnTo>
                    <a:pt x="18846" y="358952"/>
                  </a:lnTo>
                  <a:lnTo>
                    <a:pt x="39458" y="400570"/>
                  </a:lnTo>
                  <a:lnTo>
                    <a:pt x="66560" y="437832"/>
                  </a:lnTo>
                  <a:lnTo>
                    <a:pt x="99402" y="469976"/>
                  </a:lnTo>
                  <a:lnTo>
                    <a:pt x="137248" y="496290"/>
                  </a:lnTo>
                  <a:lnTo>
                    <a:pt x="179387" y="516026"/>
                  </a:lnTo>
                  <a:lnTo>
                    <a:pt x="225056" y="528447"/>
                  </a:lnTo>
                  <a:lnTo>
                    <a:pt x="273532" y="532828"/>
                  </a:lnTo>
                  <a:lnTo>
                    <a:pt x="274751" y="532828"/>
                  </a:lnTo>
                  <a:lnTo>
                    <a:pt x="323088" y="528472"/>
                  </a:lnTo>
                  <a:lnTo>
                    <a:pt x="368642" y="516102"/>
                  </a:lnTo>
                  <a:lnTo>
                    <a:pt x="410679" y="496455"/>
                  </a:lnTo>
                  <a:lnTo>
                    <a:pt x="448475" y="470268"/>
                  </a:lnTo>
                  <a:lnTo>
                    <a:pt x="481279" y="438251"/>
                  </a:lnTo>
                  <a:lnTo>
                    <a:pt x="508368" y="401154"/>
                  </a:lnTo>
                  <a:lnTo>
                    <a:pt x="529031" y="359689"/>
                  </a:lnTo>
                  <a:lnTo>
                    <a:pt x="542505" y="314604"/>
                  </a:lnTo>
                  <a:lnTo>
                    <a:pt x="548081" y="266611"/>
                  </a:lnTo>
                  <a:close/>
                </a:path>
                <a:path w="548640" h="786765">
                  <a:moveTo>
                    <a:pt x="548081" y="1079"/>
                  </a:moveTo>
                  <a:lnTo>
                    <a:pt x="500367" y="5105"/>
                  </a:lnTo>
                  <a:lnTo>
                    <a:pt x="455841" y="16764"/>
                  </a:lnTo>
                  <a:lnTo>
                    <a:pt x="414616" y="35369"/>
                  </a:lnTo>
                  <a:lnTo>
                    <a:pt x="377355" y="60236"/>
                  </a:lnTo>
                  <a:lnTo>
                    <a:pt x="344728" y="90703"/>
                  </a:lnTo>
                  <a:lnTo>
                    <a:pt x="317411" y="126085"/>
                  </a:lnTo>
                  <a:lnTo>
                    <a:pt x="296087" y="165709"/>
                  </a:lnTo>
                  <a:lnTo>
                    <a:pt x="281419" y="208902"/>
                  </a:lnTo>
                  <a:lnTo>
                    <a:pt x="274091" y="254990"/>
                  </a:lnTo>
                  <a:lnTo>
                    <a:pt x="266915" y="208724"/>
                  </a:lnTo>
                  <a:lnTo>
                    <a:pt x="252361" y="165354"/>
                  </a:lnTo>
                  <a:lnTo>
                    <a:pt x="231101" y="125552"/>
                  </a:lnTo>
                  <a:lnTo>
                    <a:pt x="203796" y="90017"/>
                  </a:lnTo>
                  <a:lnTo>
                    <a:pt x="171157" y="59423"/>
                  </a:lnTo>
                  <a:lnTo>
                    <a:pt x="133845" y="34442"/>
                  </a:lnTo>
                  <a:lnTo>
                    <a:pt x="92532" y="15760"/>
                  </a:lnTo>
                  <a:lnTo>
                    <a:pt x="47917" y="4051"/>
                  </a:lnTo>
                  <a:lnTo>
                    <a:pt x="0" y="0"/>
                  </a:lnTo>
                  <a:lnTo>
                    <a:pt x="5448" y="48158"/>
                  </a:lnTo>
                  <a:lnTo>
                    <a:pt x="18846" y="93421"/>
                  </a:lnTo>
                  <a:lnTo>
                    <a:pt x="39458" y="135039"/>
                  </a:lnTo>
                  <a:lnTo>
                    <a:pt x="66560" y="172300"/>
                  </a:lnTo>
                  <a:lnTo>
                    <a:pt x="99402" y="204444"/>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24"/>
                  </a:lnTo>
                  <a:lnTo>
                    <a:pt x="481279" y="172720"/>
                  </a:lnTo>
                  <a:lnTo>
                    <a:pt x="508368" y="135610"/>
                  </a:lnTo>
                  <a:lnTo>
                    <a:pt x="529031" y="94157"/>
                  </a:lnTo>
                  <a:lnTo>
                    <a:pt x="542505" y="49060"/>
                  </a:lnTo>
                  <a:lnTo>
                    <a:pt x="548081" y="1079"/>
                  </a:lnTo>
                  <a:close/>
                </a:path>
              </a:pathLst>
            </a:custGeom>
            <a:solidFill>
              <a:srgbClr val="2DB7EA"/>
            </a:solidFill>
          </p:spPr>
          <p:txBody>
            <a:bodyPr wrap="square" lIns="0" tIns="0" rIns="0" bIns="0" rtlCol="0"/>
            <a:lstStyle/>
            <a:p>
              <a:endParaRPr dirty="0"/>
            </a:p>
          </p:txBody>
        </p:sp>
        <p:pic>
          <p:nvPicPr>
            <p:cNvPr id="326" name="object 324">
              <a:extLst>
                <a:ext uri="{FF2B5EF4-FFF2-40B4-BE49-F238E27FC236}">
                  <a16:creationId xmlns:a16="http://schemas.microsoft.com/office/drawing/2014/main" id="{C3A05335-4C2E-F406-50B5-671C6AFF6C90}"/>
                </a:ext>
              </a:extLst>
            </p:cNvPr>
            <p:cNvPicPr/>
            <p:nvPr/>
          </p:nvPicPr>
          <p:blipFill>
            <a:blip r:embed="rId10" cstate="print"/>
            <a:stretch>
              <a:fillRect/>
            </a:stretch>
          </p:blipFill>
          <p:spPr>
            <a:xfrm>
              <a:off x="9251594" y="4643430"/>
              <a:ext cx="106445" cy="107156"/>
            </a:xfrm>
            <a:prstGeom prst="rect">
              <a:avLst/>
            </a:prstGeom>
          </p:spPr>
        </p:pic>
        <p:sp>
          <p:nvSpPr>
            <p:cNvPr id="327" name="object 325">
              <a:extLst>
                <a:ext uri="{FF2B5EF4-FFF2-40B4-BE49-F238E27FC236}">
                  <a16:creationId xmlns:a16="http://schemas.microsoft.com/office/drawing/2014/main" id="{551F19AC-7E35-F3C4-0F24-3708B5E6C166}"/>
                </a:ext>
              </a:extLst>
            </p:cNvPr>
            <p:cNvSpPr/>
            <p:nvPr/>
          </p:nvSpPr>
          <p:spPr>
            <a:xfrm>
              <a:off x="9138939" y="4075252"/>
              <a:ext cx="332700" cy="477101"/>
            </a:xfrm>
            <a:custGeom>
              <a:avLst/>
              <a:gdLst/>
              <a:ahLst/>
              <a:cxnLst/>
              <a:rect l="l" t="t" r="r" b="b"/>
              <a:pathLst>
                <a:path w="548640" h="786765">
                  <a:moveTo>
                    <a:pt x="548081" y="520179"/>
                  </a:moveTo>
                  <a:lnTo>
                    <a:pt x="500367" y="524217"/>
                  </a:lnTo>
                  <a:lnTo>
                    <a:pt x="455841" y="535876"/>
                  </a:lnTo>
                  <a:lnTo>
                    <a:pt x="414616" y="554469"/>
                  </a:lnTo>
                  <a:lnTo>
                    <a:pt x="402209" y="562749"/>
                  </a:lnTo>
                  <a:lnTo>
                    <a:pt x="377355" y="579335"/>
                  </a:lnTo>
                  <a:lnTo>
                    <a:pt x="344728" y="609803"/>
                  </a:lnTo>
                  <a:lnTo>
                    <a:pt x="317411" y="645172"/>
                  </a:lnTo>
                  <a:lnTo>
                    <a:pt x="296087" y="684796"/>
                  </a:lnTo>
                  <a:lnTo>
                    <a:pt x="281419" y="727976"/>
                  </a:lnTo>
                  <a:lnTo>
                    <a:pt x="274078" y="774039"/>
                  </a:lnTo>
                  <a:lnTo>
                    <a:pt x="268224" y="736307"/>
                  </a:lnTo>
                  <a:lnTo>
                    <a:pt x="266915" y="727824"/>
                  </a:lnTo>
                  <a:lnTo>
                    <a:pt x="252361" y="684441"/>
                  </a:lnTo>
                  <a:lnTo>
                    <a:pt x="231101"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38"/>
                  </a:lnTo>
                  <a:lnTo>
                    <a:pt x="66548" y="691388"/>
                  </a:lnTo>
                  <a:lnTo>
                    <a:pt x="99402" y="723557"/>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5">
                  <a:moveTo>
                    <a:pt x="548081" y="266623"/>
                  </a:moveTo>
                  <a:lnTo>
                    <a:pt x="500367" y="270662"/>
                  </a:lnTo>
                  <a:lnTo>
                    <a:pt x="455841" y="282308"/>
                  </a:lnTo>
                  <a:lnTo>
                    <a:pt x="414616" y="300913"/>
                  </a:lnTo>
                  <a:lnTo>
                    <a:pt x="377355" y="325780"/>
                  </a:lnTo>
                  <a:lnTo>
                    <a:pt x="344728" y="356247"/>
                  </a:lnTo>
                  <a:lnTo>
                    <a:pt x="317411" y="391629"/>
                  </a:lnTo>
                  <a:lnTo>
                    <a:pt x="296087" y="431253"/>
                  </a:lnTo>
                  <a:lnTo>
                    <a:pt x="281419" y="474446"/>
                  </a:lnTo>
                  <a:lnTo>
                    <a:pt x="274091" y="520534"/>
                  </a:lnTo>
                  <a:lnTo>
                    <a:pt x="266915" y="474256"/>
                  </a:lnTo>
                  <a:lnTo>
                    <a:pt x="252361" y="430885"/>
                  </a:lnTo>
                  <a:lnTo>
                    <a:pt x="231101"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87" y="516039"/>
                  </a:lnTo>
                  <a:lnTo>
                    <a:pt x="225056" y="528459"/>
                  </a:lnTo>
                  <a:lnTo>
                    <a:pt x="273532" y="532828"/>
                  </a:lnTo>
                  <a:lnTo>
                    <a:pt x="274751" y="532828"/>
                  </a:lnTo>
                  <a:lnTo>
                    <a:pt x="323088" y="528472"/>
                  </a:lnTo>
                  <a:lnTo>
                    <a:pt x="368642" y="516115"/>
                  </a:lnTo>
                  <a:lnTo>
                    <a:pt x="410679" y="496468"/>
                  </a:lnTo>
                  <a:lnTo>
                    <a:pt x="448475" y="470268"/>
                  </a:lnTo>
                  <a:lnTo>
                    <a:pt x="481279" y="438264"/>
                  </a:lnTo>
                  <a:lnTo>
                    <a:pt x="508368" y="401154"/>
                  </a:lnTo>
                  <a:lnTo>
                    <a:pt x="529031" y="359702"/>
                  </a:lnTo>
                  <a:lnTo>
                    <a:pt x="542505" y="314604"/>
                  </a:lnTo>
                  <a:lnTo>
                    <a:pt x="548081" y="266623"/>
                  </a:lnTo>
                  <a:close/>
                </a:path>
                <a:path w="548640" h="786765">
                  <a:moveTo>
                    <a:pt x="548081" y="1092"/>
                  </a:moveTo>
                  <a:lnTo>
                    <a:pt x="500367" y="5130"/>
                  </a:lnTo>
                  <a:lnTo>
                    <a:pt x="455841" y="16776"/>
                  </a:lnTo>
                  <a:lnTo>
                    <a:pt x="414616" y="35382"/>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60"/>
                  </a:lnTo>
                  <a:lnTo>
                    <a:pt x="47917" y="4051"/>
                  </a:lnTo>
                  <a:lnTo>
                    <a:pt x="0" y="0"/>
                  </a:lnTo>
                  <a:lnTo>
                    <a:pt x="5448" y="48158"/>
                  </a:lnTo>
                  <a:lnTo>
                    <a:pt x="18846" y="93421"/>
                  </a:lnTo>
                  <a:lnTo>
                    <a:pt x="39458" y="135051"/>
                  </a:lnTo>
                  <a:lnTo>
                    <a:pt x="66560" y="172300"/>
                  </a:lnTo>
                  <a:lnTo>
                    <a:pt x="99402" y="204457"/>
                  </a:lnTo>
                  <a:lnTo>
                    <a:pt x="137248" y="230771"/>
                  </a:lnTo>
                  <a:lnTo>
                    <a:pt x="179387" y="250494"/>
                  </a:lnTo>
                  <a:lnTo>
                    <a:pt x="225056" y="262928"/>
                  </a:lnTo>
                  <a:lnTo>
                    <a:pt x="273532" y="267309"/>
                  </a:lnTo>
                  <a:lnTo>
                    <a:pt x="274751" y="267309"/>
                  </a:lnTo>
                  <a:lnTo>
                    <a:pt x="323088" y="262940"/>
                  </a:lnTo>
                  <a:lnTo>
                    <a:pt x="368642" y="250583"/>
                  </a:lnTo>
                  <a:lnTo>
                    <a:pt x="410679" y="230936"/>
                  </a:lnTo>
                  <a:lnTo>
                    <a:pt x="448475" y="204736"/>
                  </a:lnTo>
                  <a:lnTo>
                    <a:pt x="481279" y="172720"/>
                  </a:lnTo>
                  <a:lnTo>
                    <a:pt x="508368" y="135623"/>
                  </a:lnTo>
                  <a:lnTo>
                    <a:pt x="529031" y="94170"/>
                  </a:lnTo>
                  <a:lnTo>
                    <a:pt x="542505" y="49072"/>
                  </a:lnTo>
                  <a:lnTo>
                    <a:pt x="548081" y="1092"/>
                  </a:lnTo>
                  <a:close/>
                </a:path>
              </a:pathLst>
            </a:custGeom>
            <a:solidFill>
              <a:srgbClr val="7ED3F1"/>
            </a:solidFill>
          </p:spPr>
          <p:txBody>
            <a:bodyPr wrap="square" lIns="0" tIns="0" rIns="0" bIns="0" rtlCol="0"/>
            <a:lstStyle/>
            <a:p>
              <a:endParaRPr dirty="0"/>
            </a:p>
          </p:txBody>
        </p:sp>
        <p:pic>
          <p:nvPicPr>
            <p:cNvPr id="328" name="object 326">
              <a:extLst>
                <a:ext uri="{FF2B5EF4-FFF2-40B4-BE49-F238E27FC236}">
                  <a16:creationId xmlns:a16="http://schemas.microsoft.com/office/drawing/2014/main" id="{FCDABF08-FBE7-61E8-1AEC-D836FD9F664B}"/>
                </a:ext>
              </a:extLst>
            </p:cNvPr>
            <p:cNvPicPr/>
            <p:nvPr/>
          </p:nvPicPr>
          <p:blipFill>
            <a:blip r:embed="rId11" cstate="print"/>
            <a:stretch>
              <a:fillRect/>
            </a:stretch>
          </p:blipFill>
          <p:spPr>
            <a:xfrm>
              <a:off x="9251594" y="3989263"/>
              <a:ext cx="106445" cy="107156"/>
            </a:xfrm>
            <a:prstGeom prst="rect">
              <a:avLst/>
            </a:prstGeom>
          </p:spPr>
        </p:pic>
        <p:sp>
          <p:nvSpPr>
            <p:cNvPr id="329" name="object 327">
              <a:extLst>
                <a:ext uri="{FF2B5EF4-FFF2-40B4-BE49-F238E27FC236}">
                  <a16:creationId xmlns:a16="http://schemas.microsoft.com/office/drawing/2014/main" id="{4AF75884-949F-4070-3E61-9F84A0CD6FBD}"/>
                </a:ext>
              </a:extLst>
            </p:cNvPr>
            <p:cNvSpPr/>
            <p:nvPr/>
          </p:nvSpPr>
          <p:spPr>
            <a:xfrm>
              <a:off x="8753854" y="3862863"/>
              <a:ext cx="332700" cy="477101"/>
            </a:xfrm>
            <a:custGeom>
              <a:avLst/>
              <a:gdLst/>
              <a:ahLst/>
              <a:cxnLst/>
              <a:rect l="l" t="t" r="r" b="b"/>
              <a:pathLst>
                <a:path w="548640" h="786765">
                  <a:moveTo>
                    <a:pt x="548081" y="786396"/>
                  </a:moveTo>
                  <a:lnTo>
                    <a:pt x="542645" y="738238"/>
                  </a:lnTo>
                  <a:lnTo>
                    <a:pt x="529247" y="692975"/>
                  </a:lnTo>
                  <a:lnTo>
                    <a:pt x="508622" y="651344"/>
                  </a:lnTo>
                  <a:lnTo>
                    <a:pt x="481533" y="614083"/>
                  </a:lnTo>
                  <a:lnTo>
                    <a:pt x="448691" y="581939"/>
                  </a:lnTo>
                  <a:lnTo>
                    <a:pt x="410832" y="555625"/>
                  </a:lnTo>
                  <a:lnTo>
                    <a:pt x="368706" y="535889"/>
                  </a:lnTo>
                  <a:lnTo>
                    <a:pt x="323037" y="523468"/>
                  </a:lnTo>
                  <a:lnTo>
                    <a:pt x="274561" y="519099"/>
                  </a:lnTo>
                  <a:lnTo>
                    <a:pt x="273342" y="519099"/>
                  </a:lnTo>
                  <a:lnTo>
                    <a:pt x="224993" y="523455"/>
                  </a:lnTo>
                  <a:lnTo>
                    <a:pt x="179438" y="535813"/>
                  </a:lnTo>
                  <a:lnTo>
                    <a:pt x="137414" y="555459"/>
                  </a:lnTo>
                  <a:lnTo>
                    <a:pt x="99618" y="581660"/>
                  </a:lnTo>
                  <a:lnTo>
                    <a:pt x="66827" y="613664"/>
                  </a:lnTo>
                  <a:lnTo>
                    <a:pt x="39738" y="650773"/>
                  </a:lnTo>
                  <a:lnTo>
                    <a:pt x="19088" y="692226"/>
                  </a:lnTo>
                  <a:lnTo>
                    <a:pt x="5613" y="737323"/>
                  </a:lnTo>
                  <a:lnTo>
                    <a:pt x="50" y="785304"/>
                  </a:lnTo>
                  <a:lnTo>
                    <a:pt x="47713" y="781265"/>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72"/>
                  </a:lnTo>
                  <a:lnTo>
                    <a:pt x="295732" y="621042"/>
                  </a:lnTo>
                  <a:lnTo>
                    <a:pt x="316992" y="660831"/>
                  </a:lnTo>
                  <a:lnTo>
                    <a:pt x="344284" y="696366"/>
                  </a:lnTo>
                  <a:lnTo>
                    <a:pt x="376936" y="726973"/>
                  </a:lnTo>
                  <a:lnTo>
                    <a:pt x="414248" y="751954"/>
                  </a:lnTo>
                  <a:lnTo>
                    <a:pt x="455549" y="770636"/>
                  </a:lnTo>
                  <a:lnTo>
                    <a:pt x="500176" y="782345"/>
                  </a:lnTo>
                  <a:lnTo>
                    <a:pt x="548081" y="786396"/>
                  </a:lnTo>
                  <a:close/>
                </a:path>
                <a:path w="548640" h="786765">
                  <a:moveTo>
                    <a:pt x="548081" y="520865"/>
                  </a:moveTo>
                  <a:lnTo>
                    <a:pt x="542645" y="472706"/>
                  </a:lnTo>
                  <a:lnTo>
                    <a:pt x="529247" y="427443"/>
                  </a:lnTo>
                  <a:lnTo>
                    <a:pt x="508622" y="385813"/>
                  </a:lnTo>
                  <a:lnTo>
                    <a:pt x="481533" y="348564"/>
                  </a:lnTo>
                  <a:lnTo>
                    <a:pt x="448691" y="316407"/>
                  </a:lnTo>
                  <a:lnTo>
                    <a:pt x="410832" y="290106"/>
                  </a:lnTo>
                  <a:lnTo>
                    <a:pt x="368706" y="270370"/>
                  </a:lnTo>
                  <a:lnTo>
                    <a:pt x="323037" y="257949"/>
                  </a:lnTo>
                  <a:lnTo>
                    <a:pt x="274561" y="253568"/>
                  </a:lnTo>
                  <a:lnTo>
                    <a:pt x="273342" y="253568"/>
                  </a:lnTo>
                  <a:lnTo>
                    <a:pt x="224993" y="257924"/>
                  </a:lnTo>
                  <a:lnTo>
                    <a:pt x="179438" y="270294"/>
                  </a:lnTo>
                  <a:lnTo>
                    <a:pt x="137414" y="289941"/>
                  </a:lnTo>
                  <a:lnTo>
                    <a:pt x="99618" y="316128"/>
                  </a:lnTo>
                  <a:lnTo>
                    <a:pt x="66827" y="348145"/>
                  </a:lnTo>
                  <a:lnTo>
                    <a:pt x="39738" y="385241"/>
                  </a:lnTo>
                  <a:lnTo>
                    <a:pt x="19088" y="426707"/>
                  </a:lnTo>
                  <a:lnTo>
                    <a:pt x="5613" y="471792"/>
                  </a:lnTo>
                  <a:lnTo>
                    <a:pt x="50" y="519785"/>
                  </a:lnTo>
                  <a:lnTo>
                    <a:pt x="47713" y="515747"/>
                  </a:lnTo>
                  <a:lnTo>
                    <a:pt x="92240" y="504101"/>
                  </a:lnTo>
                  <a:lnTo>
                    <a:pt x="133477" y="485495"/>
                  </a:lnTo>
                  <a:lnTo>
                    <a:pt x="170738" y="460629"/>
                  </a:lnTo>
                  <a:lnTo>
                    <a:pt x="203365" y="430161"/>
                  </a:lnTo>
                  <a:lnTo>
                    <a:pt x="230682" y="394779"/>
                  </a:lnTo>
                  <a:lnTo>
                    <a:pt x="252006" y="355142"/>
                  </a:lnTo>
                  <a:lnTo>
                    <a:pt x="266661" y="311950"/>
                  </a:lnTo>
                  <a:lnTo>
                    <a:pt x="274002" y="265874"/>
                  </a:lnTo>
                  <a:lnTo>
                    <a:pt x="281178" y="312140"/>
                  </a:lnTo>
                  <a:lnTo>
                    <a:pt x="295732" y="355511"/>
                  </a:lnTo>
                  <a:lnTo>
                    <a:pt x="316992" y="395300"/>
                  </a:lnTo>
                  <a:lnTo>
                    <a:pt x="344284" y="430847"/>
                  </a:lnTo>
                  <a:lnTo>
                    <a:pt x="376936" y="461441"/>
                  </a:lnTo>
                  <a:lnTo>
                    <a:pt x="414248" y="486422"/>
                  </a:lnTo>
                  <a:lnTo>
                    <a:pt x="455549" y="505104"/>
                  </a:lnTo>
                  <a:lnTo>
                    <a:pt x="500176" y="516813"/>
                  </a:lnTo>
                  <a:lnTo>
                    <a:pt x="548081" y="520865"/>
                  </a:lnTo>
                  <a:close/>
                </a:path>
                <a:path w="548640" h="786765">
                  <a:moveTo>
                    <a:pt x="548093" y="267322"/>
                  </a:moveTo>
                  <a:lnTo>
                    <a:pt x="543255" y="224586"/>
                  </a:lnTo>
                  <a:lnTo>
                    <a:pt x="542645" y="219151"/>
                  </a:lnTo>
                  <a:lnTo>
                    <a:pt x="529247" y="173888"/>
                  </a:lnTo>
                  <a:lnTo>
                    <a:pt x="522414" y="160096"/>
                  </a:lnTo>
                  <a:lnTo>
                    <a:pt x="508635" y="132257"/>
                  </a:lnTo>
                  <a:lnTo>
                    <a:pt x="492937" y="110693"/>
                  </a:lnTo>
                  <a:lnTo>
                    <a:pt x="481533" y="95008"/>
                  </a:lnTo>
                  <a:lnTo>
                    <a:pt x="448691" y="62852"/>
                  </a:lnTo>
                  <a:lnTo>
                    <a:pt x="410845" y="36550"/>
                  </a:lnTo>
                  <a:lnTo>
                    <a:pt x="368706" y="16802"/>
                  </a:lnTo>
                  <a:lnTo>
                    <a:pt x="323037" y="4381"/>
                  </a:lnTo>
                  <a:lnTo>
                    <a:pt x="274561" y="0"/>
                  </a:lnTo>
                  <a:lnTo>
                    <a:pt x="273342" y="0"/>
                  </a:lnTo>
                  <a:lnTo>
                    <a:pt x="224993" y="4356"/>
                  </a:lnTo>
                  <a:lnTo>
                    <a:pt x="179438" y="16725"/>
                  </a:lnTo>
                  <a:lnTo>
                    <a:pt x="137414" y="36372"/>
                  </a:lnTo>
                  <a:lnTo>
                    <a:pt x="99618" y="62560"/>
                  </a:lnTo>
                  <a:lnTo>
                    <a:pt x="82613" y="79171"/>
                  </a:lnTo>
                  <a:lnTo>
                    <a:pt x="66827" y="94576"/>
                  </a:lnTo>
                  <a:lnTo>
                    <a:pt x="39700" y="131686"/>
                  </a:lnTo>
                  <a:lnTo>
                    <a:pt x="19050" y="173139"/>
                  </a:lnTo>
                  <a:lnTo>
                    <a:pt x="5575" y="218224"/>
                  </a:lnTo>
                  <a:lnTo>
                    <a:pt x="0" y="266192"/>
                  </a:lnTo>
                  <a:lnTo>
                    <a:pt x="47713" y="262178"/>
                  </a:lnTo>
                  <a:lnTo>
                    <a:pt x="92240" y="250520"/>
                  </a:lnTo>
                  <a:lnTo>
                    <a:pt x="133477" y="231927"/>
                  </a:lnTo>
                  <a:lnTo>
                    <a:pt x="170751" y="207060"/>
                  </a:lnTo>
                  <a:lnTo>
                    <a:pt x="203377" y="176593"/>
                  </a:lnTo>
                  <a:lnTo>
                    <a:pt x="230682" y="141224"/>
                  </a:lnTo>
                  <a:lnTo>
                    <a:pt x="252006" y="101600"/>
                  </a:lnTo>
                  <a:lnTo>
                    <a:pt x="266674" y="58420"/>
                  </a:lnTo>
                  <a:lnTo>
                    <a:pt x="274002" y="12331"/>
                  </a:lnTo>
                  <a:lnTo>
                    <a:pt x="281178" y="58585"/>
                  </a:lnTo>
                  <a:lnTo>
                    <a:pt x="295732" y="101955"/>
                  </a:lnTo>
                  <a:lnTo>
                    <a:pt x="316992" y="141744"/>
                  </a:lnTo>
                  <a:lnTo>
                    <a:pt x="344284" y="177279"/>
                  </a:lnTo>
                  <a:lnTo>
                    <a:pt x="360083" y="192087"/>
                  </a:lnTo>
                  <a:lnTo>
                    <a:pt x="376936" y="207886"/>
                  </a:lnTo>
                  <a:lnTo>
                    <a:pt x="414248" y="232867"/>
                  </a:lnTo>
                  <a:lnTo>
                    <a:pt x="455561" y="251561"/>
                  </a:lnTo>
                  <a:lnTo>
                    <a:pt x="500176" y="263271"/>
                  </a:lnTo>
                  <a:lnTo>
                    <a:pt x="548093" y="267322"/>
                  </a:lnTo>
                  <a:close/>
                </a:path>
              </a:pathLst>
            </a:custGeom>
            <a:solidFill>
              <a:srgbClr val="2DB7EA"/>
            </a:solidFill>
          </p:spPr>
          <p:txBody>
            <a:bodyPr wrap="square" lIns="0" tIns="0" rIns="0" bIns="0" rtlCol="0"/>
            <a:lstStyle/>
            <a:p>
              <a:endParaRPr dirty="0"/>
            </a:p>
          </p:txBody>
        </p:sp>
        <p:pic>
          <p:nvPicPr>
            <p:cNvPr id="330" name="object 328">
              <a:extLst>
                <a:ext uri="{FF2B5EF4-FFF2-40B4-BE49-F238E27FC236}">
                  <a16:creationId xmlns:a16="http://schemas.microsoft.com/office/drawing/2014/main" id="{C9B6F317-8FEE-ED2B-828E-FBA274BF35F5}"/>
                </a:ext>
              </a:extLst>
            </p:cNvPr>
            <p:cNvPicPr/>
            <p:nvPr/>
          </p:nvPicPr>
          <p:blipFill>
            <a:blip r:embed="rId13" cstate="print"/>
            <a:stretch>
              <a:fillRect/>
            </a:stretch>
          </p:blipFill>
          <p:spPr>
            <a:xfrm>
              <a:off x="8867131" y="4318566"/>
              <a:ext cx="106445" cy="107156"/>
            </a:xfrm>
            <a:prstGeom prst="rect">
              <a:avLst/>
            </a:prstGeom>
          </p:spPr>
        </p:pic>
        <p:sp>
          <p:nvSpPr>
            <p:cNvPr id="331" name="object 329">
              <a:extLst>
                <a:ext uri="{FF2B5EF4-FFF2-40B4-BE49-F238E27FC236}">
                  <a16:creationId xmlns:a16="http://schemas.microsoft.com/office/drawing/2014/main" id="{9D1EA0BF-0D29-95E4-61B5-91216040D639}"/>
                </a:ext>
              </a:extLst>
            </p:cNvPr>
            <p:cNvSpPr/>
            <p:nvPr/>
          </p:nvSpPr>
          <p:spPr>
            <a:xfrm>
              <a:off x="8753854" y="4517034"/>
              <a:ext cx="332700" cy="477101"/>
            </a:xfrm>
            <a:custGeom>
              <a:avLst/>
              <a:gdLst/>
              <a:ahLst/>
              <a:cxnLst/>
              <a:rect l="l" t="t" r="r" b="b"/>
              <a:pathLst>
                <a:path w="548640" h="786765">
                  <a:moveTo>
                    <a:pt x="548081" y="786384"/>
                  </a:moveTo>
                  <a:lnTo>
                    <a:pt x="542645" y="738225"/>
                  </a:lnTo>
                  <a:lnTo>
                    <a:pt x="529247"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47"/>
                  </a:lnTo>
                  <a:lnTo>
                    <a:pt x="66827" y="613664"/>
                  </a:lnTo>
                  <a:lnTo>
                    <a:pt x="39738" y="650760"/>
                  </a:lnTo>
                  <a:lnTo>
                    <a:pt x="19088" y="692226"/>
                  </a:lnTo>
                  <a:lnTo>
                    <a:pt x="5613" y="737323"/>
                  </a:lnTo>
                  <a:lnTo>
                    <a:pt x="50" y="785304"/>
                  </a:lnTo>
                  <a:lnTo>
                    <a:pt x="47713" y="781265"/>
                  </a:lnTo>
                  <a:lnTo>
                    <a:pt x="92240" y="769620"/>
                  </a:lnTo>
                  <a:lnTo>
                    <a:pt x="133477" y="751014"/>
                  </a:lnTo>
                  <a:lnTo>
                    <a:pt x="170738" y="726147"/>
                  </a:lnTo>
                  <a:lnTo>
                    <a:pt x="203365" y="695680"/>
                  </a:lnTo>
                  <a:lnTo>
                    <a:pt x="230682" y="660298"/>
                  </a:lnTo>
                  <a:lnTo>
                    <a:pt x="252006" y="620674"/>
                  </a:lnTo>
                  <a:lnTo>
                    <a:pt x="266661" y="577469"/>
                  </a:lnTo>
                  <a:lnTo>
                    <a:pt x="274002" y="531393"/>
                  </a:lnTo>
                  <a:lnTo>
                    <a:pt x="281178" y="577659"/>
                  </a:lnTo>
                  <a:lnTo>
                    <a:pt x="295732" y="621030"/>
                  </a:lnTo>
                  <a:lnTo>
                    <a:pt x="316992" y="660831"/>
                  </a:lnTo>
                  <a:lnTo>
                    <a:pt x="344284" y="696366"/>
                  </a:lnTo>
                  <a:lnTo>
                    <a:pt x="376936" y="726960"/>
                  </a:lnTo>
                  <a:lnTo>
                    <a:pt x="414248" y="751941"/>
                  </a:lnTo>
                  <a:lnTo>
                    <a:pt x="455549" y="770623"/>
                  </a:lnTo>
                  <a:lnTo>
                    <a:pt x="500176" y="782332"/>
                  </a:lnTo>
                  <a:lnTo>
                    <a:pt x="548081" y="786384"/>
                  </a:lnTo>
                  <a:close/>
                </a:path>
                <a:path w="548640" h="786765">
                  <a:moveTo>
                    <a:pt x="548081" y="520852"/>
                  </a:moveTo>
                  <a:lnTo>
                    <a:pt x="542645" y="472694"/>
                  </a:lnTo>
                  <a:lnTo>
                    <a:pt x="529247" y="427431"/>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11"/>
                  </a:lnTo>
                  <a:lnTo>
                    <a:pt x="179438" y="270281"/>
                  </a:lnTo>
                  <a:lnTo>
                    <a:pt x="137414" y="289928"/>
                  </a:lnTo>
                  <a:lnTo>
                    <a:pt x="99618" y="316128"/>
                  </a:lnTo>
                  <a:lnTo>
                    <a:pt x="66827" y="348132"/>
                  </a:lnTo>
                  <a:lnTo>
                    <a:pt x="39738" y="385241"/>
                  </a:lnTo>
                  <a:lnTo>
                    <a:pt x="19088" y="426694"/>
                  </a:lnTo>
                  <a:lnTo>
                    <a:pt x="5613" y="471779"/>
                  </a:lnTo>
                  <a:lnTo>
                    <a:pt x="50" y="519772"/>
                  </a:lnTo>
                  <a:lnTo>
                    <a:pt x="47713" y="515734"/>
                  </a:lnTo>
                  <a:lnTo>
                    <a:pt x="92240" y="504075"/>
                  </a:lnTo>
                  <a:lnTo>
                    <a:pt x="133477" y="485482"/>
                  </a:lnTo>
                  <a:lnTo>
                    <a:pt x="170738" y="460616"/>
                  </a:lnTo>
                  <a:lnTo>
                    <a:pt x="203365" y="430149"/>
                  </a:lnTo>
                  <a:lnTo>
                    <a:pt x="230682" y="394766"/>
                  </a:lnTo>
                  <a:lnTo>
                    <a:pt x="252006" y="355142"/>
                  </a:lnTo>
                  <a:lnTo>
                    <a:pt x="266661" y="311950"/>
                  </a:lnTo>
                  <a:lnTo>
                    <a:pt x="274002" y="265861"/>
                  </a:lnTo>
                  <a:lnTo>
                    <a:pt x="281178" y="312127"/>
                  </a:lnTo>
                  <a:lnTo>
                    <a:pt x="295732" y="355511"/>
                  </a:lnTo>
                  <a:lnTo>
                    <a:pt x="316992" y="395300"/>
                  </a:lnTo>
                  <a:lnTo>
                    <a:pt x="344284" y="430834"/>
                  </a:lnTo>
                  <a:lnTo>
                    <a:pt x="376936" y="461429"/>
                  </a:lnTo>
                  <a:lnTo>
                    <a:pt x="414248" y="486410"/>
                  </a:lnTo>
                  <a:lnTo>
                    <a:pt x="455549" y="505091"/>
                  </a:lnTo>
                  <a:lnTo>
                    <a:pt x="500176" y="516801"/>
                  </a:lnTo>
                  <a:lnTo>
                    <a:pt x="548081" y="520852"/>
                  </a:lnTo>
                  <a:close/>
                </a:path>
                <a:path w="548640" h="786765">
                  <a:moveTo>
                    <a:pt x="548093" y="267322"/>
                  </a:moveTo>
                  <a:lnTo>
                    <a:pt x="543331" y="225285"/>
                  </a:lnTo>
                  <a:lnTo>
                    <a:pt x="542645" y="219151"/>
                  </a:lnTo>
                  <a:lnTo>
                    <a:pt x="529247" y="173875"/>
                  </a:lnTo>
                  <a:lnTo>
                    <a:pt x="508635" y="132245"/>
                  </a:lnTo>
                  <a:lnTo>
                    <a:pt x="481533" y="94996"/>
                  </a:lnTo>
                  <a:lnTo>
                    <a:pt x="448691" y="62852"/>
                  </a:lnTo>
                  <a:lnTo>
                    <a:pt x="426351" y="47332"/>
                  </a:lnTo>
                  <a:lnTo>
                    <a:pt x="410845" y="36537"/>
                  </a:lnTo>
                  <a:lnTo>
                    <a:pt x="391109" y="27305"/>
                  </a:lnTo>
                  <a:lnTo>
                    <a:pt x="368719" y="16814"/>
                  </a:lnTo>
                  <a:lnTo>
                    <a:pt x="323037" y="4368"/>
                  </a:lnTo>
                  <a:lnTo>
                    <a:pt x="274561" y="0"/>
                  </a:lnTo>
                  <a:lnTo>
                    <a:pt x="273342" y="0"/>
                  </a:lnTo>
                  <a:lnTo>
                    <a:pt x="224993" y="4356"/>
                  </a:lnTo>
                  <a:lnTo>
                    <a:pt x="179438" y="16725"/>
                  </a:lnTo>
                  <a:lnTo>
                    <a:pt x="137414" y="36372"/>
                  </a:lnTo>
                  <a:lnTo>
                    <a:pt x="99618" y="62560"/>
                  </a:lnTo>
                  <a:lnTo>
                    <a:pt x="98806" y="63347"/>
                  </a:lnTo>
                  <a:lnTo>
                    <a:pt x="66827" y="94576"/>
                  </a:lnTo>
                  <a:lnTo>
                    <a:pt x="39700" y="131686"/>
                  </a:lnTo>
                  <a:lnTo>
                    <a:pt x="19050" y="173139"/>
                  </a:lnTo>
                  <a:lnTo>
                    <a:pt x="5575" y="218211"/>
                  </a:lnTo>
                  <a:lnTo>
                    <a:pt x="0" y="266192"/>
                  </a:lnTo>
                  <a:lnTo>
                    <a:pt x="47713" y="262166"/>
                  </a:lnTo>
                  <a:lnTo>
                    <a:pt x="92240" y="250520"/>
                  </a:lnTo>
                  <a:lnTo>
                    <a:pt x="133477" y="231914"/>
                  </a:lnTo>
                  <a:lnTo>
                    <a:pt x="170751" y="207048"/>
                  </a:lnTo>
                  <a:lnTo>
                    <a:pt x="203377" y="176593"/>
                  </a:lnTo>
                  <a:lnTo>
                    <a:pt x="230682" y="141211"/>
                  </a:lnTo>
                  <a:lnTo>
                    <a:pt x="252006" y="101600"/>
                  </a:lnTo>
                  <a:lnTo>
                    <a:pt x="266674" y="58407"/>
                  </a:lnTo>
                  <a:lnTo>
                    <a:pt x="274002" y="12319"/>
                  </a:lnTo>
                  <a:lnTo>
                    <a:pt x="281178" y="58585"/>
                  </a:lnTo>
                  <a:lnTo>
                    <a:pt x="295732" y="101942"/>
                  </a:lnTo>
                  <a:lnTo>
                    <a:pt x="316992" y="141732"/>
                  </a:lnTo>
                  <a:lnTo>
                    <a:pt x="344284" y="177266"/>
                  </a:lnTo>
                  <a:lnTo>
                    <a:pt x="376936" y="207873"/>
                  </a:lnTo>
                  <a:lnTo>
                    <a:pt x="414248" y="232867"/>
                  </a:lnTo>
                  <a:lnTo>
                    <a:pt x="455561"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332" name="object 330">
              <a:extLst>
                <a:ext uri="{FF2B5EF4-FFF2-40B4-BE49-F238E27FC236}">
                  <a16:creationId xmlns:a16="http://schemas.microsoft.com/office/drawing/2014/main" id="{ADABDCD7-FE54-FEE7-6986-1110ACACF9FF}"/>
                </a:ext>
              </a:extLst>
            </p:cNvPr>
            <p:cNvPicPr/>
            <p:nvPr/>
          </p:nvPicPr>
          <p:blipFill>
            <a:blip r:embed="rId14" cstate="print"/>
            <a:stretch>
              <a:fillRect/>
            </a:stretch>
          </p:blipFill>
          <p:spPr>
            <a:xfrm>
              <a:off x="8867131" y="4972731"/>
              <a:ext cx="106445" cy="107156"/>
            </a:xfrm>
            <a:prstGeom prst="rect">
              <a:avLst/>
            </a:prstGeom>
          </p:spPr>
        </p:pic>
        <p:sp>
          <p:nvSpPr>
            <p:cNvPr id="333" name="object 331">
              <a:extLst>
                <a:ext uri="{FF2B5EF4-FFF2-40B4-BE49-F238E27FC236}">
                  <a16:creationId xmlns:a16="http://schemas.microsoft.com/office/drawing/2014/main" id="{23EE09C4-684A-73E5-DD3C-7E44481D882F}"/>
                </a:ext>
              </a:extLst>
            </p:cNvPr>
            <p:cNvSpPr/>
            <p:nvPr/>
          </p:nvSpPr>
          <p:spPr>
            <a:xfrm>
              <a:off x="8753854" y="2554529"/>
              <a:ext cx="332700" cy="477101"/>
            </a:xfrm>
            <a:custGeom>
              <a:avLst/>
              <a:gdLst/>
              <a:ahLst/>
              <a:cxnLst/>
              <a:rect l="l" t="t" r="r" b="b"/>
              <a:pathLst>
                <a:path w="548640" h="786764">
                  <a:moveTo>
                    <a:pt x="548081" y="786396"/>
                  </a:moveTo>
                  <a:lnTo>
                    <a:pt x="542645" y="738238"/>
                  </a:lnTo>
                  <a:lnTo>
                    <a:pt x="529247" y="692975"/>
                  </a:lnTo>
                  <a:lnTo>
                    <a:pt x="508622" y="651344"/>
                  </a:lnTo>
                  <a:lnTo>
                    <a:pt x="481533" y="614095"/>
                  </a:lnTo>
                  <a:lnTo>
                    <a:pt x="448691" y="581939"/>
                  </a:lnTo>
                  <a:lnTo>
                    <a:pt x="410832" y="555625"/>
                  </a:lnTo>
                  <a:lnTo>
                    <a:pt x="368706" y="535901"/>
                  </a:lnTo>
                  <a:lnTo>
                    <a:pt x="323037" y="523468"/>
                  </a:lnTo>
                  <a:lnTo>
                    <a:pt x="274561" y="519099"/>
                  </a:lnTo>
                  <a:lnTo>
                    <a:pt x="273342" y="519099"/>
                  </a:lnTo>
                  <a:lnTo>
                    <a:pt x="224993" y="523455"/>
                  </a:lnTo>
                  <a:lnTo>
                    <a:pt x="179438" y="535813"/>
                  </a:lnTo>
                  <a:lnTo>
                    <a:pt x="137414" y="555459"/>
                  </a:lnTo>
                  <a:lnTo>
                    <a:pt x="99618" y="581660"/>
                  </a:lnTo>
                  <a:lnTo>
                    <a:pt x="66827" y="613676"/>
                  </a:lnTo>
                  <a:lnTo>
                    <a:pt x="39738" y="650773"/>
                  </a:lnTo>
                  <a:lnTo>
                    <a:pt x="19088" y="692238"/>
                  </a:lnTo>
                  <a:lnTo>
                    <a:pt x="5613" y="737323"/>
                  </a:lnTo>
                  <a:lnTo>
                    <a:pt x="50" y="785317"/>
                  </a:lnTo>
                  <a:lnTo>
                    <a:pt x="47713" y="781278"/>
                  </a:lnTo>
                  <a:lnTo>
                    <a:pt x="92240" y="769632"/>
                  </a:lnTo>
                  <a:lnTo>
                    <a:pt x="133477" y="751027"/>
                  </a:lnTo>
                  <a:lnTo>
                    <a:pt x="170738" y="726160"/>
                  </a:lnTo>
                  <a:lnTo>
                    <a:pt x="203365" y="695693"/>
                  </a:lnTo>
                  <a:lnTo>
                    <a:pt x="230682" y="660311"/>
                  </a:lnTo>
                  <a:lnTo>
                    <a:pt x="252006" y="620687"/>
                  </a:lnTo>
                  <a:lnTo>
                    <a:pt x="266661" y="577481"/>
                  </a:lnTo>
                  <a:lnTo>
                    <a:pt x="274002" y="531406"/>
                  </a:lnTo>
                  <a:lnTo>
                    <a:pt x="281178" y="577672"/>
                  </a:lnTo>
                  <a:lnTo>
                    <a:pt x="295732" y="621042"/>
                  </a:lnTo>
                  <a:lnTo>
                    <a:pt x="316992" y="660844"/>
                  </a:lnTo>
                  <a:lnTo>
                    <a:pt x="344284" y="696379"/>
                  </a:lnTo>
                  <a:lnTo>
                    <a:pt x="376936" y="726973"/>
                  </a:lnTo>
                  <a:lnTo>
                    <a:pt x="414248" y="751954"/>
                  </a:lnTo>
                  <a:lnTo>
                    <a:pt x="455549" y="770636"/>
                  </a:lnTo>
                  <a:lnTo>
                    <a:pt x="500176" y="782345"/>
                  </a:lnTo>
                  <a:lnTo>
                    <a:pt x="548081" y="786396"/>
                  </a:lnTo>
                  <a:close/>
                </a:path>
                <a:path w="548640" h="786764">
                  <a:moveTo>
                    <a:pt x="548081" y="520865"/>
                  </a:moveTo>
                  <a:lnTo>
                    <a:pt x="542645" y="472706"/>
                  </a:lnTo>
                  <a:lnTo>
                    <a:pt x="529247" y="427443"/>
                  </a:lnTo>
                  <a:lnTo>
                    <a:pt x="508622" y="385813"/>
                  </a:lnTo>
                  <a:lnTo>
                    <a:pt x="481533" y="348564"/>
                  </a:lnTo>
                  <a:lnTo>
                    <a:pt x="448691" y="316407"/>
                  </a:lnTo>
                  <a:lnTo>
                    <a:pt x="410832" y="290106"/>
                  </a:lnTo>
                  <a:lnTo>
                    <a:pt x="368706" y="270370"/>
                  </a:lnTo>
                  <a:lnTo>
                    <a:pt x="323037" y="257949"/>
                  </a:lnTo>
                  <a:lnTo>
                    <a:pt x="274561" y="253568"/>
                  </a:lnTo>
                  <a:lnTo>
                    <a:pt x="273342" y="253568"/>
                  </a:lnTo>
                  <a:lnTo>
                    <a:pt x="224993" y="257924"/>
                  </a:lnTo>
                  <a:lnTo>
                    <a:pt x="179438" y="270294"/>
                  </a:lnTo>
                  <a:lnTo>
                    <a:pt x="137414" y="289941"/>
                  </a:lnTo>
                  <a:lnTo>
                    <a:pt x="99618" y="316128"/>
                  </a:lnTo>
                  <a:lnTo>
                    <a:pt x="66827" y="348145"/>
                  </a:lnTo>
                  <a:lnTo>
                    <a:pt x="39738" y="385254"/>
                  </a:lnTo>
                  <a:lnTo>
                    <a:pt x="19088" y="426707"/>
                  </a:lnTo>
                  <a:lnTo>
                    <a:pt x="5613" y="471805"/>
                  </a:lnTo>
                  <a:lnTo>
                    <a:pt x="50" y="519785"/>
                  </a:lnTo>
                  <a:lnTo>
                    <a:pt x="47713" y="515759"/>
                  </a:lnTo>
                  <a:lnTo>
                    <a:pt x="92240" y="504101"/>
                  </a:lnTo>
                  <a:lnTo>
                    <a:pt x="133477" y="485495"/>
                  </a:lnTo>
                  <a:lnTo>
                    <a:pt x="170738" y="460629"/>
                  </a:lnTo>
                  <a:lnTo>
                    <a:pt x="203365" y="430161"/>
                  </a:lnTo>
                  <a:lnTo>
                    <a:pt x="230682" y="394779"/>
                  </a:lnTo>
                  <a:lnTo>
                    <a:pt x="252006" y="355155"/>
                  </a:lnTo>
                  <a:lnTo>
                    <a:pt x="266661" y="311962"/>
                  </a:lnTo>
                  <a:lnTo>
                    <a:pt x="274002" y="265874"/>
                  </a:lnTo>
                  <a:lnTo>
                    <a:pt x="281178" y="312140"/>
                  </a:lnTo>
                  <a:lnTo>
                    <a:pt x="295732" y="355511"/>
                  </a:lnTo>
                  <a:lnTo>
                    <a:pt x="316992" y="395312"/>
                  </a:lnTo>
                  <a:lnTo>
                    <a:pt x="344284" y="430847"/>
                  </a:lnTo>
                  <a:lnTo>
                    <a:pt x="376936" y="461441"/>
                  </a:lnTo>
                  <a:lnTo>
                    <a:pt x="414248" y="486422"/>
                  </a:lnTo>
                  <a:lnTo>
                    <a:pt x="455549" y="505104"/>
                  </a:lnTo>
                  <a:lnTo>
                    <a:pt x="500176" y="516813"/>
                  </a:lnTo>
                  <a:lnTo>
                    <a:pt x="548081" y="520865"/>
                  </a:lnTo>
                  <a:close/>
                </a:path>
                <a:path w="548640" h="786764">
                  <a:moveTo>
                    <a:pt x="548093" y="267335"/>
                  </a:moveTo>
                  <a:lnTo>
                    <a:pt x="543864" y="230035"/>
                  </a:lnTo>
                  <a:lnTo>
                    <a:pt x="542645" y="219163"/>
                  </a:lnTo>
                  <a:lnTo>
                    <a:pt x="529247" y="173888"/>
                  </a:lnTo>
                  <a:lnTo>
                    <a:pt x="508635" y="132257"/>
                  </a:lnTo>
                  <a:lnTo>
                    <a:pt x="492937" y="110693"/>
                  </a:lnTo>
                  <a:lnTo>
                    <a:pt x="481533" y="95008"/>
                  </a:lnTo>
                  <a:lnTo>
                    <a:pt x="448691" y="62865"/>
                  </a:lnTo>
                  <a:lnTo>
                    <a:pt x="410845" y="36563"/>
                  </a:lnTo>
                  <a:lnTo>
                    <a:pt x="368706" y="16802"/>
                  </a:lnTo>
                  <a:lnTo>
                    <a:pt x="323037" y="4381"/>
                  </a:lnTo>
                  <a:lnTo>
                    <a:pt x="274561" y="0"/>
                  </a:lnTo>
                  <a:lnTo>
                    <a:pt x="273342" y="0"/>
                  </a:lnTo>
                  <a:lnTo>
                    <a:pt x="224993" y="4356"/>
                  </a:lnTo>
                  <a:lnTo>
                    <a:pt x="179438" y="16725"/>
                  </a:lnTo>
                  <a:lnTo>
                    <a:pt x="137414" y="36372"/>
                  </a:lnTo>
                  <a:lnTo>
                    <a:pt x="99618" y="62572"/>
                  </a:lnTo>
                  <a:lnTo>
                    <a:pt x="66827" y="94576"/>
                  </a:lnTo>
                  <a:lnTo>
                    <a:pt x="39700" y="131699"/>
                  </a:lnTo>
                  <a:lnTo>
                    <a:pt x="19050" y="173151"/>
                  </a:lnTo>
                  <a:lnTo>
                    <a:pt x="5575" y="218224"/>
                  </a:lnTo>
                  <a:lnTo>
                    <a:pt x="0" y="266204"/>
                  </a:lnTo>
                  <a:lnTo>
                    <a:pt x="47713" y="262191"/>
                  </a:lnTo>
                  <a:lnTo>
                    <a:pt x="92240" y="250532"/>
                  </a:lnTo>
                  <a:lnTo>
                    <a:pt x="133477" y="231940"/>
                  </a:lnTo>
                  <a:lnTo>
                    <a:pt x="161417" y="213283"/>
                  </a:lnTo>
                  <a:lnTo>
                    <a:pt x="170751" y="207060"/>
                  </a:lnTo>
                  <a:lnTo>
                    <a:pt x="203377" y="176606"/>
                  </a:lnTo>
                  <a:lnTo>
                    <a:pt x="230682" y="141224"/>
                  </a:lnTo>
                  <a:lnTo>
                    <a:pt x="252006" y="101612"/>
                  </a:lnTo>
                  <a:lnTo>
                    <a:pt x="266674" y="58420"/>
                  </a:lnTo>
                  <a:lnTo>
                    <a:pt x="274002" y="12331"/>
                  </a:lnTo>
                  <a:lnTo>
                    <a:pt x="281178" y="58597"/>
                  </a:lnTo>
                  <a:lnTo>
                    <a:pt x="295732" y="101955"/>
                  </a:lnTo>
                  <a:lnTo>
                    <a:pt x="316992" y="141744"/>
                  </a:lnTo>
                  <a:lnTo>
                    <a:pt x="344284" y="177279"/>
                  </a:lnTo>
                  <a:lnTo>
                    <a:pt x="360083" y="192087"/>
                  </a:lnTo>
                  <a:lnTo>
                    <a:pt x="376936" y="207886"/>
                  </a:lnTo>
                  <a:lnTo>
                    <a:pt x="414248" y="232867"/>
                  </a:lnTo>
                  <a:lnTo>
                    <a:pt x="455561" y="251561"/>
                  </a:lnTo>
                  <a:lnTo>
                    <a:pt x="500176" y="263271"/>
                  </a:lnTo>
                  <a:lnTo>
                    <a:pt x="548093" y="267335"/>
                  </a:lnTo>
                  <a:close/>
                </a:path>
              </a:pathLst>
            </a:custGeom>
            <a:solidFill>
              <a:srgbClr val="2DB7EA"/>
            </a:solidFill>
          </p:spPr>
          <p:txBody>
            <a:bodyPr wrap="square" lIns="0" tIns="0" rIns="0" bIns="0" rtlCol="0"/>
            <a:lstStyle/>
            <a:p>
              <a:endParaRPr dirty="0"/>
            </a:p>
          </p:txBody>
        </p:sp>
        <p:pic>
          <p:nvPicPr>
            <p:cNvPr id="334" name="object 332">
              <a:extLst>
                <a:ext uri="{FF2B5EF4-FFF2-40B4-BE49-F238E27FC236}">
                  <a16:creationId xmlns:a16="http://schemas.microsoft.com/office/drawing/2014/main" id="{2B217CDD-188C-EF2D-B4A2-38921E1AC193}"/>
                </a:ext>
              </a:extLst>
            </p:cNvPr>
            <p:cNvPicPr/>
            <p:nvPr/>
          </p:nvPicPr>
          <p:blipFill>
            <a:blip r:embed="rId13" cstate="print"/>
            <a:stretch>
              <a:fillRect/>
            </a:stretch>
          </p:blipFill>
          <p:spPr>
            <a:xfrm>
              <a:off x="8867131" y="3010234"/>
              <a:ext cx="106445" cy="107156"/>
            </a:xfrm>
            <a:prstGeom prst="rect">
              <a:avLst/>
            </a:prstGeom>
          </p:spPr>
        </p:pic>
        <p:sp>
          <p:nvSpPr>
            <p:cNvPr id="335" name="object 333">
              <a:extLst>
                <a:ext uri="{FF2B5EF4-FFF2-40B4-BE49-F238E27FC236}">
                  <a16:creationId xmlns:a16="http://schemas.microsoft.com/office/drawing/2014/main" id="{3C295021-3BEA-F859-55D9-F2928D47852E}"/>
                </a:ext>
              </a:extLst>
            </p:cNvPr>
            <p:cNvSpPr/>
            <p:nvPr/>
          </p:nvSpPr>
          <p:spPr>
            <a:xfrm>
              <a:off x="8753854" y="3208700"/>
              <a:ext cx="332700" cy="477101"/>
            </a:xfrm>
            <a:custGeom>
              <a:avLst/>
              <a:gdLst/>
              <a:ahLst/>
              <a:cxnLst/>
              <a:rect l="l" t="t" r="r" b="b"/>
              <a:pathLst>
                <a:path w="548640" h="786764">
                  <a:moveTo>
                    <a:pt x="548081" y="786384"/>
                  </a:moveTo>
                  <a:lnTo>
                    <a:pt x="542645" y="738225"/>
                  </a:lnTo>
                  <a:lnTo>
                    <a:pt x="529247" y="692962"/>
                  </a:lnTo>
                  <a:lnTo>
                    <a:pt x="508622" y="651344"/>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47"/>
                  </a:lnTo>
                  <a:lnTo>
                    <a:pt x="66827" y="613664"/>
                  </a:lnTo>
                  <a:lnTo>
                    <a:pt x="39738" y="650773"/>
                  </a:lnTo>
                  <a:lnTo>
                    <a:pt x="19088" y="692226"/>
                  </a:lnTo>
                  <a:lnTo>
                    <a:pt x="5613" y="737323"/>
                  </a:lnTo>
                  <a:lnTo>
                    <a:pt x="50" y="785317"/>
                  </a:lnTo>
                  <a:lnTo>
                    <a:pt x="47713" y="781278"/>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59"/>
                  </a:lnTo>
                  <a:lnTo>
                    <a:pt x="295732" y="621042"/>
                  </a:lnTo>
                  <a:lnTo>
                    <a:pt x="316992" y="660831"/>
                  </a:lnTo>
                  <a:lnTo>
                    <a:pt x="344284" y="696366"/>
                  </a:lnTo>
                  <a:lnTo>
                    <a:pt x="376936" y="726960"/>
                  </a:lnTo>
                  <a:lnTo>
                    <a:pt x="414248" y="751941"/>
                  </a:lnTo>
                  <a:lnTo>
                    <a:pt x="455549" y="770623"/>
                  </a:lnTo>
                  <a:lnTo>
                    <a:pt x="500176" y="782332"/>
                  </a:lnTo>
                  <a:lnTo>
                    <a:pt x="548081" y="786384"/>
                  </a:lnTo>
                  <a:close/>
                </a:path>
                <a:path w="548640" h="786764">
                  <a:moveTo>
                    <a:pt x="548081" y="520865"/>
                  </a:moveTo>
                  <a:lnTo>
                    <a:pt x="542645" y="472694"/>
                  </a:lnTo>
                  <a:lnTo>
                    <a:pt x="529247" y="427431"/>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11"/>
                  </a:lnTo>
                  <a:lnTo>
                    <a:pt x="179438" y="270281"/>
                  </a:lnTo>
                  <a:lnTo>
                    <a:pt x="137414" y="289928"/>
                  </a:lnTo>
                  <a:lnTo>
                    <a:pt x="99618" y="316115"/>
                  </a:lnTo>
                  <a:lnTo>
                    <a:pt x="66827" y="348132"/>
                  </a:lnTo>
                  <a:lnTo>
                    <a:pt x="39738" y="385241"/>
                  </a:lnTo>
                  <a:lnTo>
                    <a:pt x="19088" y="426694"/>
                  </a:lnTo>
                  <a:lnTo>
                    <a:pt x="5613" y="471792"/>
                  </a:lnTo>
                  <a:lnTo>
                    <a:pt x="50" y="519785"/>
                  </a:lnTo>
                  <a:lnTo>
                    <a:pt x="47713" y="515747"/>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40"/>
                  </a:lnTo>
                  <a:lnTo>
                    <a:pt x="295732" y="355511"/>
                  </a:lnTo>
                  <a:lnTo>
                    <a:pt x="316992" y="395300"/>
                  </a:lnTo>
                  <a:lnTo>
                    <a:pt x="344284" y="430834"/>
                  </a:lnTo>
                  <a:lnTo>
                    <a:pt x="376936" y="461429"/>
                  </a:lnTo>
                  <a:lnTo>
                    <a:pt x="414248" y="486410"/>
                  </a:lnTo>
                  <a:lnTo>
                    <a:pt x="455549" y="505091"/>
                  </a:lnTo>
                  <a:lnTo>
                    <a:pt x="500176" y="516801"/>
                  </a:lnTo>
                  <a:lnTo>
                    <a:pt x="548081" y="520865"/>
                  </a:lnTo>
                  <a:close/>
                </a:path>
                <a:path w="548640" h="786764">
                  <a:moveTo>
                    <a:pt x="548093" y="267322"/>
                  </a:moveTo>
                  <a:lnTo>
                    <a:pt x="543331" y="225285"/>
                  </a:lnTo>
                  <a:lnTo>
                    <a:pt x="542645" y="219151"/>
                  </a:lnTo>
                  <a:lnTo>
                    <a:pt x="529247" y="173888"/>
                  </a:lnTo>
                  <a:lnTo>
                    <a:pt x="519023" y="153263"/>
                  </a:lnTo>
                  <a:lnTo>
                    <a:pt x="508635" y="132257"/>
                  </a:lnTo>
                  <a:lnTo>
                    <a:pt x="481533" y="94996"/>
                  </a:lnTo>
                  <a:lnTo>
                    <a:pt x="448691" y="62852"/>
                  </a:lnTo>
                  <a:lnTo>
                    <a:pt x="410845" y="36550"/>
                  </a:lnTo>
                  <a:lnTo>
                    <a:pt x="368719" y="16814"/>
                  </a:lnTo>
                  <a:lnTo>
                    <a:pt x="323037" y="4368"/>
                  </a:lnTo>
                  <a:lnTo>
                    <a:pt x="274561" y="0"/>
                  </a:lnTo>
                  <a:lnTo>
                    <a:pt x="273342" y="0"/>
                  </a:lnTo>
                  <a:lnTo>
                    <a:pt x="224993" y="4356"/>
                  </a:lnTo>
                  <a:lnTo>
                    <a:pt x="179438" y="16725"/>
                  </a:lnTo>
                  <a:lnTo>
                    <a:pt x="137414" y="36360"/>
                  </a:lnTo>
                  <a:lnTo>
                    <a:pt x="99618" y="62560"/>
                  </a:lnTo>
                  <a:lnTo>
                    <a:pt x="82613" y="79171"/>
                  </a:lnTo>
                  <a:lnTo>
                    <a:pt x="66827" y="94576"/>
                  </a:lnTo>
                  <a:lnTo>
                    <a:pt x="39700" y="131686"/>
                  </a:lnTo>
                  <a:lnTo>
                    <a:pt x="19050" y="173139"/>
                  </a:lnTo>
                  <a:lnTo>
                    <a:pt x="5575" y="218224"/>
                  </a:lnTo>
                  <a:lnTo>
                    <a:pt x="0" y="266192"/>
                  </a:lnTo>
                  <a:lnTo>
                    <a:pt x="47713" y="262178"/>
                  </a:lnTo>
                  <a:lnTo>
                    <a:pt x="92240" y="250532"/>
                  </a:lnTo>
                  <a:lnTo>
                    <a:pt x="133477" y="231927"/>
                  </a:lnTo>
                  <a:lnTo>
                    <a:pt x="170738" y="207060"/>
                  </a:lnTo>
                  <a:lnTo>
                    <a:pt x="172910" y="205041"/>
                  </a:lnTo>
                  <a:lnTo>
                    <a:pt x="203377" y="176593"/>
                  </a:lnTo>
                  <a:lnTo>
                    <a:pt x="230682" y="141224"/>
                  </a:lnTo>
                  <a:lnTo>
                    <a:pt x="252006" y="101600"/>
                  </a:lnTo>
                  <a:lnTo>
                    <a:pt x="266674" y="58407"/>
                  </a:lnTo>
                  <a:lnTo>
                    <a:pt x="274002" y="12331"/>
                  </a:lnTo>
                  <a:lnTo>
                    <a:pt x="281178" y="58585"/>
                  </a:lnTo>
                  <a:lnTo>
                    <a:pt x="295732" y="101942"/>
                  </a:lnTo>
                  <a:lnTo>
                    <a:pt x="316992" y="141744"/>
                  </a:lnTo>
                  <a:lnTo>
                    <a:pt x="344284" y="177279"/>
                  </a:lnTo>
                  <a:lnTo>
                    <a:pt x="376936" y="207873"/>
                  </a:lnTo>
                  <a:lnTo>
                    <a:pt x="414248" y="232867"/>
                  </a:lnTo>
                  <a:lnTo>
                    <a:pt x="455561" y="251548"/>
                  </a:lnTo>
                  <a:lnTo>
                    <a:pt x="500176" y="263271"/>
                  </a:lnTo>
                  <a:lnTo>
                    <a:pt x="548093" y="267322"/>
                  </a:lnTo>
                  <a:close/>
                </a:path>
              </a:pathLst>
            </a:custGeom>
            <a:solidFill>
              <a:srgbClr val="7ED3F1"/>
            </a:solidFill>
          </p:spPr>
          <p:txBody>
            <a:bodyPr wrap="square" lIns="0" tIns="0" rIns="0" bIns="0" rtlCol="0"/>
            <a:lstStyle/>
            <a:p>
              <a:endParaRPr dirty="0"/>
            </a:p>
          </p:txBody>
        </p:sp>
        <p:pic>
          <p:nvPicPr>
            <p:cNvPr id="336" name="object 334">
              <a:extLst>
                <a:ext uri="{FF2B5EF4-FFF2-40B4-BE49-F238E27FC236}">
                  <a16:creationId xmlns:a16="http://schemas.microsoft.com/office/drawing/2014/main" id="{AC8DF193-0B48-7DD2-097D-120010726251}"/>
                </a:ext>
              </a:extLst>
            </p:cNvPr>
            <p:cNvPicPr/>
            <p:nvPr/>
          </p:nvPicPr>
          <p:blipFill>
            <a:blip r:embed="rId14" cstate="print"/>
            <a:stretch>
              <a:fillRect/>
            </a:stretch>
          </p:blipFill>
          <p:spPr>
            <a:xfrm>
              <a:off x="8867131" y="3664400"/>
              <a:ext cx="106445" cy="107156"/>
            </a:xfrm>
            <a:prstGeom prst="rect">
              <a:avLst/>
            </a:prstGeom>
          </p:spPr>
        </p:pic>
        <p:sp>
          <p:nvSpPr>
            <p:cNvPr id="337" name="object 335">
              <a:extLst>
                <a:ext uri="{FF2B5EF4-FFF2-40B4-BE49-F238E27FC236}">
                  <a16:creationId xmlns:a16="http://schemas.microsoft.com/office/drawing/2014/main" id="{3C167C17-C595-8E04-4428-285AE66148DD}"/>
                </a:ext>
              </a:extLst>
            </p:cNvPr>
            <p:cNvSpPr/>
            <p:nvPr/>
          </p:nvSpPr>
          <p:spPr>
            <a:xfrm>
              <a:off x="8753854" y="1246203"/>
              <a:ext cx="332700" cy="477101"/>
            </a:xfrm>
            <a:custGeom>
              <a:avLst/>
              <a:gdLst/>
              <a:ahLst/>
              <a:cxnLst/>
              <a:rect l="l" t="t" r="r" b="b"/>
              <a:pathLst>
                <a:path w="548640" h="786764">
                  <a:moveTo>
                    <a:pt x="548081" y="786384"/>
                  </a:moveTo>
                  <a:lnTo>
                    <a:pt x="542645" y="738225"/>
                  </a:lnTo>
                  <a:lnTo>
                    <a:pt x="529247"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47"/>
                  </a:lnTo>
                  <a:lnTo>
                    <a:pt x="66827" y="613664"/>
                  </a:lnTo>
                  <a:lnTo>
                    <a:pt x="39738" y="650760"/>
                  </a:lnTo>
                  <a:lnTo>
                    <a:pt x="19088" y="692226"/>
                  </a:lnTo>
                  <a:lnTo>
                    <a:pt x="5613" y="737323"/>
                  </a:lnTo>
                  <a:lnTo>
                    <a:pt x="50" y="785304"/>
                  </a:lnTo>
                  <a:lnTo>
                    <a:pt x="47713" y="781278"/>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59"/>
                  </a:lnTo>
                  <a:lnTo>
                    <a:pt x="295732" y="621030"/>
                  </a:lnTo>
                  <a:lnTo>
                    <a:pt x="316992" y="660831"/>
                  </a:lnTo>
                  <a:lnTo>
                    <a:pt x="344284" y="696366"/>
                  </a:lnTo>
                  <a:lnTo>
                    <a:pt x="376936" y="726960"/>
                  </a:lnTo>
                  <a:lnTo>
                    <a:pt x="414248" y="751941"/>
                  </a:lnTo>
                  <a:lnTo>
                    <a:pt x="455549" y="770623"/>
                  </a:lnTo>
                  <a:lnTo>
                    <a:pt x="500176" y="782332"/>
                  </a:lnTo>
                  <a:lnTo>
                    <a:pt x="548081" y="786384"/>
                  </a:lnTo>
                  <a:close/>
                </a:path>
                <a:path w="548640" h="786764">
                  <a:moveTo>
                    <a:pt x="548081" y="520852"/>
                  </a:moveTo>
                  <a:lnTo>
                    <a:pt x="542645" y="472694"/>
                  </a:lnTo>
                  <a:lnTo>
                    <a:pt x="529247" y="427431"/>
                  </a:lnTo>
                  <a:lnTo>
                    <a:pt x="508622" y="385813"/>
                  </a:lnTo>
                  <a:lnTo>
                    <a:pt x="481533" y="348551"/>
                  </a:lnTo>
                  <a:lnTo>
                    <a:pt x="448691" y="316395"/>
                  </a:lnTo>
                  <a:lnTo>
                    <a:pt x="410832" y="290093"/>
                  </a:lnTo>
                  <a:lnTo>
                    <a:pt x="368706" y="270357"/>
                  </a:lnTo>
                  <a:lnTo>
                    <a:pt x="323037" y="257937"/>
                  </a:lnTo>
                  <a:lnTo>
                    <a:pt x="274561" y="253555"/>
                  </a:lnTo>
                  <a:lnTo>
                    <a:pt x="273342" y="253555"/>
                  </a:lnTo>
                  <a:lnTo>
                    <a:pt x="224993" y="257911"/>
                  </a:lnTo>
                  <a:lnTo>
                    <a:pt x="179438" y="270281"/>
                  </a:lnTo>
                  <a:lnTo>
                    <a:pt x="137414" y="289928"/>
                  </a:lnTo>
                  <a:lnTo>
                    <a:pt x="99618" y="316115"/>
                  </a:lnTo>
                  <a:lnTo>
                    <a:pt x="66827" y="348132"/>
                  </a:lnTo>
                  <a:lnTo>
                    <a:pt x="39738" y="385241"/>
                  </a:lnTo>
                  <a:lnTo>
                    <a:pt x="19088" y="426694"/>
                  </a:lnTo>
                  <a:lnTo>
                    <a:pt x="5613" y="471792"/>
                  </a:lnTo>
                  <a:lnTo>
                    <a:pt x="50" y="519785"/>
                  </a:lnTo>
                  <a:lnTo>
                    <a:pt x="47713" y="515747"/>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27"/>
                  </a:lnTo>
                  <a:lnTo>
                    <a:pt x="295732" y="355511"/>
                  </a:lnTo>
                  <a:lnTo>
                    <a:pt x="316992" y="395300"/>
                  </a:lnTo>
                  <a:lnTo>
                    <a:pt x="344284" y="430834"/>
                  </a:lnTo>
                  <a:lnTo>
                    <a:pt x="376936" y="461429"/>
                  </a:lnTo>
                  <a:lnTo>
                    <a:pt x="414248" y="486410"/>
                  </a:lnTo>
                  <a:lnTo>
                    <a:pt x="455549" y="505091"/>
                  </a:lnTo>
                  <a:lnTo>
                    <a:pt x="500176" y="516801"/>
                  </a:lnTo>
                  <a:lnTo>
                    <a:pt x="548081" y="520852"/>
                  </a:lnTo>
                  <a:close/>
                </a:path>
                <a:path w="548640" h="786764">
                  <a:moveTo>
                    <a:pt x="548093" y="267322"/>
                  </a:moveTo>
                  <a:lnTo>
                    <a:pt x="543331" y="225285"/>
                  </a:lnTo>
                  <a:lnTo>
                    <a:pt x="542645" y="219151"/>
                  </a:lnTo>
                  <a:lnTo>
                    <a:pt x="529247" y="173875"/>
                  </a:lnTo>
                  <a:lnTo>
                    <a:pt x="508635" y="132257"/>
                  </a:lnTo>
                  <a:lnTo>
                    <a:pt x="481533" y="94996"/>
                  </a:lnTo>
                  <a:lnTo>
                    <a:pt x="448691" y="62852"/>
                  </a:lnTo>
                  <a:lnTo>
                    <a:pt x="410845" y="36550"/>
                  </a:lnTo>
                  <a:lnTo>
                    <a:pt x="368706" y="16789"/>
                  </a:lnTo>
                  <a:lnTo>
                    <a:pt x="323037" y="4368"/>
                  </a:lnTo>
                  <a:lnTo>
                    <a:pt x="274561" y="0"/>
                  </a:lnTo>
                  <a:lnTo>
                    <a:pt x="273342" y="0"/>
                  </a:lnTo>
                  <a:lnTo>
                    <a:pt x="224993" y="4356"/>
                  </a:lnTo>
                  <a:lnTo>
                    <a:pt x="179438" y="16713"/>
                  </a:lnTo>
                  <a:lnTo>
                    <a:pt x="137414" y="36360"/>
                  </a:lnTo>
                  <a:lnTo>
                    <a:pt x="99618" y="62560"/>
                  </a:lnTo>
                  <a:lnTo>
                    <a:pt x="98806" y="63347"/>
                  </a:lnTo>
                  <a:lnTo>
                    <a:pt x="66827" y="94576"/>
                  </a:lnTo>
                  <a:lnTo>
                    <a:pt x="39700" y="131686"/>
                  </a:lnTo>
                  <a:lnTo>
                    <a:pt x="19050" y="173139"/>
                  </a:lnTo>
                  <a:lnTo>
                    <a:pt x="5575" y="218211"/>
                  </a:lnTo>
                  <a:lnTo>
                    <a:pt x="0" y="266192"/>
                  </a:lnTo>
                  <a:lnTo>
                    <a:pt x="47713" y="262178"/>
                  </a:lnTo>
                  <a:lnTo>
                    <a:pt x="92240" y="250532"/>
                  </a:lnTo>
                  <a:lnTo>
                    <a:pt x="133477" y="231927"/>
                  </a:lnTo>
                  <a:lnTo>
                    <a:pt x="170738" y="207060"/>
                  </a:lnTo>
                  <a:lnTo>
                    <a:pt x="172910" y="205041"/>
                  </a:lnTo>
                  <a:lnTo>
                    <a:pt x="203377" y="176593"/>
                  </a:lnTo>
                  <a:lnTo>
                    <a:pt x="230682" y="141224"/>
                  </a:lnTo>
                  <a:lnTo>
                    <a:pt x="252006" y="101600"/>
                  </a:lnTo>
                  <a:lnTo>
                    <a:pt x="266674" y="58407"/>
                  </a:lnTo>
                  <a:lnTo>
                    <a:pt x="274002" y="12319"/>
                  </a:lnTo>
                  <a:lnTo>
                    <a:pt x="281178" y="58585"/>
                  </a:lnTo>
                  <a:lnTo>
                    <a:pt x="295732" y="101942"/>
                  </a:lnTo>
                  <a:lnTo>
                    <a:pt x="316992" y="141732"/>
                  </a:lnTo>
                  <a:lnTo>
                    <a:pt x="344284" y="177266"/>
                  </a:lnTo>
                  <a:lnTo>
                    <a:pt x="376936" y="207873"/>
                  </a:lnTo>
                  <a:lnTo>
                    <a:pt x="414248" y="232867"/>
                  </a:lnTo>
                  <a:lnTo>
                    <a:pt x="455561" y="251548"/>
                  </a:lnTo>
                  <a:lnTo>
                    <a:pt x="500176" y="263271"/>
                  </a:lnTo>
                  <a:lnTo>
                    <a:pt x="548093" y="267322"/>
                  </a:lnTo>
                  <a:close/>
                </a:path>
              </a:pathLst>
            </a:custGeom>
            <a:solidFill>
              <a:srgbClr val="2DB7EA"/>
            </a:solidFill>
          </p:spPr>
          <p:txBody>
            <a:bodyPr wrap="square" lIns="0" tIns="0" rIns="0" bIns="0" rtlCol="0"/>
            <a:lstStyle/>
            <a:p>
              <a:endParaRPr dirty="0"/>
            </a:p>
          </p:txBody>
        </p:sp>
        <p:pic>
          <p:nvPicPr>
            <p:cNvPr id="338" name="object 336">
              <a:extLst>
                <a:ext uri="{FF2B5EF4-FFF2-40B4-BE49-F238E27FC236}">
                  <a16:creationId xmlns:a16="http://schemas.microsoft.com/office/drawing/2014/main" id="{85806F0F-523A-FA03-87C1-B8470E0FDC16}"/>
                </a:ext>
              </a:extLst>
            </p:cNvPr>
            <p:cNvPicPr/>
            <p:nvPr/>
          </p:nvPicPr>
          <p:blipFill>
            <a:blip r:embed="rId13" cstate="print"/>
            <a:stretch>
              <a:fillRect/>
            </a:stretch>
          </p:blipFill>
          <p:spPr>
            <a:xfrm>
              <a:off x="8867131" y="1701903"/>
              <a:ext cx="106445" cy="107156"/>
            </a:xfrm>
            <a:prstGeom prst="rect">
              <a:avLst/>
            </a:prstGeom>
          </p:spPr>
        </p:pic>
        <p:sp>
          <p:nvSpPr>
            <p:cNvPr id="339" name="object 337">
              <a:extLst>
                <a:ext uri="{FF2B5EF4-FFF2-40B4-BE49-F238E27FC236}">
                  <a16:creationId xmlns:a16="http://schemas.microsoft.com/office/drawing/2014/main" id="{55223113-FB3E-760E-D9B9-3B3B5F17278C}"/>
                </a:ext>
              </a:extLst>
            </p:cNvPr>
            <p:cNvSpPr/>
            <p:nvPr/>
          </p:nvSpPr>
          <p:spPr>
            <a:xfrm>
              <a:off x="8753854" y="1900365"/>
              <a:ext cx="332700" cy="477101"/>
            </a:xfrm>
            <a:custGeom>
              <a:avLst/>
              <a:gdLst/>
              <a:ahLst/>
              <a:cxnLst/>
              <a:rect l="l" t="t" r="r" b="b"/>
              <a:pathLst>
                <a:path w="548640" h="786764">
                  <a:moveTo>
                    <a:pt x="548081" y="786396"/>
                  </a:moveTo>
                  <a:lnTo>
                    <a:pt x="542645" y="738225"/>
                  </a:lnTo>
                  <a:lnTo>
                    <a:pt x="529247" y="692962"/>
                  </a:lnTo>
                  <a:lnTo>
                    <a:pt x="508622" y="651344"/>
                  </a:lnTo>
                  <a:lnTo>
                    <a:pt x="481533" y="614083"/>
                  </a:lnTo>
                  <a:lnTo>
                    <a:pt x="448691" y="581939"/>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60"/>
                  </a:lnTo>
                  <a:lnTo>
                    <a:pt x="66827" y="613664"/>
                  </a:lnTo>
                  <a:lnTo>
                    <a:pt x="39738" y="650773"/>
                  </a:lnTo>
                  <a:lnTo>
                    <a:pt x="19088" y="692238"/>
                  </a:lnTo>
                  <a:lnTo>
                    <a:pt x="5613" y="737323"/>
                  </a:lnTo>
                  <a:lnTo>
                    <a:pt x="50" y="785317"/>
                  </a:lnTo>
                  <a:lnTo>
                    <a:pt x="47713" y="781278"/>
                  </a:lnTo>
                  <a:lnTo>
                    <a:pt x="92240" y="769620"/>
                  </a:lnTo>
                  <a:lnTo>
                    <a:pt x="133477" y="751027"/>
                  </a:lnTo>
                  <a:lnTo>
                    <a:pt x="170738" y="726147"/>
                  </a:lnTo>
                  <a:lnTo>
                    <a:pt x="203365" y="695680"/>
                  </a:lnTo>
                  <a:lnTo>
                    <a:pt x="230682" y="660298"/>
                  </a:lnTo>
                  <a:lnTo>
                    <a:pt x="252006" y="620674"/>
                  </a:lnTo>
                  <a:lnTo>
                    <a:pt x="266661" y="577481"/>
                  </a:lnTo>
                  <a:lnTo>
                    <a:pt x="274002" y="531393"/>
                  </a:lnTo>
                  <a:lnTo>
                    <a:pt x="281178" y="577672"/>
                  </a:lnTo>
                  <a:lnTo>
                    <a:pt x="295732" y="621042"/>
                  </a:lnTo>
                  <a:lnTo>
                    <a:pt x="316992" y="660831"/>
                  </a:lnTo>
                  <a:lnTo>
                    <a:pt x="344284" y="696366"/>
                  </a:lnTo>
                  <a:lnTo>
                    <a:pt x="376936" y="726960"/>
                  </a:lnTo>
                  <a:lnTo>
                    <a:pt x="414248" y="751941"/>
                  </a:lnTo>
                  <a:lnTo>
                    <a:pt x="455549" y="770636"/>
                  </a:lnTo>
                  <a:lnTo>
                    <a:pt x="500176" y="782332"/>
                  </a:lnTo>
                  <a:lnTo>
                    <a:pt x="548081" y="786396"/>
                  </a:lnTo>
                  <a:close/>
                </a:path>
                <a:path w="548640" h="786764">
                  <a:moveTo>
                    <a:pt x="548081" y="520865"/>
                  </a:moveTo>
                  <a:lnTo>
                    <a:pt x="542645" y="472706"/>
                  </a:lnTo>
                  <a:lnTo>
                    <a:pt x="529247" y="427443"/>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24"/>
                  </a:lnTo>
                  <a:lnTo>
                    <a:pt x="179438" y="270281"/>
                  </a:lnTo>
                  <a:lnTo>
                    <a:pt x="137414" y="289928"/>
                  </a:lnTo>
                  <a:lnTo>
                    <a:pt x="99618" y="316128"/>
                  </a:lnTo>
                  <a:lnTo>
                    <a:pt x="66827" y="348132"/>
                  </a:lnTo>
                  <a:lnTo>
                    <a:pt x="39738" y="385241"/>
                  </a:lnTo>
                  <a:lnTo>
                    <a:pt x="19088" y="426707"/>
                  </a:lnTo>
                  <a:lnTo>
                    <a:pt x="5613" y="471792"/>
                  </a:lnTo>
                  <a:lnTo>
                    <a:pt x="50" y="519785"/>
                  </a:lnTo>
                  <a:lnTo>
                    <a:pt x="47713" y="515747"/>
                  </a:lnTo>
                  <a:lnTo>
                    <a:pt x="92240" y="504088"/>
                  </a:lnTo>
                  <a:lnTo>
                    <a:pt x="133477" y="485495"/>
                  </a:lnTo>
                  <a:lnTo>
                    <a:pt x="170738" y="460616"/>
                  </a:lnTo>
                  <a:lnTo>
                    <a:pt x="203365" y="430161"/>
                  </a:lnTo>
                  <a:lnTo>
                    <a:pt x="230682" y="394766"/>
                  </a:lnTo>
                  <a:lnTo>
                    <a:pt x="252006" y="355142"/>
                  </a:lnTo>
                  <a:lnTo>
                    <a:pt x="266661" y="311950"/>
                  </a:lnTo>
                  <a:lnTo>
                    <a:pt x="274002" y="265861"/>
                  </a:lnTo>
                  <a:lnTo>
                    <a:pt x="281178" y="312140"/>
                  </a:lnTo>
                  <a:lnTo>
                    <a:pt x="295732" y="355511"/>
                  </a:lnTo>
                  <a:lnTo>
                    <a:pt x="316992" y="395300"/>
                  </a:lnTo>
                  <a:lnTo>
                    <a:pt x="344284" y="430834"/>
                  </a:lnTo>
                  <a:lnTo>
                    <a:pt x="376936" y="461441"/>
                  </a:lnTo>
                  <a:lnTo>
                    <a:pt x="414248" y="486410"/>
                  </a:lnTo>
                  <a:lnTo>
                    <a:pt x="455549" y="505104"/>
                  </a:lnTo>
                  <a:lnTo>
                    <a:pt x="500176" y="516813"/>
                  </a:lnTo>
                  <a:lnTo>
                    <a:pt x="548081" y="520865"/>
                  </a:lnTo>
                  <a:close/>
                </a:path>
                <a:path w="548640" h="786764">
                  <a:moveTo>
                    <a:pt x="548093" y="267322"/>
                  </a:moveTo>
                  <a:lnTo>
                    <a:pt x="543331" y="225285"/>
                  </a:lnTo>
                  <a:lnTo>
                    <a:pt x="542645" y="219151"/>
                  </a:lnTo>
                  <a:lnTo>
                    <a:pt x="529247" y="173888"/>
                  </a:lnTo>
                  <a:lnTo>
                    <a:pt x="519023" y="153263"/>
                  </a:lnTo>
                  <a:lnTo>
                    <a:pt x="508635" y="132257"/>
                  </a:lnTo>
                  <a:lnTo>
                    <a:pt x="501230" y="122097"/>
                  </a:lnTo>
                  <a:lnTo>
                    <a:pt x="481533" y="95008"/>
                  </a:lnTo>
                  <a:lnTo>
                    <a:pt x="448691" y="62852"/>
                  </a:lnTo>
                  <a:lnTo>
                    <a:pt x="410845" y="36550"/>
                  </a:lnTo>
                  <a:lnTo>
                    <a:pt x="368719" y="16814"/>
                  </a:lnTo>
                  <a:lnTo>
                    <a:pt x="323037" y="4381"/>
                  </a:lnTo>
                  <a:lnTo>
                    <a:pt x="274561" y="0"/>
                  </a:lnTo>
                  <a:lnTo>
                    <a:pt x="273342" y="0"/>
                  </a:lnTo>
                  <a:lnTo>
                    <a:pt x="224993" y="4356"/>
                  </a:lnTo>
                  <a:lnTo>
                    <a:pt x="179438" y="16725"/>
                  </a:lnTo>
                  <a:lnTo>
                    <a:pt x="137414" y="36372"/>
                  </a:lnTo>
                  <a:lnTo>
                    <a:pt x="99618" y="62560"/>
                  </a:lnTo>
                  <a:lnTo>
                    <a:pt x="82613" y="79171"/>
                  </a:lnTo>
                  <a:lnTo>
                    <a:pt x="66827" y="94576"/>
                  </a:lnTo>
                  <a:lnTo>
                    <a:pt x="39700" y="131686"/>
                  </a:lnTo>
                  <a:lnTo>
                    <a:pt x="19050" y="173139"/>
                  </a:lnTo>
                  <a:lnTo>
                    <a:pt x="5575" y="218224"/>
                  </a:lnTo>
                  <a:lnTo>
                    <a:pt x="0" y="266192"/>
                  </a:lnTo>
                  <a:lnTo>
                    <a:pt x="47713" y="262191"/>
                  </a:lnTo>
                  <a:lnTo>
                    <a:pt x="92240" y="250532"/>
                  </a:lnTo>
                  <a:lnTo>
                    <a:pt x="133477" y="231927"/>
                  </a:lnTo>
                  <a:lnTo>
                    <a:pt x="170751" y="207060"/>
                  </a:lnTo>
                  <a:lnTo>
                    <a:pt x="203377" y="176593"/>
                  </a:lnTo>
                  <a:lnTo>
                    <a:pt x="230682" y="141224"/>
                  </a:lnTo>
                  <a:lnTo>
                    <a:pt x="252006" y="101600"/>
                  </a:lnTo>
                  <a:lnTo>
                    <a:pt x="266674" y="58420"/>
                  </a:lnTo>
                  <a:lnTo>
                    <a:pt x="274002" y="12331"/>
                  </a:lnTo>
                  <a:lnTo>
                    <a:pt x="281178" y="58585"/>
                  </a:lnTo>
                  <a:lnTo>
                    <a:pt x="295732" y="101955"/>
                  </a:lnTo>
                  <a:lnTo>
                    <a:pt x="303136" y="115811"/>
                  </a:lnTo>
                  <a:lnTo>
                    <a:pt x="316992" y="141744"/>
                  </a:lnTo>
                  <a:lnTo>
                    <a:pt x="344284" y="177279"/>
                  </a:lnTo>
                  <a:lnTo>
                    <a:pt x="360083" y="192087"/>
                  </a:lnTo>
                  <a:lnTo>
                    <a:pt x="376936" y="207886"/>
                  </a:lnTo>
                  <a:lnTo>
                    <a:pt x="414248" y="232867"/>
                  </a:lnTo>
                  <a:lnTo>
                    <a:pt x="455561"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340" name="object 338">
              <a:extLst>
                <a:ext uri="{FF2B5EF4-FFF2-40B4-BE49-F238E27FC236}">
                  <a16:creationId xmlns:a16="http://schemas.microsoft.com/office/drawing/2014/main" id="{AF25FD18-D36C-67A9-23E6-C06A7CA1C32F}"/>
                </a:ext>
              </a:extLst>
            </p:cNvPr>
            <p:cNvPicPr/>
            <p:nvPr/>
          </p:nvPicPr>
          <p:blipFill>
            <a:blip r:embed="rId14" cstate="print"/>
            <a:stretch>
              <a:fillRect/>
            </a:stretch>
          </p:blipFill>
          <p:spPr>
            <a:xfrm>
              <a:off x="8867131" y="2356067"/>
              <a:ext cx="106445" cy="107156"/>
            </a:xfrm>
            <a:prstGeom prst="rect">
              <a:avLst/>
            </a:prstGeom>
          </p:spPr>
        </p:pic>
        <p:sp>
          <p:nvSpPr>
            <p:cNvPr id="341" name="object 339">
              <a:extLst>
                <a:ext uri="{FF2B5EF4-FFF2-40B4-BE49-F238E27FC236}">
                  <a16:creationId xmlns:a16="http://schemas.microsoft.com/office/drawing/2014/main" id="{0F3821D2-4926-2008-082C-C8AE72E47D49}"/>
                </a:ext>
              </a:extLst>
            </p:cNvPr>
            <p:cNvSpPr/>
            <p:nvPr/>
          </p:nvSpPr>
          <p:spPr>
            <a:xfrm>
              <a:off x="8753860"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342" name="object 340">
              <a:extLst>
                <a:ext uri="{FF2B5EF4-FFF2-40B4-BE49-F238E27FC236}">
                  <a16:creationId xmlns:a16="http://schemas.microsoft.com/office/drawing/2014/main" id="{D40ECDAF-2EAD-BBC5-9D65-2EBB73B13FFB}"/>
                </a:ext>
              </a:extLst>
            </p:cNvPr>
            <p:cNvPicPr/>
            <p:nvPr/>
          </p:nvPicPr>
          <p:blipFill>
            <a:blip r:embed="rId22" cstate="print"/>
            <a:stretch>
              <a:fillRect/>
            </a:stretch>
          </p:blipFill>
          <p:spPr>
            <a:xfrm>
              <a:off x="8753888" y="123"/>
              <a:ext cx="152433" cy="99184"/>
            </a:xfrm>
            <a:prstGeom prst="rect">
              <a:avLst/>
            </a:prstGeom>
          </p:spPr>
        </p:pic>
        <p:pic>
          <p:nvPicPr>
            <p:cNvPr id="343" name="object 341">
              <a:extLst>
                <a:ext uri="{FF2B5EF4-FFF2-40B4-BE49-F238E27FC236}">
                  <a16:creationId xmlns:a16="http://schemas.microsoft.com/office/drawing/2014/main" id="{7F88CB64-88CD-D558-7440-083E9A7FA224}"/>
                </a:ext>
              </a:extLst>
            </p:cNvPr>
            <p:cNvPicPr/>
            <p:nvPr/>
          </p:nvPicPr>
          <p:blipFill>
            <a:blip r:embed="rId21" cstate="print"/>
            <a:stretch>
              <a:fillRect/>
            </a:stretch>
          </p:blipFill>
          <p:spPr>
            <a:xfrm>
              <a:off x="8933423" y="123"/>
              <a:ext cx="152798" cy="99837"/>
            </a:xfrm>
            <a:prstGeom prst="rect">
              <a:avLst/>
            </a:prstGeom>
          </p:spPr>
        </p:pic>
        <p:sp>
          <p:nvSpPr>
            <p:cNvPr id="344" name="object 342">
              <a:extLst>
                <a:ext uri="{FF2B5EF4-FFF2-40B4-BE49-F238E27FC236}">
                  <a16:creationId xmlns:a16="http://schemas.microsoft.com/office/drawing/2014/main" id="{6215DFE2-1B09-5F6B-4BE9-E52E74DA77B5}"/>
                </a:ext>
              </a:extLst>
            </p:cNvPr>
            <p:cNvSpPr/>
            <p:nvPr/>
          </p:nvSpPr>
          <p:spPr>
            <a:xfrm>
              <a:off x="8753885" y="91626"/>
              <a:ext cx="332700" cy="323458"/>
            </a:xfrm>
            <a:custGeom>
              <a:avLst/>
              <a:gdLst/>
              <a:ahLst/>
              <a:cxnLst/>
              <a:rect l="l" t="t" r="r" b="b"/>
              <a:pathLst>
                <a:path w="548640" h="533400">
                  <a:moveTo>
                    <a:pt x="548030" y="532841"/>
                  </a:moveTo>
                  <a:lnTo>
                    <a:pt x="542594" y="484682"/>
                  </a:lnTo>
                  <a:lnTo>
                    <a:pt x="529196" y="439420"/>
                  </a:lnTo>
                  <a:lnTo>
                    <a:pt x="508571" y="397789"/>
                  </a:lnTo>
                  <a:lnTo>
                    <a:pt x="481482" y="360527"/>
                  </a:lnTo>
                  <a:lnTo>
                    <a:pt x="448640" y="328383"/>
                  </a:lnTo>
                  <a:lnTo>
                    <a:pt x="410781" y="302069"/>
                  </a:lnTo>
                  <a:lnTo>
                    <a:pt x="368655" y="282333"/>
                  </a:lnTo>
                  <a:lnTo>
                    <a:pt x="322986" y="269913"/>
                  </a:lnTo>
                  <a:lnTo>
                    <a:pt x="274510" y="265544"/>
                  </a:lnTo>
                  <a:lnTo>
                    <a:pt x="273291" y="265544"/>
                  </a:lnTo>
                  <a:lnTo>
                    <a:pt x="224942" y="269900"/>
                  </a:lnTo>
                  <a:lnTo>
                    <a:pt x="179387" y="282257"/>
                  </a:lnTo>
                  <a:lnTo>
                    <a:pt x="137363" y="301904"/>
                  </a:lnTo>
                  <a:lnTo>
                    <a:pt x="99568" y="328104"/>
                  </a:lnTo>
                  <a:lnTo>
                    <a:pt x="66776" y="360121"/>
                  </a:lnTo>
                  <a:lnTo>
                    <a:pt x="39687" y="397217"/>
                  </a:lnTo>
                  <a:lnTo>
                    <a:pt x="19037" y="438683"/>
                  </a:lnTo>
                  <a:lnTo>
                    <a:pt x="5562" y="483768"/>
                  </a:lnTo>
                  <a:lnTo>
                    <a:pt x="0" y="531761"/>
                  </a:lnTo>
                  <a:lnTo>
                    <a:pt x="47663" y="527723"/>
                  </a:lnTo>
                  <a:lnTo>
                    <a:pt x="92189" y="516064"/>
                  </a:lnTo>
                  <a:lnTo>
                    <a:pt x="133426" y="497471"/>
                  </a:lnTo>
                  <a:lnTo>
                    <a:pt x="170688" y="472592"/>
                  </a:lnTo>
                  <a:lnTo>
                    <a:pt x="203314" y="442137"/>
                  </a:lnTo>
                  <a:lnTo>
                    <a:pt x="230632" y="406755"/>
                  </a:lnTo>
                  <a:lnTo>
                    <a:pt x="251955" y="367118"/>
                  </a:lnTo>
                  <a:lnTo>
                    <a:pt x="266611" y="323926"/>
                  </a:lnTo>
                  <a:lnTo>
                    <a:pt x="273951" y="277837"/>
                  </a:lnTo>
                  <a:lnTo>
                    <a:pt x="281127" y="324116"/>
                  </a:lnTo>
                  <a:lnTo>
                    <a:pt x="295681" y="367487"/>
                  </a:lnTo>
                  <a:lnTo>
                    <a:pt x="316941" y="407276"/>
                  </a:lnTo>
                  <a:lnTo>
                    <a:pt x="344233" y="442810"/>
                  </a:lnTo>
                  <a:lnTo>
                    <a:pt x="376885" y="473417"/>
                  </a:lnTo>
                  <a:lnTo>
                    <a:pt x="414197" y="498398"/>
                  </a:lnTo>
                  <a:lnTo>
                    <a:pt x="455498" y="517080"/>
                  </a:lnTo>
                  <a:lnTo>
                    <a:pt x="500126" y="528789"/>
                  </a:lnTo>
                  <a:lnTo>
                    <a:pt x="548030" y="532841"/>
                  </a:lnTo>
                  <a:close/>
                </a:path>
                <a:path w="548640" h="533400">
                  <a:moveTo>
                    <a:pt x="548030" y="267309"/>
                  </a:moveTo>
                  <a:lnTo>
                    <a:pt x="542594" y="219138"/>
                  </a:lnTo>
                  <a:lnTo>
                    <a:pt x="529196" y="173888"/>
                  </a:lnTo>
                  <a:lnTo>
                    <a:pt x="508571" y="132257"/>
                  </a:lnTo>
                  <a:lnTo>
                    <a:pt x="481482" y="94996"/>
                  </a:lnTo>
                  <a:lnTo>
                    <a:pt x="448640" y="62852"/>
                  </a:lnTo>
                  <a:lnTo>
                    <a:pt x="410781" y="36537"/>
                  </a:lnTo>
                  <a:lnTo>
                    <a:pt x="368655" y="16802"/>
                  </a:lnTo>
                  <a:lnTo>
                    <a:pt x="322986" y="4381"/>
                  </a:lnTo>
                  <a:lnTo>
                    <a:pt x="274510" y="0"/>
                  </a:lnTo>
                  <a:lnTo>
                    <a:pt x="273291" y="0"/>
                  </a:lnTo>
                  <a:lnTo>
                    <a:pt x="224942" y="4356"/>
                  </a:lnTo>
                  <a:lnTo>
                    <a:pt x="179387" y="16725"/>
                  </a:lnTo>
                  <a:lnTo>
                    <a:pt x="137363" y="36372"/>
                  </a:lnTo>
                  <a:lnTo>
                    <a:pt x="99568" y="62572"/>
                  </a:lnTo>
                  <a:lnTo>
                    <a:pt x="66776" y="94576"/>
                  </a:lnTo>
                  <a:lnTo>
                    <a:pt x="39687" y="131686"/>
                  </a:lnTo>
                  <a:lnTo>
                    <a:pt x="19037" y="173151"/>
                  </a:lnTo>
                  <a:lnTo>
                    <a:pt x="5562" y="218236"/>
                  </a:lnTo>
                  <a:lnTo>
                    <a:pt x="0" y="266230"/>
                  </a:lnTo>
                  <a:lnTo>
                    <a:pt x="47663" y="262191"/>
                  </a:lnTo>
                  <a:lnTo>
                    <a:pt x="92189" y="250532"/>
                  </a:lnTo>
                  <a:lnTo>
                    <a:pt x="133426" y="231940"/>
                  </a:lnTo>
                  <a:lnTo>
                    <a:pt x="170688" y="207060"/>
                  </a:lnTo>
                  <a:lnTo>
                    <a:pt x="203314" y="176593"/>
                  </a:lnTo>
                  <a:lnTo>
                    <a:pt x="230632" y="141211"/>
                  </a:lnTo>
                  <a:lnTo>
                    <a:pt x="251955" y="101587"/>
                  </a:lnTo>
                  <a:lnTo>
                    <a:pt x="266611" y="58394"/>
                  </a:lnTo>
                  <a:lnTo>
                    <a:pt x="273951" y="12306"/>
                  </a:lnTo>
                  <a:lnTo>
                    <a:pt x="281127" y="58585"/>
                  </a:lnTo>
                  <a:lnTo>
                    <a:pt x="295681" y="101955"/>
                  </a:lnTo>
                  <a:lnTo>
                    <a:pt x="316941" y="141744"/>
                  </a:lnTo>
                  <a:lnTo>
                    <a:pt x="344233" y="177279"/>
                  </a:lnTo>
                  <a:lnTo>
                    <a:pt x="376885" y="207873"/>
                  </a:lnTo>
                  <a:lnTo>
                    <a:pt x="414197" y="232854"/>
                  </a:lnTo>
                  <a:lnTo>
                    <a:pt x="455498" y="251548"/>
                  </a:lnTo>
                  <a:lnTo>
                    <a:pt x="500126" y="263258"/>
                  </a:lnTo>
                  <a:lnTo>
                    <a:pt x="548030" y="267309"/>
                  </a:lnTo>
                  <a:close/>
                </a:path>
              </a:pathLst>
            </a:custGeom>
            <a:solidFill>
              <a:srgbClr val="2DB7EA"/>
            </a:solidFill>
          </p:spPr>
          <p:txBody>
            <a:bodyPr wrap="square" lIns="0" tIns="0" rIns="0" bIns="0" rtlCol="0"/>
            <a:lstStyle/>
            <a:p>
              <a:endParaRPr dirty="0"/>
            </a:p>
          </p:txBody>
        </p:sp>
        <p:pic>
          <p:nvPicPr>
            <p:cNvPr id="345" name="object 343">
              <a:extLst>
                <a:ext uri="{FF2B5EF4-FFF2-40B4-BE49-F238E27FC236}">
                  <a16:creationId xmlns:a16="http://schemas.microsoft.com/office/drawing/2014/main" id="{BC3BCD93-75CC-03FD-7F7A-F07764060D0E}"/>
                </a:ext>
              </a:extLst>
            </p:cNvPr>
            <p:cNvPicPr/>
            <p:nvPr/>
          </p:nvPicPr>
          <p:blipFill>
            <a:blip r:embed="rId13" cstate="print"/>
            <a:stretch>
              <a:fillRect/>
            </a:stretch>
          </p:blipFill>
          <p:spPr>
            <a:xfrm>
              <a:off x="8867131" y="393572"/>
              <a:ext cx="106445" cy="107156"/>
            </a:xfrm>
            <a:prstGeom prst="rect">
              <a:avLst/>
            </a:prstGeom>
          </p:spPr>
        </p:pic>
        <p:sp>
          <p:nvSpPr>
            <p:cNvPr id="346" name="object 344">
              <a:extLst>
                <a:ext uri="{FF2B5EF4-FFF2-40B4-BE49-F238E27FC236}">
                  <a16:creationId xmlns:a16="http://schemas.microsoft.com/office/drawing/2014/main" id="{EB28ADFB-C1A7-E3DF-1876-0C2CE6CE3939}"/>
                </a:ext>
              </a:extLst>
            </p:cNvPr>
            <p:cNvSpPr/>
            <p:nvPr/>
          </p:nvSpPr>
          <p:spPr>
            <a:xfrm>
              <a:off x="8753854" y="592039"/>
              <a:ext cx="332700" cy="477101"/>
            </a:xfrm>
            <a:custGeom>
              <a:avLst/>
              <a:gdLst/>
              <a:ahLst/>
              <a:cxnLst/>
              <a:rect l="l" t="t" r="r" b="b"/>
              <a:pathLst>
                <a:path w="548640" h="786764">
                  <a:moveTo>
                    <a:pt x="548081" y="786384"/>
                  </a:moveTo>
                  <a:lnTo>
                    <a:pt x="542645" y="738225"/>
                  </a:lnTo>
                  <a:lnTo>
                    <a:pt x="529247"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47"/>
                  </a:lnTo>
                  <a:lnTo>
                    <a:pt x="66827" y="613664"/>
                  </a:lnTo>
                  <a:lnTo>
                    <a:pt x="39738" y="650760"/>
                  </a:lnTo>
                  <a:lnTo>
                    <a:pt x="19088" y="692226"/>
                  </a:lnTo>
                  <a:lnTo>
                    <a:pt x="5613" y="737323"/>
                  </a:lnTo>
                  <a:lnTo>
                    <a:pt x="50" y="785304"/>
                  </a:lnTo>
                  <a:lnTo>
                    <a:pt x="47713" y="781278"/>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59"/>
                  </a:lnTo>
                  <a:lnTo>
                    <a:pt x="295732" y="621030"/>
                  </a:lnTo>
                  <a:lnTo>
                    <a:pt x="316992" y="660831"/>
                  </a:lnTo>
                  <a:lnTo>
                    <a:pt x="344284" y="696366"/>
                  </a:lnTo>
                  <a:lnTo>
                    <a:pt x="376936" y="726960"/>
                  </a:lnTo>
                  <a:lnTo>
                    <a:pt x="414248" y="751941"/>
                  </a:lnTo>
                  <a:lnTo>
                    <a:pt x="455549" y="770623"/>
                  </a:lnTo>
                  <a:lnTo>
                    <a:pt x="500176" y="782332"/>
                  </a:lnTo>
                  <a:lnTo>
                    <a:pt x="548081" y="786384"/>
                  </a:lnTo>
                  <a:close/>
                </a:path>
                <a:path w="548640" h="786764">
                  <a:moveTo>
                    <a:pt x="548081" y="520852"/>
                  </a:moveTo>
                  <a:lnTo>
                    <a:pt x="542645" y="472694"/>
                  </a:lnTo>
                  <a:lnTo>
                    <a:pt x="529247" y="427431"/>
                  </a:lnTo>
                  <a:lnTo>
                    <a:pt x="508622" y="385800"/>
                  </a:lnTo>
                  <a:lnTo>
                    <a:pt x="481533" y="348551"/>
                  </a:lnTo>
                  <a:lnTo>
                    <a:pt x="448691" y="316395"/>
                  </a:lnTo>
                  <a:lnTo>
                    <a:pt x="410832" y="290080"/>
                  </a:lnTo>
                  <a:lnTo>
                    <a:pt x="368706" y="270357"/>
                  </a:lnTo>
                  <a:lnTo>
                    <a:pt x="323037" y="257924"/>
                  </a:lnTo>
                  <a:lnTo>
                    <a:pt x="274561" y="253555"/>
                  </a:lnTo>
                  <a:lnTo>
                    <a:pt x="273342" y="253555"/>
                  </a:lnTo>
                  <a:lnTo>
                    <a:pt x="224993" y="257911"/>
                  </a:lnTo>
                  <a:lnTo>
                    <a:pt x="179438" y="270281"/>
                  </a:lnTo>
                  <a:lnTo>
                    <a:pt x="137414" y="289915"/>
                  </a:lnTo>
                  <a:lnTo>
                    <a:pt x="99618" y="316115"/>
                  </a:lnTo>
                  <a:lnTo>
                    <a:pt x="66827" y="348132"/>
                  </a:lnTo>
                  <a:lnTo>
                    <a:pt x="39738" y="385229"/>
                  </a:lnTo>
                  <a:lnTo>
                    <a:pt x="19088" y="426694"/>
                  </a:lnTo>
                  <a:lnTo>
                    <a:pt x="5613" y="471779"/>
                  </a:lnTo>
                  <a:lnTo>
                    <a:pt x="50" y="519772"/>
                  </a:lnTo>
                  <a:lnTo>
                    <a:pt x="47713" y="515734"/>
                  </a:lnTo>
                  <a:lnTo>
                    <a:pt x="92240" y="504088"/>
                  </a:lnTo>
                  <a:lnTo>
                    <a:pt x="133477" y="485482"/>
                  </a:lnTo>
                  <a:lnTo>
                    <a:pt x="170738" y="460616"/>
                  </a:lnTo>
                  <a:lnTo>
                    <a:pt x="203365" y="430149"/>
                  </a:lnTo>
                  <a:lnTo>
                    <a:pt x="230682" y="394766"/>
                  </a:lnTo>
                  <a:lnTo>
                    <a:pt x="252006" y="355142"/>
                  </a:lnTo>
                  <a:lnTo>
                    <a:pt x="266661" y="311937"/>
                  </a:lnTo>
                  <a:lnTo>
                    <a:pt x="274002" y="265861"/>
                  </a:lnTo>
                  <a:lnTo>
                    <a:pt x="281178" y="312127"/>
                  </a:lnTo>
                  <a:lnTo>
                    <a:pt x="295732" y="355498"/>
                  </a:lnTo>
                  <a:lnTo>
                    <a:pt x="316992" y="395300"/>
                  </a:lnTo>
                  <a:lnTo>
                    <a:pt x="344284" y="430834"/>
                  </a:lnTo>
                  <a:lnTo>
                    <a:pt x="376936" y="461429"/>
                  </a:lnTo>
                  <a:lnTo>
                    <a:pt x="414248" y="486410"/>
                  </a:lnTo>
                  <a:lnTo>
                    <a:pt x="455549" y="505091"/>
                  </a:lnTo>
                  <a:lnTo>
                    <a:pt x="500176" y="516801"/>
                  </a:lnTo>
                  <a:lnTo>
                    <a:pt x="548081" y="520852"/>
                  </a:lnTo>
                  <a:close/>
                </a:path>
                <a:path w="548640" h="786764">
                  <a:moveTo>
                    <a:pt x="548093" y="267322"/>
                  </a:moveTo>
                  <a:lnTo>
                    <a:pt x="542645" y="219138"/>
                  </a:lnTo>
                  <a:lnTo>
                    <a:pt x="529247" y="173875"/>
                  </a:lnTo>
                  <a:lnTo>
                    <a:pt x="508635" y="132245"/>
                  </a:lnTo>
                  <a:lnTo>
                    <a:pt x="492937" y="110680"/>
                  </a:lnTo>
                  <a:lnTo>
                    <a:pt x="481533" y="94996"/>
                  </a:lnTo>
                  <a:lnTo>
                    <a:pt x="448691" y="62839"/>
                  </a:lnTo>
                  <a:lnTo>
                    <a:pt x="410845" y="36537"/>
                  </a:lnTo>
                  <a:lnTo>
                    <a:pt x="368706" y="16789"/>
                  </a:lnTo>
                  <a:lnTo>
                    <a:pt x="323037" y="4368"/>
                  </a:lnTo>
                  <a:lnTo>
                    <a:pt x="274574" y="12"/>
                  </a:lnTo>
                  <a:lnTo>
                    <a:pt x="273342" y="0"/>
                  </a:lnTo>
                  <a:lnTo>
                    <a:pt x="224993" y="4356"/>
                  </a:lnTo>
                  <a:lnTo>
                    <a:pt x="179438" y="16713"/>
                  </a:lnTo>
                  <a:lnTo>
                    <a:pt x="137414" y="36360"/>
                  </a:lnTo>
                  <a:lnTo>
                    <a:pt x="99618" y="62560"/>
                  </a:lnTo>
                  <a:lnTo>
                    <a:pt x="98806" y="63347"/>
                  </a:lnTo>
                  <a:lnTo>
                    <a:pt x="66827" y="94576"/>
                  </a:lnTo>
                  <a:lnTo>
                    <a:pt x="39700" y="131686"/>
                  </a:lnTo>
                  <a:lnTo>
                    <a:pt x="19050" y="173139"/>
                  </a:lnTo>
                  <a:lnTo>
                    <a:pt x="5575" y="218211"/>
                  </a:lnTo>
                  <a:lnTo>
                    <a:pt x="0" y="266192"/>
                  </a:lnTo>
                  <a:lnTo>
                    <a:pt x="47713" y="262178"/>
                  </a:lnTo>
                  <a:lnTo>
                    <a:pt x="92240" y="250520"/>
                  </a:lnTo>
                  <a:lnTo>
                    <a:pt x="133477" y="231927"/>
                  </a:lnTo>
                  <a:lnTo>
                    <a:pt x="161417" y="213271"/>
                  </a:lnTo>
                  <a:lnTo>
                    <a:pt x="170751" y="207048"/>
                  </a:lnTo>
                  <a:lnTo>
                    <a:pt x="203377" y="176593"/>
                  </a:lnTo>
                  <a:lnTo>
                    <a:pt x="230682" y="141211"/>
                  </a:lnTo>
                  <a:lnTo>
                    <a:pt x="252006" y="101587"/>
                  </a:lnTo>
                  <a:lnTo>
                    <a:pt x="266674" y="58407"/>
                  </a:lnTo>
                  <a:lnTo>
                    <a:pt x="274002" y="12319"/>
                  </a:lnTo>
                  <a:lnTo>
                    <a:pt x="281178" y="58572"/>
                  </a:lnTo>
                  <a:lnTo>
                    <a:pt x="295732" y="101942"/>
                  </a:lnTo>
                  <a:lnTo>
                    <a:pt x="316992" y="141732"/>
                  </a:lnTo>
                  <a:lnTo>
                    <a:pt x="344284" y="177266"/>
                  </a:lnTo>
                  <a:lnTo>
                    <a:pt x="376936" y="207873"/>
                  </a:lnTo>
                  <a:lnTo>
                    <a:pt x="414248" y="232854"/>
                  </a:lnTo>
                  <a:lnTo>
                    <a:pt x="455561"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347" name="object 345">
              <a:extLst>
                <a:ext uri="{FF2B5EF4-FFF2-40B4-BE49-F238E27FC236}">
                  <a16:creationId xmlns:a16="http://schemas.microsoft.com/office/drawing/2014/main" id="{A2D3D73F-BC58-8FD6-2036-216D933CCBD3}"/>
                </a:ext>
              </a:extLst>
            </p:cNvPr>
            <p:cNvPicPr/>
            <p:nvPr/>
          </p:nvPicPr>
          <p:blipFill>
            <a:blip r:embed="rId14" cstate="print"/>
            <a:stretch>
              <a:fillRect/>
            </a:stretch>
          </p:blipFill>
          <p:spPr>
            <a:xfrm>
              <a:off x="8867131" y="1047738"/>
              <a:ext cx="106445" cy="107156"/>
            </a:xfrm>
            <a:prstGeom prst="rect">
              <a:avLst/>
            </a:prstGeom>
          </p:spPr>
        </p:pic>
        <p:sp>
          <p:nvSpPr>
            <p:cNvPr id="348" name="object 346">
              <a:extLst>
                <a:ext uri="{FF2B5EF4-FFF2-40B4-BE49-F238E27FC236}">
                  <a16:creationId xmlns:a16="http://schemas.microsoft.com/office/drawing/2014/main" id="{2E766A18-2AC6-EF9B-42F5-55086D974784}"/>
                </a:ext>
              </a:extLst>
            </p:cNvPr>
            <p:cNvSpPr/>
            <p:nvPr/>
          </p:nvSpPr>
          <p:spPr>
            <a:xfrm>
              <a:off x="9909070" y="804428"/>
              <a:ext cx="332700" cy="477101"/>
            </a:xfrm>
            <a:custGeom>
              <a:avLst/>
              <a:gdLst/>
              <a:ahLst/>
              <a:cxnLst/>
              <a:rect l="l" t="t" r="r" b="b"/>
              <a:pathLst>
                <a:path w="548640" h="786764">
                  <a:moveTo>
                    <a:pt x="548093" y="520166"/>
                  </a:moveTo>
                  <a:lnTo>
                    <a:pt x="500380" y="524205"/>
                  </a:lnTo>
                  <a:lnTo>
                    <a:pt x="455853" y="535851"/>
                  </a:lnTo>
                  <a:lnTo>
                    <a:pt x="414616" y="554456"/>
                  </a:lnTo>
                  <a:lnTo>
                    <a:pt x="377355" y="579323"/>
                  </a:lnTo>
                  <a:lnTo>
                    <a:pt x="375183" y="581355"/>
                  </a:lnTo>
                  <a:lnTo>
                    <a:pt x="344728" y="609790"/>
                  </a:lnTo>
                  <a:lnTo>
                    <a:pt x="317411" y="645160"/>
                  </a:lnTo>
                  <a:lnTo>
                    <a:pt x="296087" y="684784"/>
                  </a:lnTo>
                  <a:lnTo>
                    <a:pt x="281419" y="727976"/>
                  </a:lnTo>
                  <a:lnTo>
                    <a:pt x="274091" y="774065"/>
                  </a:lnTo>
                  <a:lnTo>
                    <a:pt x="272161" y="761669"/>
                  </a:lnTo>
                  <a:lnTo>
                    <a:pt x="266928" y="727811"/>
                  </a:lnTo>
                  <a:lnTo>
                    <a:pt x="252361" y="684441"/>
                  </a:lnTo>
                  <a:lnTo>
                    <a:pt x="231101" y="644652"/>
                  </a:lnTo>
                  <a:lnTo>
                    <a:pt x="210121" y="617347"/>
                  </a:lnTo>
                  <a:lnTo>
                    <a:pt x="203809" y="609117"/>
                  </a:lnTo>
                  <a:lnTo>
                    <a:pt x="171157" y="578510"/>
                  </a:lnTo>
                  <a:lnTo>
                    <a:pt x="133845" y="553529"/>
                  </a:lnTo>
                  <a:lnTo>
                    <a:pt x="92544" y="534847"/>
                  </a:lnTo>
                  <a:lnTo>
                    <a:pt x="47917" y="523113"/>
                  </a:lnTo>
                  <a:lnTo>
                    <a:pt x="0" y="519061"/>
                  </a:lnTo>
                  <a:lnTo>
                    <a:pt x="5448" y="567232"/>
                  </a:lnTo>
                  <a:lnTo>
                    <a:pt x="18846" y="612508"/>
                  </a:lnTo>
                  <a:lnTo>
                    <a:pt x="39458" y="654126"/>
                  </a:lnTo>
                  <a:lnTo>
                    <a:pt x="66560" y="691388"/>
                  </a:lnTo>
                  <a:lnTo>
                    <a:pt x="99402" y="723544"/>
                  </a:lnTo>
                  <a:lnTo>
                    <a:pt x="137261" y="749858"/>
                  </a:lnTo>
                  <a:lnTo>
                    <a:pt x="179387" y="769594"/>
                  </a:lnTo>
                  <a:lnTo>
                    <a:pt x="225056" y="782015"/>
                  </a:lnTo>
                  <a:lnTo>
                    <a:pt x="273532" y="786384"/>
                  </a:lnTo>
                  <a:lnTo>
                    <a:pt x="274751" y="786384"/>
                  </a:lnTo>
                  <a:lnTo>
                    <a:pt x="323100" y="782027"/>
                  </a:lnTo>
                  <a:lnTo>
                    <a:pt x="368655" y="769670"/>
                  </a:lnTo>
                  <a:lnTo>
                    <a:pt x="410692" y="750023"/>
                  </a:lnTo>
                  <a:lnTo>
                    <a:pt x="448475" y="723823"/>
                  </a:lnTo>
                  <a:lnTo>
                    <a:pt x="481279" y="691807"/>
                  </a:lnTo>
                  <a:lnTo>
                    <a:pt x="508381" y="654710"/>
                  </a:lnTo>
                  <a:lnTo>
                    <a:pt x="529043" y="613244"/>
                  </a:lnTo>
                  <a:lnTo>
                    <a:pt x="542518" y="568172"/>
                  </a:lnTo>
                  <a:lnTo>
                    <a:pt x="548081" y="520204"/>
                  </a:lnTo>
                  <a:close/>
                </a:path>
                <a:path w="548640" h="786764">
                  <a:moveTo>
                    <a:pt x="548093" y="266598"/>
                  </a:moveTo>
                  <a:lnTo>
                    <a:pt x="500380" y="270637"/>
                  </a:lnTo>
                  <a:lnTo>
                    <a:pt x="455853" y="282295"/>
                  </a:lnTo>
                  <a:lnTo>
                    <a:pt x="414616" y="300901"/>
                  </a:lnTo>
                  <a:lnTo>
                    <a:pt x="377355" y="325767"/>
                  </a:lnTo>
                  <a:lnTo>
                    <a:pt x="344728" y="356235"/>
                  </a:lnTo>
                  <a:lnTo>
                    <a:pt x="317423" y="391617"/>
                  </a:lnTo>
                  <a:lnTo>
                    <a:pt x="296087" y="431241"/>
                  </a:lnTo>
                  <a:lnTo>
                    <a:pt x="281432" y="474433"/>
                  </a:lnTo>
                  <a:lnTo>
                    <a:pt x="274091" y="520522"/>
                  </a:lnTo>
                  <a:lnTo>
                    <a:pt x="266928" y="474256"/>
                  </a:lnTo>
                  <a:lnTo>
                    <a:pt x="252361" y="430872"/>
                  </a:lnTo>
                  <a:lnTo>
                    <a:pt x="231101" y="391083"/>
                  </a:lnTo>
                  <a:lnTo>
                    <a:pt x="203809" y="355549"/>
                  </a:lnTo>
                  <a:lnTo>
                    <a:pt x="171157" y="324954"/>
                  </a:lnTo>
                  <a:lnTo>
                    <a:pt x="133845" y="299974"/>
                  </a:lnTo>
                  <a:lnTo>
                    <a:pt x="92544" y="281292"/>
                  </a:lnTo>
                  <a:lnTo>
                    <a:pt x="47917" y="269582"/>
                  </a:lnTo>
                  <a:lnTo>
                    <a:pt x="12" y="265531"/>
                  </a:lnTo>
                  <a:lnTo>
                    <a:pt x="5461" y="313690"/>
                  </a:lnTo>
                  <a:lnTo>
                    <a:pt x="18859" y="358952"/>
                  </a:lnTo>
                  <a:lnTo>
                    <a:pt x="39471" y="400570"/>
                  </a:lnTo>
                  <a:lnTo>
                    <a:pt x="66560" y="437832"/>
                  </a:lnTo>
                  <a:lnTo>
                    <a:pt x="99402" y="469988"/>
                  </a:lnTo>
                  <a:lnTo>
                    <a:pt x="137261" y="496290"/>
                  </a:lnTo>
                  <a:lnTo>
                    <a:pt x="179387" y="516026"/>
                  </a:lnTo>
                  <a:lnTo>
                    <a:pt x="225056" y="528447"/>
                  </a:lnTo>
                  <a:lnTo>
                    <a:pt x="273532" y="532828"/>
                  </a:lnTo>
                  <a:lnTo>
                    <a:pt x="274751" y="532828"/>
                  </a:lnTo>
                  <a:lnTo>
                    <a:pt x="323100" y="528472"/>
                  </a:lnTo>
                  <a:lnTo>
                    <a:pt x="368655" y="516102"/>
                  </a:lnTo>
                  <a:lnTo>
                    <a:pt x="410692" y="496455"/>
                  </a:lnTo>
                  <a:lnTo>
                    <a:pt x="448475" y="470268"/>
                  </a:lnTo>
                  <a:lnTo>
                    <a:pt x="481279" y="438251"/>
                  </a:lnTo>
                  <a:lnTo>
                    <a:pt x="508381" y="401142"/>
                  </a:lnTo>
                  <a:lnTo>
                    <a:pt x="529031" y="359689"/>
                  </a:lnTo>
                  <a:lnTo>
                    <a:pt x="542505" y="314591"/>
                  </a:lnTo>
                  <a:lnTo>
                    <a:pt x="548093" y="266598"/>
                  </a:lnTo>
                  <a:close/>
                </a:path>
                <a:path w="548640" h="786764">
                  <a:moveTo>
                    <a:pt x="548093" y="1079"/>
                  </a:moveTo>
                  <a:lnTo>
                    <a:pt x="500380" y="5105"/>
                  </a:lnTo>
                  <a:lnTo>
                    <a:pt x="455853" y="16764"/>
                  </a:lnTo>
                  <a:lnTo>
                    <a:pt x="414616" y="35369"/>
                  </a:lnTo>
                  <a:lnTo>
                    <a:pt x="377355" y="60236"/>
                  </a:lnTo>
                  <a:lnTo>
                    <a:pt x="344728" y="90703"/>
                  </a:lnTo>
                  <a:lnTo>
                    <a:pt x="317423" y="126085"/>
                  </a:lnTo>
                  <a:lnTo>
                    <a:pt x="296087" y="165709"/>
                  </a:lnTo>
                  <a:lnTo>
                    <a:pt x="281432" y="208902"/>
                  </a:lnTo>
                  <a:lnTo>
                    <a:pt x="274091" y="254990"/>
                  </a:lnTo>
                  <a:lnTo>
                    <a:pt x="266928"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59"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36"/>
                  </a:lnTo>
                  <a:lnTo>
                    <a:pt x="481279" y="172720"/>
                  </a:lnTo>
                  <a:lnTo>
                    <a:pt x="508381" y="135623"/>
                  </a:lnTo>
                  <a:lnTo>
                    <a:pt x="529031" y="94157"/>
                  </a:lnTo>
                  <a:lnTo>
                    <a:pt x="542505" y="49060"/>
                  </a:lnTo>
                  <a:lnTo>
                    <a:pt x="548093" y="1079"/>
                  </a:lnTo>
                  <a:close/>
                </a:path>
              </a:pathLst>
            </a:custGeom>
            <a:solidFill>
              <a:srgbClr val="2DB7EA"/>
            </a:solidFill>
          </p:spPr>
          <p:txBody>
            <a:bodyPr wrap="square" lIns="0" tIns="0" rIns="0" bIns="0" rtlCol="0"/>
            <a:lstStyle/>
            <a:p>
              <a:endParaRPr dirty="0"/>
            </a:p>
          </p:txBody>
        </p:sp>
        <p:pic>
          <p:nvPicPr>
            <p:cNvPr id="349" name="object 347">
              <a:extLst>
                <a:ext uri="{FF2B5EF4-FFF2-40B4-BE49-F238E27FC236}">
                  <a16:creationId xmlns:a16="http://schemas.microsoft.com/office/drawing/2014/main" id="{22705488-B186-CC23-46AD-10300C2FEA83}"/>
                </a:ext>
              </a:extLst>
            </p:cNvPr>
            <p:cNvPicPr/>
            <p:nvPr/>
          </p:nvPicPr>
          <p:blipFill>
            <a:blip r:embed="rId5" cstate="print"/>
            <a:stretch>
              <a:fillRect/>
            </a:stretch>
          </p:blipFill>
          <p:spPr>
            <a:xfrm>
              <a:off x="10021726" y="718433"/>
              <a:ext cx="106445" cy="107156"/>
            </a:xfrm>
            <a:prstGeom prst="rect">
              <a:avLst/>
            </a:prstGeom>
          </p:spPr>
        </p:pic>
        <p:sp>
          <p:nvSpPr>
            <p:cNvPr id="350" name="object 348">
              <a:extLst>
                <a:ext uri="{FF2B5EF4-FFF2-40B4-BE49-F238E27FC236}">
                  <a16:creationId xmlns:a16="http://schemas.microsoft.com/office/drawing/2014/main" id="{5AF69093-C3D6-AD7D-A0CC-50BBA5891596}"/>
                </a:ext>
              </a:extLst>
            </p:cNvPr>
            <p:cNvSpPr/>
            <p:nvPr/>
          </p:nvSpPr>
          <p:spPr>
            <a:xfrm>
              <a:off x="9909070" y="150257"/>
              <a:ext cx="332700" cy="477101"/>
            </a:xfrm>
            <a:custGeom>
              <a:avLst/>
              <a:gdLst/>
              <a:ahLst/>
              <a:cxnLst/>
              <a:rect l="l" t="t" r="r" b="b"/>
              <a:pathLst>
                <a:path w="548640" h="786765">
                  <a:moveTo>
                    <a:pt x="548093" y="520179"/>
                  </a:moveTo>
                  <a:lnTo>
                    <a:pt x="500380" y="524205"/>
                  </a:lnTo>
                  <a:lnTo>
                    <a:pt x="455853" y="535863"/>
                  </a:lnTo>
                  <a:lnTo>
                    <a:pt x="414616" y="554469"/>
                  </a:lnTo>
                  <a:lnTo>
                    <a:pt x="377355" y="579335"/>
                  </a:lnTo>
                  <a:lnTo>
                    <a:pt x="344728" y="609803"/>
                  </a:lnTo>
                  <a:lnTo>
                    <a:pt x="317411" y="645172"/>
                  </a:lnTo>
                  <a:lnTo>
                    <a:pt x="296087" y="684796"/>
                  </a:lnTo>
                  <a:lnTo>
                    <a:pt x="281419" y="727976"/>
                  </a:lnTo>
                  <a:lnTo>
                    <a:pt x="274091" y="774065"/>
                  </a:lnTo>
                  <a:lnTo>
                    <a:pt x="272161" y="761669"/>
                  </a:lnTo>
                  <a:lnTo>
                    <a:pt x="266928" y="727824"/>
                  </a:lnTo>
                  <a:lnTo>
                    <a:pt x="257238" y="699008"/>
                  </a:lnTo>
                  <a:lnTo>
                    <a:pt x="252361" y="684453"/>
                  </a:lnTo>
                  <a:lnTo>
                    <a:pt x="231101" y="644652"/>
                  </a:lnTo>
                  <a:lnTo>
                    <a:pt x="203809" y="609117"/>
                  </a:lnTo>
                  <a:lnTo>
                    <a:pt x="187998" y="594321"/>
                  </a:lnTo>
                  <a:lnTo>
                    <a:pt x="171157" y="578523"/>
                  </a:lnTo>
                  <a:lnTo>
                    <a:pt x="133845" y="553542"/>
                  </a:lnTo>
                  <a:lnTo>
                    <a:pt x="92532" y="534835"/>
                  </a:lnTo>
                  <a:lnTo>
                    <a:pt x="47917" y="523125"/>
                  </a:lnTo>
                  <a:lnTo>
                    <a:pt x="0" y="519074"/>
                  </a:lnTo>
                  <a:lnTo>
                    <a:pt x="5448" y="567245"/>
                  </a:lnTo>
                  <a:lnTo>
                    <a:pt x="18846" y="612508"/>
                  </a:lnTo>
                  <a:lnTo>
                    <a:pt x="39458" y="654138"/>
                  </a:lnTo>
                  <a:lnTo>
                    <a:pt x="46850" y="66429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93" y="654710"/>
                  </a:lnTo>
                  <a:lnTo>
                    <a:pt x="529043" y="613257"/>
                  </a:lnTo>
                  <a:lnTo>
                    <a:pt x="542518" y="568172"/>
                  </a:lnTo>
                  <a:lnTo>
                    <a:pt x="548081" y="520217"/>
                  </a:lnTo>
                  <a:close/>
                </a:path>
                <a:path w="548640" h="786765">
                  <a:moveTo>
                    <a:pt x="548093" y="266611"/>
                  </a:moveTo>
                  <a:lnTo>
                    <a:pt x="500380" y="270649"/>
                  </a:lnTo>
                  <a:lnTo>
                    <a:pt x="455853" y="282308"/>
                  </a:lnTo>
                  <a:lnTo>
                    <a:pt x="414616" y="300901"/>
                  </a:lnTo>
                  <a:lnTo>
                    <a:pt x="377355" y="325767"/>
                  </a:lnTo>
                  <a:lnTo>
                    <a:pt x="344728" y="356235"/>
                  </a:lnTo>
                  <a:lnTo>
                    <a:pt x="317423" y="391617"/>
                  </a:lnTo>
                  <a:lnTo>
                    <a:pt x="296087" y="431253"/>
                  </a:lnTo>
                  <a:lnTo>
                    <a:pt x="281432" y="474446"/>
                  </a:lnTo>
                  <a:lnTo>
                    <a:pt x="274091" y="520534"/>
                  </a:lnTo>
                  <a:lnTo>
                    <a:pt x="266928" y="474256"/>
                  </a:lnTo>
                  <a:lnTo>
                    <a:pt x="252361" y="430885"/>
                  </a:lnTo>
                  <a:lnTo>
                    <a:pt x="231101" y="391096"/>
                  </a:lnTo>
                  <a:lnTo>
                    <a:pt x="203809" y="355561"/>
                  </a:lnTo>
                  <a:lnTo>
                    <a:pt x="171157" y="324954"/>
                  </a:lnTo>
                  <a:lnTo>
                    <a:pt x="133845" y="299974"/>
                  </a:lnTo>
                  <a:lnTo>
                    <a:pt x="92544" y="281292"/>
                  </a:lnTo>
                  <a:lnTo>
                    <a:pt x="47917" y="269582"/>
                  </a:lnTo>
                  <a:lnTo>
                    <a:pt x="12" y="265531"/>
                  </a:lnTo>
                  <a:lnTo>
                    <a:pt x="5461" y="313690"/>
                  </a:lnTo>
                  <a:lnTo>
                    <a:pt x="18859" y="358952"/>
                  </a:lnTo>
                  <a:lnTo>
                    <a:pt x="39471" y="400583"/>
                  </a:lnTo>
                  <a:lnTo>
                    <a:pt x="66560" y="437832"/>
                  </a:lnTo>
                  <a:lnTo>
                    <a:pt x="99402" y="469988"/>
                  </a:lnTo>
                  <a:lnTo>
                    <a:pt x="137261" y="496303"/>
                  </a:lnTo>
                  <a:lnTo>
                    <a:pt x="179387" y="516039"/>
                  </a:lnTo>
                  <a:lnTo>
                    <a:pt x="225056" y="528459"/>
                  </a:lnTo>
                  <a:lnTo>
                    <a:pt x="273532" y="532828"/>
                  </a:lnTo>
                  <a:lnTo>
                    <a:pt x="274751" y="532828"/>
                  </a:lnTo>
                  <a:lnTo>
                    <a:pt x="323100" y="528472"/>
                  </a:lnTo>
                  <a:lnTo>
                    <a:pt x="368655" y="516115"/>
                  </a:lnTo>
                  <a:lnTo>
                    <a:pt x="410692" y="496468"/>
                  </a:lnTo>
                  <a:lnTo>
                    <a:pt x="448475" y="470268"/>
                  </a:lnTo>
                  <a:lnTo>
                    <a:pt x="481279" y="438251"/>
                  </a:lnTo>
                  <a:lnTo>
                    <a:pt x="508381" y="401154"/>
                  </a:lnTo>
                  <a:lnTo>
                    <a:pt x="529031" y="359689"/>
                  </a:lnTo>
                  <a:lnTo>
                    <a:pt x="542505" y="314604"/>
                  </a:lnTo>
                  <a:lnTo>
                    <a:pt x="548093" y="266611"/>
                  </a:lnTo>
                  <a:close/>
                </a:path>
                <a:path w="548640" h="786765">
                  <a:moveTo>
                    <a:pt x="548093" y="1079"/>
                  </a:moveTo>
                  <a:lnTo>
                    <a:pt x="500380" y="5118"/>
                  </a:lnTo>
                  <a:lnTo>
                    <a:pt x="455853" y="16776"/>
                  </a:lnTo>
                  <a:lnTo>
                    <a:pt x="414616" y="35369"/>
                  </a:lnTo>
                  <a:lnTo>
                    <a:pt x="377355" y="60248"/>
                  </a:lnTo>
                  <a:lnTo>
                    <a:pt x="344728" y="90716"/>
                  </a:lnTo>
                  <a:lnTo>
                    <a:pt x="317423" y="126098"/>
                  </a:lnTo>
                  <a:lnTo>
                    <a:pt x="296087" y="165722"/>
                  </a:lnTo>
                  <a:lnTo>
                    <a:pt x="281432" y="208915"/>
                  </a:lnTo>
                  <a:lnTo>
                    <a:pt x="274091" y="255003"/>
                  </a:lnTo>
                  <a:lnTo>
                    <a:pt x="266928" y="208724"/>
                  </a:lnTo>
                  <a:lnTo>
                    <a:pt x="252361" y="165354"/>
                  </a:lnTo>
                  <a:lnTo>
                    <a:pt x="231101" y="125564"/>
                  </a:lnTo>
                  <a:lnTo>
                    <a:pt x="203809" y="90030"/>
                  </a:lnTo>
                  <a:lnTo>
                    <a:pt x="171157" y="59436"/>
                  </a:lnTo>
                  <a:lnTo>
                    <a:pt x="133845" y="34455"/>
                  </a:lnTo>
                  <a:lnTo>
                    <a:pt x="92544" y="15760"/>
                  </a:lnTo>
                  <a:lnTo>
                    <a:pt x="47917" y="4064"/>
                  </a:lnTo>
                  <a:lnTo>
                    <a:pt x="12" y="0"/>
                  </a:lnTo>
                  <a:lnTo>
                    <a:pt x="5461" y="48171"/>
                  </a:lnTo>
                  <a:lnTo>
                    <a:pt x="18859"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92" y="230936"/>
                  </a:lnTo>
                  <a:lnTo>
                    <a:pt x="448475" y="204736"/>
                  </a:lnTo>
                  <a:lnTo>
                    <a:pt x="481279" y="172732"/>
                  </a:lnTo>
                  <a:lnTo>
                    <a:pt x="508381" y="135623"/>
                  </a:lnTo>
                  <a:lnTo>
                    <a:pt x="529031" y="94157"/>
                  </a:lnTo>
                  <a:lnTo>
                    <a:pt x="542505" y="49072"/>
                  </a:lnTo>
                  <a:lnTo>
                    <a:pt x="548093" y="1079"/>
                  </a:lnTo>
                  <a:close/>
                </a:path>
              </a:pathLst>
            </a:custGeom>
            <a:solidFill>
              <a:srgbClr val="7ED3F1"/>
            </a:solidFill>
          </p:spPr>
          <p:txBody>
            <a:bodyPr wrap="square" lIns="0" tIns="0" rIns="0" bIns="0" rtlCol="0"/>
            <a:lstStyle/>
            <a:p>
              <a:endParaRPr dirty="0"/>
            </a:p>
          </p:txBody>
        </p:sp>
        <p:pic>
          <p:nvPicPr>
            <p:cNvPr id="351" name="object 349">
              <a:extLst>
                <a:ext uri="{FF2B5EF4-FFF2-40B4-BE49-F238E27FC236}">
                  <a16:creationId xmlns:a16="http://schemas.microsoft.com/office/drawing/2014/main" id="{CBABCE26-8822-74D1-A1E6-80D2A0F292B8}"/>
                </a:ext>
              </a:extLst>
            </p:cNvPr>
            <p:cNvPicPr/>
            <p:nvPr/>
          </p:nvPicPr>
          <p:blipFill>
            <a:blip r:embed="rId6" cstate="print"/>
            <a:stretch>
              <a:fillRect/>
            </a:stretch>
          </p:blipFill>
          <p:spPr>
            <a:xfrm>
              <a:off x="10021726" y="64269"/>
              <a:ext cx="106445" cy="107156"/>
            </a:xfrm>
            <a:prstGeom prst="rect">
              <a:avLst/>
            </a:prstGeom>
          </p:spPr>
        </p:pic>
        <p:sp>
          <p:nvSpPr>
            <p:cNvPr id="352" name="object 350">
              <a:extLst>
                <a:ext uri="{FF2B5EF4-FFF2-40B4-BE49-F238E27FC236}">
                  <a16:creationId xmlns:a16="http://schemas.microsoft.com/office/drawing/2014/main" id="{3F43280D-CA75-1429-7558-AA6204E5B8E1}"/>
                </a:ext>
              </a:extLst>
            </p:cNvPr>
            <p:cNvSpPr/>
            <p:nvPr/>
          </p:nvSpPr>
          <p:spPr>
            <a:xfrm>
              <a:off x="9909070" y="2112754"/>
              <a:ext cx="332700" cy="477101"/>
            </a:xfrm>
            <a:custGeom>
              <a:avLst/>
              <a:gdLst/>
              <a:ahLst/>
              <a:cxnLst/>
              <a:rect l="l" t="t" r="r" b="b"/>
              <a:pathLst>
                <a:path w="548640" h="786764">
                  <a:moveTo>
                    <a:pt x="548093" y="520166"/>
                  </a:moveTo>
                  <a:lnTo>
                    <a:pt x="500380" y="524205"/>
                  </a:lnTo>
                  <a:lnTo>
                    <a:pt x="455853" y="535863"/>
                  </a:lnTo>
                  <a:lnTo>
                    <a:pt x="414616" y="554456"/>
                  </a:lnTo>
                  <a:lnTo>
                    <a:pt x="377355" y="579335"/>
                  </a:lnTo>
                  <a:lnTo>
                    <a:pt x="375183" y="581367"/>
                  </a:lnTo>
                  <a:lnTo>
                    <a:pt x="344728" y="609803"/>
                  </a:lnTo>
                  <a:lnTo>
                    <a:pt x="317411" y="645172"/>
                  </a:lnTo>
                  <a:lnTo>
                    <a:pt x="296087" y="684796"/>
                  </a:lnTo>
                  <a:lnTo>
                    <a:pt x="281419" y="727989"/>
                  </a:lnTo>
                  <a:lnTo>
                    <a:pt x="274091" y="774065"/>
                  </a:lnTo>
                  <a:lnTo>
                    <a:pt x="272389" y="763143"/>
                  </a:lnTo>
                  <a:lnTo>
                    <a:pt x="266928" y="727811"/>
                  </a:lnTo>
                  <a:lnTo>
                    <a:pt x="252361" y="684441"/>
                  </a:lnTo>
                  <a:lnTo>
                    <a:pt x="231101" y="644652"/>
                  </a:lnTo>
                  <a:lnTo>
                    <a:pt x="203809" y="609117"/>
                  </a:lnTo>
                  <a:lnTo>
                    <a:pt x="171157" y="578523"/>
                  </a:lnTo>
                  <a:lnTo>
                    <a:pt x="133845" y="553542"/>
                  </a:lnTo>
                  <a:lnTo>
                    <a:pt x="92544" y="534860"/>
                  </a:lnTo>
                  <a:lnTo>
                    <a:pt x="47917" y="523125"/>
                  </a:lnTo>
                  <a:lnTo>
                    <a:pt x="12" y="519087"/>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93" y="654710"/>
                  </a:lnTo>
                  <a:lnTo>
                    <a:pt x="529043" y="613257"/>
                  </a:lnTo>
                  <a:lnTo>
                    <a:pt x="542518" y="568172"/>
                  </a:lnTo>
                  <a:lnTo>
                    <a:pt x="548081" y="520217"/>
                  </a:lnTo>
                  <a:close/>
                </a:path>
                <a:path w="548640" h="786764">
                  <a:moveTo>
                    <a:pt x="548093" y="266611"/>
                  </a:moveTo>
                  <a:lnTo>
                    <a:pt x="500380" y="270649"/>
                  </a:lnTo>
                  <a:lnTo>
                    <a:pt x="455853" y="282308"/>
                  </a:lnTo>
                  <a:lnTo>
                    <a:pt x="414616" y="300901"/>
                  </a:lnTo>
                  <a:lnTo>
                    <a:pt x="377355" y="325780"/>
                  </a:lnTo>
                  <a:lnTo>
                    <a:pt x="344728" y="356247"/>
                  </a:lnTo>
                  <a:lnTo>
                    <a:pt x="317423" y="391629"/>
                  </a:lnTo>
                  <a:lnTo>
                    <a:pt x="296087" y="431253"/>
                  </a:lnTo>
                  <a:lnTo>
                    <a:pt x="281432" y="474446"/>
                  </a:lnTo>
                  <a:lnTo>
                    <a:pt x="274091" y="520534"/>
                  </a:lnTo>
                  <a:lnTo>
                    <a:pt x="266928" y="474256"/>
                  </a:lnTo>
                  <a:lnTo>
                    <a:pt x="252361" y="430885"/>
                  </a:lnTo>
                  <a:lnTo>
                    <a:pt x="231101" y="391096"/>
                  </a:lnTo>
                  <a:lnTo>
                    <a:pt x="203809" y="355561"/>
                  </a:lnTo>
                  <a:lnTo>
                    <a:pt x="171157" y="324967"/>
                  </a:lnTo>
                  <a:lnTo>
                    <a:pt x="133845" y="299986"/>
                  </a:lnTo>
                  <a:lnTo>
                    <a:pt x="92544" y="281292"/>
                  </a:lnTo>
                  <a:lnTo>
                    <a:pt x="47917" y="269582"/>
                  </a:lnTo>
                  <a:lnTo>
                    <a:pt x="12" y="265531"/>
                  </a:lnTo>
                  <a:lnTo>
                    <a:pt x="5461" y="313702"/>
                  </a:lnTo>
                  <a:lnTo>
                    <a:pt x="18859" y="358952"/>
                  </a:lnTo>
                  <a:lnTo>
                    <a:pt x="39471" y="400583"/>
                  </a:lnTo>
                  <a:lnTo>
                    <a:pt x="66560" y="437845"/>
                  </a:lnTo>
                  <a:lnTo>
                    <a:pt x="99402" y="469988"/>
                  </a:lnTo>
                  <a:lnTo>
                    <a:pt x="137261" y="496303"/>
                  </a:lnTo>
                  <a:lnTo>
                    <a:pt x="179387" y="516039"/>
                  </a:lnTo>
                  <a:lnTo>
                    <a:pt x="225056" y="528459"/>
                  </a:lnTo>
                  <a:lnTo>
                    <a:pt x="273532" y="532841"/>
                  </a:lnTo>
                  <a:lnTo>
                    <a:pt x="274751" y="532841"/>
                  </a:lnTo>
                  <a:lnTo>
                    <a:pt x="323100" y="528485"/>
                  </a:lnTo>
                  <a:lnTo>
                    <a:pt x="368655" y="516115"/>
                  </a:lnTo>
                  <a:lnTo>
                    <a:pt x="410692" y="496468"/>
                  </a:lnTo>
                  <a:lnTo>
                    <a:pt x="448475" y="470268"/>
                  </a:lnTo>
                  <a:lnTo>
                    <a:pt x="481279" y="438264"/>
                  </a:lnTo>
                  <a:lnTo>
                    <a:pt x="508381" y="401154"/>
                  </a:lnTo>
                  <a:lnTo>
                    <a:pt x="529031" y="359689"/>
                  </a:lnTo>
                  <a:lnTo>
                    <a:pt x="542505" y="314604"/>
                  </a:lnTo>
                  <a:lnTo>
                    <a:pt x="548093" y="266611"/>
                  </a:lnTo>
                  <a:close/>
                </a:path>
                <a:path w="548640" h="786764">
                  <a:moveTo>
                    <a:pt x="548093" y="1079"/>
                  </a:moveTo>
                  <a:lnTo>
                    <a:pt x="500380" y="5118"/>
                  </a:lnTo>
                  <a:lnTo>
                    <a:pt x="455853" y="16776"/>
                  </a:lnTo>
                  <a:lnTo>
                    <a:pt x="414616" y="35369"/>
                  </a:lnTo>
                  <a:lnTo>
                    <a:pt x="377355" y="60248"/>
                  </a:lnTo>
                  <a:lnTo>
                    <a:pt x="344728" y="90703"/>
                  </a:lnTo>
                  <a:lnTo>
                    <a:pt x="317423" y="126085"/>
                  </a:lnTo>
                  <a:lnTo>
                    <a:pt x="296087" y="165722"/>
                  </a:lnTo>
                  <a:lnTo>
                    <a:pt x="281432" y="208915"/>
                  </a:lnTo>
                  <a:lnTo>
                    <a:pt x="274091" y="255003"/>
                  </a:lnTo>
                  <a:lnTo>
                    <a:pt x="266928" y="208724"/>
                  </a:lnTo>
                  <a:lnTo>
                    <a:pt x="252361" y="165354"/>
                  </a:lnTo>
                  <a:lnTo>
                    <a:pt x="231101" y="125564"/>
                  </a:lnTo>
                  <a:lnTo>
                    <a:pt x="203809" y="90030"/>
                  </a:lnTo>
                  <a:lnTo>
                    <a:pt x="171157" y="59423"/>
                  </a:lnTo>
                  <a:lnTo>
                    <a:pt x="133845" y="34442"/>
                  </a:lnTo>
                  <a:lnTo>
                    <a:pt x="92544" y="15760"/>
                  </a:lnTo>
                  <a:lnTo>
                    <a:pt x="47917" y="4051"/>
                  </a:lnTo>
                  <a:lnTo>
                    <a:pt x="12" y="0"/>
                  </a:lnTo>
                  <a:lnTo>
                    <a:pt x="5461" y="48158"/>
                  </a:lnTo>
                  <a:lnTo>
                    <a:pt x="18859" y="93421"/>
                  </a:lnTo>
                  <a:lnTo>
                    <a:pt x="39471" y="135051"/>
                  </a:lnTo>
                  <a:lnTo>
                    <a:pt x="66560" y="172313"/>
                  </a:lnTo>
                  <a:lnTo>
                    <a:pt x="99402" y="204457"/>
                  </a:lnTo>
                  <a:lnTo>
                    <a:pt x="137261" y="230771"/>
                  </a:lnTo>
                  <a:lnTo>
                    <a:pt x="179387" y="250507"/>
                  </a:lnTo>
                  <a:lnTo>
                    <a:pt x="225056" y="262928"/>
                  </a:lnTo>
                  <a:lnTo>
                    <a:pt x="273532" y="267296"/>
                  </a:lnTo>
                  <a:lnTo>
                    <a:pt x="274751" y="267296"/>
                  </a:lnTo>
                  <a:lnTo>
                    <a:pt x="323100" y="262940"/>
                  </a:lnTo>
                  <a:lnTo>
                    <a:pt x="368655" y="250583"/>
                  </a:lnTo>
                  <a:lnTo>
                    <a:pt x="410692" y="230936"/>
                  </a:lnTo>
                  <a:lnTo>
                    <a:pt x="448475" y="204736"/>
                  </a:lnTo>
                  <a:lnTo>
                    <a:pt x="481279" y="172720"/>
                  </a:lnTo>
                  <a:lnTo>
                    <a:pt x="508381" y="135623"/>
                  </a:lnTo>
                  <a:lnTo>
                    <a:pt x="529031" y="94157"/>
                  </a:lnTo>
                  <a:lnTo>
                    <a:pt x="542505" y="49072"/>
                  </a:lnTo>
                  <a:lnTo>
                    <a:pt x="548093" y="1079"/>
                  </a:lnTo>
                  <a:close/>
                </a:path>
              </a:pathLst>
            </a:custGeom>
            <a:solidFill>
              <a:srgbClr val="2DB7EA"/>
            </a:solidFill>
          </p:spPr>
          <p:txBody>
            <a:bodyPr wrap="square" lIns="0" tIns="0" rIns="0" bIns="0" rtlCol="0"/>
            <a:lstStyle/>
            <a:p>
              <a:endParaRPr dirty="0"/>
            </a:p>
          </p:txBody>
        </p:sp>
        <p:pic>
          <p:nvPicPr>
            <p:cNvPr id="353" name="object 351">
              <a:extLst>
                <a:ext uri="{FF2B5EF4-FFF2-40B4-BE49-F238E27FC236}">
                  <a16:creationId xmlns:a16="http://schemas.microsoft.com/office/drawing/2014/main" id="{DBAA4C9F-CCFF-2C75-2403-14838FD8B8CD}"/>
                </a:ext>
              </a:extLst>
            </p:cNvPr>
            <p:cNvPicPr/>
            <p:nvPr/>
          </p:nvPicPr>
          <p:blipFill>
            <a:blip r:embed="rId5" cstate="print"/>
            <a:stretch>
              <a:fillRect/>
            </a:stretch>
          </p:blipFill>
          <p:spPr>
            <a:xfrm>
              <a:off x="10021726" y="2026765"/>
              <a:ext cx="106445" cy="107156"/>
            </a:xfrm>
            <a:prstGeom prst="rect">
              <a:avLst/>
            </a:prstGeom>
          </p:spPr>
        </p:pic>
        <p:sp>
          <p:nvSpPr>
            <p:cNvPr id="354" name="object 352">
              <a:extLst>
                <a:ext uri="{FF2B5EF4-FFF2-40B4-BE49-F238E27FC236}">
                  <a16:creationId xmlns:a16="http://schemas.microsoft.com/office/drawing/2014/main" id="{44C875AD-4A4F-8C94-CD2A-FEA7988DF5FC}"/>
                </a:ext>
              </a:extLst>
            </p:cNvPr>
            <p:cNvSpPr/>
            <p:nvPr/>
          </p:nvSpPr>
          <p:spPr>
            <a:xfrm>
              <a:off x="9909070" y="1458591"/>
              <a:ext cx="332700" cy="477101"/>
            </a:xfrm>
            <a:custGeom>
              <a:avLst/>
              <a:gdLst/>
              <a:ahLst/>
              <a:cxnLst/>
              <a:rect l="l" t="t" r="r" b="b"/>
              <a:pathLst>
                <a:path w="548640" h="786764">
                  <a:moveTo>
                    <a:pt x="548093" y="520166"/>
                  </a:moveTo>
                  <a:lnTo>
                    <a:pt x="500380" y="524205"/>
                  </a:lnTo>
                  <a:lnTo>
                    <a:pt x="455853" y="535863"/>
                  </a:lnTo>
                  <a:lnTo>
                    <a:pt x="414616" y="554456"/>
                  </a:lnTo>
                  <a:lnTo>
                    <a:pt x="386664" y="573125"/>
                  </a:lnTo>
                  <a:lnTo>
                    <a:pt x="377355" y="579335"/>
                  </a:lnTo>
                  <a:lnTo>
                    <a:pt x="344728" y="609790"/>
                  </a:lnTo>
                  <a:lnTo>
                    <a:pt x="317411" y="645172"/>
                  </a:lnTo>
                  <a:lnTo>
                    <a:pt x="296087" y="684784"/>
                  </a:lnTo>
                  <a:lnTo>
                    <a:pt x="281419" y="727976"/>
                  </a:lnTo>
                  <a:lnTo>
                    <a:pt x="274091" y="774065"/>
                  </a:lnTo>
                  <a:lnTo>
                    <a:pt x="272389" y="763143"/>
                  </a:lnTo>
                  <a:lnTo>
                    <a:pt x="266928" y="727811"/>
                  </a:lnTo>
                  <a:lnTo>
                    <a:pt x="252361" y="684441"/>
                  </a:lnTo>
                  <a:lnTo>
                    <a:pt x="231101" y="644652"/>
                  </a:lnTo>
                  <a:lnTo>
                    <a:pt x="203809" y="609117"/>
                  </a:lnTo>
                  <a:lnTo>
                    <a:pt x="171157" y="578510"/>
                  </a:lnTo>
                  <a:lnTo>
                    <a:pt x="133845" y="553529"/>
                  </a:lnTo>
                  <a:lnTo>
                    <a:pt x="92544" y="534847"/>
                  </a:lnTo>
                  <a:lnTo>
                    <a:pt x="47917" y="523138"/>
                  </a:lnTo>
                  <a:lnTo>
                    <a:pt x="0" y="519061"/>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84"/>
                  </a:lnTo>
                  <a:lnTo>
                    <a:pt x="274751" y="786384"/>
                  </a:lnTo>
                  <a:lnTo>
                    <a:pt x="323100" y="782027"/>
                  </a:lnTo>
                  <a:lnTo>
                    <a:pt x="368655" y="769670"/>
                  </a:lnTo>
                  <a:lnTo>
                    <a:pt x="410692" y="750023"/>
                  </a:lnTo>
                  <a:lnTo>
                    <a:pt x="448475" y="723823"/>
                  </a:lnTo>
                  <a:lnTo>
                    <a:pt x="481279" y="691807"/>
                  </a:lnTo>
                  <a:lnTo>
                    <a:pt x="508381" y="654710"/>
                  </a:lnTo>
                  <a:lnTo>
                    <a:pt x="529043" y="613244"/>
                  </a:lnTo>
                  <a:lnTo>
                    <a:pt x="542518" y="568172"/>
                  </a:lnTo>
                  <a:lnTo>
                    <a:pt x="548081" y="520204"/>
                  </a:lnTo>
                  <a:close/>
                </a:path>
                <a:path w="548640" h="786764">
                  <a:moveTo>
                    <a:pt x="548093" y="266611"/>
                  </a:moveTo>
                  <a:lnTo>
                    <a:pt x="500380" y="270649"/>
                  </a:lnTo>
                  <a:lnTo>
                    <a:pt x="455853" y="282295"/>
                  </a:lnTo>
                  <a:lnTo>
                    <a:pt x="414616" y="300901"/>
                  </a:lnTo>
                  <a:lnTo>
                    <a:pt x="377355" y="325767"/>
                  </a:lnTo>
                  <a:lnTo>
                    <a:pt x="344728" y="356235"/>
                  </a:lnTo>
                  <a:lnTo>
                    <a:pt x="317423" y="391617"/>
                  </a:lnTo>
                  <a:lnTo>
                    <a:pt x="296087" y="431241"/>
                  </a:lnTo>
                  <a:lnTo>
                    <a:pt x="281432" y="474446"/>
                  </a:lnTo>
                  <a:lnTo>
                    <a:pt x="274091" y="520522"/>
                  </a:lnTo>
                  <a:lnTo>
                    <a:pt x="266928"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59" y="358952"/>
                  </a:lnTo>
                  <a:lnTo>
                    <a:pt x="39471" y="400583"/>
                  </a:lnTo>
                  <a:lnTo>
                    <a:pt x="66560" y="437832"/>
                  </a:lnTo>
                  <a:lnTo>
                    <a:pt x="99402" y="469988"/>
                  </a:lnTo>
                  <a:lnTo>
                    <a:pt x="137261" y="496303"/>
                  </a:lnTo>
                  <a:lnTo>
                    <a:pt x="179387" y="516026"/>
                  </a:lnTo>
                  <a:lnTo>
                    <a:pt x="225056" y="528459"/>
                  </a:lnTo>
                  <a:lnTo>
                    <a:pt x="273532" y="532828"/>
                  </a:lnTo>
                  <a:lnTo>
                    <a:pt x="274751" y="532828"/>
                  </a:lnTo>
                  <a:lnTo>
                    <a:pt x="323100" y="528472"/>
                  </a:lnTo>
                  <a:lnTo>
                    <a:pt x="368655" y="516102"/>
                  </a:lnTo>
                  <a:lnTo>
                    <a:pt x="410692" y="496468"/>
                  </a:lnTo>
                  <a:lnTo>
                    <a:pt x="448475" y="470268"/>
                  </a:lnTo>
                  <a:lnTo>
                    <a:pt x="481279" y="438251"/>
                  </a:lnTo>
                  <a:lnTo>
                    <a:pt x="508381" y="401154"/>
                  </a:lnTo>
                  <a:lnTo>
                    <a:pt x="529031" y="359689"/>
                  </a:lnTo>
                  <a:lnTo>
                    <a:pt x="542505" y="314604"/>
                  </a:lnTo>
                  <a:lnTo>
                    <a:pt x="548093" y="266611"/>
                  </a:lnTo>
                  <a:close/>
                </a:path>
                <a:path w="548640" h="786764">
                  <a:moveTo>
                    <a:pt x="548093" y="1079"/>
                  </a:moveTo>
                  <a:lnTo>
                    <a:pt x="500380" y="5105"/>
                  </a:lnTo>
                  <a:lnTo>
                    <a:pt x="455853" y="16764"/>
                  </a:lnTo>
                  <a:lnTo>
                    <a:pt x="414616" y="35369"/>
                  </a:lnTo>
                  <a:lnTo>
                    <a:pt x="377355" y="60236"/>
                  </a:lnTo>
                  <a:lnTo>
                    <a:pt x="344728" y="90703"/>
                  </a:lnTo>
                  <a:lnTo>
                    <a:pt x="317423" y="126085"/>
                  </a:lnTo>
                  <a:lnTo>
                    <a:pt x="296087" y="165709"/>
                  </a:lnTo>
                  <a:lnTo>
                    <a:pt x="281432" y="208902"/>
                  </a:lnTo>
                  <a:lnTo>
                    <a:pt x="274091" y="254990"/>
                  </a:lnTo>
                  <a:lnTo>
                    <a:pt x="266928"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59"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36"/>
                  </a:lnTo>
                  <a:lnTo>
                    <a:pt x="481279" y="172720"/>
                  </a:lnTo>
                  <a:lnTo>
                    <a:pt x="508381" y="135623"/>
                  </a:lnTo>
                  <a:lnTo>
                    <a:pt x="529031" y="94157"/>
                  </a:lnTo>
                  <a:lnTo>
                    <a:pt x="542505" y="49060"/>
                  </a:lnTo>
                  <a:lnTo>
                    <a:pt x="548093" y="1079"/>
                  </a:lnTo>
                  <a:close/>
                </a:path>
              </a:pathLst>
            </a:custGeom>
            <a:solidFill>
              <a:srgbClr val="7ED3F1"/>
            </a:solidFill>
          </p:spPr>
          <p:txBody>
            <a:bodyPr wrap="square" lIns="0" tIns="0" rIns="0" bIns="0" rtlCol="0"/>
            <a:lstStyle/>
            <a:p>
              <a:endParaRPr dirty="0"/>
            </a:p>
          </p:txBody>
        </p:sp>
        <p:pic>
          <p:nvPicPr>
            <p:cNvPr id="355" name="object 353">
              <a:extLst>
                <a:ext uri="{FF2B5EF4-FFF2-40B4-BE49-F238E27FC236}">
                  <a16:creationId xmlns:a16="http://schemas.microsoft.com/office/drawing/2014/main" id="{AA170314-7E59-9A99-FAB6-DB405A593530}"/>
                </a:ext>
              </a:extLst>
            </p:cNvPr>
            <p:cNvPicPr/>
            <p:nvPr/>
          </p:nvPicPr>
          <p:blipFill>
            <a:blip r:embed="rId6" cstate="print"/>
            <a:stretch>
              <a:fillRect/>
            </a:stretch>
          </p:blipFill>
          <p:spPr>
            <a:xfrm>
              <a:off x="10021726" y="1372599"/>
              <a:ext cx="106445" cy="107156"/>
            </a:xfrm>
            <a:prstGeom prst="rect">
              <a:avLst/>
            </a:prstGeom>
          </p:spPr>
        </p:pic>
        <p:sp>
          <p:nvSpPr>
            <p:cNvPr id="356" name="object 354">
              <a:extLst>
                <a:ext uri="{FF2B5EF4-FFF2-40B4-BE49-F238E27FC236}">
                  <a16:creationId xmlns:a16="http://schemas.microsoft.com/office/drawing/2014/main" id="{3B985501-E7C2-7A08-0F08-BAAA69ED7689}"/>
                </a:ext>
              </a:extLst>
            </p:cNvPr>
            <p:cNvSpPr/>
            <p:nvPr/>
          </p:nvSpPr>
          <p:spPr>
            <a:xfrm>
              <a:off x="9909070" y="3421088"/>
              <a:ext cx="332700" cy="477101"/>
            </a:xfrm>
            <a:custGeom>
              <a:avLst/>
              <a:gdLst/>
              <a:ahLst/>
              <a:cxnLst/>
              <a:rect l="l" t="t" r="r" b="b"/>
              <a:pathLst>
                <a:path w="548640" h="786764">
                  <a:moveTo>
                    <a:pt x="548093" y="520179"/>
                  </a:moveTo>
                  <a:lnTo>
                    <a:pt x="500380" y="524217"/>
                  </a:lnTo>
                  <a:lnTo>
                    <a:pt x="455853" y="535863"/>
                  </a:lnTo>
                  <a:lnTo>
                    <a:pt x="414616" y="554469"/>
                  </a:lnTo>
                  <a:lnTo>
                    <a:pt x="377355" y="579335"/>
                  </a:lnTo>
                  <a:lnTo>
                    <a:pt x="344716" y="609790"/>
                  </a:lnTo>
                  <a:lnTo>
                    <a:pt x="317411" y="645172"/>
                  </a:lnTo>
                  <a:lnTo>
                    <a:pt x="296087" y="684784"/>
                  </a:lnTo>
                  <a:lnTo>
                    <a:pt x="281419" y="727976"/>
                  </a:lnTo>
                  <a:lnTo>
                    <a:pt x="274091" y="774065"/>
                  </a:lnTo>
                  <a:lnTo>
                    <a:pt x="272161" y="761669"/>
                  </a:lnTo>
                  <a:lnTo>
                    <a:pt x="266928" y="727811"/>
                  </a:lnTo>
                  <a:lnTo>
                    <a:pt x="252361" y="684441"/>
                  </a:lnTo>
                  <a:lnTo>
                    <a:pt x="231101" y="644652"/>
                  </a:lnTo>
                  <a:lnTo>
                    <a:pt x="203809" y="609117"/>
                  </a:lnTo>
                  <a:lnTo>
                    <a:pt x="171157" y="578510"/>
                  </a:lnTo>
                  <a:lnTo>
                    <a:pt x="133845" y="553529"/>
                  </a:lnTo>
                  <a:lnTo>
                    <a:pt x="92544" y="534847"/>
                  </a:lnTo>
                  <a:lnTo>
                    <a:pt x="47917" y="523138"/>
                  </a:lnTo>
                  <a:lnTo>
                    <a:pt x="0" y="519061"/>
                  </a:lnTo>
                  <a:lnTo>
                    <a:pt x="5448" y="567232"/>
                  </a:lnTo>
                  <a:lnTo>
                    <a:pt x="18846" y="612508"/>
                  </a:lnTo>
                  <a:lnTo>
                    <a:pt x="39458" y="654138"/>
                  </a:lnTo>
                  <a:lnTo>
                    <a:pt x="66560" y="691400"/>
                  </a:lnTo>
                  <a:lnTo>
                    <a:pt x="99402" y="723544"/>
                  </a:lnTo>
                  <a:lnTo>
                    <a:pt x="137261" y="749858"/>
                  </a:lnTo>
                  <a:lnTo>
                    <a:pt x="179387" y="769594"/>
                  </a:lnTo>
                  <a:lnTo>
                    <a:pt x="225056" y="782015"/>
                  </a:lnTo>
                  <a:lnTo>
                    <a:pt x="273532" y="786384"/>
                  </a:lnTo>
                  <a:lnTo>
                    <a:pt x="274751" y="786384"/>
                  </a:lnTo>
                  <a:lnTo>
                    <a:pt x="323100" y="782027"/>
                  </a:lnTo>
                  <a:lnTo>
                    <a:pt x="368655" y="769670"/>
                  </a:lnTo>
                  <a:lnTo>
                    <a:pt x="410692" y="750023"/>
                  </a:lnTo>
                  <a:lnTo>
                    <a:pt x="448475" y="723823"/>
                  </a:lnTo>
                  <a:lnTo>
                    <a:pt x="481279" y="691819"/>
                  </a:lnTo>
                  <a:lnTo>
                    <a:pt x="498386" y="668401"/>
                  </a:lnTo>
                  <a:lnTo>
                    <a:pt x="508381" y="654710"/>
                  </a:lnTo>
                  <a:lnTo>
                    <a:pt x="529031" y="613257"/>
                  </a:lnTo>
                  <a:lnTo>
                    <a:pt x="542518" y="568172"/>
                  </a:lnTo>
                  <a:lnTo>
                    <a:pt x="548081" y="520204"/>
                  </a:lnTo>
                  <a:close/>
                </a:path>
                <a:path w="548640" h="786764">
                  <a:moveTo>
                    <a:pt x="548093" y="266611"/>
                  </a:moveTo>
                  <a:lnTo>
                    <a:pt x="500380" y="270637"/>
                  </a:lnTo>
                  <a:lnTo>
                    <a:pt x="455853" y="282295"/>
                  </a:lnTo>
                  <a:lnTo>
                    <a:pt x="414616" y="300901"/>
                  </a:lnTo>
                  <a:lnTo>
                    <a:pt x="377355" y="325767"/>
                  </a:lnTo>
                  <a:lnTo>
                    <a:pt x="344728" y="356235"/>
                  </a:lnTo>
                  <a:lnTo>
                    <a:pt x="317423" y="391617"/>
                  </a:lnTo>
                  <a:lnTo>
                    <a:pt x="296087" y="431241"/>
                  </a:lnTo>
                  <a:lnTo>
                    <a:pt x="281432" y="474433"/>
                  </a:lnTo>
                  <a:lnTo>
                    <a:pt x="274091" y="520522"/>
                  </a:lnTo>
                  <a:lnTo>
                    <a:pt x="266928"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59" y="358952"/>
                  </a:lnTo>
                  <a:lnTo>
                    <a:pt x="39471" y="400570"/>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92" y="496455"/>
                  </a:lnTo>
                  <a:lnTo>
                    <a:pt x="448475" y="470255"/>
                  </a:lnTo>
                  <a:lnTo>
                    <a:pt x="481279" y="438251"/>
                  </a:lnTo>
                  <a:lnTo>
                    <a:pt x="508381" y="401142"/>
                  </a:lnTo>
                  <a:lnTo>
                    <a:pt x="529031" y="359689"/>
                  </a:lnTo>
                  <a:lnTo>
                    <a:pt x="542505" y="314591"/>
                  </a:lnTo>
                  <a:lnTo>
                    <a:pt x="548093" y="266611"/>
                  </a:lnTo>
                  <a:close/>
                </a:path>
                <a:path w="548640" h="786764">
                  <a:moveTo>
                    <a:pt x="548093" y="1079"/>
                  </a:moveTo>
                  <a:lnTo>
                    <a:pt x="500380" y="5118"/>
                  </a:lnTo>
                  <a:lnTo>
                    <a:pt x="455853" y="16764"/>
                  </a:lnTo>
                  <a:lnTo>
                    <a:pt x="414616" y="35369"/>
                  </a:lnTo>
                  <a:lnTo>
                    <a:pt x="377355" y="60236"/>
                  </a:lnTo>
                  <a:lnTo>
                    <a:pt x="344728" y="90703"/>
                  </a:lnTo>
                  <a:lnTo>
                    <a:pt x="317423" y="126085"/>
                  </a:lnTo>
                  <a:lnTo>
                    <a:pt x="296087" y="165709"/>
                  </a:lnTo>
                  <a:lnTo>
                    <a:pt x="281432" y="208915"/>
                  </a:lnTo>
                  <a:lnTo>
                    <a:pt x="274091" y="254990"/>
                  </a:lnTo>
                  <a:lnTo>
                    <a:pt x="266928"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59"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36"/>
                  </a:lnTo>
                  <a:lnTo>
                    <a:pt x="481279" y="172720"/>
                  </a:lnTo>
                  <a:lnTo>
                    <a:pt x="508381" y="135623"/>
                  </a:lnTo>
                  <a:lnTo>
                    <a:pt x="529031" y="94157"/>
                  </a:lnTo>
                  <a:lnTo>
                    <a:pt x="542505" y="49072"/>
                  </a:lnTo>
                  <a:lnTo>
                    <a:pt x="548093" y="1079"/>
                  </a:lnTo>
                  <a:close/>
                </a:path>
              </a:pathLst>
            </a:custGeom>
            <a:solidFill>
              <a:srgbClr val="2DB7EA"/>
            </a:solidFill>
          </p:spPr>
          <p:txBody>
            <a:bodyPr wrap="square" lIns="0" tIns="0" rIns="0" bIns="0" rtlCol="0"/>
            <a:lstStyle/>
            <a:p>
              <a:endParaRPr dirty="0"/>
            </a:p>
          </p:txBody>
        </p:sp>
        <p:pic>
          <p:nvPicPr>
            <p:cNvPr id="357" name="object 355">
              <a:extLst>
                <a:ext uri="{FF2B5EF4-FFF2-40B4-BE49-F238E27FC236}">
                  <a16:creationId xmlns:a16="http://schemas.microsoft.com/office/drawing/2014/main" id="{1C5CDFF6-C3B5-B4FB-2CD2-D59ED054DD4D}"/>
                </a:ext>
              </a:extLst>
            </p:cNvPr>
            <p:cNvPicPr/>
            <p:nvPr/>
          </p:nvPicPr>
          <p:blipFill>
            <a:blip r:embed="rId5" cstate="print"/>
            <a:stretch>
              <a:fillRect/>
            </a:stretch>
          </p:blipFill>
          <p:spPr>
            <a:xfrm>
              <a:off x="10021726" y="3335097"/>
              <a:ext cx="106445" cy="107156"/>
            </a:xfrm>
            <a:prstGeom prst="rect">
              <a:avLst/>
            </a:prstGeom>
          </p:spPr>
        </p:pic>
        <p:sp>
          <p:nvSpPr>
            <p:cNvPr id="358" name="object 356">
              <a:extLst>
                <a:ext uri="{FF2B5EF4-FFF2-40B4-BE49-F238E27FC236}">
                  <a16:creationId xmlns:a16="http://schemas.microsoft.com/office/drawing/2014/main" id="{C5A712F6-3001-B7E4-AA38-819A93DF2946}"/>
                </a:ext>
              </a:extLst>
            </p:cNvPr>
            <p:cNvSpPr/>
            <p:nvPr/>
          </p:nvSpPr>
          <p:spPr>
            <a:xfrm>
              <a:off x="9909070" y="2766918"/>
              <a:ext cx="332700" cy="477101"/>
            </a:xfrm>
            <a:custGeom>
              <a:avLst/>
              <a:gdLst/>
              <a:ahLst/>
              <a:cxnLst/>
              <a:rect l="l" t="t" r="r" b="b"/>
              <a:pathLst>
                <a:path w="548640" h="786764">
                  <a:moveTo>
                    <a:pt x="548093" y="520179"/>
                  </a:moveTo>
                  <a:lnTo>
                    <a:pt x="500380" y="524205"/>
                  </a:lnTo>
                  <a:lnTo>
                    <a:pt x="455853" y="535863"/>
                  </a:lnTo>
                  <a:lnTo>
                    <a:pt x="414616" y="554469"/>
                  </a:lnTo>
                  <a:lnTo>
                    <a:pt x="377355" y="579335"/>
                  </a:lnTo>
                  <a:lnTo>
                    <a:pt x="375183" y="581367"/>
                  </a:lnTo>
                  <a:lnTo>
                    <a:pt x="344728" y="609803"/>
                  </a:lnTo>
                  <a:lnTo>
                    <a:pt x="317411" y="645172"/>
                  </a:lnTo>
                  <a:lnTo>
                    <a:pt x="296087" y="684796"/>
                  </a:lnTo>
                  <a:lnTo>
                    <a:pt x="281419" y="727989"/>
                  </a:lnTo>
                  <a:lnTo>
                    <a:pt x="274091" y="774065"/>
                  </a:lnTo>
                  <a:lnTo>
                    <a:pt x="272161" y="761669"/>
                  </a:lnTo>
                  <a:lnTo>
                    <a:pt x="266928" y="727824"/>
                  </a:lnTo>
                  <a:lnTo>
                    <a:pt x="257238" y="699008"/>
                  </a:lnTo>
                  <a:lnTo>
                    <a:pt x="252361" y="684453"/>
                  </a:lnTo>
                  <a:lnTo>
                    <a:pt x="231101" y="644652"/>
                  </a:lnTo>
                  <a:lnTo>
                    <a:pt x="203809" y="609117"/>
                  </a:lnTo>
                  <a:lnTo>
                    <a:pt x="171157" y="578523"/>
                  </a:lnTo>
                  <a:lnTo>
                    <a:pt x="133845" y="553542"/>
                  </a:lnTo>
                  <a:lnTo>
                    <a:pt x="92532" y="534835"/>
                  </a:lnTo>
                  <a:lnTo>
                    <a:pt x="47917" y="523125"/>
                  </a:lnTo>
                  <a:lnTo>
                    <a:pt x="0" y="519074"/>
                  </a:lnTo>
                  <a:lnTo>
                    <a:pt x="5448" y="567245"/>
                  </a:lnTo>
                  <a:lnTo>
                    <a:pt x="18846" y="612508"/>
                  </a:lnTo>
                  <a:lnTo>
                    <a:pt x="39458" y="65413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81" y="654723"/>
                  </a:lnTo>
                  <a:lnTo>
                    <a:pt x="529043" y="613257"/>
                  </a:lnTo>
                  <a:lnTo>
                    <a:pt x="542518" y="568172"/>
                  </a:lnTo>
                  <a:lnTo>
                    <a:pt x="548081" y="520217"/>
                  </a:lnTo>
                  <a:close/>
                </a:path>
                <a:path w="548640" h="786764">
                  <a:moveTo>
                    <a:pt x="548093" y="266611"/>
                  </a:moveTo>
                  <a:lnTo>
                    <a:pt x="500380" y="270649"/>
                  </a:lnTo>
                  <a:lnTo>
                    <a:pt x="455853" y="282308"/>
                  </a:lnTo>
                  <a:lnTo>
                    <a:pt x="414616" y="300901"/>
                  </a:lnTo>
                  <a:lnTo>
                    <a:pt x="377355" y="325780"/>
                  </a:lnTo>
                  <a:lnTo>
                    <a:pt x="344728" y="356247"/>
                  </a:lnTo>
                  <a:lnTo>
                    <a:pt x="317423" y="391629"/>
                  </a:lnTo>
                  <a:lnTo>
                    <a:pt x="296087" y="431253"/>
                  </a:lnTo>
                  <a:lnTo>
                    <a:pt x="281432" y="474446"/>
                  </a:lnTo>
                  <a:lnTo>
                    <a:pt x="274091" y="520534"/>
                  </a:lnTo>
                  <a:lnTo>
                    <a:pt x="266928" y="474256"/>
                  </a:lnTo>
                  <a:lnTo>
                    <a:pt x="252361" y="430885"/>
                  </a:lnTo>
                  <a:lnTo>
                    <a:pt x="231101" y="391096"/>
                  </a:lnTo>
                  <a:lnTo>
                    <a:pt x="203809" y="355561"/>
                  </a:lnTo>
                  <a:lnTo>
                    <a:pt x="171157" y="324967"/>
                  </a:lnTo>
                  <a:lnTo>
                    <a:pt x="133845" y="299986"/>
                  </a:lnTo>
                  <a:lnTo>
                    <a:pt x="92544" y="281292"/>
                  </a:lnTo>
                  <a:lnTo>
                    <a:pt x="47917" y="269582"/>
                  </a:lnTo>
                  <a:lnTo>
                    <a:pt x="12" y="265531"/>
                  </a:lnTo>
                  <a:lnTo>
                    <a:pt x="5461" y="313702"/>
                  </a:lnTo>
                  <a:lnTo>
                    <a:pt x="18859" y="358952"/>
                  </a:lnTo>
                  <a:lnTo>
                    <a:pt x="39471" y="400583"/>
                  </a:lnTo>
                  <a:lnTo>
                    <a:pt x="66560" y="437845"/>
                  </a:lnTo>
                  <a:lnTo>
                    <a:pt x="99402" y="469988"/>
                  </a:lnTo>
                  <a:lnTo>
                    <a:pt x="137261" y="496303"/>
                  </a:lnTo>
                  <a:lnTo>
                    <a:pt x="179387" y="516039"/>
                  </a:lnTo>
                  <a:lnTo>
                    <a:pt x="225056" y="528459"/>
                  </a:lnTo>
                  <a:lnTo>
                    <a:pt x="273532" y="532841"/>
                  </a:lnTo>
                  <a:lnTo>
                    <a:pt x="274751" y="532841"/>
                  </a:lnTo>
                  <a:lnTo>
                    <a:pt x="323100" y="528485"/>
                  </a:lnTo>
                  <a:lnTo>
                    <a:pt x="368655" y="516115"/>
                  </a:lnTo>
                  <a:lnTo>
                    <a:pt x="410692" y="496468"/>
                  </a:lnTo>
                  <a:lnTo>
                    <a:pt x="448475" y="470268"/>
                  </a:lnTo>
                  <a:lnTo>
                    <a:pt x="481279" y="438264"/>
                  </a:lnTo>
                  <a:lnTo>
                    <a:pt x="508381" y="401154"/>
                  </a:lnTo>
                  <a:lnTo>
                    <a:pt x="529031" y="359689"/>
                  </a:lnTo>
                  <a:lnTo>
                    <a:pt x="542505" y="314604"/>
                  </a:lnTo>
                  <a:lnTo>
                    <a:pt x="548093" y="266611"/>
                  </a:lnTo>
                  <a:close/>
                </a:path>
                <a:path w="548640" h="786764">
                  <a:moveTo>
                    <a:pt x="548093" y="1079"/>
                  </a:moveTo>
                  <a:lnTo>
                    <a:pt x="500380" y="5118"/>
                  </a:lnTo>
                  <a:lnTo>
                    <a:pt x="455853" y="16776"/>
                  </a:lnTo>
                  <a:lnTo>
                    <a:pt x="414616" y="35369"/>
                  </a:lnTo>
                  <a:lnTo>
                    <a:pt x="377355" y="60248"/>
                  </a:lnTo>
                  <a:lnTo>
                    <a:pt x="344728" y="90716"/>
                  </a:lnTo>
                  <a:lnTo>
                    <a:pt x="317423" y="126098"/>
                  </a:lnTo>
                  <a:lnTo>
                    <a:pt x="296087" y="165722"/>
                  </a:lnTo>
                  <a:lnTo>
                    <a:pt x="281432" y="208915"/>
                  </a:lnTo>
                  <a:lnTo>
                    <a:pt x="274091" y="255003"/>
                  </a:lnTo>
                  <a:lnTo>
                    <a:pt x="266928" y="208724"/>
                  </a:lnTo>
                  <a:lnTo>
                    <a:pt x="252361" y="165354"/>
                  </a:lnTo>
                  <a:lnTo>
                    <a:pt x="231101" y="125564"/>
                  </a:lnTo>
                  <a:lnTo>
                    <a:pt x="203809" y="90030"/>
                  </a:lnTo>
                  <a:lnTo>
                    <a:pt x="171157" y="59436"/>
                  </a:lnTo>
                  <a:lnTo>
                    <a:pt x="133845" y="34455"/>
                  </a:lnTo>
                  <a:lnTo>
                    <a:pt x="92544" y="15773"/>
                  </a:lnTo>
                  <a:lnTo>
                    <a:pt x="47917" y="4064"/>
                  </a:lnTo>
                  <a:lnTo>
                    <a:pt x="12" y="0"/>
                  </a:lnTo>
                  <a:lnTo>
                    <a:pt x="5461" y="48171"/>
                  </a:lnTo>
                  <a:lnTo>
                    <a:pt x="18859"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92" y="230936"/>
                  </a:lnTo>
                  <a:lnTo>
                    <a:pt x="448475" y="204749"/>
                  </a:lnTo>
                  <a:lnTo>
                    <a:pt x="481279" y="172732"/>
                  </a:lnTo>
                  <a:lnTo>
                    <a:pt x="508381" y="135623"/>
                  </a:lnTo>
                  <a:lnTo>
                    <a:pt x="529031" y="94157"/>
                  </a:lnTo>
                  <a:lnTo>
                    <a:pt x="542505" y="49072"/>
                  </a:lnTo>
                  <a:lnTo>
                    <a:pt x="548093" y="1079"/>
                  </a:lnTo>
                  <a:close/>
                </a:path>
              </a:pathLst>
            </a:custGeom>
            <a:solidFill>
              <a:srgbClr val="7ED3F1"/>
            </a:solidFill>
          </p:spPr>
          <p:txBody>
            <a:bodyPr wrap="square" lIns="0" tIns="0" rIns="0" bIns="0" rtlCol="0"/>
            <a:lstStyle/>
            <a:p>
              <a:endParaRPr dirty="0"/>
            </a:p>
          </p:txBody>
        </p:sp>
        <p:pic>
          <p:nvPicPr>
            <p:cNvPr id="359" name="object 357">
              <a:extLst>
                <a:ext uri="{FF2B5EF4-FFF2-40B4-BE49-F238E27FC236}">
                  <a16:creationId xmlns:a16="http://schemas.microsoft.com/office/drawing/2014/main" id="{D7E36554-26AC-D4A5-4645-5A3CA71C2121}"/>
                </a:ext>
              </a:extLst>
            </p:cNvPr>
            <p:cNvPicPr/>
            <p:nvPr/>
          </p:nvPicPr>
          <p:blipFill>
            <a:blip r:embed="rId6" cstate="print"/>
            <a:stretch>
              <a:fillRect/>
            </a:stretch>
          </p:blipFill>
          <p:spPr>
            <a:xfrm>
              <a:off x="10021726" y="2680931"/>
              <a:ext cx="106445" cy="107156"/>
            </a:xfrm>
            <a:prstGeom prst="rect">
              <a:avLst/>
            </a:prstGeom>
          </p:spPr>
        </p:pic>
        <p:sp>
          <p:nvSpPr>
            <p:cNvPr id="360" name="object 358">
              <a:extLst>
                <a:ext uri="{FF2B5EF4-FFF2-40B4-BE49-F238E27FC236}">
                  <a16:creationId xmlns:a16="http://schemas.microsoft.com/office/drawing/2014/main" id="{B2EA3E2B-3137-D132-DF75-895862214B20}"/>
                </a:ext>
              </a:extLst>
            </p:cNvPr>
            <p:cNvSpPr/>
            <p:nvPr/>
          </p:nvSpPr>
          <p:spPr>
            <a:xfrm>
              <a:off x="9909070" y="4729423"/>
              <a:ext cx="332700" cy="477101"/>
            </a:xfrm>
            <a:custGeom>
              <a:avLst/>
              <a:gdLst/>
              <a:ahLst/>
              <a:cxnLst/>
              <a:rect l="l" t="t" r="r" b="b"/>
              <a:pathLst>
                <a:path w="548640" h="786765">
                  <a:moveTo>
                    <a:pt x="548093" y="520179"/>
                  </a:moveTo>
                  <a:lnTo>
                    <a:pt x="500380" y="524205"/>
                  </a:lnTo>
                  <a:lnTo>
                    <a:pt x="455853" y="535863"/>
                  </a:lnTo>
                  <a:lnTo>
                    <a:pt x="414616" y="554469"/>
                  </a:lnTo>
                  <a:lnTo>
                    <a:pt x="377355" y="579335"/>
                  </a:lnTo>
                  <a:lnTo>
                    <a:pt x="344716" y="609790"/>
                  </a:lnTo>
                  <a:lnTo>
                    <a:pt x="317411" y="645160"/>
                  </a:lnTo>
                  <a:lnTo>
                    <a:pt x="296087" y="684784"/>
                  </a:lnTo>
                  <a:lnTo>
                    <a:pt x="281419" y="727976"/>
                  </a:lnTo>
                  <a:lnTo>
                    <a:pt x="274091" y="774065"/>
                  </a:lnTo>
                  <a:lnTo>
                    <a:pt x="272973" y="766902"/>
                  </a:lnTo>
                  <a:lnTo>
                    <a:pt x="266928" y="727811"/>
                  </a:lnTo>
                  <a:lnTo>
                    <a:pt x="252361" y="684441"/>
                  </a:lnTo>
                  <a:lnTo>
                    <a:pt x="231101" y="644639"/>
                  </a:lnTo>
                  <a:lnTo>
                    <a:pt x="203809" y="609104"/>
                  </a:lnTo>
                  <a:lnTo>
                    <a:pt x="171157" y="578510"/>
                  </a:lnTo>
                  <a:lnTo>
                    <a:pt x="133845" y="553529"/>
                  </a:lnTo>
                  <a:lnTo>
                    <a:pt x="92544" y="534847"/>
                  </a:lnTo>
                  <a:lnTo>
                    <a:pt x="47917" y="523113"/>
                  </a:lnTo>
                  <a:lnTo>
                    <a:pt x="0" y="519061"/>
                  </a:lnTo>
                  <a:lnTo>
                    <a:pt x="5448" y="567232"/>
                  </a:lnTo>
                  <a:lnTo>
                    <a:pt x="18846" y="612508"/>
                  </a:lnTo>
                  <a:lnTo>
                    <a:pt x="39458" y="654126"/>
                  </a:lnTo>
                  <a:lnTo>
                    <a:pt x="66560" y="691388"/>
                  </a:lnTo>
                  <a:lnTo>
                    <a:pt x="99402" y="723544"/>
                  </a:lnTo>
                  <a:lnTo>
                    <a:pt x="137261" y="749858"/>
                  </a:lnTo>
                  <a:lnTo>
                    <a:pt x="179387" y="769581"/>
                  </a:lnTo>
                  <a:lnTo>
                    <a:pt x="225056" y="782015"/>
                  </a:lnTo>
                  <a:lnTo>
                    <a:pt x="273532" y="786384"/>
                  </a:lnTo>
                  <a:lnTo>
                    <a:pt x="274751" y="786384"/>
                  </a:lnTo>
                  <a:lnTo>
                    <a:pt x="323100" y="782027"/>
                  </a:lnTo>
                  <a:lnTo>
                    <a:pt x="368655" y="769670"/>
                  </a:lnTo>
                  <a:lnTo>
                    <a:pt x="410692" y="750023"/>
                  </a:lnTo>
                  <a:lnTo>
                    <a:pt x="448475" y="723823"/>
                  </a:lnTo>
                  <a:lnTo>
                    <a:pt x="481279" y="691807"/>
                  </a:lnTo>
                  <a:lnTo>
                    <a:pt x="508381" y="654710"/>
                  </a:lnTo>
                  <a:lnTo>
                    <a:pt x="529043" y="613244"/>
                  </a:lnTo>
                  <a:lnTo>
                    <a:pt x="542518" y="568172"/>
                  </a:lnTo>
                  <a:lnTo>
                    <a:pt x="548081" y="520204"/>
                  </a:lnTo>
                  <a:close/>
                </a:path>
                <a:path w="548640" h="786765">
                  <a:moveTo>
                    <a:pt x="548093" y="266611"/>
                  </a:moveTo>
                  <a:lnTo>
                    <a:pt x="500380" y="270649"/>
                  </a:lnTo>
                  <a:lnTo>
                    <a:pt x="455853" y="282308"/>
                  </a:lnTo>
                  <a:lnTo>
                    <a:pt x="414616" y="300901"/>
                  </a:lnTo>
                  <a:lnTo>
                    <a:pt x="377355" y="325767"/>
                  </a:lnTo>
                  <a:lnTo>
                    <a:pt x="344728" y="356235"/>
                  </a:lnTo>
                  <a:lnTo>
                    <a:pt x="317423" y="391617"/>
                  </a:lnTo>
                  <a:lnTo>
                    <a:pt x="296087" y="431241"/>
                  </a:lnTo>
                  <a:lnTo>
                    <a:pt x="281432" y="474433"/>
                  </a:lnTo>
                  <a:lnTo>
                    <a:pt x="274091" y="520522"/>
                  </a:lnTo>
                  <a:lnTo>
                    <a:pt x="266928" y="474243"/>
                  </a:lnTo>
                  <a:lnTo>
                    <a:pt x="252361" y="430872"/>
                  </a:lnTo>
                  <a:lnTo>
                    <a:pt x="231101" y="391083"/>
                  </a:lnTo>
                  <a:lnTo>
                    <a:pt x="203809" y="355549"/>
                  </a:lnTo>
                  <a:lnTo>
                    <a:pt x="171157" y="324954"/>
                  </a:lnTo>
                  <a:lnTo>
                    <a:pt x="133845" y="299974"/>
                  </a:lnTo>
                  <a:lnTo>
                    <a:pt x="92544" y="281292"/>
                  </a:lnTo>
                  <a:lnTo>
                    <a:pt x="47917" y="269582"/>
                  </a:lnTo>
                  <a:lnTo>
                    <a:pt x="12" y="265518"/>
                  </a:lnTo>
                  <a:lnTo>
                    <a:pt x="5461" y="313690"/>
                  </a:lnTo>
                  <a:lnTo>
                    <a:pt x="18859" y="358952"/>
                  </a:lnTo>
                  <a:lnTo>
                    <a:pt x="39471" y="400570"/>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92" y="496455"/>
                  </a:lnTo>
                  <a:lnTo>
                    <a:pt x="448475" y="470268"/>
                  </a:lnTo>
                  <a:lnTo>
                    <a:pt x="481279" y="438251"/>
                  </a:lnTo>
                  <a:lnTo>
                    <a:pt x="508381" y="401154"/>
                  </a:lnTo>
                  <a:lnTo>
                    <a:pt x="529031" y="359689"/>
                  </a:lnTo>
                  <a:lnTo>
                    <a:pt x="542505" y="314604"/>
                  </a:lnTo>
                  <a:lnTo>
                    <a:pt x="548093" y="266611"/>
                  </a:lnTo>
                  <a:close/>
                </a:path>
                <a:path w="548640" h="786765">
                  <a:moveTo>
                    <a:pt x="548093" y="1079"/>
                  </a:moveTo>
                  <a:lnTo>
                    <a:pt x="500380" y="5105"/>
                  </a:lnTo>
                  <a:lnTo>
                    <a:pt x="455853" y="16764"/>
                  </a:lnTo>
                  <a:lnTo>
                    <a:pt x="414616" y="35369"/>
                  </a:lnTo>
                  <a:lnTo>
                    <a:pt x="377355" y="60236"/>
                  </a:lnTo>
                  <a:lnTo>
                    <a:pt x="344728" y="90703"/>
                  </a:lnTo>
                  <a:lnTo>
                    <a:pt x="317423" y="126085"/>
                  </a:lnTo>
                  <a:lnTo>
                    <a:pt x="296087" y="165709"/>
                  </a:lnTo>
                  <a:lnTo>
                    <a:pt x="281432" y="208902"/>
                  </a:lnTo>
                  <a:lnTo>
                    <a:pt x="274091" y="254990"/>
                  </a:lnTo>
                  <a:lnTo>
                    <a:pt x="266928"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59" y="93421"/>
                  </a:lnTo>
                  <a:lnTo>
                    <a:pt x="39471" y="135039"/>
                  </a:lnTo>
                  <a:lnTo>
                    <a:pt x="66560" y="172300"/>
                  </a:lnTo>
                  <a:lnTo>
                    <a:pt x="99402" y="204444"/>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24"/>
                  </a:lnTo>
                  <a:lnTo>
                    <a:pt x="481279" y="172720"/>
                  </a:lnTo>
                  <a:lnTo>
                    <a:pt x="508381" y="135610"/>
                  </a:lnTo>
                  <a:lnTo>
                    <a:pt x="529031" y="94157"/>
                  </a:lnTo>
                  <a:lnTo>
                    <a:pt x="542505" y="49060"/>
                  </a:lnTo>
                  <a:lnTo>
                    <a:pt x="548093" y="1079"/>
                  </a:lnTo>
                  <a:close/>
                </a:path>
              </a:pathLst>
            </a:custGeom>
            <a:solidFill>
              <a:srgbClr val="2DB7EA"/>
            </a:solidFill>
          </p:spPr>
          <p:txBody>
            <a:bodyPr wrap="square" lIns="0" tIns="0" rIns="0" bIns="0" rtlCol="0"/>
            <a:lstStyle/>
            <a:p>
              <a:endParaRPr dirty="0"/>
            </a:p>
          </p:txBody>
        </p:sp>
        <p:pic>
          <p:nvPicPr>
            <p:cNvPr id="361" name="object 359">
              <a:extLst>
                <a:ext uri="{FF2B5EF4-FFF2-40B4-BE49-F238E27FC236}">
                  <a16:creationId xmlns:a16="http://schemas.microsoft.com/office/drawing/2014/main" id="{4F1A0E14-8F86-A199-74D3-30F40336A444}"/>
                </a:ext>
              </a:extLst>
            </p:cNvPr>
            <p:cNvPicPr/>
            <p:nvPr/>
          </p:nvPicPr>
          <p:blipFill>
            <a:blip r:embed="rId5" cstate="print"/>
            <a:stretch>
              <a:fillRect/>
            </a:stretch>
          </p:blipFill>
          <p:spPr>
            <a:xfrm>
              <a:off x="10021726" y="4643430"/>
              <a:ext cx="106445" cy="107156"/>
            </a:xfrm>
            <a:prstGeom prst="rect">
              <a:avLst/>
            </a:prstGeom>
          </p:spPr>
        </p:pic>
        <p:sp>
          <p:nvSpPr>
            <p:cNvPr id="362" name="object 360">
              <a:extLst>
                <a:ext uri="{FF2B5EF4-FFF2-40B4-BE49-F238E27FC236}">
                  <a16:creationId xmlns:a16="http://schemas.microsoft.com/office/drawing/2014/main" id="{86FA0292-DFF0-2548-F1DA-654206D0D810}"/>
                </a:ext>
              </a:extLst>
            </p:cNvPr>
            <p:cNvSpPr/>
            <p:nvPr/>
          </p:nvSpPr>
          <p:spPr>
            <a:xfrm>
              <a:off x="9909070" y="4075252"/>
              <a:ext cx="332700" cy="477101"/>
            </a:xfrm>
            <a:custGeom>
              <a:avLst/>
              <a:gdLst/>
              <a:ahLst/>
              <a:cxnLst/>
              <a:rect l="l" t="t" r="r" b="b"/>
              <a:pathLst>
                <a:path w="548640" h="786765">
                  <a:moveTo>
                    <a:pt x="548093" y="520179"/>
                  </a:moveTo>
                  <a:lnTo>
                    <a:pt x="500380" y="524217"/>
                  </a:lnTo>
                  <a:lnTo>
                    <a:pt x="455853" y="535876"/>
                  </a:lnTo>
                  <a:lnTo>
                    <a:pt x="414616" y="554469"/>
                  </a:lnTo>
                  <a:lnTo>
                    <a:pt x="392252" y="569391"/>
                  </a:lnTo>
                  <a:lnTo>
                    <a:pt x="377355" y="579335"/>
                  </a:lnTo>
                  <a:lnTo>
                    <a:pt x="344728" y="609803"/>
                  </a:lnTo>
                  <a:lnTo>
                    <a:pt x="317411" y="645172"/>
                  </a:lnTo>
                  <a:lnTo>
                    <a:pt x="296087" y="684796"/>
                  </a:lnTo>
                  <a:lnTo>
                    <a:pt x="281419" y="727976"/>
                  </a:lnTo>
                  <a:lnTo>
                    <a:pt x="274091" y="774065"/>
                  </a:lnTo>
                  <a:lnTo>
                    <a:pt x="272161" y="761669"/>
                  </a:lnTo>
                  <a:lnTo>
                    <a:pt x="266928" y="727824"/>
                  </a:lnTo>
                  <a:lnTo>
                    <a:pt x="252361" y="684441"/>
                  </a:lnTo>
                  <a:lnTo>
                    <a:pt x="231101" y="644652"/>
                  </a:lnTo>
                  <a:lnTo>
                    <a:pt x="203809" y="609117"/>
                  </a:lnTo>
                  <a:lnTo>
                    <a:pt x="187998" y="594321"/>
                  </a:lnTo>
                  <a:lnTo>
                    <a:pt x="171157" y="578523"/>
                  </a:lnTo>
                  <a:lnTo>
                    <a:pt x="133845" y="553542"/>
                  </a:lnTo>
                  <a:lnTo>
                    <a:pt x="92532" y="534835"/>
                  </a:lnTo>
                  <a:lnTo>
                    <a:pt x="47917" y="523125"/>
                  </a:lnTo>
                  <a:lnTo>
                    <a:pt x="0" y="519074"/>
                  </a:lnTo>
                  <a:lnTo>
                    <a:pt x="5448" y="567245"/>
                  </a:lnTo>
                  <a:lnTo>
                    <a:pt x="18846" y="612508"/>
                  </a:lnTo>
                  <a:lnTo>
                    <a:pt x="39458" y="65413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81" y="654723"/>
                  </a:lnTo>
                  <a:lnTo>
                    <a:pt x="529043" y="613257"/>
                  </a:lnTo>
                  <a:lnTo>
                    <a:pt x="542518" y="568172"/>
                  </a:lnTo>
                  <a:lnTo>
                    <a:pt x="548081" y="520217"/>
                  </a:lnTo>
                  <a:close/>
                </a:path>
                <a:path w="548640" h="786765">
                  <a:moveTo>
                    <a:pt x="548093" y="266623"/>
                  </a:moveTo>
                  <a:lnTo>
                    <a:pt x="500380" y="270662"/>
                  </a:lnTo>
                  <a:lnTo>
                    <a:pt x="455853" y="282308"/>
                  </a:lnTo>
                  <a:lnTo>
                    <a:pt x="414616" y="300913"/>
                  </a:lnTo>
                  <a:lnTo>
                    <a:pt x="377355" y="325780"/>
                  </a:lnTo>
                  <a:lnTo>
                    <a:pt x="344728" y="356247"/>
                  </a:lnTo>
                  <a:lnTo>
                    <a:pt x="317423" y="391629"/>
                  </a:lnTo>
                  <a:lnTo>
                    <a:pt x="296087" y="431253"/>
                  </a:lnTo>
                  <a:lnTo>
                    <a:pt x="281432" y="474446"/>
                  </a:lnTo>
                  <a:lnTo>
                    <a:pt x="274091" y="520534"/>
                  </a:lnTo>
                  <a:lnTo>
                    <a:pt x="266928" y="474256"/>
                  </a:lnTo>
                  <a:lnTo>
                    <a:pt x="252361" y="430885"/>
                  </a:lnTo>
                  <a:lnTo>
                    <a:pt x="231101" y="391096"/>
                  </a:lnTo>
                  <a:lnTo>
                    <a:pt x="203809" y="355561"/>
                  </a:lnTo>
                  <a:lnTo>
                    <a:pt x="171157" y="324954"/>
                  </a:lnTo>
                  <a:lnTo>
                    <a:pt x="133845" y="299974"/>
                  </a:lnTo>
                  <a:lnTo>
                    <a:pt x="92544" y="281292"/>
                  </a:lnTo>
                  <a:lnTo>
                    <a:pt x="47917" y="269582"/>
                  </a:lnTo>
                  <a:lnTo>
                    <a:pt x="12" y="265531"/>
                  </a:lnTo>
                  <a:lnTo>
                    <a:pt x="5461" y="313690"/>
                  </a:lnTo>
                  <a:lnTo>
                    <a:pt x="18859" y="358952"/>
                  </a:lnTo>
                  <a:lnTo>
                    <a:pt x="39471" y="400583"/>
                  </a:lnTo>
                  <a:lnTo>
                    <a:pt x="66560" y="437832"/>
                  </a:lnTo>
                  <a:lnTo>
                    <a:pt x="99402" y="469988"/>
                  </a:lnTo>
                  <a:lnTo>
                    <a:pt x="137261" y="496303"/>
                  </a:lnTo>
                  <a:lnTo>
                    <a:pt x="179387" y="516039"/>
                  </a:lnTo>
                  <a:lnTo>
                    <a:pt x="225056" y="528459"/>
                  </a:lnTo>
                  <a:lnTo>
                    <a:pt x="273532" y="532828"/>
                  </a:lnTo>
                  <a:lnTo>
                    <a:pt x="274751" y="532828"/>
                  </a:lnTo>
                  <a:lnTo>
                    <a:pt x="323100" y="528472"/>
                  </a:lnTo>
                  <a:lnTo>
                    <a:pt x="368655" y="516115"/>
                  </a:lnTo>
                  <a:lnTo>
                    <a:pt x="410692" y="496468"/>
                  </a:lnTo>
                  <a:lnTo>
                    <a:pt x="448475" y="470268"/>
                  </a:lnTo>
                  <a:lnTo>
                    <a:pt x="481279" y="438264"/>
                  </a:lnTo>
                  <a:lnTo>
                    <a:pt x="508381" y="401154"/>
                  </a:lnTo>
                  <a:lnTo>
                    <a:pt x="529031" y="359702"/>
                  </a:lnTo>
                  <a:lnTo>
                    <a:pt x="542505" y="314604"/>
                  </a:lnTo>
                  <a:lnTo>
                    <a:pt x="548093" y="266623"/>
                  </a:lnTo>
                  <a:close/>
                </a:path>
                <a:path w="548640" h="786765">
                  <a:moveTo>
                    <a:pt x="548093" y="1092"/>
                  </a:moveTo>
                  <a:lnTo>
                    <a:pt x="500380" y="5130"/>
                  </a:lnTo>
                  <a:lnTo>
                    <a:pt x="455853" y="16776"/>
                  </a:lnTo>
                  <a:lnTo>
                    <a:pt x="414616" y="35382"/>
                  </a:lnTo>
                  <a:lnTo>
                    <a:pt x="377355" y="60248"/>
                  </a:lnTo>
                  <a:lnTo>
                    <a:pt x="344728" y="90716"/>
                  </a:lnTo>
                  <a:lnTo>
                    <a:pt x="317423" y="126098"/>
                  </a:lnTo>
                  <a:lnTo>
                    <a:pt x="296087" y="165722"/>
                  </a:lnTo>
                  <a:lnTo>
                    <a:pt x="281432" y="208915"/>
                  </a:lnTo>
                  <a:lnTo>
                    <a:pt x="274091" y="255003"/>
                  </a:lnTo>
                  <a:lnTo>
                    <a:pt x="266928" y="208724"/>
                  </a:lnTo>
                  <a:lnTo>
                    <a:pt x="252361" y="165354"/>
                  </a:lnTo>
                  <a:lnTo>
                    <a:pt x="231101" y="125564"/>
                  </a:lnTo>
                  <a:lnTo>
                    <a:pt x="203809" y="90030"/>
                  </a:lnTo>
                  <a:lnTo>
                    <a:pt x="171157" y="59436"/>
                  </a:lnTo>
                  <a:lnTo>
                    <a:pt x="133845" y="34455"/>
                  </a:lnTo>
                  <a:lnTo>
                    <a:pt x="92544" y="15760"/>
                  </a:lnTo>
                  <a:lnTo>
                    <a:pt x="47917" y="4051"/>
                  </a:lnTo>
                  <a:lnTo>
                    <a:pt x="12" y="0"/>
                  </a:lnTo>
                  <a:lnTo>
                    <a:pt x="5461" y="48158"/>
                  </a:lnTo>
                  <a:lnTo>
                    <a:pt x="18859" y="93421"/>
                  </a:lnTo>
                  <a:lnTo>
                    <a:pt x="39471" y="135051"/>
                  </a:lnTo>
                  <a:lnTo>
                    <a:pt x="66560" y="172300"/>
                  </a:lnTo>
                  <a:lnTo>
                    <a:pt x="99402" y="204457"/>
                  </a:lnTo>
                  <a:lnTo>
                    <a:pt x="137261" y="230771"/>
                  </a:lnTo>
                  <a:lnTo>
                    <a:pt x="179387" y="250494"/>
                  </a:lnTo>
                  <a:lnTo>
                    <a:pt x="225056" y="262928"/>
                  </a:lnTo>
                  <a:lnTo>
                    <a:pt x="273532" y="267309"/>
                  </a:lnTo>
                  <a:lnTo>
                    <a:pt x="274751" y="267309"/>
                  </a:lnTo>
                  <a:lnTo>
                    <a:pt x="323100" y="262940"/>
                  </a:lnTo>
                  <a:lnTo>
                    <a:pt x="368655" y="250583"/>
                  </a:lnTo>
                  <a:lnTo>
                    <a:pt x="410692" y="230936"/>
                  </a:lnTo>
                  <a:lnTo>
                    <a:pt x="448475" y="204736"/>
                  </a:lnTo>
                  <a:lnTo>
                    <a:pt x="481279" y="172720"/>
                  </a:lnTo>
                  <a:lnTo>
                    <a:pt x="508381" y="135623"/>
                  </a:lnTo>
                  <a:lnTo>
                    <a:pt x="529031" y="94170"/>
                  </a:lnTo>
                  <a:lnTo>
                    <a:pt x="542505" y="49072"/>
                  </a:lnTo>
                  <a:lnTo>
                    <a:pt x="548093" y="1092"/>
                  </a:lnTo>
                  <a:close/>
                </a:path>
              </a:pathLst>
            </a:custGeom>
            <a:solidFill>
              <a:srgbClr val="7ED3F1"/>
            </a:solidFill>
          </p:spPr>
          <p:txBody>
            <a:bodyPr wrap="square" lIns="0" tIns="0" rIns="0" bIns="0" rtlCol="0"/>
            <a:lstStyle/>
            <a:p>
              <a:endParaRPr dirty="0"/>
            </a:p>
          </p:txBody>
        </p:sp>
        <p:pic>
          <p:nvPicPr>
            <p:cNvPr id="363" name="object 361">
              <a:extLst>
                <a:ext uri="{FF2B5EF4-FFF2-40B4-BE49-F238E27FC236}">
                  <a16:creationId xmlns:a16="http://schemas.microsoft.com/office/drawing/2014/main" id="{7360C62C-241C-0F0C-3086-73021F4F46FB}"/>
                </a:ext>
              </a:extLst>
            </p:cNvPr>
            <p:cNvPicPr/>
            <p:nvPr/>
          </p:nvPicPr>
          <p:blipFill>
            <a:blip r:embed="rId6" cstate="print"/>
            <a:stretch>
              <a:fillRect/>
            </a:stretch>
          </p:blipFill>
          <p:spPr>
            <a:xfrm>
              <a:off x="10021726" y="3989263"/>
              <a:ext cx="106445" cy="107156"/>
            </a:xfrm>
            <a:prstGeom prst="rect">
              <a:avLst/>
            </a:prstGeom>
          </p:spPr>
        </p:pic>
        <p:sp>
          <p:nvSpPr>
            <p:cNvPr id="364" name="object 362">
              <a:extLst>
                <a:ext uri="{FF2B5EF4-FFF2-40B4-BE49-F238E27FC236}">
                  <a16:creationId xmlns:a16="http://schemas.microsoft.com/office/drawing/2014/main" id="{62167718-AC1C-78FE-844D-A27F09705327}"/>
                </a:ext>
              </a:extLst>
            </p:cNvPr>
            <p:cNvSpPr/>
            <p:nvPr/>
          </p:nvSpPr>
          <p:spPr>
            <a:xfrm>
              <a:off x="9523993" y="3862863"/>
              <a:ext cx="332700" cy="477101"/>
            </a:xfrm>
            <a:custGeom>
              <a:avLst/>
              <a:gdLst/>
              <a:ahLst/>
              <a:cxnLst/>
              <a:rect l="l" t="t" r="r" b="b"/>
              <a:pathLst>
                <a:path w="548640" h="786765">
                  <a:moveTo>
                    <a:pt x="548081" y="786396"/>
                  </a:moveTo>
                  <a:lnTo>
                    <a:pt x="542632" y="738238"/>
                  </a:lnTo>
                  <a:lnTo>
                    <a:pt x="529234" y="692975"/>
                  </a:lnTo>
                  <a:lnTo>
                    <a:pt x="508622" y="651344"/>
                  </a:lnTo>
                  <a:lnTo>
                    <a:pt x="481520" y="614083"/>
                  </a:lnTo>
                  <a:lnTo>
                    <a:pt x="448678" y="581939"/>
                  </a:lnTo>
                  <a:lnTo>
                    <a:pt x="410832" y="555625"/>
                  </a:lnTo>
                  <a:lnTo>
                    <a:pt x="368693" y="535889"/>
                  </a:lnTo>
                  <a:lnTo>
                    <a:pt x="323024" y="523468"/>
                  </a:lnTo>
                  <a:lnTo>
                    <a:pt x="274561" y="519099"/>
                  </a:lnTo>
                  <a:lnTo>
                    <a:pt x="273329" y="519099"/>
                  </a:lnTo>
                  <a:lnTo>
                    <a:pt x="224993" y="523455"/>
                  </a:lnTo>
                  <a:lnTo>
                    <a:pt x="179438" y="535813"/>
                  </a:lnTo>
                  <a:lnTo>
                    <a:pt x="137401" y="555459"/>
                  </a:lnTo>
                  <a:lnTo>
                    <a:pt x="99606" y="581660"/>
                  </a:lnTo>
                  <a:lnTo>
                    <a:pt x="66802" y="613664"/>
                  </a:lnTo>
                  <a:lnTo>
                    <a:pt x="39712" y="650773"/>
                  </a:lnTo>
                  <a:lnTo>
                    <a:pt x="19062" y="692226"/>
                  </a:lnTo>
                  <a:lnTo>
                    <a:pt x="5575" y="737323"/>
                  </a:lnTo>
                  <a:lnTo>
                    <a:pt x="0" y="785304"/>
                  </a:lnTo>
                  <a:lnTo>
                    <a:pt x="47713" y="781265"/>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35"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78" y="316407"/>
                  </a:lnTo>
                  <a:lnTo>
                    <a:pt x="410832" y="290106"/>
                  </a:lnTo>
                  <a:lnTo>
                    <a:pt x="368693" y="270370"/>
                  </a:lnTo>
                  <a:lnTo>
                    <a:pt x="323024" y="257949"/>
                  </a:lnTo>
                  <a:lnTo>
                    <a:pt x="274561" y="253568"/>
                  </a:lnTo>
                  <a:lnTo>
                    <a:pt x="273329" y="253568"/>
                  </a:lnTo>
                  <a:lnTo>
                    <a:pt x="224993" y="257924"/>
                  </a:lnTo>
                  <a:lnTo>
                    <a:pt x="179438" y="270294"/>
                  </a:lnTo>
                  <a:lnTo>
                    <a:pt x="137401" y="289941"/>
                  </a:lnTo>
                  <a:lnTo>
                    <a:pt x="99606" y="316128"/>
                  </a:lnTo>
                  <a:lnTo>
                    <a:pt x="66802" y="348145"/>
                  </a:lnTo>
                  <a:lnTo>
                    <a:pt x="39712" y="385241"/>
                  </a:lnTo>
                  <a:lnTo>
                    <a:pt x="19062" y="426707"/>
                  </a:lnTo>
                  <a:lnTo>
                    <a:pt x="5575" y="471792"/>
                  </a:lnTo>
                  <a:lnTo>
                    <a:pt x="0" y="519785"/>
                  </a:lnTo>
                  <a:lnTo>
                    <a:pt x="47713" y="515747"/>
                  </a:lnTo>
                  <a:lnTo>
                    <a:pt x="92240" y="504101"/>
                  </a:lnTo>
                  <a:lnTo>
                    <a:pt x="133464" y="485495"/>
                  </a:lnTo>
                  <a:lnTo>
                    <a:pt x="170738" y="460629"/>
                  </a:lnTo>
                  <a:lnTo>
                    <a:pt x="203352" y="430161"/>
                  </a:lnTo>
                  <a:lnTo>
                    <a:pt x="230670" y="394779"/>
                  </a:lnTo>
                  <a:lnTo>
                    <a:pt x="251993" y="355142"/>
                  </a:lnTo>
                  <a:lnTo>
                    <a:pt x="266661" y="311950"/>
                  </a:lnTo>
                  <a:lnTo>
                    <a:pt x="273989" y="265874"/>
                  </a:lnTo>
                  <a:lnTo>
                    <a:pt x="281165" y="312140"/>
                  </a:lnTo>
                  <a:lnTo>
                    <a:pt x="295719" y="355511"/>
                  </a:lnTo>
                  <a:lnTo>
                    <a:pt x="316992" y="395300"/>
                  </a:lnTo>
                  <a:lnTo>
                    <a:pt x="344284" y="430847"/>
                  </a:lnTo>
                  <a:lnTo>
                    <a:pt x="376923" y="461441"/>
                  </a:lnTo>
                  <a:lnTo>
                    <a:pt x="414235" y="486422"/>
                  </a:lnTo>
                  <a:lnTo>
                    <a:pt x="455549" y="505104"/>
                  </a:lnTo>
                  <a:lnTo>
                    <a:pt x="500164" y="516813"/>
                  </a:lnTo>
                  <a:lnTo>
                    <a:pt x="548081" y="520865"/>
                  </a:lnTo>
                  <a:close/>
                </a:path>
                <a:path w="548640" h="786765">
                  <a:moveTo>
                    <a:pt x="548081" y="267322"/>
                  </a:moveTo>
                  <a:lnTo>
                    <a:pt x="542632" y="219151"/>
                  </a:lnTo>
                  <a:lnTo>
                    <a:pt x="529234" y="173888"/>
                  </a:lnTo>
                  <a:lnTo>
                    <a:pt x="508622" y="132257"/>
                  </a:lnTo>
                  <a:lnTo>
                    <a:pt x="481533" y="95008"/>
                  </a:lnTo>
                  <a:lnTo>
                    <a:pt x="480834" y="94335"/>
                  </a:lnTo>
                  <a:lnTo>
                    <a:pt x="448691" y="62852"/>
                  </a:lnTo>
                  <a:lnTo>
                    <a:pt x="433158" y="52070"/>
                  </a:lnTo>
                  <a:lnTo>
                    <a:pt x="410832" y="36550"/>
                  </a:lnTo>
                  <a:lnTo>
                    <a:pt x="368693" y="16802"/>
                  </a:lnTo>
                  <a:lnTo>
                    <a:pt x="323024" y="4381"/>
                  </a:lnTo>
                  <a:lnTo>
                    <a:pt x="274561" y="0"/>
                  </a:lnTo>
                  <a:lnTo>
                    <a:pt x="273329" y="0"/>
                  </a:lnTo>
                  <a:lnTo>
                    <a:pt x="224993" y="4356"/>
                  </a:lnTo>
                  <a:lnTo>
                    <a:pt x="179438" y="16725"/>
                  </a:lnTo>
                  <a:lnTo>
                    <a:pt x="137401" y="36372"/>
                  </a:lnTo>
                  <a:lnTo>
                    <a:pt x="99606" y="62560"/>
                  </a:lnTo>
                  <a:lnTo>
                    <a:pt x="66802" y="94576"/>
                  </a:lnTo>
                  <a:lnTo>
                    <a:pt x="39687" y="131686"/>
                  </a:lnTo>
                  <a:lnTo>
                    <a:pt x="19037" y="173139"/>
                  </a:lnTo>
                  <a:lnTo>
                    <a:pt x="5562" y="218224"/>
                  </a:lnTo>
                  <a:lnTo>
                    <a:pt x="0" y="266192"/>
                  </a:lnTo>
                  <a:lnTo>
                    <a:pt x="47713" y="262178"/>
                  </a:lnTo>
                  <a:lnTo>
                    <a:pt x="92240" y="250520"/>
                  </a:lnTo>
                  <a:lnTo>
                    <a:pt x="133464" y="231927"/>
                  </a:lnTo>
                  <a:lnTo>
                    <a:pt x="170738" y="207060"/>
                  </a:lnTo>
                  <a:lnTo>
                    <a:pt x="203365" y="176593"/>
                  </a:lnTo>
                  <a:lnTo>
                    <a:pt x="230670" y="141224"/>
                  </a:lnTo>
                  <a:lnTo>
                    <a:pt x="252006" y="101600"/>
                  </a:lnTo>
                  <a:lnTo>
                    <a:pt x="266661" y="58420"/>
                  </a:lnTo>
                  <a:lnTo>
                    <a:pt x="273989" y="12369"/>
                  </a:lnTo>
                  <a:lnTo>
                    <a:pt x="279844" y="50101"/>
                  </a:lnTo>
                  <a:lnTo>
                    <a:pt x="295719" y="101955"/>
                  </a:lnTo>
                  <a:lnTo>
                    <a:pt x="316992" y="141744"/>
                  </a:lnTo>
                  <a:lnTo>
                    <a:pt x="344284" y="177279"/>
                  </a:lnTo>
                  <a:lnTo>
                    <a:pt x="376923" y="207886"/>
                  </a:lnTo>
                  <a:lnTo>
                    <a:pt x="414248" y="232867"/>
                  </a:lnTo>
                  <a:lnTo>
                    <a:pt x="455549" y="251561"/>
                  </a:lnTo>
                  <a:lnTo>
                    <a:pt x="500176" y="263271"/>
                  </a:lnTo>
                  <a:lnTo>
                    <a:pt x="548081" y="267322"/>
                  </a:lnTo>
                  <a:close/>
                </a:path>
              </a:pathLst>
            </a:custGeom>
            <a:solidFill>
              <a:srgbClr val="2DB7EA"/>
            </a:solidFill>
          </p:spPr>
          <p:txBody>
            <a:bodyPr wrap="square" lIns="0" tIns="0" rIns="0" bIns="0" rtlCol="0"/>
            <a:lstStyle/>
            <a:p>
              <a:endParaRPr dirty="0"/>
            </a:p>
          </p:txBody>
        </p:sp>
        <p:pic>
          <p:nvPicPr>
            <p:cNvPr id="365" name="object 363">
              <a:extLst>
                <a:ext uri="{FF2B5EF4-FFF2-40B4-BE49-F238E27FC236}">
                  <a16:creationId xmlns:a16="http://schemas.microsoft.com/office/drawing/2014/main" id="{AF632474-BC23-590A-4E4E-33AD15CFCB64}"/>
                </a:ext>
              </a:extLst>
            </p:cNvPr>
            <p:cNvPicPr/>
            <p:nvPr/>
          </p:nvPicPr>
          <p:blipFill>
            <a:blip r:embed="rId8" cstate="print"/>
            <a:stretch>
              <a:fillRect/>
            </a:stretch>
          </p:blipFill>
          <p:spPr>
            <a:xfrm>
              <a:off x="9637261" y="4318566"/>
              <a:ext cx="106445" cy="107156"/>
            </a:xfrm>
            <a:prstGeom prst="rect">
              <a:avLst/>
            </a:prstGeom>
          </p:spPr>
        </p:pic>
        <p:sp>
          <p:nvSpPr>
            <p:cNvPr id="366" name="object 364">
              <a:extLst>
                <a:ext uri="{FF2B5EF4-FFF2-40B4-BE49-F238E27FC236}">
                  <a16:creationId xmlns:a16="http://schemas.microsoft.com/office/drawing/2014/main" id="{F745DE2C-36B4-7086-EB28-3C62478B524C}"/>
                </a:ext>
              </a:extLst>
            </p:cNvPr>
            <p:cNvSpPr/>
            <p:nvPr/>
          </p:nvSpPr>
          <p:spPr>
            <a:xfrm>
              <a:off x="9523993" y="4517034"/>
              <a:ext cx="332700" cy="477101"/>
            </a:xfrm>
            <a:custGeom>
              <a:avLst/>
              <a:gdLst/>
              <a:ahLst/>
              <a:cxnLst/>
              <a:rect l="l" t="t" r="r" b="b"/>
              <a:pathLst>
                <a:path w="548640" h="786765">
                  <a:moveTo>
                    <a:pt x="548081" y="786384"/>
                  </a:moveTo>
                  <a:lnTo>
                    <a:pt x="542632" y="738225"/>
                  </a:lnTo>
                  <a:lnTo>
                    <a:pt x="529234" y="692962"/>
                  </a:lnTo>
                  <a:lnTo>
                    <a:pt x="508622" y="651332"/>
                  </a:lnTo>
                  <a:lnTo>
                    <a:pt x="481520" y="614083"/>
                  </a:lnTo>
                  <a:lnTo>
                    <a:pt x="448678" y="581926"/>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47"/>
                  </a:lnTo>
                  <a:lnTo>
                    <a:pt x="66802" y="613664"/>
                  </a:lnTo>
                  <a:lnTo>
                    <a:pt x="39712" y="650760"/>
                  </a:lnTo>
                  <a:lnTo>
                    <a:pt x="19062" y="692226"/>
                  </a:lnTo>
                  <a:lnTo>
                    <a:pt x="5575" y="737323"/>
                  </a:lnTo>
                  <a:lnTo>
                    <a:pt x="0" y="785304"/>
                  </a:lnTo>
                  <a:lnTo>
                    <a:pt x="47713" y="781265"/>
                  </a:lnTo>
                  <a:lnTo>
                    <a:pt x="92240" y="769620"/>
                  </a:lnTo>
                  <a:lnTo>
                    <a:pt x="133464" y="751014"/>
                  </a:lnTo>
                  <a:lnTo>
                    <a:pt x="170738" y="726147"/>
                  </a:lnTo>
                  <a:lnTo>
                    <a:pt x="203352" y="695680"/>
                  </a:lnTo>
                  <a:lnTo>
                    <a:pt x="230670" y="660298"/>
                  </a:lnTo>
                  <a:lnTo>
                    <a:pt x="251993" y="620674"/>
                  </a:lnTo>
                  <a:lnTo>
                    <a:pt x="266661" y="577469"/>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5">
                  <a:moveTo>
                    <a:pt x="548081" y="520852"/>
                  </a:moveTo>
                  <a:lnTo>
                    <a:pt x="542632" y="472694"/>
                  </a:lnTo>
                  <a:lnTo>
                    <a:pt x="529234" y="427431"/>
                  </a:lnTo>
                  <a:lnTo>
                    <a:pt x="508622" y="385813"/>
                  </a:lnTo>
                  <a:lnTo>
                    <a:pt x="481520" y="348551"/>
                  </a:lnTo>
                  <a:lnTo>
                    <a:pt x="448678" y="316407"/>
                  </a:lnTo>
                  <a:lnTo>
                    <a:pt x="410832" y="290093"/>
                  </a:lnTo>
                  <a:lnTo>
                    <a:pt x="368693" y="270357"/>
                  </a:lnTo>
                  <a:lnTo>
                    <a:pt x="323024" y="257937"/>
                  </a:lnTo>
                  <a:lnTo>
                    <a:pt x="274561" y="253555"/>
                  </a:lnTo>
                  <a:lnTo>
                    <a:pt x="273329" y="253555"/>
                  </a:lnTo>
                  <a:lnTo>
                    <a:pt x="224993" y="257911"/>
                  </a:lnTo>
                  <a:lnTo>
                    <a:pt x="179438" y="270281"/>
                  </a:lnTo>
                  <a:lnTo>
                    <a:pt x="137401" y="289928"/>
                  </a:lnTo>
                  <a:lnTo>
                    <a:pt x="99606" y="316128"/>
                  </a:lnTo>
                  <a:lnTo>
                    <a:pt x="66802" y="348132"/>
                  </a:lnTo>
                  <a:lnTo>
                    <a:pt x="39712" y="385241"/>
                  </a:lnTo>
                  <a:lnTo>
                    <a:pt x="19062" y="426694"/>
                  </a:lnTo>
                  <a:lnTo>
                    <a:pt x="5575" y="471779"/>
                  </a:lnTo>
                  <a:lnTo>
                    <a:pt x="0" y="519772"/>
                  </a:lnTo>
                  <a:lnTo>
                    <a:pt x="47713" y="515734"/>
                  </a:lnTo>
                  <a:lnTo>
                    <a:pt x="92240" y="504075"/>
                  </a:lnTo>
                  <a:lnTo>
                    <a:pt x="133464" y="485482"/>
                  </a:lnTo>
                  <a:lnTo>
                    <a:pt x="170738" y="460616"/>
                  </a:lnTo>
                  <a:lnTo>
                    <a:pt x="203352"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35" y="486410"/>
                  </a:lnTo>
                  <a:lnTo>
                    <a:pt x="455549" y="505091"/>
                  </a:lnTo>
                  <a:lnTo>
                    <a:pt x="500164" y="516801"/>
                  </a:lnTo>
                  <a:lnTo>
                    <a:pt x="548081" y="520852"/>
                  </a:lnTo>
                  <a:close/>
                </a:path>
                <a:path w="548640" h="786765">
                  <a:moveTo>
                    <a:pt x="548081" y="267322"/>
                  </a:moveTo>
                  <a:lnTo>
                    <a:pt x="542632" y="219151"/>
                  </a:lnTo>
                  <a:lnTo>
                    <a:pt x="529234" y="173875"/>
                  </a:lnTo>
                  <a:lnTo>
                    <a:pt x="508622" y="132245"/>
                  </a:lnTo>
                  <a:lnTo>
                    <a:pt x="481533" y="94996"/>
                  </a:lnTo>
                  <a:lnTo>
                    <a:pt x="449376" y="63525"/>
                  </a:lnTo>
                  <a:lnTo>
                    <a:pt x="448691" y="62852"/>
                  </a:lnTo>
                  <a:lnTo>
                    <a:pt x="410832" y="36537"/>
                  </a:lnTo>
                  <a:lnTo>
                    <a:pt x="368706" y="16814"/>
                  </a:lnTo>
                  <a:lnTo>
                    <a:pt x="323024" y="4368"/>
                  </a:lnTo>
                  <a:lnTo>
                    <a:pt x="274561" y="0"/>
                  </a:lnTo>
                  <a:lnTo>
                    <a:pt x="273329" y="0"/>
                  </a:lnTo>
                  <a:lnTo>
                    <a:pt x="224993" y="4356"/>
                  </a:lnTo>
                  <a:lnTo>
                    <a:pt x="179438" y="16725"/>
                  </a:lnTo>
                  <a:lnTo>
                    <a:pt x="137401" y="36372"/>
                  </a:lnTo>
                  <a:lnTo>
                    <a:pt x="99606" y="62560"/>
                  </a:lnTo>
                  <a:lnTo>
                    <a:pt x="66802" y="94576"/>
                  </a:lnTo>
                  <a:lnTo>
                    <a:pt x="39687" y="131686"/>
                  </a:lnTo>
                  <a:lnTo>
                    <a:pt x="19037" y="173139"/>
                  </a:lnTo>
                  <a:lnTo>
                    <a:pt x="5562" y="218211"/>
                  </a:lnTo>
                  <a:lnTo>
                    <a:pt x="0" y="266192"/>
                  </a:lnTo>
                  <a:lnTo>
                    <a:pt x="47713" y="262166"/>
                  </a:lnTo>
                  <a:lnTo>
                    <a:pt x="92240" y="250520"/>
                  </a:lnTo>
                  <a:lnTo>
                    <a:pt x="133477" y="231914"/>
                  </a:lnTo>
                  <a:lnTo>
                    <a:pt x="170738" y="207048"/>
                  </a:lnTo>
                  <a:lnTo>
                    <a:pt x="203365" y="176593"/>
                  </a:lnTo>
                  <a:lnTo>
                    <a:pt x="230670" y="141211"/>
                  </a:lnTo>
                  <a:lnTo>
                    <a:pt x="252006" y="101600"/>
                  </a:lnTo>
                  <a:lnTo>
                    <a:pt x="266661" y="58407"/>
                  </a:lnTo>
                  <a:lnTo>
                    <a:pt x="273989" y="12357"/>
                  </a:lnTo>
                  <a:lnTo>
                    <a:pt x="279844" y="50101"/>
                  </a:lnTo>
                  <a:lnTo>
                    <a:pt x="295719" y="101942"/>
                  </a:lnTo>
                  <a:lnTo>
                    <a:pt x="316992" y="141732"/>
                  </a:lnTo>
                  <a:lnTo>
                    <a:pt x="344284" y="177279"/>
                  </a:lnTo>
                  <a:lnTo>
                    <a:pt x="376923" y="207873"/>
                  </a:lnTo>
                  <a:lnTo>
                    <a:pt x="414248" y="232867"/>
                  </a:lnTo>
                  <a:lnTo>
                    <a:pt x="455549" y="251548"/>
                  </a:lnTo>
                  <a:lnTo>
                    <a:pt x="500176" y="263258"/>
                  </a:lnTo>
                  <a:lnTo>
                    <a:pt x="548081" y="267322"/>
                  </a:lnTo>
                  <a:close/>
                </a:path>
              </a:pathLst>
            </a:custGeom>
            <a:solidFill>
              <a:srgbClr val="7ED3F1"/>
            </a:solidFill>
          </p:spPr>
          <p:txBody>
            <a:bodyPr wrap="square" lIns="0" tIns="0" rIns="0" bIns="0" rtlCol="0"/>
            <a:lstStyle/>
            <a:p>
              <a:endParaRPr dirty="0"/>
            </a:p>
          </p:txBody>
        </p:sp>
        <p:pic>
          <p:nvPicPr>
            <p:cNvPr id="367" name="object 365">
              <a:extLst>
                <a:ext uri="{FF2B5EF4-FFF2-40B4-BE49-F238E27FC236}">
                  <a16:creationId xmlns:a16="http://schemas.microsoft.com/office/drawing/2014/main" id="{76B55246-A0EA-BE80-D104-5F22AF3D3FAD}"/>
                </a:ext>
              </a:extLst>
            </p:cNvPr>
            <p:cNvPicPr/>
            <p:nvPr/>
          </p:nvPicPr>
          <p:blipFill>
            <a:blip r:embed="rId9" cstate="print"/>
            <a:stretch>
              <a:fillRect/>
            </a:stretch>
          </p:blipFill>
          <p:spPr>
            <a:xfrm>
              <a:off x="9637261" y="4972731"/>
              <a:ext cx="106445" cy="107156"/>
            </a:xfrm>
            <a:prstGeom prst="rect">
              <a:avLst/>
            </a:prstGeom>
          </p:spPr>
        </p:pic>
        <p:sp>
          <p:nvSpPr>
            <p:cNvPr id="368" name="object 366">
              <a:extLst>
                <a:ext uri="{FF2B5EF4-FFF2-40B4-BE49-F238E27FC236}">
                  <a16:creationId xmlns:a16="http://schemas.microsoft.com/office/drawing/2014/main" id="{3642DDC2-D1FA-6830-0D48-0152CAA25336}"/>
                </a:ext>
              </a:extLst>
            </p:cNvPr>
            <p:cNvSpPr/>
            <p:nvPr/>
          </p:nvSpPr>
          <p:spPr>
            <a:xfrm>
              <a:off x="9523993" y="2554529"/>
              <a:ext cx="332700" cy="477101"/>
            </a:xfrm>
            <a:custGeom>
              <a:avLst/>
              <a:gdLst/>
              <a:ahLst/>
              <a:cxnLst/>
              <a:rect l="l" t="t" r="r" b="b"/>
              <a:pathLst>
                <a:path w="548640" h="786764">
                  <a:moveTo>
                    <a:pt x="548081" y="786396"/>
                  </a:moveTo>
                  <a:lnTo>
                    <a:pt x="542632" y="738238"/>
                  </a:lnTo>
                  <a:lnTo>
                    <a:pt x="529234" y="692975"/>
                  </a:lnTo>
                  <a:lnTo>
                    <a:pt x="508622" y="651344"/>
                  </a:lnTo>
                  <a:lnTo>
                    <a:pt x="481520" y="614095"/>
                  </a:lnTo>
                  <a:lnTo>
                    <a:pt x="448678" y="581939"/>
                  </a:lnTo>
                  <a:lnTo>
                    <a:pt x="410832" y="555625"/>
                  </a:lnTo>
                  <a:lnTo>
                    <a:pt x="368693" y="535901"/>
                  </a:lnTo>
                  <a:lnTo>
                    <a:pt x="323024" y="523468"/>
                  </a:lnTo>
                  <a:lnTo>
                    <a:pt x="274561" y="519099"/>
                  </a:lnTo>
                  <a:lnTo>
                    <a:pt x="273329" y="519099"/>
                  </a:lnTo>
                  <a:lnTo>
                    <a:pt x="224993" y="523455"/>
                  </a:lnTo>
                  <a:lnTo>
                    <a:pt x="179438" y="535813"/>
                  </a:lnTo>
                  <a:lnTo>
                    <a:pt x="137401" y="555459"/>
                  </a:lnTo>
                  <a:lnTo>
                    <a:pt x="99606" y="581660"/>
                  </a:lnTo>
                  <a:lnTo>
                    <a:pt x="66802" y="613676"/>
                  </a:lnTo>
                  <a:lnTo>
                    <a:pt x="39712" y="650773"/>
                  </a:lnTo>
                  <a:lnTo>
                    <a:pt x="19062" y="692238"/>
                  </a:lnTo>
                  <a:lnTo>
                    <a:pt x="5575" y="737323"/>
                  </a:lnTo>
                  <a:lnTo>
                    <a:pt x="0" y="785317"/>
                  </a:lnTo>
                  <a:lnTo>
                    <a:pt x="47713" y="781278"/>
                  </a:lnTo>
                  <a:lnTo>
                    <a:pt x="92240" y="769632"/>
                  </a:lnTo>
                  <a:lnTo>
                    <a:pt x="133464" y="751027"/>
                  </a:lnTo>
                  <a:lnTo>
                    <a:pt x="170738" y="726160"/>
                  </a:lnTo>
                  <a:lnTo>
                    <a:pt x="203352" y="695693"/>
                  </a:lnTo>
                  <a:lnTo>
                    <a:pt x="230670" y="660311"/>
                  </a:lnTo>
                  <a:lnTo>
                    <a:pt x="251993" y="620687"/>
                  </a:lnTo>
                  <a:lnTo>
                    <a:pt x="266661" y="577481"/>
                  </a:lnTo>
                  <a:lnTo>
                    <a:pt x="273989" y="531406"/>
                  </a:lnTo>
                  <a:lnTo>
                    <a:pt x="281165" y="577672"/>
                  </a:lnTo>
                  <a:lnTo>
                    <a:pt x="295719" y="621042"/>
                  </a:lnTo>
                  <a:lnTo>
                    <a:pt x="316992" y="660844"/>
                  </a:lnTo>
                  <a:lnTo>
                    <a:pt x="344284" y="696379"/>
                  </a:lnTo>
                  <a:lnTo>
                    <a:pt x="376923" y="726973"/>
                  </a:lnTo>
                  <a:lnTo>
                    <a:pt x="414235" y="751954"/>
                  </a:lnTo>
                  <a:lnTo>
                    <a:pt x="455549" y="770636"/>
                  </a:lnTo>
                  <a:lnTo>
                    <a:pt x="500164" y="782345"/>
                  </a:lnTo>
                  <a:lnTo>
                    <a:pt x="548081" y="786396"/>
                  </a:lnTo>
                  <a:close/>
                </a:path>
                <a:path w="548640" h="786764">
                  <a:moveTo>
                    <a:pt x="548081" y="520865"/>
                  </a:moveTo>
                  <a:lnTo>
                    <a:pt x="542632" y="472706"/>
                  </a:lnTo>
                  <a:lnTo>
                    <a:pt x="529234" y="427443"/>
                  </a:lnTo>
                  <a:lnTo>
                    <a:pt x="508622" y="385813"/>
                  </a:lnTo>
                  <a:lnTo>
                    <a:pt x="481520" y="348564"/>
                  </a:lnTo>
                  <a:lnTo>
                    <a:pt x="448678" y="316407"/>
                  </a:lnTo>
                  <a:lnTo>
                    <a:pt x="410832" y="290106"/>
                  </a:lnTo>
                  <a:lnTo>
                    <a:pt x="368693" y="270370"/>
                  </a:lnTo>
                  <a:lnTo>
                    <a:pt x="323024" y="257949"/>
                  </a:lnTo>
                  <a:lnTo>
                    <a:pt x="274561" y="253568"/>
                  </a:lnTo>
                  <a:lnTo>
                    <a:pt x="273329" y="253568"/>
                  </a:lnTo>
                  <a:lnTo>
                    <a:pt x="224993" y="257924"/>
                  </a:lnTo>
                  <a:lnTo>
                    <a:pt x="179438" y="270294"/>
                  </a:lnTo>
                  <a:lnTo>
                    <a:pt x="137401" y="289941"/>
                  </a:lnTo>
                  <a:lnTo>
                    <a:pt x="99606" y="316128"/>
                  </a:lnTo>
                  <a:lnTo>
                    <a:pt x="66802" y="348145"/>
                  </a:lnTo>
                  <a:lnTo>
                    <a:pt x="39712" y="385254"/>
                  </a:lnTo>
                  <a:lnTo>
                    <a:pt x="19062" y="426707"/>
                  </a:lnTo>
                  <a:lnTo>
                    <a:pt x="5575" y="471805"/>
                  </a:lnTo>
                  <a:lnTo>
                    <a:pt x="0" y="519785"/>
                  </a:lnTo>
                  <a:lnTo>
                    <a:pt x="47713" y="515759"/>
                  </a:lnTo>
                  <a:lnTo>
                    <a:pt x="92240" y="504101"/>
                  </a:lnTo>
                  <a:lnTo>
                    <a:pt x="133464" y="485495"/>
                  </a:lnTo>
                  <a:lnTo>
                    <a:pt x="170738" y="460629"/>
                  </a:lnTo>
                  <a:lnTo>
                    <a:pt x="203352" y="430161"/>
                  </a:lnTo>
                  <a:lnTo>
                    <a:pt x="230670" y="394779"/>
                  </a:lnTo>
                  <a:lnTo>
                    <a:pt x="251993" y="355155"/>
                  </a:lnTo>
                  <a:lnTo>
                    <a:pt x="266661" y="311962"/>
                  </a:lnTo>
                  <a:lnTo>
                    <a:pt x="273989" y="265874"/>
                  </a:lnTo>
                  <a:lnTo>
                    <a:pt x="281165" y="312140"/>
                  </a:lnTo>
                  <a:lnTo>
                    <a:pt x="295719" y="355511"/>
                  </a:lnTo>
                  <a:lnTo>
                    <a:pt x="316992" y="395312"/>
                  </a:lnTo>
                  <a:lnTo>
                    <a:pt x="344284" y="430847"/>
                  </a:lnTo>
                  <a:lnTo>
                    <a:pt x="376923" y="461441"/>
                  </a:lnTo>
                  <a:lnTo>
                    <a:pt x="414235" y="486422"/>
                  </a:lnTo>
                  <a:lnTo>
                    <a:pt x="455549" y="505104"/>
                  </a:lnTo>
                  <a:lnTo>
                    <a:pt x="500164" y="516813"/>
                  </a:lnTo>
                  <a:lnTo>
                    <a:pt x="548081" y="520865"/>
                  </a:lnTo>
                  <a:close/>
                </a:path>
                <a:path w="548640" h="786764">
                  <a:moveTo>
                    <a:pt x="548081" y="267335"/>
                  </a:moveTo>
                  <a:lnTo>
                    <a:pt x="542632" y="219163"/>
                  </a:lnTo>
                  <a:lnTo>
                    <a:pt x="529234" y="173888"/>
                  </a:lnTo>
                  <a:lnTo>
                    <a:pt x="508622" y="132257"/>
                  </a:lnTo>
                  <a:lnTo>
                    <a:pt x="481533" y="95008"/>
                  </a:lnTo>
                  <a:lnTo>
                    <a:pt x="448691" y="62865"/>
                  </a:lnTo>
                  <a:lnTo>
                    <a:pt x="410832" y="36537"/>
                  </a:lnTo>
                  <a:lnTo>
                    <a:pt x="368693" y="16802"/>
                  </a:lnTo>
                  <a:lnTo>
                    <a:pt x="323024" y="4381"/>
                  </a:lnTo>
                  <a:lnTo>
                    <a:pt x="274561" y="0"/>
                  </a:lnTo>
                  <a:lnTo>
                    <a:pt x="273329" y="0"/>
                  </a:lnTo>
                  <a:lnTo>
                    <a:pt x="224993" y="4356"/>
                  </a:lnTo>
                  <a:lnTo>
                    <a:pt x="179438" y="16725"/>
                  </a:lnTo>
                  <a:lnTo>
                    <a:pt x="137401" y="36372"/>
                  </a:lnTo>
                  <a:lnTo>
                    <a:pt x="99606" y="62572"/>
                  </a:lnTo>
                  <a:lnTo>
                    <a:pt x="66802" y="94576"/>
                  </a:lnTo>
                  <a:lnTo>
                    <a:pt x="59575" y="104470"/>
                  </a:lnTo>
                  <a:lnTo>
                    <a:pt x="39687" y="131699"/>
                  </a:lnTo>
                  <a:lnTo>
                    <a:pt x="19037" y="173151"/>
                  </a:lnTo>
                  <a:lnTo>
                    <a:pt x="5562" y="218224"/>
                  </a:lnTo>
                  <a:lnTo>
                    <a:pt x="0" y="266204"/>
                  </a:lnTo>
                  <a:lnTo>
                    <a:pt x="47713" y="262191"/>
                  </a:lnTo>
                  <a:lnTo>
                    <a:pt x="92240" y="250532"/>
                  </a:lnTo>
                  <a:lnTo>
                    <a:pt x="133464" y="231940"/>
                  </a:lnTo>
                  <a:lnTo>
                    <a:pt x="170738" y="207060"/>
                  </a:lnTo>
                  <a:lnTo>
                    <a:pt x="203365" y="176606"/>
                  </a:lnTo>
                  <a:lnTo>
                    <a:pt x="230670" y="141224"/>
                  </a:lnTo>
                  <a:lnTo>
                    <a:pt x="252006" y="101612"/>
                  </a:lnTo>
                  <a:lnTo>
                    <a:pt x="266661" y="58420"/>
                  </a:lnTo>
                  <a:lnTo>
                    <a:pt x="273989" y="12369"/>
                  </a:lnTo>
                  <a:lnTo>
                    <a:pt x="279844" y="50114"/>
                  </a:lnTo>
                  <a:lnTo>
                    <a:pt x="295719" y="101955"/>
                  </a:lnTo>
                  <a:lnTo>
                    <a:pt x="316992" y="141744"/>
                  </a:lnTo>
                  <a:lnTo>
                    <a:pt x="344284" y="177279"/>
                  </a:lnTo>
                  <a:lnTo>
                    <a:pt x="376923" y="207886"/>
                  </a:lnTo>
                  <a:lnTo>
                    <a:pt x="414248" y="232867"/>
                  </a:lnTo>
                  <a:lnTo>
                    <a:pt x="455549" y="251561"/>
                  </a:lnTo>
                  <a:lnTo>
                    <a:pt x="500176" y="263271"/>
                  </a:lnTo>
                  <a:lnTo>
                    <a:pt x="548081" y="267335"/>
                  </a:lnTo>
                  <a:close/>
                </a:path>
              </a:pathLst>
            </a:custGeom>
            <a:solidFill>
              <a:srgbClr val="2DB7EA"/>
            </a:solidFill>
          </p:spPr>
          <p:txBody>
            <a:bodyPr wrap="square" lIns="0" tIns="0" rIns="0" bIns="0" rtlCol="0"/>
            <a:lstStyle/>
            <a:p>
              <a:endParaRPr dirty="0"/>
            </a:p>
          </p:txBody>
        </p:sp>
        <p:pic>
          <p:nvPicPr>
            <p:cNvPr id="369" name="object 367">
              <a:extLst>
                <a:ext uri="{FF2B5EF4-FFF2-40B4-BE49-F238E27FC236}">
                  <a16:creationId xmlns:a16="http://schemas.microsoft.com/office/drawing/2014/main" id="{C5A7AC9C-FEBC-591F-A4E6-F4B02D6F914F}"/>
                </a:ext>
              </a:extLst>
            </p:cNvPr>
            <p:cNvPicPr/>
            <p:nvPr/>
          </p:nvPicPr>
          <p:blipFill>
            <a:blip r:embed="rId8" cstate="print"/>
            <a:stretch>
              <a:fillRect/>
            </a:stretch>
          </p:blipFill>
          <p:spPr>
            <a:xfrm>
              <a:off x="9637261" y="3010234"/>
              <a:ext cx="106445" cy="107156"/>
            </a:xfrm>
            <a:prstGeom prst="rect">
              <a:avLst/>
            </a:prstGeom>
          </p:spPr>
        </p:pic>
        <p:sp>
          <p:nvSpPr>
            <p:cNvPr id="370" name="object 368">
              <a:extLst>
                <a:ext uri="{FF2B5EF4-FFF2-40B4-BE49-F238E27FC236}">
                  <a16:creationId xmlns:a16="http://schemas.microsoft.com/office/drawing/2014/main" id="{169BB2E8-2142-7EAB-3E33-E1DEBBC19E7D}"/>
                </a:ext>
              </a:extLst>
            </p:cNvPr>
            <p:cNvSpPr/>
            <p:nvPr/>
          </p:nvSpPr>
          <p:spPr>
            <a:xfrm>
              <a:off x="9523993" y="3208700"/>
              <a:ext cx="332700" cy="477101"/>
            </a:xfrm>
            <a:custGeom>
              <a:avLst/>
              <a:gdLst/>
              <a:ahLst/>
              <a:cxnLst/>
              <a:rect l="l" t="t" r="r" b="b"/>
              <a:pathLst>
                <a:path w="548640" h="786764">
                  <a:moveTo>
                    <a:pt x="548081" y="786384"/>
                  </a:moveTo>
                  <a:lnTo>
                    <a:pt x="542632" y="738225"/>
                  </a:lnTo>
                  <a:lnTo>
                    <a:pt x="529234" y="692962"/>
                  </a:lnTo>
                  <a:lnTo>
                    <a:pt x="508622" y="651344"/>
                  </a:lnTo>
                  <a:lnTo>
                    <a:pt x="481520" y="614083"/>
                  </a:lnTo>
                  <a:lnTo>
                    <a:pt x="448678" y="581926"/>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47"/>
                  </a:lnTo>
                  <a:lnTo>
                    <a:pt x="66802" y="613664"/>
                  </a:lnTo>
                  <a:lnTo>
                    <a:pt x="39712" y="650773"/>
                  </a:lnTo>
                  <a:lnTo>
                    <a:pt x="19062" y="692226"/>
                  </a:lnTo>
                  <a:lnTo>
                    <a:pt x="5575" y="737323"/>
                  </a:lnTo>
                  <a:lnTo>
                    <a:pt x="0" y="785317"/>
                  </a:lnTo>
                  <a:lnTo>
                    <a:pt x="47713" y="781278"/>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59"/>
                  </a:lnTo>
                  <a:lnTo>
                    <a:pt x="295719" y="621042"/>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65"/>
                  </a:moveTo>
                  <a:lnTo>
                    <a:pt x="542632" y="472694"/>
                  </a:lnTo>
                  <a:lnTo>
                    <a:pt x="529234" y="427431"/>
                  </a:lnTo>
                  <a:lnTo>
                    <a:pt x="508622" y="385813"/>
                  </a:lnTo>
                  <a:lnTo>
                    <a:pt x="481520" y="348551"/>
                  </a:lnTo>
                  <a:lnTo>
                    <a:pt x="448678" y="316407"/>
                  </a:lnTo>
                  <a:lnTo>
                    <a:pt x="410832" y="290093"/>
                  </a:lnTo>
                  <a:lnTo>
                    <a:pt x="368693" y="270357"/>
                  </a:lnTo>
                  <a:lnTo>
                    <a:pt x="323024" y="257937"/>
                  </a:lnTo>
                  <a:lnTo>
                    <a:pt x="274561" y="253555"/>
                  </a:lnTo>
                  <a:lnTo>
                    <a:pt x="273329" y="253555"/>
                  </a:lnTo>
                  <a:lnTo>
                    <a:pt x="224993" y="257911"/>
                  </a:lnTo>
                  <a:lnTo>
                    <a:pt x="179438" y="270281"/>
                  </a:lnTo>
                  <a:lnTo>
                    <a:pt x="137401" y="289928"/>
                  </a:lnTo>
                  <a:lnTo>
                    <a:pt x="99606" y="316115"/>
                  </a:lnTo>
                  <a:lnTo>
                    <a:pt x="66802" y="348132"/>
                  </a:lnTo>
                  <a:lnTo>
                    <a:pt x="39712" y="385241"/>
                  </a:lnTo>
                  <a:lnTo>
                    <a:pt x="19062" y="426694"/>
                  </a:lnTo>
                  <a:lnTo>
                    <a:pt x="5575" y="471792"/>
                  </a:lnTo>
                  <a:lnTo>
                    <a:pt x="0" y="519785"/>
                  </a:lnTo>
                  <a:lnTo>
                    <a:pt x="47713" y="515747"/>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29"/>
                  </a:lnTo>
                  <a:lnTo>
                    <a:pt x="414235" y="486410"/>
                  </a:lnTo>
                  <a:lnTo>
                    <a:pt x="455549" y="505091"/>
                  </a:lnTo>
                  <a:lnTo>
                    <a:pt x="500164" y="516801"/>
                  </a:lnTo>
                  <a:lnTo>
                    <a:pt x="548081" y="520865"/>
                  </a:lnTo>
                  <a:close/>
                </a:path>
                <a:path w="548640" h="786764">
                  <a:moveTo>
                    <a:pt x="548081" y="267322"/>
                  </a:moveTo>
                  <a:lnTo>
                    <a:pt x="542632" y="219151"/>
                  </a:lnTo>
                  <a:lnTo>
                    <a:pt x="529234" y="173888"/>
                  </a:lnTo>
                  <a:lnTo>
                    <a:pt x="508622" y="132257"/>
                  </a:lnTo>
                  <a:lnTo>
                    <a:pt x="497205" y="116573"/>
                  </a:lnTo>
                  <a:lnTo>
                    <a:pt x="481533" y="94996"/>
                  </a:lnTo>
                  <a:lnTo>
                    <a:pt x="449376" y="63525"/>
                  </a:lnTo>
                  <a:lnTo>
                    <a:pt x="448691" y="62852"/>
                  </a:lnTo>
                  <a:lnTo>
                    <a:pt x="410832" y="36525"/>
                  </a:lnTo>
                  <a:lnTo>
                    <a:pt x="368706" y="16814"/>
                  </a:lnTo>
                  <a:lnTo>
                    <a:pt x="323024" y="4368"/>
                  </a:lnTo>
                  <a:lnTo>
                    <a:pt x="274561" y="0"/>
                  </a:lnTo>
                  <a:lnTo>
                    <a:pt x="273329" y="0"/>
                  </a:lnTo>
                  <a:lnTo>
                    <a:pt x="224993" y="4356"/>
                  </a:lnTo>
                  <a:lnTo>
                    <a:pt x="179438" y="16725"/>
                  </a:lnTo>
                  <a:lnTo>
                    <a:pt x="137401" y="36360"/>
                  </a:lnTo>
                  <a:lnTo>
                    <a:pt x="99606" y="62560"/>
                  </a:lnTo>
                  <a:lnTo>
                    <a:pt x="66802" y="94576"/>
                  </a:lnTo>
                  <a:lnTo>
                    <a:pt x="39687" y="131686"/>
                  </a:lnTo>
                  <a:lnTo>
                    <a:pt x="19037" y="173139"/>
                  </a:lnTo>
                  <a:lnTo>
                    <a:pt x="5562" y="218224"/>
                  </a:lnTo>
                  <a:lnTo>
                    <a:pt x="0" y="266192"/>
                  </a:lnTo>
                  <a:lnTo>
                    <a:pt x="47713" y="262178"/>
                  </a:lnTo>
                  <a:lnTo>
                    <a:pt x="92240" y="250532"/>
                  </a:lnTo>
                  <a:lnTo>
                    <a:pt x="133464" y="231927"/>
                  </a:lnTo>
                  <a:lnTo>
                    <a:pt x="170738" y="207060"/>
                  </a:lnTo>
                  <a:lnTo>
                    <a:pt x="187604" y="191312"/>
                  </a:lnTo>
                  <a:lnTo>
                    <a:pt x="203365" y="176593"/>
                  </a:lnTo>
                  <a:lnTo>
                    <a:pt x="230670" y="141224"/>
                  </a:lnTo>
                  <a:lnTo>
                    <a:pt x="252006" y="101600"/>
                  </a:lnTo>
                  <a:lnTo>
                    <a:pt x="266661" y="58407"/>
                  </a:lnTo>
                  <a:lnTo>
                    <a:pt x="273989" y="12369"/>
                  </a:lnTo>
                  <a:lnTo>
                    <a:pt x="279844" y="50101"/>
                  </a:lnTo>
                  <a:lnTo>
                    <a:pt x="295719" y="101942"/>
                  </a:lnTo>
                  <a:lnTo>
                    <a:pt x="316992" y="141744"/>
                  </a:lnTo>
                  <a:lnTo>
                    <a:pt x="344284" y="177279"/>
                  </a:lnTo>
                  <a:lnTo>
                    <a:pt x="376923" y="207873"/>
                  </a:lnTo>
                  <a:lnTo>
                    <a:pt x="414248" y="232867"/>
                  </a:lnTo>
                  <a:lnTo>
                    <a:pt x="455549" y="251548"/>
                  </a:lnTo>
                  <a:lnTo>
                    <a:pt x="500176" y="263271"/>
                  </a:lnTo>
                  <a:lnTo>
                    <a:pt x="548081" y="267322"/>
                  </a:lnTo>
                  <a:close/>
                </a:path>
              </a:pathLst>
            </a:custGeom>
            <a:solidFill>
              <a:srgbClr val="7ED3F1"/>
            </a:solidFill>
          </p:spPr>
          <p:txBody>
            <a:bodyPr wrap="square" lIns="0" tIns="0" rIns="0" bIns="0" rtlCol="0"/>
            <a:lstStyle/>
            <a:p>
              <a:endParaRPr dirty="0"/>
            </a:p>
          </p:txBody>
        </p:sp>
        <p:pic>
          <p:nvPicPr>
            <p:cNvPr id="371" name="object 369">
              <a:extLst>
                <a:ext uri="{FF2B5EF4-FFF2-40B4-BE49-F238E27FC236}">
                  <a16:creationId xmlns:a16="http://schemas.microsoft.com/office/drawing/2014/main" id="{E33E9F0C-33D6-CE2A-CE50-7F0DD961D4FB}"/>
                </a:ext>
              </a:extLst>
            </p:cNvPr>
            <p:cNvPicPr/>
            <p:nvPr/>
          </p:nvPicPr>
          <p:blipFill>
            <a:blip r:embed="rId9" cstate="print"/>
            <a:stretch>
              <a:fillRect/>
            </a:stretch>
          </p:blipFill>
          <p:spPr>
            <a:xfrm>
              <a:off x="9637261" y="3664400"/>
              <a:ext cx="106445" cy="107156"/>
            </a:xfrm>
            <a:prstGeom prst="rect">
              <a:avLst/>
            </a:prstGeom>
          </p:spPr>
        </p:pic>
        <p:sp>
          <p:nvSpPr>
            <p:cNvPr id="372" name="object 370">
              <a:extLst>
                <a:ext uri="{FF2B5EF4-FFF2-40B4-BE49-F238E27FC236}">
                  <a16:creationId xmlns:a16="http://schemas.microsoft.com/office/drawing/2014/main" id="{1920ACBC-21F3-F0B1-2767-37E8AFA302B0}"/>
                </a:ext>
              </a:extLst>
            </p:cNvPr>
            <p:cNvSpPr/>
            <p:nvPr/>
          </p:nvSpPr>
          <p:spPr>
            <a:xfrm>
              <a:off x="9523993" y="1246203"/>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78" y="581926"/>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47"/>
                  </a:lnTo>
                  <a:lnTo>
                    <a:pt x="66802" y="613664"/>
                  </a:lnTo>
                  <a:lnTo>
                    <a:pt x="39712" y="650760"/>
                  </a:lnTo>
                  <a:lnTo>
                    <a:pt x="19062" y="692226"/>
                  </a:lnTo>
                  <a:lnTo>
                    <a:pt x="5575" y="737323"/>
                  </a:lnTo>
                  <a:lnTo>
                    <a:pt x="0" y="785304"/>
                  </a:lnTo>
                  <a:lnTo>
                    <a:pt x="47713" y="781278"/>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52"/>
                  </a:moveTo>
                  <a:lnTo>
                    <a:pt x="542632" y="472694"/>
                  </a:lnTo>
                  <a:lnTo>
                    <a:pt x="529234" y="427431"/>
                  </a:lnTo>
                  <a:lnTo>
                    <a:pt x="508622" y="385813"/>
                  </a:lnTo>
                  <a:lnTo>
                    <a:pt x="481520" y="348551"/>
                  </a:lnTo>
                  <a:lnTo>
                    <a:pt x="448678" y="316395"/>
                  </a:lnTo>
                  <a:lnTo>
                    <a:pt x="410832" y="290093"/>
                  </a:lnTo>
                  <a:lnTo>
                    <a:pt x="368693" y="270357"/>
                  </a:lnTo>
                  <a:lnTo>
                    <a:pt x="323024" y="257937"/>
                  </a:lnTo>
                  <a:lnTo>
                    <a:pt x="274561" y="253555"/>
                  </a:lnTo>
                  <a:lnTo>
                    <a:pt x="273329" y="253555"/>
                  </a:lnTo>
                  <a:lnTo>
                    <a:pt x="224993" y="257911"/>
                  </a:lnTo>
                  <a:lnTo>
                    <a:pt x="179438" y="270281"/>
                  </a:lnTo>
                  <a:lnTo>
                    <a:pt x="137401" y="289928"/>
                  </a:lnTo>
                  <a:lnTo>
                    <a:pt x="99606" y="316115"/>
                  </a:lnTo>
                  <a:lnTo>
                    <a:pt x="66802" y="348132"/>
                  </a:lnTo>
                  <a:lnTo>
                    <a:pt x="39712" y="385241"/>
                  </a:lnTo>
                  <a:lnTo>
                    <a:pt x="19062" y="426694"/>
                  </a:lnTo>
                  <a:lnTo>
                    <a:pt x="5575" y="471792"/>
                  </a:lnTo>
                  <a:lnTo>
                    <a:pt x="0" y="519785"/>
                  </a:lnTo>
                  <a:lnTo>
                    <a:pt x="47713" y="515747"/>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35" y="486410"/>
                  </a:lnTo>
                  <a:lnTo>
                    <a:pt x="455549" y="505091"/>
                  </a:lnTo>
                  <a:lnTo>
                    <a:pt x="500164" y="516801"/>
                  </a:lnTo>
                  <a:lnTo>
                    <a:pt x="548081" y="520852"/>
                  </a:lnTo>
                  <a:close/>
                </a:path>
                <a:path w="548640" h="786764">
                  <a:moveTo>
                    <a:pt x="548081" y="267322"/>
                  </a:moveTo>
                  <a:lnTo>
                    <a:pt x="542632" y="219151"/>
                  </a:lnTo>
                  <a:lnTo>
                    <a:pt x="529234" y="173875"/>
                  </a:lnTo>
                  <a:lnTo>
                    <a:pt x="508622" y="132257"/>
                  </a:lnTo>
                  <a:lnTo>
                    <a:pt x="497205" y="116573"/>
                  </a:lnTo>
                  <a:lnTo>
                    <a:pt x="481533" y="94996"/>
                  </a:lnTo>
                  <a:lnTo>
                    <a:pt x="449376" y="63525"/>
                  </a:lnTo>
                  <a:lnTo>
                    <a:pt x="448691" y="62852"/>
                  </a:lnTo>
                  <a:lnTo>
                    <a:pt x="410832" y="36525"/>
                  </a:lnTo>
                  <a:lnTo>
                    <a:pt x="368693" y="16789"/>
                  </a:lnTo>
                  <a:lnTo>
                    <a:pt x="323024" y="4368"/>
                  </a:lnTo>
                  <a:lnTo>
                    <a:pt x="274561" y="0"/>
                  </a:lnTo>
                  <a:lnTo>
                    <a:pt x="273329" y="0"/>
                  </a:lnTo>
                  <a:lnTo>
                    <a:pt x="224993" y="4356"/>
                  </a:lnTo>
                  <a:lnTo>
                    <a:pt x="179438" y="16713"/>
                  </a:lnTo>
                  <a:lnTo>
                    <a:pt x="137401" y="36360"/>
                  </a:lnTo>
                  <a:lnTo>
                    <a:pt x="99606" y="62560"/>
                  </a:lnTo>
                  <a:lnTo>
                    <a:pt x="66802" y="94576"/>
                  </a:lnTo>
                  <a:lnTo>
                    <a:pt x="39687" y="131686"/>
                  </a:lnTo>
                  <a:lnTo>
                    <a:pt x="19037" y="173139"/>
                  </a:lnTo>
                  <a:lnTo>
                    <a:pt x="5562" y="218211"/>
                  </a:lnTo>
                  <a:lnTo>
                    <a:pt x="0" y="266192"/>
                  </a:lnTo>
                  <a:lnTo>
                    <a:pt x="47713" y="262178"/>
                  </a:lnTo>
                  <a:lnTo>
                    <a:pt x="92240" y="250532"/>
                  </a:lnTo>
                  <a:lnTo>
                    <a:pt x="133464" y="231927"/>
                  </a:lnTo>
                  <a:lnTo>
                    <a:pt x="170738" y="207060"/>
                  </a:lnTo>
                  <a:lnTo>
                    <a:pt x="187604" y="191312"/>
                  </a:lnTo>
                  <a:lnTo>
                    <a:pt x="203365" y="176593"/>
                  </a:lnTo>
                  <a:lnTo>
                    <a:pt x="230670" y="141224"/>
                  </a:lnTo>
                  <a:lnTo>
                    <a:pt x="252006" y="101600"/>
                  </a:lnTo>
                  <a:lnTo>
                    <a:pt x="266661" y="58407"/>
                  </a:lnTo>
                  <a:lnTo>
                    <a:pt x="273989" y="12357"/>
                  </a:lnTo>
                  <a:lnTo>
                    <a:pt x="279844" y="50101"/>
                  </a:lnTo>
                  <a:lnTo>
                    <a:pt x="295719" y="101942"/>
                  </a:lnTo>
                  <a:lnTo>
                    <a:pt x="316992" y="141744"/>
                  </a:lnTo>
                  <a:lnTo>
                    <a:pt x="344284" y="177279"/>
                  </a:lnTo>
                  <a:lnTo>
                    <a:pt x="376923" y="207873"/>
                  </a:lnTo>
                  <a:lnTo>
                    <a:pt x="414248" y="232867"/>
                  </a:lnTo>
                  <a:lnTo>
                    <a:pt x="455549" y="251548"/>
                  </a:lnTo>
                  <a:lnTo>
                    <a:pt x="500176" y="263271"/>
                  </a:lnTo>
                  <a:lnTo>
                    <a:pt x="548081" y="267322"/>
                  </a:lnTo>
                  <a:close/>
                </a:path>
              </a:pathLst>
            </a:custGeom>
            <a:solidFill>
              <a:srgbClr val="2DB7EA"/>
            </a:solidFill>
          </p:spPr>
          <p:txBody>
            <a:bodyPr wrap="square" lIns="0" tIns="0" rIns="0" bIns="0" rtlCol="0"/>
            <a:lstStyle/>
            <a:p>
              <a:endParaRPr dirty="0"/>
            </a:p>
          </p:txBody>
        </p:sp>
        <p:pic>
          <p:nvPicPr>
            <p:cNvPr id="373" name="object 371">
              <a:extLst>
                <a:ext uri="{FF2B5EF4-FFF2-40B4-BE49-F238E27FC236}">
                  <a16:creationId xmlns:a16="http://schemas.microsoft.com/office/drawing/2014/main" id="{9182BA11-5F62-ECCD-05B2-B24B70862324}"/>
                </a:ext>
              </a:extLst>
            </p:cNvPr>
            <p:cNvPicPr/>
            <p:nvPr/>
          </p:nvPicPr>
          <p:blipFill>
            <a:blip r:embed="rId8" cstate="print"/>
            <a:stretch>
              <a:fillRect/>
            </a:stretch>
          </p:blipFill>
          <p:spPr>
            <a:xfrm>
              <a:off x="9637261" y="1701903"/>
              <a:ext cx="106445" cy="107156"/>
            </a:xfrm>
            <a:prstGeom prst="rect">
              <a:avLst/>
            </a:prstGeom>
          </p:spPr>
        </p:pic>
        <p:sp>
          <p:nvSpPr>
            <p:cNvPr id="374" name="object 372">
              <a:extLst>
                <a:ext uri="{FF2B5EF4-FFF2-40B4-BE49-F238E27FC236}">
                  <a16:creationId xmlns:a16="http://schemas.microsoft.com/office/drawing/2014/main" id="{C0E5CDA9-2AAE-E6D3-C77B-A9D5E1E6C8E2}"/>
                </a:ext>
              </a:extLst>
            </p:cNvPr>
            <p:cNvSpPr/>
            <p:nvPr/>
          </p:nvSpPr>
          <p:spPr>
            <a:xfrm>
              <a:off x="9523993" y="1900365"/>
              <a:ext cx="332700" cy="477101"/>
            </a:xfrm>
            <a:custGeom>
              <a:avLst/>
              <a:gdLst/>
              <a:ahLst/>
              <a:cxnLst/>
              <a:rect l="l" t="t" r="r" b="b"/>
              <a:pathLst>
                <a:path w="548640" h="786764">
                  <a:moveTo>
                    <a:pt x="548081" y="786396"/>
                  </a:moveTo>
                  <a:lnTo>
                    <a:pt x="542632" y="738225"/>
                  </a:lnTo>
                  <a:lnTo>
                    <a:pt x="529234" y="692962"/>
                  </a:lnTo>
                  <a:lnTo>
                    <a:pt x="508622" y="651344"/>
                  </a:lnTo>
                  <a:lnTo>
                    <a:pt x="481520" y="614083"/>
                  </a:lnTo>
                  <a:lnTo>
                    <a:pt x="448678" y="581939"/>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60"/>
                  </a:lnTo>
                  <a:lnTo>
                    <a:pt x="66802" y="613664"/>
                  </a:lnTo>
                  <a:lnTo>
                    <a:pt x="39712" y="650773"/>
                  </a:lnTo>
                  <a:lnTo>
                    <a:pt x="19062" y="692238"/>
                  </a:lnTo>
                  <a:lnTo>
                    <a:pt x="5575" y="737323"/>
                  </a:lnTo>
                  <a:lnTo>
                    <a:pt x="0" y="785317"/>
                  </a:lnTo>
                  <a:lnTo>
                    <a:pt x="47713" y="781278"/>
                  </a:lnTo>
                  <a:lnTo>
                    <a:pt x="92240" y="769620"/>
                  </a:lnTo>
                  <a:lnTo>
                    <a:pt x="133464" y="751027"/>
                  </a:lnTo>
                  <a:lnTo>
                    <a:pt x="170738" y="726147"/>
                  </a:lnTo>
                  <a:lnTo>
                    <a:pt x="203352"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35" y="751941"/>
                  </a:lnTo>
                  <a:lnTo>
                    <a:pt x="455549" y="770636"/>
                  </a:lnTo>
                  <a:lnTo>
                    <a:pt x="500164" y="782332"/>
                  </a:lnTo>
                  <a:lnTo>
                    <a:pt x="548081" y="786396"/>
                  </a:lnTo>
                  <a:close/>
                </a:path>
                <a:path w="548640" h="786764">
                  <a:moveTo>
                    <a:pt x="548081" y="520865"/>
                  </a:moveTo>
                  <a:lnTo>
                    <a:pt x="542632" y="472706"/>
                  </a:lnTo>
                  <a:lnTo>
                    <a:pt x="529234" y="427443"/>
                  </a:lnTo>
                  <a:lnTo>
                    <a:pt x="508622" y="385813"/>
                  </a:lnTo>
                  <a:lnTo>
                    <a:pt x="481520" y="348551"/>
                  </a:lnTo>
                  <a:lnTo>
                    <a:pt x="448678" y="316407"/>
                  </a:lnTo>
                  <a:lnTo>
                    <a:pt x="410832" y="290093"/>
                  </a:lnTo>
                  <a:lnTo>
                    <a:pt x="368693" y="270357"/>
                  </a:lnTo>
                  <a:lnTo>
                    <a:pt x="323024" y="257937"/>
                  </a:lnTo>
                  <a:lnTo>
                    <a:pt x="274561" y="253555"/>
                  </a:lnTo>
                  <a:lnTo>
                    <a:pt x="273329" y="253555"/>
                  </a:lnTo>
                  <a:lnTo>
                    <a:pt x="224993" y="257924"/>
                  </a:lnTo>
                  <a:lnTo>
                    <a:pt x="179438" y="270281"/>
                  </a:lnTo>
                  <a:lnTo>
                    <a:pt x="137401" y="289928"/>
                  </a:lnTo>
                  <a:lnTo>
                    <a:pt x="99606" y="316128"/>
                  </a:lnTo>
                  <a:lnTo>
                    <a:pt x="66802" y="348132"/>
                  </a:lnTo>
                  <a:lnTo>
                    <a:pt x="39712" y="385241"/>
                  </a:lnTo>
                  <a:lnTo>
                    <a:pt x="19062" y="426707"/>
                  </a:lnTo>
                  <a:lnTo>
                    <a:pt x="5575" y="471792"/>
                  </a:lnTo>
                  <a:lnTo>
                    <a:pt x="0" y="519785"/>
                  </a:lnTo>
                  <a:lnTo>
                    <a:pt x="47713" y="515747"/>
                  </a:lnTo>
                  <a:lnTo>
                    <a:pt x="92240" y="504088"/>
                  </a:lnTo>
                  <a:lnTo>
                    <a:pt x="133464" y="485495"/>
                  </a:lnTo>
                  <a:lnTo>
                    <a:pt x="170738" y="460616"/>
                  </a:lnTo>
                  <a:lnTo>
                    <a:pt x="203352" y="430161"/>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4">
                  <a:moveTo>
                    <a:pt x="548081" y="267322"/>
                  </a:moveTo>
                  <a:lnTo>
                    <a:pt x="542632" y="219151"/>
                  </a:lnTo>
                  <a:lnTo>
                    <a:pt x="529234" y="173888"/>
                  </a:lnTo>
                  <a:lnTo>
                    <a:pt x="508622" y="132257"/>
                  </a:lnTo>
                  <a:lnTo>
                    <a:pt x="488911" y="105156"/>
                  </a:lnTo>
                  <a:lnTo>
                    <a:pt x="481533" y="95008"/>
                  </a:lnTo>
                  <a:lnTo>
                    <a:pt x="448691" y="62852"/>
                  </a:lnTo>
                  <a:lnTo>
                    <a:pt x="410832" y="36550"/>
                  </a:lnTo>
                  <a:lnTo>
                    <a:pt x="368706" y="16814"/>
                  </a:lnTo>
                  <a:lnTo>
                    <a:pt x="323024" y="4381"/>
                  </a:lnTo>
                  <a:lnTo>
                    <a:pt x="274561" y="0"/>
                  </a:lnTo>
                  <a:lnTo>
                    <a:pt x="273329" y="0"/>
                  </a:lnTo>
                  <a:lnTo>
                    <a:pt x="224993" y="4356"/>
                  </a:lnTo>
                  <a:lnTo>
                    <a:pt x="179438" y="16725"/>
                  </a:lnTo>
                  <a:lnTo>
                    <a:pt x="137401" y="36372"/>
                  </a:lnTo>
                  <a:lnTo>
                    <a:pt x="99606" y="62560"/>
                  </a:lnTo>
                  <a:lnTo>
                    <a:pt x="66802" y="94576"/>
                  </a:lnTo>
                  <a:lnTo>
                    <a:pt x="39687" y="131686"/>
                  </a:lnTo>
                  <a:lnTo>
                    <a:pt x="19037" y="173139"/>
                  </a:lnTo>
                  <a:lnTo>
                    <a:pt x="5562" y="218224"/>
                  </a:lnTo>
                  <a:lnTo>
                    <a:pt x="0" y="266192"/>
                  </a:lnTo>
                  <a:lnTo>
                    <a:pt x="47713" y="262191"/>
                  </a:lnTo>
                  <a:lnTo>
                    <a:pt x="92240" y="250532"/>
                  </a:lnTo>
                  <a:lnTo>
                    <a:pt x="133464" y="231927"/>
                  </a:lnTo>
                  <a:lnTo>
                    <a:pt x="170738" y="207060"/>
                  </a:lnTo>
                  <a:lnTo>
                    <a:pt x="203365" y="176593"/>
                  </a:lnTo>
                  <a:lnTo>
                    <a:pt x="230670" y="141224"/>
                  </a:lnTo>
                  <a:lnTo>
                    <a:pt x="252006" y="101600"/>
                  </a:lnTo>
                  <a:lnTo>
                    <a:pt x="266661" y="58420"/>
                  </a:lnTo>
                  <a:lnTo>
                    <a:pt x="273989" y="12369"/>
                  </a:lnTo>
                  <a:lnTo>
                    <a:pt x="279844" y="50101"/>
                  </a:lnTo>
                  <a:lnTo>
                    <a:pt x="295719" y="101955"/>
                  </a:lnTo>
                  <a:lnTo>
                    <a:pt x="316992" y="141744"/>
                  </a:lnTo>
                  <a:lnTo>
                    <a:pt x="344284" y="177279"/>
                  </a:lnTo>
                  <a:lnTo>
                    <a:pt x="376923" y="207886"/>
                  </a:lnTo>
                  <a:lnTo>
                    <a:pt x="414248" y="232867"/>
                  </a:lnTo>
                  <a:lnTo>
                    <a:pt x="455549" y="251561"/>
                  </a:lnTo>
                  <a:lnTo>
                    <a:pt x="500176" y="263271"/>
                  </a:lnTo>
                  <a:lnTo>
                    <a:pt x="548081" y="267322"/>
                  </a:lnTo>
                  <a:close/>
                </a:path>
              </a:pathLst>
            </a:custGeom>
            <a:solidFill>
              <a:srgbClr val="7ED3F1"/>
            </a:solidFill>
          </p:spPr>
          <p:txBody>
            <a:bodyPr wrap="square" lIns="0" tIns="0" rIns="0" bIns="0" rtlCol="0"/>
            <a:lstStyle/>
            <a:p>
              <a:endParaRPr dirty="0"/>
            </a:p>
          </p:txBody>
        </p:sp>
        <p:pic>
          <p:nvPicPr>
            <p:cNvPr id="375" name="object 373">
              <a:extLst>
                <a:ext uri="{FF2B5EF4-FFF2-40B4-BE49-F238E27FC236}">
                  <a16:creationId xmlns:a16="http://schemas.microsoft.com/office/drawing/2014/main" id="{3F29564B-A670-3437-DA65-7A8BDE9ADCB8}"/>
                </a:ext>
              </a:extLst>
            </p:cNvPr>
            <p:cNvPicPr/>
            <p:nvPr/>
          </p:nvPicPr>
          <p:blipFill>
            <a:blip r:embed="rId9" cstate="print"/>
            <a:stretch>
              <a:fillRect/>
            </a:stretch>
          </p:blipFill>
          <p:spPr>
            <a:xfrm>
              <a:off x="9637261" y="2356067"/>
              <a:ext cx="106445" cy="107156"/>
            </a:xfrm>
            <a:prstGeom prst="rect">
              <a:avLst/>
            </a:prstGeom>
          </p:spPr>
        </p:pic>
        <p:sp>
          <p:nvSpPr>
            <p:cNvPr id="376" name="object 374">
              <a:extLst>
                <a:ext uri="{FF2B5EF4-FFF2-40B4-BE49-F238E27FC236}">
                  <a16:creationId xmlns:a16="http://schemas.microsoft.com/office/drawing/2014/main" id="{39B2CF98-CDD0-3D9B-66F3-96A8B2417165}"/>
                </a:ext>
              </a:extLst>
            </p:cNvPr>
            <p:cNvSpPr/>
            <p:nvPr/>
          </p:nvSpPr>
          <p:spPr>
            <a:xfrm>
              <a:off x="9523995"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377" name="object 375">
              <a:extLst>
                <a:ext uri="{FF2B5EF4-FFF2-40B4-BE49-F238E27FC236}">
                  <a16:creationId xmlns:a16="http://schemas.microsoft.com/office/drawing/2014/main" id="{C635D5E1-CDFE-D66C-CD1C-6A01907B0FCC}"/>
                </a:ext>
              </a:extLst>
            </p:cNvPr>
            <p:cNvPicPr/>
            <p:nvPr/>
          </p:nvPicPr>
          <p:blipFill>
            <a:blip r:embed="rId25" cstate="print"/>
            <a:stretch>
              <a:fillRect/>
            </a:stretch>
          </p:blipFill>
          <p:spPr>
            <a:xfrm>
              <a:off x="9523996" y="123"/>
              <a:ext cx="152459" cy="99184"/>
            </a:xfrm>
            <a:prstGeom prst="rect">
              <a:avLst/>
            </a:prstGeom>
          </p:spPr>
        </p:pic>
        <p:pic>
          <p:nvPicPr>
            <p:cNvPr id="378" name="object 376">
              <a:extLst>
                <a:ext uri="{FF2B5EF4-FFF2-40B4-BE49-F238E27FC236}">
                  <a16:creationId xmlns:a16="http://schemas.microsoft.com/office/drawing/2014/main" id="{BD78F77A-7E76-7C41-ED01-A296D079E17E}"/>
                </a:ext>
              </a:extLst>
            </p:cNvPr>
            <p:cNvPicPr/>
            <p:nvPr/>
          </p:nvPicPr>
          <p:blipFill>
            <a:blip r:embed="rId21" cstate="print"/>
            <a:stretch>
              <a:fillRect/>
            </a:stretch>
          </p:blipFill>
          <p:spPr>
            <a:xfrm>
              <a:off x="9703556" y="123"/>
              <a:ext cx="152798" cy="99837"/>
            </a:xfrm>
            <a:prstGeom prst="rect">
              <a:avLst/>
            </a:prstGeom>
          </p:spPr>
        </p:pic>
        <p:sp>
          <p:nvSpPr>
            <p:cNvPr id="379" name="object 377">
              <a:extLst>
                <a:ext uri="{FF2B5EF4-FFF2-40B4-BE49-F238E27FC236}">
                  <a16:creationId xmlns:a16="http://schemas.microsoft.com/office/drawing/2014/main" id="{B96C4251-D1D1-21B6-01EA-68D525F1A88F}"/>
                </a:ext>
              </a:extLst>
            </p:cNvPr>
            <p:cNvSpPr/>
            <p:nvPr/>
          </p:nvSpPr>
          <p:spPr>
            <a:xfrm>
              <a:off x="9523993" y="91626"/>
              <a:ext cx="332700" cy="323458"/>
            </a:xfrm>
            <a:custGeom>
              <a:avLst/>
              <a:gdLst/>
              <a:ahLst/>
              <a:cxnLst/>
              <a:rect l="l" t="t" r="r" b="b"/>
              <a:pathLst>
                <a:path w="548640" h="533400">
                  <a:moveTo>
                    <a:pt x="548081" y="532841"/>
                  </a:moveTo>
                  <a:lnTo>
                    <a:pt x="542632" y="484682"/>
                  </a:lnTo>
                  <a:lnTo>
                    <a:pt x="529234" y="439420"/>
                  </a:lnTo>
                  <a:lnTo>
                    <a:pt x="508622" y="397789"/>
                  </a:lnTo>
                  <a:lnTo>
                    <a:pt x="481520" y="360527"/>
                  </a:lnTo>
                  <a:lnTo>
                    <a:pt x="448678" y="328383"/>
                  </a:lnTo>
                  <a:lnTo>
                    <a:pt x="410832" y="302069"/>
                  </a:lnTo>
                  <a:lnTo>
                    <a:pt x="368693" y="282333"/>
                  </a:lnTo>
                  <a:lnTo>
                    <a:pt x="323024" y="269913"/>
                  </a:lnTo>
                  <a:lnTo>
                    <a:pt x="274561" y="265544"/>
                  </a:lnTo>
                  <a:lnTo>
                    <a:pt x="273329" y="265544"/>
                  </a:lnTo>
                  <a:lnTo>
                    <a:pt x="224993" y="269900"/>
                  </a:lnTo>
                  <a:lnTo>
                    <a:pt x="179438" y="282257"/>
                  </a:lnTo>
                  <a:lnTo>
                    <a:pt x="137401" y="301904"/>
                  </a:lnTo>
                  <a:lnTo>
                    <a:pt x="99606" y="328104"/>
                  </a:lnTo>
                  <a:lnTo>
                    <a:pt x="66802" y="360121"/>
                  </a:lnTo>
                  <a:lnTo>
                    <a:pt x="39712" y="397217"/>
                  </a:lnTo>
                  <a:lnTo>
                    <a:pt x="19062" y="438683"/>
                  </a:lnTo>
                  <a:lnTo>
                    <a:pt x="5575" y="483768"/>
                  </a:lnTo>
                  <a:lnTo>
                    <a:pt x="0" y="531761"/>
                  </a:lnTo>
                  <a:lnTo>
                    <a:pt x="47713" y="527723"/>
                  </a:lnTo>
                  <a:lnTo>
                    <a:pt x="92240" y="516064"/>
                  </a:lnTo>
                  <a:lnTo>
                    <a:pt x="133464" y="497471"/>
                  </a:lnTo>
                  <a:lnTo>
                    <a:pt x="170738" y="472592"/>
                  </a:lnTo>
                  <a:lnTo>
                    <a:pt x="203352" y="442137"/>
                  </a:lnTo>
                  <a:lnTo>
                    <a:pt x="230670" y="406755"/>
                  </a:lnTo>
                  <a:lnTo>
                    <a:pt x="251993" y="367118"/>
                  </a:lnTo>
                  <a:lnTo>
                    <a:pt x="266661" y="323926"/>
                  </a:lnTo>
                  <a:lnTo>
                    <a:pt x="273989" y="277837"/>
                  </a:lnTo>
                  <a:lnTo>
                    <a:pt x="281165" y="324116"/>
                  </a:lnTo>
                  <a:lnTo>
                    <a:pt x="295719" y="367487"/>
                  </a:lnTo>
                  <a:lnTo>
                    <a:pt x="316992" y="407276"/>
                  </a:lnTo>
                  <a:lnTo>
                    <a:pt x="344284" y="442810"/>
                  </a:lnTo>
                  <a:lnTo>
                    <a:pt x="376923" y="473417"/>
                  </a:lnTo>
                  <a:lnTo>
                    <a:pt x="414235" y="498398"/>
                  </a:lnTo>
                  <a:lnTo>
                    <a:pt x="455549" y="517080"/>
                  </a:lnTo>
                  <a:lnTo>
                    <a:pt x="500164" y="528789"/>
                  </a:lnTo>
                  <a:lnTo>
                    <a:pt x="548081" y="532841"/>
                  </a:lnTo>
                  <a:close/>
                </a:path>
                <a:path w="548640" h="533400">
                  <a:moveTo>
                    <a:pt x="548081" y="267309"/>
                  </a:moveTo>
                  <a:lnTo>
                    <a:pt x="542632" y="219138"/>
                  </a:lnTo>
                  <a:lnTo>
                    <a:pt x="529234" y="173888"/>
                  </a:lnTo>
                  <a:lnTo>
                    <a:pt x="508622" y="132257"/>
                  </a:lnTo>
                  <a:lnTo>
                    <a:pt x="481520" y="94996"/>
                  </a:lnTo>
                  <a:lnTo>
                    <a:pt x="448678" y="62852"/>
                  </a:lnTo>
                  <a:lnTo>
                    <a:pt x="410832" y="36537"/>
                  </a:lnTo>
                  <a:lnTo>
                    <a:pt x="368693" y="16802"/>
                  </a:lnTo>
                  <a:lnTo>
                    <a:pt x="323024" y="4381"/>
                  </a:lnTo>
                  <a:lnTo>
                    <a:pt x="274561" y="0"/>
                  </a:lnTo>
                  <a:lnTo>
                    <a:pt x="273329" y="0"/>
                  </a:lnTo>
                  <a:lnTo>
                    <a:pt x="224993" y="4356"/>
                  </a:lnTo>
                  <a:lnTo>
                    <a:pt x="179438" y="16725"/>
                  </a:lnTo>
                  <a:lnTo>
                    <a:pt x="137401" y="36372"/>
                  </a:lnTo>
                  <a:lnTo>
                    <a:pt x="99606" y="62572"/>
                  </a:lnTo>
                  <a:lnTo>
                    <a:pt x="66802" y="94576"/>
                  </a:lnTo>
                  <a:lnTo>
                    <a:pt x="39712" y="131686"/>
                  </a:lnTo>
                  <a:lnTo>
                    <a:pt x="19062" y="173151"/>
                  </a:lnTo>
                  <a:lnTo>
                    <a:pt x="5575" y="218236"/>
                  </a:lnTo>
                  <a:lnTo>
                    <a:pt x="0" y="266230"/>
                  </a:lnTo>
                  <a:lnTo>
                    <a:pt x="47713" y="262191"/>
                  </a:lnTo>
                  <a:lnTo>
                    <a:pt x="92240" y="250532"/>
                  </a:lnTo>
                  <a:lnTo>
                    <a:pt x="133464" y="231940"/>
                  </a:lnTo>
                  <a:lnTo>
                    <a:pt x="170738" y="207060"/>
                  </a:lnTo>
                  <a:lnTo>
                    <a:pt x="203352" y="176593"/>
                  </a:lnTo>
                  <a:lnTo>
                    <a:pt x="230670" y="141211"/>
                  </a:lnTo>
                  <a:lnTo>
                    <a:pt x="251993" y="101587"/>
                  </a:lnTo>
                  <a:lnTo>
                    <a:pt x="266661" y="58394"/>
                  </a:lnTo>
                  <a:lnTo>
                    <a:pt x="273989" y="12306"/>
                  </a:lnTo>
                  <a:lnTo>
                    <a:pt x="281165" y="58585"/>
                  </a:lnTo>
                  <a:lnTo>
                    <a:pt x="295719" y="101955"/>
                  </a:lnTo>
                  <a:lnTo>
                    <a:pt x="316992" y="141744"/>
                  </a:lnTo>
                  <a:lnTo>
                    <a:pt x="344284" y="177279"/>
                  </a:lnTo>
                  <a:lnTo>
                    <a:pt x="376923" y="207873"/>
                  </a:lnTo>
                  <a:lnTo>
                    <a:pt x="414235" y="232854"/>
                  </a:lnTo>
                  <a:lnTo>
                    <a:pt x="455549" y="251548"/>
                  </a:lnTo>
                  <a:lnTo>
                    <a:pt x="500164" y="263258"/>
                  </a:lnTo>
                  <a:lnTo>
                    <a:pt x="548081" y="267309"/>
                  </a:lnTo>
                  <a:close/>
                </a:path>
              </a:pathLst>
            </a:custGeom>
            <a:solidFill>
              <a:srgbClr val="2DB7EA"/>
            </a:solidFill>
          </p:spPr>
          <p:txBody>
            <a:bodyPr wrap="square" lIns="0" tIns="0" rIns="0" bIns="0" rtlCol="0"/>
            <a:lstStyle/>
            <a:p>
              <a:endParaRPr dirty="0"/>
            </a:p>
          </p:txBody>
        </p:sp>
        <p:pic>
          <p:nvPicPr>
            <p:cNvPr id="380" name="object 378">
              <a:extLst>
                <a:ext uri="{FF2B5EF4-FFF2-40B4-BE49-F238E27FC236}">
                  <a16:creationId xmlns:a16="http://schemas.microsoft.com/office/drawing/2014/main" id="{608ECE14-C837-6848-3135-0B7BE940A54A}"/>
                </a:ext>
              </a:extLst>
            </p:cNvPr>
            <p:cNvPicPr/>
            <p:nvPr/>
          </p:nvPicPr>
          <p:blipFill>
            <a:blip r:embed="rId8" cstate="print"/>
            <a:stretch>
              <a:fillRect/>
            </a:stretch>
          </p:blipFill>
          <p:spPr>
            <a:xfrm>
              <a:off x="9637261" y="393572"/>
              <a:ext cx="106445" cy="107156"/>
            </a:xfrm>
            <a:prstGeom prst="rect">
              <a:avLst/>
            </a:prstGeom>
          </p:spPr>
        </p:pic>
        <p:sp>
          <p:nvSpPr>
            <p:cNvPr id="381" name="object 379">
              <a:extLst>
                <a:ext uri="{FF2B5EF4-FFF2-40B4-BE49-F238E27FC236}">
                  <a16:creationId xmlns:a16="http://schemas.microsoft.com/office/drawing/2014/main" id="{A115FC61-57A7-12DD-5F7A-2236CCD061A7}"/>
                </a:ext>
              </a:extLst>
            </p:cNvPr>
            <p:cNvSpPr/>
            <p:nvPr/>
          </p:nvSpPr>
          <p:spPr>
            <a:xfrm>
              <a:off x="9523993" y="592039"/>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78" y="581926"/>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47"/>
                  </a:lnTo>
                  <a:lnTo>
                    <a:pt x="66802" y="613664"/>
                  </a:lnTo>
                  <a:lnTo>
                    <a:pt x="39712" y="650760"/>
                  </a:lnTo>
                  <a:lnTo>
                    <a:pt x="19062" y="692226"/>
                  </a:lnTo>
                  <a:lnTo>
                    <a:pt x="5575" y="737323"/>
                  </a:lnTo>
                  <a:lnTo>
                    <a:pt x="0" y="785304"/>
                  </a:lnTo>
                  <a:lnTo>
                    <a:pt x="47713" y="781278"/>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52"/>
                  </a:moveTo>
                  <a:lnTo>
                    <a:pt x="542632" y="472694"/>
                  </a:lnTo>
                  <a:lnTo>
                    <a:pt x="529234" y="427431"/>
                  </a:lnTo>
                  <a:lnTo>
                    <a:pt x="508622" y="385800"/>
                  </a:lnTo>
                  <a:lnTo>
                    <a:pt x="481520" y="348551"/>
                  </a:lnTo>
                  <a:lnTo>
                    <a:pt x="448678" y="316395"/>
                  </a:lnTo>
                  <a:lnTo>
                    <a:pt x="410832" y="290080"/>
                  </a:lnTo>
                  <a:lnTo>
                    <a:pt x="368693" y="270357"/>
                  </a:lnTo>
                  <a:lnTo>
                    <a:pt x="323024" y="257924"/>
                  </a:lnTo>
                  <a:lnTo>
                    <a:pt x="274561" y="253555"/>
                  </a:lnTo>
                  <a:lnTo>
                    <a:pt x="273329" y="253555"/>
                  </a:lnTo>
                  <a:lnTo>
                    <a:pt x="224993" y="257911"/>
                  </a:lnTo>
                  <a:lnTo>
                    <a:pt x="179438" y="270281"/>
                  </a:lnTo>
                  <a:lnTo>
                    <a:pt x="137401" y="289915"/>
                  </a:lnTo>
                  <a:lnTo>
                    <a:pt x="99606" y="316115"/>
                  </a:lnTo>
                  <a:lnTo>
                    <a:pt x="66802" y="348132"/>
                  </a:lnTo>
                  <a:lnTo>
                    <a:pt x="39712" y="385229"/>
                  </a:lnTo>
                  <a:lnTo>
                    <a:pt x="19062" y="426694"/>
                  </a:lnTo>
                  <a:lnTo>
                    <a:pt x="5575" y="471779"/>
                  </a:lnTo>
                  <a:lnTo>
                    <a:pt x="0" y="519772"/>
                  </a:lnTo>
                  <a:lnTo>
                    <a:pt x="47713" y="515734"/>
                  </a:lnTo>
                  <a:lnTo>
                    <a:pt x="92240" y="504088"/>
                  </a:lnTo>
                  <a:lnTo>
                    <a:pt x="133464" y="485482"/>
                  </a:lnTo>
                  <a:lnTo>
                    <a:pt x="170738" y="460616"/>
                  </a:lnTo>
                  <a:lnTo>
                    <a:pt x="203352" y="430149"/>
                  </a:lnTo>
                  <a:lnTo>
                    <a:pt x="230670" y="394766"/>
                  </a:lnTo>
                  <a:lnTo>
                    <a:pt x="251993" y="355142"/>
                  </a:lnTo>
                  <a:lnTo>
                    <a:pt x="266661" y="311937"/>
                  </a:lnTo>
                  <a:lnTo>
                    <a:pt x="273989" y="265861"/>
                  </a:lnTo>
                  <a:lnTo>
                    <a:pt x="281165" y="312127"/>
                  </a:lnTo>
                  <a:lnTo>
                    <a:pt x="295719" y="355498"/>
                  </a:lnTo>
                  <a:lnTo>
                    <a:pt x="316992" y="395300"/>
                  </a:lnTo>
                  <a:lnTo>
                    <a:pt x="344284" y="430834"/>
                  </a:lnTo>
                  <a:lnTo>
                    <a:pt x="376923" y="461429"/>
                  </a:lnTo>
                  <a:lnTo>
                    <a:pt x="414235" y="486410"/>
                  </a:lnTo>
                  <a:lnTo>
                    <a:pt x="455549" y="505091"/>
                  </a:lnTo>
                  <a:lnTo>
                    <a:pt x="500164" y="516801"/>
                  </a:lnTo>
                  <a:lnTo>
                    <a:pt x="548081" y="520852"/>
                  </a:lnTo>
                  <a:close/>
                </a:path>
                <a:path w="548640" h="786764">
                  <a:moveTo>
                    <a:pt x="548081" y="267322"/>
                  </a:moveTo>
                  <a:lnTo>
                    <a:pt x="542632" y="219138"/>
                  </a:lnTo>
                  <a:lnTo>
                    <a:pt x="529234" y="173875"/>
                  </a:lnTo>
                  <a:lnTo>
                    <a:pt x="508622" y="132245"/>
                  </a:lnTo>
                  <a:lnTo>
                    <a:pt x="481533" y="94996"/>
                  </a:lnTo>
                  <a:lnTo>
                    <a:pt x="480834" y="94322"/>
                  </a:lnTo>
                  <a:lnTo>
                    <a:pt x="448691" y="62839"/>
                  </a:lnTo>
                  <a:lnTo>
                    <a:pt x="433158" y="52057"/>
                  </a:lnTo>
                  <a:lnTo>
                    <a:pt x="410832" y="36537"/>
                  </a:lnTo>
                  <a:lnTo>
                    <a:pt x="368693" y="16789"/>
                  </a:lnTo>
                  <a:lnTo>
                    <a:pt x="323024" y="4368"/>
                  </a:lnTo>
                  <a:lnTo>
                    <a:pt x="274561" y="12"/>
                  </a:lnTo>
                  <a:lnTo>
                    <a:pt x="273329" y="0"/>
                  </a:lnTo>
                  <a:lnTo>
                    <a:pt x="224993" y="4356"/>
                  </a:lnTo>
                  <a:lnTo>
                    <a:pt x="179438" y="16713"/>
                  </a:lnTo>
                  <a:lnTo>
                    <a:pt x="137401" y="36360"/>
                  </a:lnTo>
                  <a:lnTo>
                    <a:pt x="99606" y="62560"/>
                  </a:lnTo>
                  <a:lnTo>
                    <a:pt x="66802" y="94576"/>
                  </a:lnTo>
                  <a:lnTo>
                    <a:pt x="39687" y="131686"/>
                  </a:lnTo>
                  <a:lnTo>
                    <a:pt x="19037" y="173139"/>
                  </a:lnTo>
                  <a:lnTo>
                    <a:pt x="5562" y="218211"/>
                  </a:lnTo>
                  <a:lnTo>
                    <a:pt x="0" y="266192"/>
                  </a:lnTo>
                  <a:lnTo>
                    <a:pt x="47713" y="262178"/>
                  </a:lnTo>
                  <a:lnTo>
                    <a:pt x="92240" y="250520"/>
                  </a:lnTo>
                  <a:lnTo>
                    <a:pt x="133464" y="231927"/>
                  </a:lnTo>
                  <a:lnTo>
                    <a:pt x="170738" y="207048"/>
                  </a:lnTo>
                  <a:lnTo>
                    <a:pt x="203365" y="176593"/>
                  </a:lnTo>
                  <a:lnTo>
                    <a:pt x="230670" y="141211"/>
                  </a:lnTo>
                  <a:lnTo>
                    <a:pt x="252006" y="101587"/>
                  </a:lnTo>
                  <a:lnTo>
                    <a:pt x="266661" y="58407"/>
                  </a:lnTo>
                  <a:lnTo>
                    <a:pt x="273989" y="12357"/>
                  </a:lnTo>
                  <a:lnTo>
                    <a:pt x="281165" y="58572"/>
                  </a:lnTo>
                  <a:lnTo>
                    <a:pt x="295719" y="101942"/>
                  </a:lnTo>
                  <a:lnTo>
                    <a:pt x="316992" y="141732"/>
                  </a:lnTo>
                  <a:lnTo>
                    <a:pt x="344284" y="177266"/>
                  </a:lnTo>
                  <a:lnTo>
                    <a:pt x="376923" y="207873"/>
                  </a:lnTo>
                  <a:lnTo>
                    <a:pt x="414235" y="232854"/>
                  </a:lnTo>
                  <a:lnTo>
                    <a:pt x="455549" y="251548"/>
                  </a:lnTo>
                  <a:lnTo>
                    <a:pt x="500176" y="263258"/>
                  </a:lnTo>
                  <a:lnTo>
                    <a:pt x="548081" y="267322"/>
                  </a:lnTo>
                  <a:close/>
                </a:path>
              </a:pathLst>
            </a:custGeom>
            <a:solidFill>
              <a:srgbClr val="7ED3F1"/>
            </a:solidFill>
          </p:spPr>
          <p:txBody>
            <a:bodyPr wrap="square" lIns="0" tIns="0" rIns="0" bIns="0" rtlCol="0"/>
            <a:lstStyle/>
            <a:p>
              <a:endParaRPr dirty="0"/>
            </a:p>
          </p:txBody>
        </p:sp>
        <p:pic>
          <p:nvPicPr>
            <p:cNvPr id="382" name="object 380">
              <a:extLst>
                <a:ext uri="{FF2B5EF4-FFF2-40B4-BE49-F238E27FC236}">
                  <a16:creationId xmlns:a16="http://schemas.microsoft.com/office/drawing/2014/main" id="{E997FFEB-A262-060A-33AF-A6385A678DDA}"/>
                </a:ext>
              </a:extLst>
            </p:cNvPr>
            <p:cNvPicPr/>
            <p:nvPr/>
          </p:nvPicPr>
          <p:blipFill>
            <a:blip r:embed="rId9" cstate="print"/>
            <a:stretch>
              <a:fillRect/>
            </a:stretch>
          </p:blipFill>
          <p:spPr>
            <a:xfrm>
              <a:off x="9637261" y="1047738"/>
              <a:ext cx="106445" cy="107156"/>
            </a:xfrm>
            <a:prstGeom prst="rect">
              <a:avLst/>
            </a:prstGeom>
          </p:spPr>
        </p:pic>
      </p:grpSp>
    </p:spTree>
    <p:extLst>
      <p:ext uri="{BB962C8B-B14F-4D97-AF65-F5344CB8AC3E}">
        <p14:creationId xmlns:p14="http://schemas.microsoft.com/office/powerpoint/2010/main" val="33797796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5D968CC-E508-6904-3133-227617806207}"/>
              </a:ext>
            </a:extLst>
          </p:cNvPr>
          <p:cNvGraphicFramePr>
            <a:graphicFrameLocks noChangeAspect="1"/>
          </p:cNvGraphicFramePr>
          <p:nvPr userDrawn="1">
            <p:custDataLst>
              <p:tags r:id="rId1"/>
            </p:custDataLst>
            <p:extLst>
              <p:ext uri="{D42A27DB-BD31-4B8C-83A1-F6EECF244321}">
                <p14:modId xmlns:p14="http://schemas.microsoft.com/office/powerpoint/2010/main" val="4082956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6" name="think-cell data - do not delete" hidden="1">
                        <a:extLst>
                          <a:ext uri="{FF2B5EF4-FFF2-40B4-BE49-F238E27FC236}">
                            <a16:creationId xmlns:a16="http://schemas.microsoft.com/office/drawing/2014/main" id="{45D968CC-E508-6904-3133-2276178062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Content Left"/>
          <p:cNvSpPr>
            <a:spLocks noGrp="1"/>
          </p:cNvSpPr>
          <p:nvPr>
            <p:ph idx="11"/>
          </p:nvPr>
        </p:nvSpPr>
        <p:spPr>
          <a:xfrm>
            <a:off x="457200" y="1472184"/>
            <a:ext cx="5410200" cy="492861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24600" y="1472184"/>
            <a:ext cx="5410198" cy="492861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411603010"/>
      </p:ext>
    </p:extLst>
  </p:cSld>
  <p:clrMapOvr>
    <a:masterClrMapping/>
  </p:clrMapOvr>
  <p:extLst>
    <p:ext uri="{DCECCB84-F9BA-43D5-87BE-67443E8EF086}">
      <p15:sldGuideLst xmlns:p15="http://schemas.microsoft.com/office/powerpoint/2012/main">
        <p15:guide id="1" orient="horz" pos="927">
          <p15:clr>
            <a:srgbClr val="FBAE40"/>
          </p15:clr>
        </p15:guide>
        <p15:guide id="2" pos="3696">
          <p15:clr>
            <a:srgbClr val="FBAE40"/>
          </p15:clr>
        </p15:guide>
        <p15:guide id="5" pos="398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D95DE11-F0EA-1BFD-3E0A-481778D6CF25}"/>
              </a:ext>
            </a:extLst>
          </p:cNvPr>
          <p:cNvGraphicFramePr>
            <a:graphicFrameLocks noChangeAspect="1"/>
          </p:cNvGraphicFramePr>
          <p:nvPr userDrawn="1">
            <p:custDataLst>
              <p:tags r:id="rId1"/>
            </p:custDataLst>
            <p:extLst>
              <p:ext uri="{D42A27DB-BD31-4B8C-83A1-F6EECF244321}">
                <p14:modId xmlns:p14="http://schemas.microsoft.com/office/powerpoint/2010/main" val="1250062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6" name="think-cell data - do not delete" hidden="1">
                        <a:extLst>
                          <a:ext uri="{FF2B5EF4-FFF2-40B4-BE49-F238E27FC236}">
                            <a16:creationId xmlns:a16="http://schemas.microsoft.com/office/drawing/2014/main" id="{ED95DE11-F0EA-1BFD-3E0A-481778D6CF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p:cNvSpPr>
            <a:spLocks noGrp="1"/>
          </p:cNvSpPr>
          <p:nvPr>
            <p:ph type="body" idx="10" hasCustomPrompt="1"/>
          </p:nvPr>
        </p:nvSpPr>
        <p:spPr>
          <a:xfrm>
            <a:off x="457200" y="1472184"/>
            <a:ext cx="54102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6324600" y="1472184"/>
            <a:ext cx="5410198"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871309506"/>
      </p:ext>
    </p:extLst>
  </p:cSld>
  <p:clrMapOvr>
    <a:masterClrMapping/>
  </p:clrMapOvr>
  <p:extLst>
    <p:ext uri="{DCECCB84-F9BA-43D5-87BE-67443E8EF086}">
      <p15:sldGuideLst xmlns:p15="http://schemas.microsoft.com/office/powerpoint/2012/main">
        <p15:guide id="5" orient="horz" pos="926">
          <p15:clr>
            <a:srgbClr val="FBAE40"/>
          </p15:clr>
        </p15:guide>
        <p15:guide id="6" pos="3696">
          <p15:clr>
            <a:srgbClr val="FBAE40"/>
          </p15:clr>
        </p15:guide>
        <p15:guide id="7" pos="3984">
          <p15:clr>
            <a:srgbClr val="FBAE40"/>
          </p15:clr>
        </p15:guide>
        <p15:guide id="9" orient="horz" pos="123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ED3BDA6-C6BE-86BF-C268-749C5E568327}"/>
              </a:ext>
            </a:extLst>
          </p:cNvPr>
          <p:cNvGraphicFramePr>
            <a:graphicFrameLocks noChangeAspect="1"/>
          </p:cNvGraphicFramePr>
          <p:nvPr userDrawn="1">
            <p:custDataLst>
              <p:tags r:id="rId1"/>
            </p:custDataLst>
            <p:extLst>
              <p:ext uri="{D42A27DB-BD31-4B8C-83A1-F6EECF244321}">
                <p14:modId xmlns:p14="http://schemas.microsoft.com/office/powerpoint/2010/main" val="2847022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2ED3BDA6-C6BE-86BF-C268-749C5E5683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p:cNvSpPr>
            <a:spLocks noGrp="1"/>
          </p:cNvSpPr>
          <p:nvPr>
            <p:ph type="body" idx="10" hasCustomPrompt="1"/>
          </p:nvPr>
        </p:nvSpPr>
        <p:spPr>
          <a:xfrm>
            <a:off x="457200" y="1472184"/>
            <a:ext cx="5410200" cy="429768"/>
          </a:xfrm>
        </p:spPr>
        <p:txBody>
          <a:bodyPr/>
          <a:lstStyle>
            <a:lvl1pPr marL="0" indent="0">
              <a:spcBef>
                <a:spcPts val="0"/>
              </a:spcBef>
              <a:buFont typeface="Arial" panose="020B0604020202020204" pitchFamily="34" charset="0"/>
              <a:buChar char="​"/>
              <a:defRPr sz="1400" b="1" baseline="0">
                <a:solidFill>
                  <a:schemeClr val="tx1"/>
                </a:solidFill>
                <a:latin typeface="Figtree Medium" pitchFamily="2" charset="0"/>
              </a:defRPr>
            </a:lvl1pPr>
            <a:lvl2pPr marL="285750" indent="-285750">
              <a:spcBef>
                <a:spcPts val="0"/>
              </a:spcBef>
              <a:buFont typeface="Arial" panose="020B0604020202020204" pitchFamily="34" charset="0"/>
              <a:buChar char="​"/>
              <a:defRPr sz="1400" kern="0" dirty="0">
                <a:solidFill>
                  <a:schemeClr val="tx1"/>
                </a:solidFill>
                <a:latin typeface="Figtree Medium" pitchFamily="2" charset="0"/>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marL="0" lvl="1" indent="0" algn="l" defTabSz="914370" rtl="0" eaLnBrk="1" latinLnBrk="0" hangingPunct="1">
              <a:spcBef>
                <a:spcPts val="0"/>
              </a:spcBef>
              <a:buFont typeface="Arial" panose="020B0604020202020204" pitchFamily="34" charset="0"/>
              <a:buChar char="​"/>
            </a:pPr>
            <a:r>
              <a:t>Subheading 14 pt</a:t>
            </a:r>
          </a:p>
        </p:txBody>
      </p:sp>
      <p:sp>
        <p:nvSpPr>
          <p:cNvPr id="4" name="Content Left"/>
          <p:cNvSpPr>
            <a:spLocks noGrp="1"/>
          </p:cNvSpPr>
          <p:nvPr>
            <p:ph sz="half" idx="11"/>
          </p:nvPr>
        </p:nvSpPr>
        <p:spPr>
          <a:xfrm>
            <a:off x="457200" y="1956816"/>
            <a:ext cx="54102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24600" y="1472184"/>
            <a:ext cx="5410200" cy="429768"/>
          </a:xfrm>
        </p:spPr>
        <p:txBody>
          <a:bodyPr/>
          <a:lstStyle>
            <a:lvl1pPr marL="0" indent="0">
              <a:spcBef>
                <a:spcPts val="0"/>
              </a:spcBef>
              <a:buFont typeface="Arial" panose="020B0604020202020204" pitchFamily="34" charset="0"/>
              <a:buChar char="​"/>
              <a:defRPr sz="1400" b="1" baseline="0">
                <a:solidFill>
                  <a:schemeClr val="tx1"/>
                </a:solidFill>
                <a:latin typeface="Figtree Medium" pitchFamily="2" charset="0"/>
              </a:defRPr>
            </a:lvl1pPr>
            <a:lvl2pPr marL="285750" indent="-285750">
              <a:spcBef>
                <a:spcPts val="0"/>
              </a:spcBef>
              <a:buFont typeface="Arial" panose="020B0604020202020204" pitchFamily="34" charset="0"/>
              <a:buChar char="​"/>
              <a:defRPr sz="1400" kern="0" dirty="0">
                <a:solidFill>
                  <a:schemeClr val="tx1"/>
                </a:solidFill>
                <a:latin typeface="Figtree Medium" pitchFamily="2" charset="0"/>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marL="0" lvl="1" indent="0" algn="l" defTabSz="914370" rtl="0" eaLnBrk="1" latinLnBrk="0" hangingPunct="1">
              <a:spcBef>
                <a:spcPts val="0"/>
              </a:spcBef>
              <a:buFont typeface="Arial" panose="020B0604020202020204" pitchFamily="34" charset="0"/>
              <a:buChar char="​"/>
            </a:pPr>
            <a:r>
              <a:t>Subheading 14 pt</a:t>
            </a:r>
          </a:p>
        </p:txBody>
      </p:sp>
      <p:sp>
        <p:nvSpPr>
          <p:cNvPr id="6" name="Content Right"/>
          <p:cNvSpPr>
            <a:spLocks noGrp="1"/>
          </p:cNvSpPr>
          <p:nvPr>
            <p:ph sz="quarter" idx="12"/>
          </p:nvPr>
        </p:nvSpPr>
        <p:spPr>
          <a:xfrm>
            <a:off x="6324600" y="1956816"/>
            <a:ext cx="54102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521241342"/>
      </p:ext>
    </p:extLst>
  </p:cSld>
  <p:clrMapOvr>
    <a:masterClrMapping/>
  </p:clrMapOvr>
  <p:extLst>
    <p:ext uri="{DCECCB84-F9BA-43D5-87BE-67443E8EF086}">
      <p15:sldGuideLst xmlns:p15="http://schemas.microsoft.com/office/powerpoint/2012/main">
        <p15:guide id="5" orient="horz" pos="926">
          <p15:clr>
            <a:srgbClr val="FBAE40"/>
          </p15:clr>
        </p15:guide>
        <p15:guide id="6" pos="3696">
          <p15:clr>
            <a:srgbClr val="FBAE40"/>
          </p15:clr>
        </p15:guide>
        <p15:guide id="7" pos="3984">
          <p15:clr>
            <a:srgbClr val="FBAE40"/>
          </p15:clr>
        </p15:guide>
        <p15:guide id="9" orient="horz" pos="123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0CBA141-D345-DE09-CD75-2512875265E5}"/>
              </a:ext>
            </a:extLst>
          </p:cNvPr>
          <p:cNvGraphicFramePr>
            <a:graphicFrameLocks noChangeAspect="1"/>
          </p:cNvGraphicFramePr>
          <p:nvPr userDrawn="1">
            <p:custDataLst>
              <p:tags r:id="rId1"/>
            </p:custDataLst>
            <p:extLst>
              <p:ext uri="{D42A27DB-BD31-4B8C-83A1-F6EECF244321}">
                <p14:modId xmlns:p14="http://schemas.microsoft.com/office/powerpoint/2010/main" val="1017936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50CBA141-D345-DE09-CD75-2512875265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Top"/>
          <p:cNvSpPr>
            <a:spLocks noGrp="1"/>
          </p:cNvSpPr>
          <p:nvPr>
            <p:ph type="body" idx="10" hasCustomPrompt="1"/>
          </p:nvPr>
        </p:nvSpPr>
        <p:spPr>
          <a:xfrm>
            <a:off x="457200" y="1472184"/>
            <a:ext cx="112776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kern="0" dirty="0">
                <a:solidFill>
                  <a:schemeClr val="tx1"/>
                </a:solidFill>
                <a:latin typeface="Figtree Medium" pitchFamily="2" charset="0"/>
                <a:ea typeface="+mn-ea"/>
                <a:cs typeface="+mn-cs"/>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4" name="Content Top"/>
          <p:cNvSpPr>
            <a:spLocks noGrp="1"/>
          </p:cNvSpPr>
          <p:nvPr>
            <p:ph idx="11"/>
          </p:nvPr>
        </p:nvSpPr>
        <p:spPr>
          <a:xfrm>
            <a:off x="457200" y="1956816"/>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112776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285750" indent="-285750">
              <a:spcBef>
                <a:spcPts val="0"/>
              </a:spcBef>
              <a:buFont typeface="Arial" panose="020B0604020202020204" pitchFamily="34" charset="0"/>
              <a:buChar char="​"/>
              <a:defRPr sz="1400" kern="0" dirty="0">
                <a:solidFill>
                  <a:schemeClr val="tx1"/>
                </a:solidFill>
                <a:latin typeface="Figtree Medium" pitchFamily="2" charset="0"/>
                <a:ea typeface="+mn-ea"/>
                <a:cs typeface="+mn-cs"/>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marL="0" lvl="1" indent="0" algn="l" defTabSz="914370" rtl="0" eaLnBrk="1" latinLnBrk="0" hangingPunct="1">
              <a:spcBef>
                <a:spcPts val="0"/>
              </a:spcBef>
              <a:buFont typeface="Arial" panose="020B0604020202020204" pitchFamily="34" charset="0"/>
              <a:buChar char="​"/>
            </a:pPr>
            <a:r>
              <a:t>Subheading 14 pt</a:t>
            </a:r>
          </a:p>
        </p:txBody>
      </p:sp>
      <p:sp>
        <p:nvSpPr>
          <p:cNvPr id="6" name="Content Bottom"/>
          <p:cNvSpPr>
            <a:spLocks noGrp="1"/>
          </p:cNvSpPr>
          <p:nvPr>
            <p:ph idx="12"/>
          </p:nvPr>
        </p:nvSpPr>
        <p:spPr>
          <a:xfrm>
            <a:off x="457200" y="448970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079041374"/>
      </p:ext>
    </p:extLst>
  </p:cSld>
  <p:clrMapOvr>
    <a:masterClrMapping/>
  </p:clrMapOvr>
  <p:extLst>
    <p:ext uri="{DCECCB84-F9BA-43D5-87BE-67443E8EF086}">
      <p15:sldGuideLst xmlns:p15="http://schemas.microsoft.com/office/powerpoint/2012/main">
        <p15:guide id="3" orient="horz" pos="2523">
          <p15:clr>
            <a:srgbClr val="FBAE40"/>
          </p15:clr>
        </p15:guide>
        <p15:guide id="5" orient="horz" pos="926">
          <p15:clr>
            <a:srgbClr val="FBAE40"/>
          </p15:clr>
        </p15:guide>
        <p15:guide id="6" orient="horz" pos="2832">
          <p15:clr>
            <a:srgbClr val="FBAE40"/>
          </p15:clr>
        </p15:guide>
        <p15:guide id="8" orient="horz" pos="123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5DB1726-D6AC-D5C3-068C-DB33A67884E5}"/>
              </a:ext>
            </a:extLst>
          </p:cNvPr>
          <p:cNvGraphicFramePr>
            <a:graphicFrameLocks noChangeAspect="1"/>
          </p:cNvGraphicFramePr>
          <p:nvPr userDrawn="1">
            <p:custDataLst>
              <p:tags r:id="rId1"/>
            </p:custDataLst>
            <p:extLst>
              <p:ext uri="{D42A27DB-BD31-4B8C-83A1-F6EECF244321}">
                <p14:modId xmlns:p14="http://schemas.microsoft.com/office/powerpoint/2010/main" val="3202860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A5DB1726-D6AC-D5C3-068C-DB33A67884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p:cNvSpPr>
            <a:spLocks noGrp="1"/>
          </p:cNvSpPr>
          <p:nvPr>
            <p:ph type="body" idx="10" hasCustomPrompt="1"/>
          </p:nvPr>
        </p:nvSpPr>
        <p:spPr>
          <a:xfrm>
            <a:off x="457200"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956816"/>
            <a:ext cx="34544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368799" y="1472184"/>
            <a:ext cx="73660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368799" y="1956816"/>
            <a:ext cx="73660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972314698"/>
      </p:ext>
    </p:extLst>
  </p:cSld>
  <p:clrMapOvr>
    <a:masterClrMapping/>
  </p:clrMapOvr>
  <p:extLst>
    <p:ext uri="{DCECCB84-F9BA-43D5-87BE-67443E8EF086}">
      <p15:sldGuideLst xmlns:p15="http://schemas.microsoft.com/office/powerpoint/2012/main">
        <p15:guide id="5" orient="horz" pos="926">
          <p15:clr>
            <a:srgbClr val="FBAE40"/>
          </p15:clr>
        </p15:guide>
        <p15:guide id="6" pos="2464">
          <p15:clr>
            <a:srgbClr val="FBAE40"/>
          </p15:clr>
        </p15:guide>
        <p15:guide id="7" pos="2752">
          <p15:clr>
            <a:srgbClr val="FBAE40"/>
          </p15:clr>
        </p15:guide>
        <p15:guide id="9" orient="horz" pos="123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1B44C4F-0422-E351-7EAD-4367B78A6816}"/>
              </a:ext>
            </a:extLst>
          </p:cNvPr>
          <p:cNvGraphicFramePr>
            <a:graphicFrameLocks noChangeAspect="1"/>
          </p:cNvGraphicFramePr>
          <p:nvPr userDrawn="1">
            <p:custDataLst>
              <p:tags r:id="rId1"/>
            </p:custDataLst>
            <p:extLst>
              <p:ext uri="{D42A27DB-BD31-4B8C-83A1-F6EECF244321}">
                <p14:modId xmlns:p14="http://schemas.microsoft.com/office/powerpoint/2010/main" val="1880204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31B44C4F-0422-E351-7EAD-4367B78A68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p:cNvSpPr>
            <a:spLocks noGrp="1"/>
          </p:cNvSpPr>
          <p:nvPr>
            <p:ph type="body" idx="10" hasCustomPrompt="1"/>
          </p:nvPr>
        </p:nvSpPr>
        <p:spPr>
          <a:xfrm>
            <a:off x="457199" y="1472184"/>
            <a:ext cx="73660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199" y="1956816"/>
            <a:ext cx="73660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280400"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280400" y="1956816"/>
            <a:ext cx="34544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030507725"/>
      </p:ext>
    </p:extLst>
  </p:cSld>
  <p:clrMapOvr>
    <a:masterClrMapping/>
  </p:clrMapOvr>
  <p:extLst>
    <p:ext uri="{DCECCB84-F9BA-43D5-87BE-67443E8EF086}">
      <p15:sldGuideLst xmlns:p15="http://schemas.microsoft.com/office/powerpoint/2012/main">
        <p15:guide id="5" orient="horz" pos="926">
          <p15:clr>
            <a:srgbClr val="FBAE40"/>
          </p15:clr>
        </p15:guide>
        <p15:guide id="6" pos="4928">
          <p15:clr>
            <a:srgbClr val="FBAE40"/>
          </p15:clr>
        </p15:guide>
        <p15:guide id="7" pos="5216">
          <p15:clr>
            <a:srgbClr val="FBAE40"/>
          </p15:clr>
        </p15:guide>
        <p15:guide id="9" orient="horz" pos="123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187A9D9-9AAC-8C44-9FEA-4F1B2900CD73}"/>
              </a:ext>
            </a:extLst>
          </p:cNvPr>
          <p:cNvGraphicFramePr>
            <a:graphicFrameLocks noChangeAspect="1"/>
          </p:cNvGraphicFramePr>
          <p:nvPr userDrawn="1">
            <p:custDataLst>
              <p:tags r:id="rId1"/>
            </p:custDataLst>
            <p:extLst>
              <p:ext uri="{D42A27DB-BD31-4B8C-83A1-F6EECF244321}">
                <p14:modId xmlns:p14="http://schemas.microsoft.com/office/powerpoint/2010/main" val="1910680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6187A9D9-9AAC-8C44-9FEA-4F1B2900CD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p:cNvSpPr>
            <a:spLocks noGrp="1"/>
          </p:cNvSpPr>
          <p:nvPr>
            <p:ph type="body" idx="10" hasCustomPrompt="1"/>
          </p:nvPr>
        </p:nvSpPr>
        <p:spPr>
          <a:xfrm>
            <a:off x="457200" y="1472184"/>
            <a:ext cx="112776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01683157"/>
      </p:ext>
    </p:extLst>
  </p:cSld>
  <p:clrMapOvr>
    <a:masterClrMapping/>
  </p:clrMapOvr>
  <p:extLst>
    <p:ext uri="{DCECCB84-F9BA-43D5-87BE-67443E8EF086}">
      <p15:sldGuideLst xmlns:p15="http://schemas.microsoft.com/office/powerpoint/2012/main">
        <p15:guide id="3" orient="horz" pos="924" userDrawn="1">
          <p15:clr>
            <a:srgbClr val="FBAE40"/>
          </p15:clr>
        </p15:guide>
        <p15:guide id="5" orient="horz" pos="1232"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9A6CA13-687B-F439-0B77-C71E90C3A2FC}"/>
              </a:ext>
            </a:extLst>
          </p:cNvPr>
          <p:cNvGraphicFramePr>
            <a:graphicFrameLocks noChangeAspect="1"/>
          </p:cNvGraphicFramePr>
          <p:nvPr userDrawn="1">
            <p:custDataLst>
              <p:tags r:id="rId1"/>
            </p:custDataLst>
            <p:extLst>
              <p:ext uri="{D42A27DB-BD31-4B8C-83A1-F6EECF244321}">
                <p14:modId xmlns:p14="http://schemas.microsoft.com/office/powerpoint/2010/main" val="105754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B9A6CA13-687B-F439-0B77-C71E90C3A2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4" name="Content Left"/>
          <p:cNvSpPr>
            <a:spLocks noGrp="1"/>
          </p:cNvSpPr>
          <p:nvPr>
            <p:ph sz="half" idx="11"/>
          </p:nvPr>
        </p:nvSpPr>
        <p:spPr>
          <a:xfrm>
            <a:off x="457200" y="1472184"/>
            <a:ext cx="3454400" cy="492861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368799" y="1472184"/>
            <a:ext cx="3454400" cy="492861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280400" y="1472184"/>
            <a:ext cx="3454400" cy="492861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15615860"/>
      </p:ext>
    </p:extLst>
  </p:cSld>
  <p:clrMapOvr>
    <a:masterClrMapping/>
  </p:clrMapOvr>
  <p:extLst>
    <p:ext uri="{DCECCB84-F9BA-43D5-87BE-67443E8EF086}">
      <p15:sldGuideLst xmlns:p15="http://schemas.microsoft.com/office/powerpoint/2012/main">
        <p15:guide id="1" orient="horz" pos="927">
          <p15:clr>
            <a:srgbClr val="FBAE40"/>
          </p15:clr>
        </p15:guide>
        <p15:guide id="2" pos="5216">
          <p15:clr>
            <a:srgbClr val="FBAE40"/>
          </p15:clr>
        </p15:guide>
        <p15:guide id="4" pos="2752">
          <p15:clr>
            <a:srgbClr val="FBAE40"/>
          </p15:clr>
        </p15:guide>
        <p15:guide id="5" pos="4928">
          <p15:clr>
            <a:srgbClr val="FBAE40"/>
          </p15:clr>
        </p15:guide>
        <p15:guide id="6" pos="246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C17B1A8-EA34-E4F7-B510-3159BEAF39E2}"/>
              </a:ext>
            </a:extLst>
          </p:cNvPr>
          <p:cNvGraphicFramePr>
            <a:graphicFrameLocks noChangeAspect="1"/>
          </p:cNvGraphicFramePr>
          <p:nvPr userDrawn="1">
            <p:custDataLst>
              <p:tags r:id="rId1"/>
            </p:custDataLst>
            <p:extLst>
              <p:ext uri="{D42A27DB-BD31-4B8C-83A1-F6EECF244321}">
                <p14:modId xmlns:p14="http://schemas.microsoft.com/office/powerpoint/2010/main" val="721552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6" name="think-cell data - do not delete" hidden="1">
                        <a:extLst>
                          <a:ext uri="{FF2B5EF4-FFF2-40B4-BE49-F238E27FC236}">
                            <a16:creationId xmlns:a16="http://schemas.microsoft.com/office/drawing/2014/main" id="{6C17B1A8-EA34-E4F7-B510-3159BEAF39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p:cNvSpPr>
            <a:spLocks noGrp="1"/>
          </p:cNvSpPr>
          <p:nvPr>
            <p:ph type="body" idx="10" hasCustomPrompt="1"/>
          </p:nvPr>
        </p:nvSpPr>
        <p:spPr>
          <a:xfrm>
            <a:off x="457200"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368800" y="1472184"/>
            <a:ext cx="3454399"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280400"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731690930"/>
      </p:ext>
    </p:extLst>
  </p:cSld>
  <p:clrMapOvr>
    <a:masterClrMapping/>
  </p:clrMapOvr>
  <p:extLst>
    <p:ext uri="{DCECCB84-F9BA-43D5-87BE-67443E8EF086}">
      <p15:sldGuideLst xmlns:p15="http://schemas.microsoft.com/office/powerpoint/2012/main">
        <p15:guide id="7" orient="horz" pos="926">
          <p15:clr>
            <a:srgbClr val="FBAE40"/>
          </p15:clr>
        </p15:guide>
        <p15:guide id="8" pos="5216">
          <p15:clr>
            <a:srgbClr val="FBAE40"/>
          </p15:clr>
        </p15:guide>
        <p15:guide id="10" pos="2752">
          <p15:clr>
            <a:srgbClr val="FBAE40"/>
          </p15:clr>
        </p15:guide>
        <p15:guide id="11" pos="4928">
          <p15:clr>
            <a:srgbClr val="FBAE40"/>
          </p15:clr>
        </p15:guide>
        <p15:guide id="12" pos="2464">
          <p15:clr>
            <a:srgbClr val="FBAE40"/>
          </p15:clr>
        </p15:guide>
        <p15:guide id="14" orient="horz" pos="123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07A0AF4-13CB-2C51-07AB-819BAEA0BB54}"/>
              </a:ext>
            </a:extLst>
          </p:cNvPr>
          <p:cNvGraphicFramePr>
            <a:graphicFrameLocks noChangeAspect="1"/>
          </p:cNvGraphicFramePr>
          <p:nvPr userDrawn="1">
            <p:custDataLst>
              <p:tags r:id="rId1"/>
            </p:custDataLst>
            <p:extLst>
              <p:ext uri="{D42A27DB-BD31-4B8C-83A1-F6EECF244321}">
                <p14:modId xmlns:p14="http://schemas.microsoft.com/office/powerpoint/2010/main" val="2499679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0" name="think-cell data - do not delete" hidden="1">
                        <a:extLst>
                          <a:ext uri="{FF2B5EF4-FFF2-40B4-BE49-F238E27FC236}">
                            <a16:creationId xmlns:a16="http://schemas.microsoft.com/office/drawing/2014/main" id="{A07A0AF4-13CB-2C51-07AB-819BAEA0BB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p:cNvSpPr>
            <a:spLocks noGrp="1"/>
          </p:cNvSpPr>
          <p:nvPr>
            <p:ph type="body" idx="10" hasCustomPrompt="1"/>
          </p:nvPr>
        </p:nvSpPr>
        <p:spPr>
          <a:xfrm>
            <a:off x="457200"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956816"/>
            <a:ext cx="34544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368799" y="1956816"/>
            <a:ext cx="34544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280400" y="1956816"/>
            <a:ext cx="34544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959750471"/>
      </p:ext>
    </p:extLst>
  </p:cSld>
  <p:clrMapOvr>
    <a:masterClrMapping/>
  </p:clrMapOvr>
  <p:extLst>
    <p:ext uri="{DCECCB84-F9BA-43D5-87BE-67443E8EF086}">
      <p15:sldGuideLst xmlns:p15="http://schemas.microsoft.com/office/powerpoint/2012/main">
        <p15:guide id="7" orient="horz" pos="926">
          <p15:clr>
            <a:srgbClr val="FBAE40"/>
          </p15:clr>
        </p15:guide>
        <p15:guide id="8" pos="2464">
          <p15:clr>
            <a:srgbClr val="FBAE40"/>
          </p15:clr>
        </p15:guide>
        <p15:guide id="9" pos="2752">
          <p15:clr>
            <a:srgbClr val="FBAE40"/>
          </p15:clr>
        </p15:guide>
        <p15:guide id="10" pos="4928">
          <p15:clr>
            <a:srgbClr val="FBAE40"/>
          </p15:clr>
        </p15:guide>
        <p15:guide id="11" pos="5216">
          <p15:clr>
            <a:srgbClr val="FBAE40"/>
          </p15:clr>
        </p15:guide>
        <p15:guide id="13" orient="horz" pos="123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E8A2285-19B7-D7C0-7E50-0A3D2EB9E5B4}"/>
              </a:ext>
            </a:extLst>
          </p:cNvPr>
          <p:cNvGraphicFramePr>
            <a:graphicFrameLocks noChangeAspect="1"/>
          </p:cNvGraphicFramePr>
          <p:nvPr userDrawn="1">
            <p:custDataLst>
              <p:tags r:id="rId1"/>
            </p:custDataLst>
            <p:extLst>
              <p:ext uri="{D42A27DB-BD31-4B8C-83A1-F6EECF244321}">
                <p14:modId xmlns:p14="http://schemas.microsoft.com/office/powerpoint/2010/main" val="3456832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2" name="think-cell data - do not delete" hidden="1">
                        <a:extLst>
                          <a:ext uri="{FF2B5EF4-FFF2-40B4-BE49-F238E27FC236}">
                            <a16:creationId xmlns:a16="http://schemas.microsoft.com/office/drawing/2014/main" id="{4E8A2285-19B7-D7C0-7E50-0A3D2EB9E5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Top"/>
          <p:cNvSpPr>
            <a:spLocks noGrp="1"/>
          </p:cNvSpPr>
          <p:nvPr>
            <p:ph type="body" idx="10" hasCustomPrompt="1"/>
          </p:nvPr>
        </p:nvSpPr>
        <p:spPr>
          <a:xfrm>
            <a:off x="457199" y="1472184"/>
            <a:ext cx="24765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199" y="1956816"/>
            <a:ext cx="24765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3390900" y="1472184"/>
            <a:ext cx="24765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3390900" y="1956816"/>
            <a:ext cx="24765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6324600" y="1472184"/>
            <a:ext cx="24765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Right"/>
          <p:cNvSpPr>
            <a:spLocks noGrp="1"/>
          </p:cNvSpPr>
          <p:nvPr>
            <p:ph sz="quarter" idx="14"/>
          </p:nvPr>
        </p:nvSpPr>
        <p:spPr>
          <a:xfrm>
            <a:off x="6324600" y="1956816"/>
            <a:ext cx="24765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9258300" y="1472184"/>
            <a:ext cx="24765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p:cNvSpPr>
            <a:spLocks noGrp="1"/>
          </p:cNvSpPr>
          <p:nvPr>
            <p:ph sz="quarter" idx="16"/>
          </p:nvPr>
        </p:nvSpPr>
        <p:spPr>
          <a:xfrm>
            <a:off x="9258300" y="1956816"/>
            <a:ext cx="24765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528726474"/>
      </p:ext>
    </p:extLst>
  </p:cSld>
  <p:clrMapOvr>
    <a:masterClrMapping/>
  </p:clrMapOvr>
  <p:extLst>
    <p:ext uri="{DCECCB84-F9BA-43D5-87BE-67443E8EF086}">
      <p15:sldGuideLst xmlns:p15="http://schemas.microsoft.com/office/powerpoint/2012/main">
        <p15:guide id="5" orient="horz" pos="926">
          <p15:clr>
            <a:srgbClr val="FBAE40"/>
          </p15:clr>
        </p15:guide>
        <p15:guide id="10" pos="2136">
          <p15:clr>
            <a:srgbClr val="FBAE40"/>
          </p15:clr>
        </p15:guide>
        <p15:guide id="11" pos="3696">
          <p15:clr>
            <a:srgbClr val="FBAE40"/>
          </p15:clr>
        </p15:guide>
        <p15:guide id="12" pos="1848">
          <p15:clr>
            <a:srgbClr val="FBAE40"/>
          </p15:clr>
        </p15:guide>
        <p15:guide id="13" pos="3984">
          <p15:clr>
            <a:srgbClr val="FBAE40"/>
          </p15:clr>
        </p15:guide>
        <p15:guide id="14" pos="5544">
          <p15:clr>
            <a:srgbClr val="FBAE40"/>
          </p15:clr>
        </p15:guide>
        <p15:guide id="15" pos="5832">
          <p15:clr>
            <a:srgbClr val="FBAE40"/>
          </p15:clr>
        </p15:guide>
        <p15:guide id="17" orient="horz" pos="123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5 columns with headin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0F66999-5B15-9069-9E93-F619E0ABEF1F}"/>
              </a:ext>
            </a:extLst>
          </p:cNvPr>
          <p:cNvGraphicFramePr>
            <a:graphicFrameLocks noChangeAspect="1"/>
          </p:cNvGraphicFramePr>
          <p:nvPr userDrawn="1">
            <p:custDataLst>
              <p:tags r:id="rId1"/>
            </p:custDataLst>
            <p:extLst>
              <p:ext uri="{D42A27DB-BD31-4B8C-83A1-F6EECF244321}">
                <p14:modId xmlns:p14="http://schemas.microsoft.com/office/powerpoint/2010/main" val="4206320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2" name="think-cell data - do not delete" hidden="1">
                        <a:extLst>
                          <a:ext uri="{FF2B5EF4-FFF2-40B4-BE49-F238E27FC236}">
                            <a16:creationId xmlns:a16="http://schemas.microsoft.com/office/drawing/2014/main" id="{B0F66999-5B15-9069-9E93-F619E0ABEF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Top"/>
          <p:cNvSpPr>
            <a:spLocks noGrp="1"/>
          </p:cNvSpPr>
          <p:nvPr>
            <p:ph type="body" idx="10" hasCustomPrompt="1"/>
          </p:nvPr>
        </p:nvSpPr>
        <p:spPr>
          <a:xfrm>
            <a:off x="457200" y="1472184"/>
            <a:ext cx="18923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956816"/>
            <a:ext cx="18923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806700" y="1472184"/>
            <a:ext cx="18923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2806700" y="1956816"/>
            <a:ext cx="18923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p:cNvSpPr>
            <a:spLocks noGrp="1"/>
          </p:cNvSpPr>
          <p:nvPr>
            <p:ph type="body" idx="15" hasCustomPrompt="1"/>
          </p:nvPr>
        </p:nvSpPr>
        <p:spPr>
          <a:xfrm>
            <a:off x="5156200" y="1472184"/>
            <a:ext cx="18796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p:cNvSpPr>
            <a:spLocks noGrp="1"/>
          </p:cNvSpPr>
          <p:nvPr>
            <p:ph sz="quarter" idx="14"/>
          </p:nvPr>
        </p:nvSpPr>
        <p:spPr>
          <a:xfrm>
            <a:off x="5156200" y="1956816"/>
            <a:ext cx="18796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Middle Right"/>
          <p:cNvSpPr>
            <a:spLocks noGrp="1"/>
          </p:cNvSpPr>
          <p:nvPr>
            <p:ph type="body" idx="17" hasCustomPrompt="1"/>
          </p:nvPr>
        </p:nvSpPr>
        <p:spPr>
          <a:xfrm>
            <a:off x="7493000" y="1472184"/>
            <a:ext cx="18923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Middle Right"/>
          <p:cNvSpPr>
            <a:spLocks noGrp="1"/>
          </p:cNvSpPr>
          <p:nvPr>
            <p:ph sz="quarter" idx="16"/>
          </p:nvPr>
        </p:nvSpPr>
        <p:spPr>
          <a:xfrm>
            <a:off x="7493000" y="1956816"/>
            <a:ext cx="18923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Heading Right">
            <a:extLst>
              <a:ext uri="{FF2B5EF4-FFF2-40B4-BE49-F238E27FC236}">
                <a16:creationId xmlns:a16="http://schemas.microsoft.com/office/drawing/2014/main" id="{28D70AB5-46A8-4A97-AAB4-47C1BD4B837B}"/>
              </a:ext>
            </a:extLst>
          </p:cNvPr>
          <p:cNvSpPr>
            <a:spLocks noGrp="1"/>
          </p:cNvSpPr>
          <p:nvPr>
            <p:ph type="body" idx="18" hasCustomPrompt="1"/>
          </p:nvPr>
        </p:nvSpPr>
        <p:spPr>
          <a:xfrm>
            <a:off x="9842500" y="1472184"/>
            <a:ext cx="18923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21" name="Content Right">
            <a:extLst>
              <a:ext uri="{FF2B5EF4-FFF2-40B4-BE49-F238E27FC236}">
                <a16:creationId xmlns:a16="http://schemas.microsoft.com/office/drawing/2014/main" id="{8E85D35B-391E-43DD-85C1-F96075528789}"/>
              </a:ext>
            </a:extLst>
          </p:cNvPr>
          <p:cNvSpPr>
            <a:spLocks noGrp="1"/>
          </p:cNvSpPr>
          <p:nvPr>
            <p:ph sz="quarter" idx="19"/>
          </p:nvPr>
        </p:nvSpPr>
        <p:spPr>
          <a:xfrm>
            <a:off x="9842500" y="1956816"/>
            <a:ext cx="18923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409022181"/>
      </p:ext>
    </p:extLst>
  </p:cSld>
  <p:clrMapOvr>
    <a:masterClrMapping/>
  </p:clrMapOvr>
  <p:extLst>
    <p:ext uri="{DCECCB84-F9BA-43D5-87BE-67443E8EF086}">
      <p15:sldGuideLst xmlns:p15="http://schemas.microsoft.com/office/powerpoint/2012/main">
        <p15:guide id="5" orient="horz" pos="927">
          <p15:clr>
            <a:srgbClr val="FBAE40"/>
          </p15:clr>
        </p15:guide>
        <p15:guide id="6" pos="1480">
          <p15:clr>
            <a:srgbClr val="FBAE40"/>
          </p15:clr>
        </p15:guide>
        <p15:guide id="7" pos="1768">
          <p15:clr>
            <a:srgbClr val="FBAE40"/>
          </p15:clr>
        </p15:guide>
        <p15:guide id="8" pos="2960">
          <p15:clr>
            <a:srgbClr val="FBAE40"/>
          </p15:clr>
        </p15:guide>
        <p15:guide id="9" pos="3248">
          <p15:clr>
            <a:srgbClr val="FBAE40"/>
          </p15:clr>
        </p15:guide>
        <p15:guide id="10" pos="4432">
          <p15:clr>
            <a:srgbClr val="FBAE40"/>
          </p15:clr>
        </p15:guide>
        <p15:guide id="11" pos="4720">
          <p15:clr>
            <a:srgbClr val="FBAE40"/>
          </p15:clr>
        </p15:guide>
        <p15:guide id="12" pos="5912">
          <p15:clr>
            <a:srgbClr val="FBAE40"/>
          </p15:clr>
        </p15:guide>
        <p15:guide id="13" pos="6200">
          <p15:clr>
            <a:srgbClr val="FBAE40"/>
          </p15:clr>
        </p15:guide>
        <p15:guide id="15" orient="horz" pos="123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6E4E901-CD4A-F66C-8E6B-2EE90D1ECBE9}"/>
              </a:ext>
            </a:extLst>
          </p:cNvPr>
          <p:cNvGraphicFramePr>
            <a:graphicFrameLocks noChangeAspect="1"/>
          </p:cNvGraphicFramePr>
          <p:nvPr userDrawn="1">
            <p:custDataLst>
              <p:tags r:id="rId1"/>
            </p:custDataLst>
            <p:extLst>
              <p:ext uri="{D42A27DB-BD31-4B8C-83A1-F6EECF244321}">
                <p14:modId xmlns:p14="http://schemas.microsoft.com/office/powerpoint/2010/main" val="582217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2" name="think-cell data - do not delete" hidden="1">
                        <a:extLst>
                          <a:ext uri="{FF2B5EF4-FFF2-40B4-BE49-F238E27FC236}">
                            <a16:creationId xmlns:a16="http://schemas.microsoft.com/office/drawing/2014/main" id="{36E4E901-CD4A-F66C-8E6B-2EE90D1ECB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Top"/>
          <p:cNvSpPr>
            <a:spLocks noGrp="1"/>
          </p:cNvSpPr>
          <p:nvPr>
            <p:ph type="body" idx="10" hasCustomPrompt="1"/>
          </p:nvPr>
        </p:nvSpPr>
        <p:spPr>
          <a:xfrm>
            <a:off x="457200" y="1472184"/>
            <a:ext cx="54102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956816"/>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6324600" y="1472184"/>
            <a:ext cx="5410199"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Top"/>
          <p:cNvSpPr>
            <a:spLocks noGrp="1"/>
          </p:cNvSpPr>
          <p:nvPr>
            <p:ph sz="quarter" idx="12"/>
          </p:nvPr>
        </p:nvSpPr>
        <p:spPr>
          <a:xfrm>
            <a:off x="6324600" y="1956816"/>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54102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Left Bottom"/>
          <p:cNvSpPr>
            <a:spLocks noGrp="1"/>
          </p:cNvSpPr>
          <p:nvPr>
            <p:ph sz="quarter" idx="14"/>
          </p:nvPr>
        </p:nvSpPr>
        <p:spPr>
          <a:xfrm>
            <a:off x="457200" y="448970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24600" y="4005072"/>
            <a:ext cx="5410199"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Bottom"/>
          <p:cNvSpPr>
            <a:spLocks noGrp="1"/>
          </p:cNvSpPr>
          <p:nvPr>
            <p:ph sz="quarter" idx="16"/>
          </p:nvPr>
        </p:nvSpPr>
        <p:spPr>
          <a:xfrm>
            <a:off x="6324600" y="448970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327865716"/>
      </p:ext>
    </p:extLst>
  </p:cSld>
  <p:clrMapOvr>
    <a:masterClrMapping/>
  </p:clrMapOvr>
  <p:extLst>
    <p:ext uri="{DCECCB84-F9BA-43D5-87BE-67443E8EF086}">
      <p15:sldGuideLst xmlns:p15="http://schemas.microsoft.com/office/powerpoint/2012/main">
        <p15:guide id="7" orient="horz" pos="926">
          <p15:clr>
            <a:srgbClr val="FBAE40"/>
          </p15:clr>
        </p15:guide>
        <p15:guide id="10" pos="3984">
          <p15:clr>
            <a:srgbClr val="FBAE40"/>
          </p15:clr>
        </p15:guide>
        <p15:guide id="14" pos="3696">
          <p15:clr>
            <a:srgbClr val="FBAE40"/>
          </p15:clr>
        </p15:guide>
        <p15:guide id="15" orient="horz" pos="1232">
          <p15:clr>
            <a:srgbClr val="FBAE40"/>
          </p15:clr>
        </p15:guide>
        <p15:guide id="17" orient="horz" pos="2832">
          <p15:clr>
            <a:srgbClr val="FBAE40"/>
          </p15:clr>
        </p15:guide>
        <p15:guide id="18" orient="horz" pos="252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C0481675-BB89-6A90-C456-FDC4C750D189}"/>
              </a:ext>
            </a:extLst>
          </p:cNvPr>
          <p:cNvGraphicFramePr>
            <a:graphicFrameLocks noChangeAspect="1"/>
          </p:cNvGraphicFramePr>
          <p:nvPr userDrawn="1">
            <p:custDataLst>
              <p:tags r:id="rId1"/>
            </p:custDataLst>
            <p:extLst>
              <p:ext uri="{D42A27DB-BD31-4B8C-83A1-F6EECF244321}">
                <p14:modId xmlns:p14="http://schemas.microsoft.com/office/powerpoint/2010/main" val="236965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6" name="think-cell data - do not delete" hidden="1">
                        <a:extLst>
                          <a:ext uri="{FF2B5EF4-FFF2-40B4-BE49-F238E27FC236}">
                            <a16:creationId xmlns:a16="http://schemas.microsoft.com/office/drawing/2014/main" id="{C0481675-BB89-6A90-C456-FDC4C750D1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Left Top"/>
          <p:cNvSpPr>
            <a:spLocks noGrp="1"/>
          </p:cNvSpPr>
          <p:nvPr>
            <p:ph type="body" idx="10" hasCustomPrompt="1"/>
          </p:nvPr>
        </p:nvSpPr>
        <p:spPr>
          <a:xfrm>
            <a:off x="457200"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956816"/>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4368799"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Top"/>
          <p:cNvSpPr>
            <a:spLocks noGrp="1"/>
          </p:cNvSpPr>
          <p:nvPr>
            <p:ph sz="quarter" idx="12"/>
          </p:nvPr>
        </p:nvSpPr>
        <p:spPr>
          <a:xfrm>
            <a:off x="4368799" y="1956816"/>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280400" y="1472184"/>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Top"/>
          <p:cNvSpPr>
            <a:spLocks noGrp="1"/>
          </p:cNvSpPr>
          <p:nvPr>
            <p:ph sz="quarter" idx="14"/>
          </p:nvPr>
        </p:nvSpPr>
        <p:spPr>
          <a:xfrm>
            <a:off x="8280400" y="1956816"/>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Left Bottom"/>
          <p:cNvSpPr>
            <a:spLocks noGrp="1"/>
          </p:cNvSpPr>
          <p:nvPr>
            <p:ph sz="quarter" idx="16"/>
          </p:nvPr>
        </p:nvSpPr>
        <p:spPr>
          <a:xfrm>
            <a:off x="4572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368799" y="4005072"/>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2" name="Content Middle Bottom"/>
          <p:cNvSpPr>
            <a:spLocks noGrp="1"/>
          </p:cNvSpPr>
          <p:nvPr>
            <p:ph sz="quarter" idx="18"/>
          </p:nvPr>
        </p:nvSpPr>
        <p:spPr>
          <a:xfrm>
            <a:off x="4368799"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280400" y="4005072"/>
            <a:ext cx="3454400" cy="429768"/>
          </a:xfrm>
        </p:spPr>
        <p:txBody>
          <a:bodyPr/>
          <a:lstStyle>
            <a:lvl1pPr marL="0" indent="0">
              <a:spcBef>
                <a:spcPts val="0"/>
              </a:spcBef>
              <a:buFont typeface="Arial" panose="020B0604020202020204" pitchFamily="34" charset="0"/>
              <a:buChar char="​"/>
              <a:defRPr sz="1400" b="1">
                <a:solidFill>
                  <a:schemeClr val="tx1"/>
                </a:solidFill>
                <a:latin typeface="Figtree Medium" pitchFamily="2" charset="0"/>
              </a:defRPr>
            </a:lvl1pPr>
            <a:lvl2pPr marL="0" indent="0">
              <a:spcBef>
                <a:spcPts val="0"/>
              </a:spcBef>
              <a:buFont typeface="Arial" panose="020B0604020202020204" pitchFamily="34" charset="0"/>
              <a:buChar char="​"/>
              <a:defRPr sz="1400">
                <a:solidFill>
                  <a:schemeClr val="tx1"/>
                </a:solidFill>
                <a:latin typeface="Figtree Medium" pitchFamily="2" charset="0"/>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4" name="Content Right Bottom"/>
          <p:cNvSpPr>
            <a:spLocks noGrp="1"/>
          </p:cNvSpPr>
          <p:nvPr>
            <p:ph sz="quarter" idx="20"/>
          </p:nvPr>
        </p:nvSpPr>
        <p:spPr>
          <a:xfrm>
            <a:off x="82804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808003972"/>
      </p:ext>
    </p:extLst>
  </p:cSld>
  <p:clrMapOvr>
    <a:masterClrMapping/>
  </p:clrMapOvr>
  <p:extLst>
    <p:ext uri="{DCECCB84-F9BA-43D5-87BE-67443E8EF086}">
      <p15:sldGuideLst xmlns:p15="http://schemas.microsoft.com/office/powerpoint/2012/main">
        <p15:guide id="12" pos="2752">
          <p15:clr>
            <a:srgbClr val="FBAE40"/>
          </p15:clr>
        </p15:guide>
        <p15:guide id="14" pos="5216">
          <p15:clr>
            <a:srgbClr val="FBAE40"/>
          </p15:clr>
        </p15:guide>
        <p15:guide id="18" pos="2464">
          <p15:clr>
            <a:srgbClr val="FBAE40"/>
          </p15:clr>
        </p15:guide>
        <p15:guide id="20" pos="4928">
          <p15:clr>
            <a:srgbClr val="FBAE40"/>
          </p15:clr>
        </p15:guide>
        <p15:guide id="21" orient="horz" pos="2520">
          <p15:clr>
            <a:srgbClr val="FBAE40"/>
          </p15:clr>
        </p15:guide>
        <p15:guide id="24" orient="horz" pos="926">
          <p15:clr>
            <a:srgbClr val="FBAE40"/>
          </p15:clr>
        </p15:guide>
        <p15:guide id="25" orient="horz" pos="1232">
          <p15:clr>
            <a:srgbClr val="FBAE40"/>
          </p15:clr>
        </p15:guide>
        <p15:guide id="27" orient="horz" pos="283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9EF874C-2EA1-6125-3345-43764D7943EC}"/>
              </a:ext>
            </a:extLst>
          </p:cNvPr>
          <p:cNvGraphicFramePr>
            <a:graphicFrameLocks noChangeAspect="1"/>
          </p:cNvGraphicFramePr>
          <p:nvPr userDrawn="1">
            <p:custDataLst>
              <p:tags r:id="rId1"/>
            </p:custDataLst>
            <p:extLst>
              <p:ext uri="{D42A27DB-BD31-4B8C-83A1-F6EECF244321}">
                <p14:modId xmlns:p14="http://schemas.microsoft.com/office/powerpoint/2010/main" val="257842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89EF874C-2EA1-6125-3345-43764D7943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hasCustomPrompt="1"/>
          </p:nvPr>
        </p:nvSpPr>
        <p:spPr/>
        <p:txBody>
          <a:bodyPr vert="horz"/>
          <a:lstStyle>
            <a:lvl1pPr>
              <a:defRPr/>
            </a:lvl1pPr>
          </a:lstStyle>
          <a:p>
            <a:r>
              <a:rPr lang="en-US"/>
              <a:t>Contents</a:t>
            </a:r>
            <a:endParaRPr/>
          </a:p>
        </p:txBody>
      </p:sp>
    </p:spTree>
    <p:extLst>
      <p:ext uri="{BB962C8B-B14F-4D97-AF65-F5344CB8AC3E}">
        <p14:creationId xmlns:p14="http://schemas.microsoft.com/office/powerpoint/2010/main" val="3941002273"/>
      </p:ext>
    </p:extLst>
  </p:cSld>
  <p:clrMapOvr>
    <a:masterClrMapping/>
  </p:clrMapOvr>
  <p:extLst>
    <p:ext uri="{DCECCB84-F9BA-43D5-87BE-67443E8EF086}">
      <p15:sldGuideLst xmlns:p15="http://schemas.microsoft.com/office/powerpoint/2012/main">
        <p15:guide id="1" orient="horz" pos="92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blank" preserve="1">
  <p:cSld name="Backcover">
    <p:bg>
      <p:bgPr>
        <a:solidFill>
          <a:schemeClr val="accent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22FED64-17D2-F58B-220A-6B419C995C03}"/>
              </a:ext>
            </a:extLst>
          </p:cNvPr>
          <p:cNvGraphicFramePr>
            <a:graphicFrameLocks noChangeAspect="1"/>
          </p:cNvGraphicFramePr>
          <p:nvPr userDrawn="1">
            <p:custDataLst>
              <p:tags r:id="rId1"/>
            </p:custDataLst>
            <p:extLst>
              <p:ext uri="{D42A27DB-BD31-4B8C-83A1-F6EECF244321}">
                <p14:modId xmlns:p14="http://schemas.microsoft.com/office/powerpoint/2010/main" val="3666671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2" name="think-cell data - do not delete" hidden="1">
                        <a:extLst>
                          <a:ext uri="{FF2B5EF4-FFF2-40B4-BE49-F238E27FC236}">
                            <a16:creationId xmlns:a16="http://schemas.microsoft.com/office/drawing/2014/main" id="{422FED64-17D2-F58B-220A-6B419C995C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7" name="Group 16">
            <a:extLst>
              <a:ext uri="{FF2B5EF4-FFF2-40B4-BE49-F238E27FC236}">
                <a16:creationId xmlns:a16="http://schemas.microsoft.com/office/drawing/2014/main" id="{34B36623-DA41-6954-8EAD-0C9C59D5537E}"/>
              </a:ext>
            </a:extLst>
          </p:cNvPr>
          <p:cNvGrpSpPr/>
          <p:nvPr userDrawn="1"/>
        </p:nvGrpSpPr>
        <p:grpSpPr>
          <a:xfrm>
            <a:off x="3659437" y="3022599"/>
            <a:ext cx="4873124" cy="812800"/>
            <a:chOff x="1047076" y="1047095"/>
            <a:chExt cx="4199255" cy="700405"/>
          </a:xfrm>
        </p:grpSpPr>
        <p:sp>
          <p:nvSpPr>
            <p:cNvPr id="18" name="object 4">
              <a:extLst>
                <a:ext uri="{FF2B5EF4-FFF2-40B4-BE49-F238E27FC236}">
                  <a16:creationId xmlns:a16="http://schemas.microsoft.com/office/drawing/2014/main" id="{3EB46034-559F-3795-AACE-DC1EBCC11EDE}"/>
                </a:ext>
              </a:extLst>
            </p:cNvPr>
            <p:cNvSpPr/>
            <p:nvPr/>
          </p:nvSpPr>
          <p:spPr>
            <a:xfrm>
              <a:off x="1047076" y="1047095"/>
              <a:ext cx="4199255" cy="700405"/>
            </a:xfrm>
            <a:custGeom>
              <a:avLst/>
              <a:gdLst/>
              <a:ahLst/>
              <a:cxnLst/>
              <a:rect l="l" t="t" r="r" b="b"/>
              <a:pathLst>
                <a:path w="4199255" h="700405">
                  <a:moveTo>
                    <a:pt x="410883" y="499719"/>
                  </a:moveTo>
                  <a:lnTo>
                    <a:pt x="365188" y="504698"/>
                  </a:lnTo>
                  <a:lnTo>
                    <a:pt x="323481" y="518934"/>
                  </a:lnTo>
                  <a:lnTo>
                    <a:pt x="286372" y="541337"/>
                  </a:lnTo>
                  <a:lnTo>
                    <a:pt x="254914" y="570814"/>
                  </a:lnTo>
                  <a:lnTo>
                    <a:pt x="230225" y="606285"/>
                  </a:lnTo>
                  <a:lnTo>
                    <a:pt x="213360" y="646684"/>
                  </a:lnTo>
                  <a:lnTo>
                    <a:pt x="205409" y="690905"/>
                  </a:lnTo>
                  <a:lnTo>
                    <a:pt x="197307" y="646861"/>
                  </a:lnTo>
                  <a:lnTo>
                    <a:pt x="180365" y="606640"/>
                  </a:lnTo>
                  <a:lnTo>
                    <a:pt x="155638" y="571309"/>
                  </a:lnTo>
                  <a:lnTo>
                    <a:pt x="124206" y="541972"/>
                  </a:lnTo>
                  <a:lnTo>
                    <a:pt x="87147" y="519671"/>
                  </a:lnTo>
                  <a:lnTo>
                    <a:pt x="45529" y="505510"/>
                  </a:lnTo>
                  <a:lnTo>
                    <a:pt x="0" y="500570"/>
                  </a:lnTo>
                  <a:lnTo>
                    <a:pt x="6477" y="546430"/>
                  </a:lnTo>
                  <a:lnTo>
                    <a:pt x="22504" y="588454"/>
                  </a:lnTo>
                  <a:lnTo>
                    <a:pt x="46888" y="625475"/>
                  </a:lnTo>
                  <a:lnTo>
                    <a:pt x="78498" y="656310"/>
                  </a:lnTo>
                  <a:lnTo>
                    <a:pt x="116141" y="679805"/>
                  </a:lnTo>
                  <a:lnTo>
                    <a:pt x="158673" y="694804"/>
                  </a:lnTo>
                  <a:lnTo>
                    <a:pt x="204901" y="700125"/>
                  </a:lnTo>
                  <a:lnTo>
                    <a:pt x="205816" y="700125"/>
                  </a:lnTo>
                  <a:lnTo>
                    <a:pt x="252183" y="694778"/>
                  </a:lnTo>
                  <a:lnTo>
                    <a:pt x="294817" y="679716"/>
                  </a:lnTo>
                  <a:lnTo>
                    <a:pt x="332536" y="656107"/>
                  </a:lnTo>
                  <a:lnTo>
                    <a:pt x="364172" y="625144"/>
                  </a:lnTo>
                  <a:lnTo>
                    <a:pt x="388556" y="587971"/>
                  </a:lnTo>
                  <a:lnTo>
                    <a:pt x="404520" y="545769"/>
                  </a:lnTo>
                  <a:lnTo>
                    <a:pt x="410883" y="499719"/>
                  </a:lnTo>
                  <a:close/>
                </a:path>
                <a:path w="4199255" h="700405">
                  <a:moveTo>
                    <a:pt x="410883" y="309626"/>
                  </a:moveTo>
                  <a:lnTo>
                    <a:pt x="365175" y="314604"/>
                  </a:lnTo>
                  <a:lnTo>
                    <a:pt x="323481" y="328841"/>
                  </a:lnTo>
                  <a:lnTo>
                    <a:pt x="286359" y="351231"/>
                  </a:lnTo>
                  <a:lnTo>
                    <a:pt x="254914" y="380720"/>
                  </a:lnTo>
                  <a:lnTo>
                    <a:pt x="230225" y="416191"/>
                  </a:lnTo>
                  <a:lnTo>
                    <a:pt x="213360" y="456590"/>
                  </a:lnTo>
                  <a:lnTo>
                    <a:pt x="205409" y="500811"/>
                  </a:lnTo>
                  <a:lnTo>
                    <a:pt x="197307" y="456755"/>
                  </a:lnTo>
                  <a:lnTo>
                    <a:pt x="180365" y="416534"/>
                  </a:lnTo>
                  <a:lnTo>
                    <a:pt x="155638" y="381215"/>
                  </a:lnTo>
                  <a:lnTo>
                    <a:pt x="124206" y="351878"/>
                  </a:lnTo>
                  <a:lnTo>
                    <a:pt x="87147" y="329577"/>
                  </a:lnTo>
                  <a:lnTo>
                    <a:pt x="45529" y="315417"/>
                  </a:lnTo>
                  <a:lnTo>
                    <a:pt x="0" y="310451"/>
                  </a:lnTo>
                  <a:lnTo>
                    <a:pt x="6477" y="356336"/>
                  </a:lnTo>
                  <a:lnTo>
                    <a:pt x="22504" y="398360"/>
                  </a:lnTo>
                  <a:lnTo>
                    <a:pt x="46888" y="435381"/>
                  </a:lnTo>
                  <a:lnTo>
                    <a:pt x="78498" y="466217"/>
                  </a:lnTo>
                  <a:lnTo>
                    <a:pt x="116141" y="489712"/>
                  </a:lnTo>
                  <a:lnTo>
                    <a:pt x="158673" y="504698"/>
                  </a:lnTo>
                  <a:lnTo>
                    <a:pt x="204901" y="510032"/>
                  </a:lnTo>
                  <a:lnTo>
                    <a:pt x="205816" y="510032"/>
                  </a:lnTo>
                  <a:lnTo>
                    <a:pt x="252183" y="504685"/>
                  </a:lnTo>
                  <a:lnTo>
                    <a:pt x="294817" y="489623"/>
                  </a:lnTo>
                  <a:lnTo>
                    <a:pt x="332536" y="466013"/>
                  </a:lnTo>
                  <a:lnTo>
                    <a:pt x="364172" y="435038"/>
                  </a:lnTo>
                  <a:lnTo>
                    <a:pt x="388556" y="397878"/>
                  </a:lnTo>
                  <a:lnTo>
                    <a:pt x="404520" y="355676"/>
                  </a:lnTo>
                  <a:lnTo>
                    <a:pt x="410883" y="309626"/>
                  </a:lnTo>
                  <a:close/>
                </a:path>
                <a:path w="4199255" h="700405">
                  <a:moveTo>
                    <a:pt x="410883" y="110553"/>
                  </a:moveTo>
                  <a:lnTo>
                    <a:pt x="365175" y="115531"/>
                  </a:lnTo>
                  <a:lnTo>
                    <a:pt x="323481" y="129768"/>
                  </a:lnTo>
                  <a:lnTo>
                    <a:pt x="286359" y="152171"/>
                  </a:lnTo>
                  <a:lnTo>
                    <a:pt x="254914" y="181648"/>
                  </a:lnTo>
                  <a:lnTo>
                    <a:pt x="230225" y="217119"/>
                  </a:lnTo>
                  <a:lnTo>
                    <a:pt x="213360" y="257517"/>
                  </a:lnTo>
                  <a:lnTo>
                    <a:pt x="205409" y="301739"/>
                  </a:lnTo>
                  <a:lnTo>
                    <a:pt x="197307" y="257695"/>
                  </a:lnTo>
                  <a:lnTo>
                    <a:pt x="180365" y="217474"/>
                  </a:lnTo>
                  <a:lnTo>
                    <a:pt x="155638" y="182143"/>
                  </a:lnTo>
                  <a:lnTo>
                    <a:pt x="124206" y="152806"/>
                  </a:lnTo>
                  <a:lnTo>
                    <a:pt x="87147" y="130517"/>
                  </a:lnTo>
                  <a:lnTo>
                    <a:pt x="45529" y="116344"/>
                  </a:lnTo>
                  <a:lnTo>
                    <a:pt x="0" y="111391"/>
                  </a:lnTo>
                  <a:lnTo>
                    <a:pt x="6477" y="157264"/>
                  </a:lnTo>
                  <a:lnTo>
                    <a:pt x="22504" y="199288"/>
                  </a:lnTo>
                  <a:lnTo>
                    <a:pt x="46888" y="236308"/>
                  </a:lnTo>
                  <a:lnTo>
                    <a:pt x="78498" y="267144"/>
                  </a:lnTo>
                  <a:lnTo>
                    <a:pt x="116141" y="290639"/>
                  </a:lnTo>
                  <a:lnTo>
                    <a:pt x="158673" y="305638"/>
                  </a:lnTo>
                  <a:lnTo>
                    <a:pt x="204901" y="310959"/>
                  </a:lnTo>
                  <a:lnTo>
                    <a:pt x="205816" y="310959"/>
                  </a:lnTo>
                  <a:lnTo>
                    <a:pt x="252183" y="305612"/>
                  </a:lnTo>
                  <a:lnTo>
                    <a:pt x="294817" y="290550"/>
                  </a:lnTo>
                  <a:lnTo>
                    <a:pt x="332536" y="266941"/>
                  </a:lnTo>
                  <a:lnTo>
                    <a:pt x="364172" y="235978"/>
                  </a:lnTo>
                  <a:lnTo>
                    <a:pt x="388556" y="198805"/>
                  </a:lnTo>
                  <a:lnTo>
                    <a:pt x="404520" y="156603"/>
                  </a:lnTo>
                  <a:lnTo>
                    <a:pt x="410883" y="110553"/>
                  </a:lnTo>
                  <a:close/>
                </a:path>
                <a:path w="4199255" h="700405">
                  <a:moveTo>
                    <a:pt x="1017346" y="544576"/>
                  </a:moveTo>
                  <a:lnTo>
                    <a:pt x="923353" y="507834"/>
                  </a:lnTo>
                  <a:lnTo>
                    <a:pt x="901077" y="548170"/>
                  </a:lnTo>
                  <a:lnTo>
                    <a:pt x="870800" y="578561"/>
                  </a:lnTo>
                  <a:lnTo>
                    <a:pt x="833462" y="597738"/>
                  </a:lnTo>
                  <a:lnTo>
                    <a:pt x="790041" y="604418"/>
                  </a:lnTo>
                  <a:lnTo>
                    <a:pt x="745363" y="597344"/>
                  </a:lnTo>
                  <a:lnTo>
                    <a:pt x="707034" y="576935"/>
                  </a:lnTo>
                  <a:lnTo>
                    <a:pt x="677125" y="544423"/>
                  </a:lnTo>
                  <a:lnTo>
                    <a:pt x="657682" y="501040"/>
                  </a:lnTo>
                  <a:lnTo>
                    <a:pt x="650735" y="448017"/>
                  </a:lnTo>
                  <a:lnTo>
                    <a:pt x="656907" y="398043"/>
                  </a:lnTo>
                  <a:lnTo>
                    <a:pt x="674636" y="355244"/>
                  </a:lnTo>
                  <a:lnTo>
                    <a:pt x="702792" y="321881"/>
                  </a:lnTo>
                  <a:lnTo>
                    <a:pt x="740206" y="300202"/>
                  </a:lnTo>
                  <a:lnTo>
                    <a:pt x="785749" y="292468"/>
                  </a:lnTo>
                  <a:lnTo>
                    <a:pt x="825042" y="297802"/>
                  </a:lnTo>
                  <a:lnTo>
                    <a:pt x="859675" y="313944"/>
                  </a:lnTo>
                  <a:lnTo>
                    <a:pt x="887907" y="341147"/>
                  </a:lnTo>
                  <a:lnTo>
                    <a:pt x="907961" y="379653"/>
                  </a:lnTo>
                  <a:lnTo>
                    <a:pt x="1003693" y="341198"/>
                  </a:lnTo>
                  <a:lnTo>
                    <a:pt x="982141" y="297561"/>
                  </a:lnTo>
                  <a:lnTo>
                    <a:pt x="953287" y="261594"/>
                  </a:lnTo>
                  <a:lnTo>
                    <a:pt x="918222" y="233413"/>
                  </a:lnTo>
                  <a:lnTo>
                    <a:pt x="878014" y="213131"/>
                  </a:lnTo>
                  <a:lnTo>
                    <a:pt x="833780" y="200875"/>
                  </a:lnTo>
                  <a:lnTo>
                    <a:pt x="786612" y="196773"/>
                  </a:lnTo>
                  <a:lnTo>
                    <a:pt x="741857" y="200355"/>
                  </a:lnTo>
                  <a:lnTo>
                    <a:pt x="700252" y="210858"/>
                  </a:lnTo>
                  <a:lnTo>
                    <a:pt x="662381" y="227952"/>
                  </a:lnTo>
                  <a:lnTo>
                    <a:pt x="628777" y="251256"/>
                  </a:lnTo>
                  <a:lnTo>
                    <a:pt x="600036" y="280441"/>
                  </a:lnTo>
                  <a:lnTo>
                    <a:pt x="576694" y="315150"/>
                  </a:lnTo>
                  <a:lnTo>
                    <a:pt x="559320" y="355028"/>
                  </a:lnTo>
                  <a:lnTo>
                    <a:pt x="548487" y="399719"/>
                  </a:lnTo>
                  <a:lnTo>
                    <a:pt x="544753" y="448881"/>
                  </a:lnTo>
                  <a:lnTo>
                    <a:pt x="548525" y="498005"/>
                  </a:lnTo>
                  <a:lnTo>
                    <a:pt x="559447" y="542620"/>
                  </a:lnTo>
                  <a:lnTo>
                    <a:pt x="576973" y="582383"/>
                  </a:lnTo>
                  <a:lnTo>
                    <a:pt x="600544" y="616953"/>
                  </a:lnTo>
                  <a:lnTo>
                    <a:pt x="629577" y="645998"/>
                  </a:lnTo>
                  <a:lnTo>
                    <a:pt x="663524" y="669175"/>
                  </a:lnTo>
                  <a:lnTo>
                    <a:pt x="701814" y="686142"/>
                  </a:lnTo>
                  <a:lnTo>
                    <a:pt x="743877" y="696569"/>
                  </a:lnTo>
                  <a:lnTo>
                    <a:pt x="789178" y="700125"/>
                  </a:lnTo>
                  <a:lnTo>
                    <a:pt x="841095" y="695426"/>
                  </a:lnTo>
                  <a:lnTo>
                    <a:pt x="888593" y="681647"/>
                  </a:lnTo>
                  <a:lnTo>
                    <a:pt x="930821" y="659206"/>
                  </a:lnTo>
                  <a:lnTo>
                    <a:pt x="966927" y="628586"/>
                  </a:lnTo>
                  <a:lnTo>
                    <a:pt x="996061" y="590232"/>
                  </a:lnTo>
                  <a:lnTo>
                    <a:pt x="1017346" y="544576"/>
                  </a:lnTo>
                  <a:close/>
                </a:path>
                <a:path w="4199255" h="700405">
                  <a:moveTo>
                    <a:pt x="1536166" y="445452"/>
                  </a:moveTo>
                  <a:lnTo>
                    <a:pt x="1532623" y="402729"/>
                  </a:lnTo>
                  <a:lnTo>
                    <a:pt x="1516418" y="330885"/>
                  </a:lnTo>
                  <a:lnTo>
                    <a:pt x="1493850" y="287896"/>
                  </a:lnTo>
                  <a:lnTo>
                    <a:pt x="1490459" y="283933"/>
                  </a:lnTo>
                  <a:lnTo>
                    <a:pt x="1464703" y="253809"/>
                  </a:lnTo>
                  <a:lnTo>
                    <a:pt x="1433626" y="230555"/>
                  </a:lnTo>
                  <a:lnTo>
                    <a:pt x="1433626" y="402729"/>
                  </a:lnTo>
                  <a:lnTo>
                    <a:pt x="1181506" y="402729"/>
                  </a:lnTo>
                  <a:lnTo>
                    <a:pt x="1196733" y="354596"/>
                  </a:lnTo>
                  <a:lnTo>
                    <a:pt x="1223810" y="317055"/>
                  </a:lnTo>
                  <a:lnTo>
                    <a:pt x="1261795" y="292646"/>
                  </a:lnTo>
                  <a:lnTo>
                    <a:pt x="1309700" y="283933"/>
                  </a:lnTo>
                  <a:lnTo>
                    <a:pt x="1352981" y="290360"/>
                  </a:lnTo>
                  <a:lnTo>
                    <a:pt x="1391208" y="310959"/>
                  </a:lnTo>
                  <a:lnTo>
                    <a:pt x="1419669" y="347751"/>
                  </a:lnTo>
                  <a:lnTo>
                    <a:pt x="1433626" y="402729"/>
                  </a:lnTo>
                  <a:lnTo>
                    <a:pt x="1433626" y="230555"/>
                  </a:lnTo>
                  <a:lnTo>
                    <a:pt x="1430388" y="228130"/>
                  </a:lnTo>
                  <a:lnTo>
                    <a:pt x="1392313" y="210388"/>
                  </a:lnTo>
                  <a:lnTo>
                    <a:pt x="1351902" y="200088"/>
                  </a:lnTo>
                  <a:lnTo>
                    <a:pt x="1310551" y="196761"/>
                  </a:lnTo>
                  <a:lnTo>
                    <a:pt x="1260640" y="201637"/>
                  </a:lnTo>
                  <a:lnTo>
                    <a:pt x="1215161" y="215734"/>
                  </a:lnTo>
                  <a:lnTo>
                    <a:pt x="1174813" y="238277"/>
                  </a:lnTo>
                  <a:lnTo>
                    <a:pt x="1140269" y="268452"/>
                  </a:lnTo>
                  <a:lnTo>
                    <a:pt x="1112227" y="305473"/>
                  </a:lnTo>
                  <a:lnTo>
                    <a:pt x="1091349" y="348551"/>
                  </a:lnTo>
                  <a:lnTo>
                    <a:pt x="1078318" y="396900"/>
                  </a:lnTo>
                  <a:lnTo>
                    <a:pt x="1073823" y="449732"/>
                  </a:lnTo>
                  <a:lnTo>
                    <a:pt x="1077595" y="498157"/>
                  </a:lnTo>
                  <a:lnTo>
                    <a:pt x="1088517" y="542340"/>
                  </a:lnTo>
                  <a:lnTo>
                    <a:pt x="1106017" y="581875"/>
                  </a:lnTo>
                  <a:lnTo>
                    <a:pt x="1129538" y="616407"/>
                  </a:lnTo>
                  <a:lnTo>
                    <a:pt x="1158506" y="645515"/>
                  </a:lnTo>
                  <a:lnTo>
                    <a:pt x="1192339" y="668832"/>
                  </a:lnTo>
                  <a:lnTo>
                    <a:pt x="1230477" y="685965"/>
                  </a:lnTo>
                  <a:lnTo>
                    <a:pt x="1272349" y="696518"/>
                  </a:lnTo>
                  <a:lnTo>
                    <a:pt x="1317396" y="700125"/>
                  </a:lnTo>
                  <a:lnTo>
                    <a:pt x="1366634" y="695807"/>
                  </a:lnTo>
                  <a:lnTo>
                    <a:pt x="1411439" y="683387"/>
                  </a:lnTo>
                  <a:lnTo>
                    <a:pt x="1451203" y="663702"/>
                  </a:lnTo>
                  <a:lnTo>
                    <a:pt x="1485379" y="637552"/>
                  </a:lnTo>
                  <a:lnTo>
                    <a:pt x="1513370" y="605764"/>
                  </a:lnTo>
                  <a:lnTo>
                    <a:pt x="1534617" y="569175"/>
                  </a:lnTo>
                  <a:lnTo>
                    <a:pt x="1534883" y="568528"/>
                  </a:lnTo>
                  <a:lnTo>
                    <a:pt x="1535023" y="568210"/>
                  </a:lnTo>
                  <a:lnTo>
                    <a:pt x="1437538" y="535089"/>
                  </a:lnTo>
                  <a:lnTo>
                    <a:pt x="1416062" y="566051"/>
                  </a:lnTo>
                  <a:lnTo>
                    <a:pt x="1388376" y="589495"/>
                  </a:lnTo>
                  <a:lnTo>
                    <a:pt x="1355229" y="604342"/>
                  </a:lnTo>
                  <a:lnTo>
                    <a:pt x="1317396" y="609536"/>
                  </a:lnTo>
                  <a:lnTo>
                    <a:pt x="1274914" y="603707"/>
                  </a:lnTo>
                  <a:lnTo>
                    <a:pt x="1237856" y="586676"/>
                  </a:lnTo>
                  <a:lnTo>
                    <a:pt x="1207922" y="559142"/>
                  </a:lnTo>
                  <a:lnTo>
                    <a:pt x="1186865" y="521804"/>
                  </a:lnTo>
                  <a:lnTo>
                    <a:pt x="1176375" y="475373"/>
                  </a:lnTo>
                  <a:lnTo>
                    <a:pt x="1536166" y="475373"/>
                  </a:lnTo>
                  <a:lnTo>
                    <a:pt x="1536166" y="445452"/>
                  </a:lnTo>
                  <a:close/>
                </a:path>
                <a:path w="4199255" h="700405">
                  <a:moveTo>
                    <a:pt x="1934476" y="217906"/>
                  </a:moveTo>
                  <a:lnTo>
                    <a:pt x="1921954" y="213690"/>
                  </a:lnTo>
                  <a:lnTo>
                    <a:pt x="1909914" y="211086"/>
                  </a:lnTo>
                  <a:lnTo>
                    <a:pt x="1898192" y="209753"/>
                  </a:lnTo>
                  <a:lnTo>
                    <a:pt x="1886623" y="209384"/>
                  </a:lnTo>
                  <a:lnTo>
                    <a:pt x="1840331" y="216738"/>
                  </a:lnTo>
                  <a:lnTo>
                    <a:pt x="1800847" y="236829"/>
                  </a:lnTo>
                  <a:lnTo>
                    <a:pt x="1769211" y="266700"/>
                  </a:lnTo>
                  <a:lnTo>
                    <a:pt x="1746465" y="303390"/>
                  </a:lnTo>
                  <a:lnTo>
                    <a:pt x="1743049" y="303390"/>
                  </a:lnTo>
                  <a:lnTo>
                    <a:pt x="1743049" y="223037"/>
                  </a:lnTo>
                  <a:lnTo>
                    <a:pt x="1643913" y="223037"/>
                  </a:lnTo>
                  <a:lnTo>
                    <a:pt x="1643913" y="698207"/>
                  </a:lnTo>
                  <a:lnTo>
                    <a:pt x="1744776" y="698207"/>
                  </a:lnTo>
                  <a:lnTo>
                    <a:pt x="1744776" y="500799"/>
                  </a:lnTo>
                  <a:lnTo>
                    <a:pt x="1747050" y="460502"/>
                  </a:lnTo>
                  <a:lnTo>
                    <a:pt x="1754962" y="419709"/>
                  </a:lnTo>
                  <a:lnTo>
                    <a:pt x="1770202" y="381901"/>
                  </a:lnTo>
                  <a:lnTo>
                    <a:pt x="1794395" y="350583"/>
                  </a:lnTo>
                  <a:lnTo>
                    <a:pt x="1829244" y="329222"/>
                  </a:lnTo>
                  <a:lnTo>
                    <a:pt x="1876386" y="321335"/>
                  </a:lnTo>
                  <a:lnTo>
                    <a:pt x="1889417" y="321843"/>
                  </a:lnTo>
                  <a:lnTo>
                    <a:pt x="1904466" y="323469"/>
                  </a:lnTo>
                  <a:lnTo>
                    <a:pt x="1919986" y="326377"/>
                  </a:lnTo>
                  <a:lnTo>
                    <a:pt x="1934476" y="330720"/>
                  </a:lnTo>
                  <a:lnTo>
                    <a:pt x="1934476" y="217906"/>
                  </a:lnTo>
                  <a:close/>
                </a:path>
                <a:path w="4199255" h="700405">
                  <a:moveTo>
                    <a:pt x="2432761" y="445452"/>
                  </a:moveTo>
                  <a:lnTo>
                    <a:pt x="2429205" y="402729"/>
                  </a:lnTo>
                  <a:lnTo>
                    <a:pt x="2427592" y="383247"/>
                  </a:lnTo>
                  <a:lnTo>
                    <a:pt x="2413012" y="330885"/>
                  </a:lnTo>
                  <a:lnTo>
                    <a:pt x="2390444" y="287896"/>
                  </a:lnTo>
                  <a:lnTo>
                    <a:pt x="2387054" y="283933"/>
                  </a:lnTo>
                  <a:lnTo>
                    <a:pt x="2361298" y="253809"/>
                  </a:lnTo>
                  <a:lnTo>
                    <a:pt x="2330221" y="230555"/>
                  </a:lnTo>
                  <a:lnTo>
                    <a:pt x="2330221" y="402729"/>
                  </a:lnTo>
                  <a:lnTo>
                    <a:pt x="2078088" y="402729"/>
                  </a:lnTo>
                  <a:lnTo>
                    <a:pt x="2093315" y="354596"/>
                  </a:lnTo>
                  <a:lnTo>
                    <a:pt x="2120404" y="317055"/>
                  </a:lnTo>
                  <a:lnTo>
                    <a:pt x="2158377" y="292646"/>
                  </a:lnTo>
                  <a:lnTo>
                    <a:pt x="2206282" y="283933"/>
                  </a:lnTo>
                  <a:lnTo>
                    <a:pt x="2249563" y="290360"/>
                  </a:lnTo>
                  <a:lnTo>
                    <a:pt x="2287803" y="310959"/>
                  </a:lnTo>
                  <a:lnTo>
                    <a:pt x="2316264" y="347751"/>
                  </a:lnTo>
                  <a:lnTo>
                    <a:pt x="2330221" y="402729"/>
                  </a:lnTo>
                  <a:lnTo>
                    <a:pt x="2330221" y="230555"/>
                  </a:lnTo>
                  <a:lnTo>
                    <a:pt x="2326983" y="228130"/>
                  </a:lnTo>
                  <a:lnTo>
                    <a:pt x="2288908" y="210388"/>
                  </a:lnTo>
                  <a:lnTo>
                    <a:pt x="2248497" y="200088"/>
                  </a:lnTo>
                  <a:lnTo>
                    <a:pt x="2207145" y="196761"/>
                  </a:lnTo>
                  <a:lnTo>
                    <a:pt x="2157222" y="201637"/>
                  </a:lnTo>
                  <a:lnTo>
                    <a:pt x="2111743" y="215734"/>
                  </a:lnTo>
                  <a:lnTo>
                    <a:pt x="2071395" y="238277"/>
                  </a:lnTo>
                  <a:lnTo>
                    <a:pt x="2036864" y="268452"/>
                  </a:lnTo>
                  <a:lnTo>
                    <a:pt x="2008809" y="305473"/>
                  </a:lnTo>
                  <a:lnTo>
                    <a:pt x="1987931" y="348551"/>
                  </a:lnTo>
                  <a:lnTo>
                    <a:pt x="1974913" y="396900"/>
                  </a:lnTo>
                  <a:lnTo>
                    <a:pt x="1970417" y="449732"/>
                  </a:lnTo>
                  <a:lnTo>
                    <a:pt x="1974189" y="498157"/>
                  </a:lnTo>
                  <a:lnTo>
                    <a:pt x="1985098" y="542340"/>
                  </a:lnTo>
                  <a:lnTo>
                    <a:pt x="2002612" y="581875"/>
                  </a:lnTo>
                  <a:lnTo>
                    <a:pt x="2026132" y="616407"/>
                  </a:lnTo>
                  <a:lnTo>
                    <a:pt x="2055088" y="645515"/>
                  </a:lnTo>
                  <a:lnTo>
                    <a:pt x="2088921" y="668832"/>
                  </a:lnTo>
                  <a:lnTo>
                    <a:pt x="2127072" y="685965"/>
                  </a:lnTo>
                  <a:lnTo>
                    <a:pt x="2168944" y="696518"/>
                  </a:lnTo>
                  <a:lnTo>
                    <a:pt x="2213978" y="700125"/>
                  </a:lnTo>
                  <a:lnTo>
                    <a:pt x="2263229" y="695807"/>
                  </a:lnTo>
                  <a:lnTo>
                    <a:pt x="2308021" y="683387"/>
                  </a:lnTo>
                  <a:lnTo>
                    <a:pt x="2347798" y="663702"/>
                  </a:lnTo>
                  <a:lnTo>
                    <a:pt x="2381961" y="637552"/>
                  </a:lnTo>
                  <a:lnTo>
                    <a:pt x="2409964" y="605764"/>
                  </a:lnTo>
                  <a:lnTo>
                    <a:pt x="2431211" y="569175"/>
                  </a:lnTo>
                  <a:lnTo>
                    <a:pt x="2431465" y="568528"/>
                  </a:lnTo>
                  <a:lnTo>
                    <a:pt x="2431618" y="568210"/>
                  </a:lnTo>
                  <a:lnTo>
                    <a:pt x="2334120" y="535089"/>
                  </a:lnTo>
                  <a:lnTo>
                    <a:pt x="2312657" y="566051"/>
                  </a:lnTo>
                  <a:lnTo>
                    <a:pt x="2284958" y="589495"/>
                  </a:lnTo>
                  <a:lnTo>
                    <a:pt x="2251824" y="604342"/>
                  </a:lnTo>
                  <a:lnTo>
                    <a:pt x="2213978" y="609536"/>
                  </a:lnTo>
                  <a:lnTo>
                    <a:pt x="2171496" y="603707"/>
                  </a:lnTo>
                  <a:lnTo>
                    <a:pt x="2134438" y="586676"/>
                  </a:lnTo>
                  <a:lnTo>
                    <a:pt x="2104517" y="559142"/>
                  </a:lnTo>
                  <a:lnTo>
                    <a:pt x="2083447" y="521804"/>
                  </a:lnTo>
                  <a:lnTo>
                    <a:pt x="2072970" y="475373"/>
                  </a:lnTo>
                  <a:lnTo>
                    <a:pt x="2432761" y="475373"/>
                  </a:lnTo>
                  <a:lnTo>
                    <a:pt x="2432761" y="445452"/>
                  </a:lnTo>
                  <a:close/>
                </a:path>
                <a:path w="4199255" h="700405">
                  <a:moveTo>
                    <a:pt x="2884068" y="548868"/>
                  </a:moveTo>
                  <a:lnTo>
                    <a:pt x="2874886" y="499465"/>
                  </a:lnTo>
                  <a:lnTo>
                    <a:pt x="2851277" y="464223"/>
                  </a:lnTo>
                  <a:lnTo>
                    <a:pt x="2819082" y="440258"/>
                  </a:lnTo>
                  <a:lnTo>
                    <a:pt x="2784195" y="424713"/>
                  </a:lnTo>
                  <a:lnTo>
                    <a:pt x="2713139" y="403580"/>
                  </a:lnTo>
                  <a:lnTo>
                    <a:pt x="2681909" y="393954"/>
                  </a:lnTo>
                  <a:lnTo>
                    <a:pt x="2652357" y="380403"/>
                  </a:lnTo>
                  <a:lnTo>
                    <a:pt x="2630347" y="360921"/>
                  </a:lnTo>
                  <a:lnTo>
                    <a:pt x="2621711" y="333502"/>
                  </a:lnTo>
                  <a:lnTo>
                    <a:pt x="2626715" y="311391"/>
                  </a:lnTo>
                  <a:lnTo>
                    <a:pt x="2640609" y="294411"/>
                  </a:lnTo>
                  <a:lnTo>
                    <a:pt x="2661716" y="283514"/>
                  </a:lnTo>
                  <a:lnTo>
                    <a:pt x="2688361" y="279666"/>
                  </a:lnTo>
                  <a:lnTo>
                    <a:pt x="2720492" y="285153"/>
                  </a:lnTo>
                  <a:lnTo>
                    <a:pt x="2745511" y="299859"/>
                  </a:lnTo>
                  <a:lnTo>
                    <a:pt x="2763939" y="321119"/>
                  </a:lnTo>
                  <a:lnTo>
                    <a:pt x="2776372" y="346329"/>
                  </a:lnTo>
                  <a:lnTo>
                    <a:pt x="2870390" y="315556"/>
                  </a:lnTo>
                  <a:lnTo>
                    <a:pt x="2852801" y="277279"/>
                  </a:lnTo>
                  <a:lnTo>
                    <a:pt x="2825292" y="244576"/>
                  </a:lnTo>
                  <a:lnTo>
                    <a:pt x="2788793" y="219138"/>
                  </a:lnTo>
                  <a:lnTo>
                    <a:pt x="2744254" y="202641"/>
                  </a:lnTo>
                  <a:lnTo>
                    <a:pt x="2692628" y="196773"/>
                  </a:lnTo>
                  <a:lnTo>
                    <a:pt x="2647200" y="201117"/>
                  </a:lnTo>
                  <a:lnTo>
                    <a:pt x="2606103" y="213893"/>
                  </a:lnTo>
                  <a:lnTo>
                    <a:pt x="2571064" y="234683"/>
                  </a:lnTo>
                  <a:lnTo>
                    <a:pt x="2543873" y="263105"/>
                  </a:lnTo>
                  <a:lnTo>
                    <a:pt x="2526258" y="298742"/>
                  </a:lnTo>
                  <a:lnTo>
                    <a:pt x="2520010" y="341198"/>
                  </a:lnTo>
                  <a:lnTo>
                    <a:pt x="2528354" y="388670"/>
                  </a:lnTo>
                  <a:lnTo>
                    <a:pt x="2550274" y="424624"/>
                  </a:lnTo>
                  <a:lnTo>
                    <a:pt x="2581110" y="450850"/>
                  </a:lnTo>
                  <a:lnTo>
                    <a:pt x="2616162" y="469150"/>
                  </a:lnTo>
                  <a:lnTo>
                    <a:pt x="2700324" y="495884"/>
                  </a:lnTo>
                  <a:lnTo>
                    <a:pt x="2727706" y="504799"/>
                  </a:lnTo>
                  <a:lnTo>
                    <a:pt x="2752128" y="516610"/>
                  </a:lnTo>
                  <a:lnTo>
                    <a:pt x="2769654" y="533857"/>
                  </a:lnTo>
                  <a:lnTo>
                    <a:pt x="2776372" y="559130"/>
                  </a:lnTo>
                  <a:lnTo>
                    <a:pt x="2769070" y="586460"/>
                  </a:lnTo>
                  <a:lnTo>
                    <a:pt x="2750642" y="604088"/>
                  </a:lnTo>
                  <a:lnTo>
                    <a:pt x="2726271" y="613562"/>
                  </a:lnTo>
                  <a:lnTo>
                    <a:pt x="2701188" y="616381"/>
                  </a:lnTo>
                  <a:lnTo>
                    <a:pt x="2669908" y="611644"/>
                  </a:lnTo>
                  <a:lnTo>
                    <a:pt x="2639441" y="597039"/>
                  </a:lnTo>
                  <a:lnTo>
                    <a:pt x="2612491" y="572033"/>
                  </a:lnTo>
                  <a:lnTo>
                    <a:pt x="2591790" y="536041"/>
                  </a:lnTo>
                  <a:lnTo>
                    <a:pt x="2497772" y="566813"/>
                  </a:lnTo>
                  <a:lnTo>
                    <a:pt x="2513977" y="604278"/>
                  </a:lnTo>
                  <a:lnTo>
                    <a:pt x="2538196" y="636701"/>
                  </a:lnTo>
                  <a:lnTo>
                    <a:pt x="2569781" y="663270"/>
                  </a:lnTo>
                  <a:lnTo>
                    <a:pt x="2608059" y="683221"/>
                  </a:lnTo>
                  <a:lnTo>
                    <a:pt x="2652369" y="695769"/>
                  </a:lnTo>
                  <a:lnTo>
                    <a:pt x="2702039" y="700125"/>
                  </a:lnTo>
                  <a:lnTo>
                    <a:pt x="2753791" y="695147"/>
                  </a:lnTo>
                  <a:lnTo>
                    <a:pt x="2798229" y="680847"/>
                  </a:lnTo>
                  <a:lnTo>
                    <a:pt x="2834386" y="658139"/>
                  </a:lnTo>
                  <a:lnTo>
                    <a:pt x="2861373" y="627964"/>
                  </a:lnTo>
                  <a:lnTo>
                    <a:pt x="2878239" y="591223"/>
                  </a:lnTo>
                  <a:lnTo>
                    <a:pt x="2884068" y="548868"/>
                  </a:lnTo>
                  <a:close/>
                </a:path>
                <a:path w="4199255" h="700405">
                  <a:moveTo>
                    <a:pt x="3086671" y="14516"/>
                  </a:moveTo>
                  <a:lnTo>
                    <a:pt x="2985833" y="14516"/>
                  </a:lnTo>
                  <a:lnTo>
                    <a:pt x="2985833" y="698207"/>
                  </a:lnTo>
                  <a:lnTo>
                    <a:pt x="3086671" y="698207"/>
                  </a:lnTo>
                  <a:lnTo>
                    <a:pt x="3086671" y="14516"/>
                  </a:lnTo>
                  <a:close/>
                </a:path>
                <a:path w="4199255" h="700405">
                  <a:moveTo>
                    <a:pt x="3311664" y="223037"/>
                  </a:moveTo>
                  <a:lnTo>
                    <a:pt x="3210826" y="223037"/>
                  </a:lnTo>
                  <a:lnTo>
                    <a:pt x="3210826" y="698207"/>
                  </a:lnTo>
                  <a:lnTo>
                    <a:pt x="3311664" y="698207"/>
                  </a:lnTo>
                  <a:lnTo>
                    <a:pt x="3311664" y="223037"/>
                  </a:lnTo>
                  <a:close/>
                </a:path>
                <a:path w="4199255" h="700405">
                  <a:moveTo>
                    <a:pt x="3327069" y="69215"/>
                  </a:moveTo>
                  <a:lnTo>
                    <a:pt x="3322078" y="44284"/>
                  </a:lnTo>
                  <a:lnTo>
                    <a:pt x="3308362" y="23596"/>
                  </a:lnTo>
                  <a:lnTo>
                    <a:pt x="3287750" y="9486"/>
                  </a:lnTo>
                  <a:lnTo>
                    <a:pt x="3262096" y="4254"/>
                  </a:lnTo>
                  <a:lnTo>
                    <a:pt x="3235464" y="9486"/>
                  </a:lnTo>
                  <a:lnTo>
                    <a:pt x="3214357" y="23596"/>
                  </a:lnTo>
                  <a:lnTo>
                    <a:pt x="3200450" y="44284"/>
                  </a:lnTo>
                  <a:lnTo>
                    <a:pt x="3195434" y="69215"/>
                  </a:lnTo>
                  <a:lnTo>
                    <a:pt x="3200450" y="95631"/>
                  </a:lnTo>
                  <a:lnTo>
                    <a:pt x="3214357" y="117081"/>
                  </a:lnTo>
                  <a:lnTo>
                    <a:pt x="3235464" y="131470"/>
                  </a:lnTo>
                  <a:lnTo>
                    <a:pt x="3262096" y="136740"/>
                  </a:lnTo>
                  <a:lnTo>
                    <a:pt x="3287750" y="131470"/>
                  </a:lnTo>
                  <a:lnTo>
                    <a:pt x="3308362" y="117081"/>
                  </a:lnTo>
                  <a:lnTo>
                    <a:pt x="3322078" y="95631"/>
                  </a:lnTo>
                  <a:lnTo>
                    <a:pt x="3327069" y="69215"/>
                  </a:lnTo>
                  <a:close/>
                </a:path>
                <a:path w="4199255" h="700405">
                  <a:moveTo>
                    <a:pt x="3711638" y="16217"/>
                  </a:moveTo>
                  <a:lnTo>
                    <a:pt x="3691509" y="8636"/>
                  </a:lnTo>
                  <a:lnTo>
                    <a:pt x="3670414" y="3619"/>
                  </a:lnTo>
                  <a:lnTo>
                    <a:pt x="3649637" y="850"/>
                  </a:lnTo>
                  <a:lnTo>
                    <a:pt x="3630472" y="0"/>
                  </a:lnTo>
                  <a:lnTo>
                    <a:pt x="3586848" y="4648"/>
                  </a:lnTo>
                  <a:lnTo>
                    <a:pt x="3549624" y="18669"/>
                  </a:lnTo>
                  <a:lnTo>
                    <a:pt x="3519474" y="42189"/>
                  </a:lnTo>
                  <a:lnTo>
                    <a:pt x="3497084" y="75336"/>
                  </a:lnTo>
                  <a:lnTo>
                    <a:pt x="3483152" y="118198"/>
                  </a:lnTo>
                  <a:lnTo>
                    <a:pt x="3478352" y="170916"/>
                  </a:lnTo>
                  <a:lnTo>
                    <a:pt x="3478352" y="223050"/>
                  </a:lnTo>
                  <a:lnTo>
                    <a:pt x="3407397" y="223050"/>
                  </a:lnTo>
                  <a:lnTo>
                    <a:pt x="3407397" y="314490"/>
                  </a:lnTo>
                  <a:lnTo>
                    <a:pt x="3478352" y="314490"/>
                  </a:lnTo>
                  <a:lnTo>
                    <a:pt x="3478352" y="698207"/>
                  </a:lnTo>
                  <a:lnTo>
                    <a:pt x="3580041" y="698207"/>
                  </a:lnTo>
                  <a:lnTo>
                    <a:pt x="3580041" y="314490"/>
                  </a:lnTo>
                  <a:lnTo>
                    <a:pt x="3697986" y="314490"/>
                  </a:lnTo>
                  <a:lnTo>
                    <a:pt x="3697986" y="223050"/>
                  </a:lnTo>
                  <a:lnTo>
                    <a:pt x="3580041" y="223050"/>
                  </a:lnTo>
                  <a:lnTo>
                    <a:pt x="3580041" y="181165"/>
                  </a:lnTo>
                  <a:lnTo>
                    <a:pt x="3581146" y="147739"/>
                  </a:lnTo>
                  <a:lnTo>
                    <a:pt x="3588905" y="117500"/>
                  </a:lnTo>
                  <a:lnTo>
                    <a:pt x="3609962" y="95605"/>
                  </a:lnTo>
                  <a:lnTo>
                    <a:pt x="3650970" y="87160"/>
                  </a:lnTo>
                  <a:lnTo>
                    <a:pt x="3664889" y="87884"/>
                  </a:lnTo>
                  <a:lnTo>
                    <a:pt x="3679063" y="90360"/>
                  </a:lnTo>
                  <a:lnTo>
                    <a:pt x="3694353" y="95097"/>
                  </a:lnTo>
                  <a:lnTo>
                    <a:pt x="3711638" y="102539"/>
                  </a:lnTo>
                  <a:lnTo>
                    <a:pt x="3711638" y="16217"/>
                  </a:lnTo>
                  <a:close/>
                </a:path>
                <a:path w="4199255" h="700405">
                  <a:moveTo>
                    <a:pt x="4198823" y="445452"/>
                  </a:moveTo>
                  <a:lnTo>
                    <a:pt x="4195280" y="402729"/>
                  </a:lnTo>
                  <a:lnTo>
                    <a:pt x="4179074" y="330885"/>
                  </a:lnTo>
                  <a:lnTo>
                    <a:pt x="4156506" y="287896"/>
                  </a:lnTo>
                  <a:lnTo>
                    <a:pt x="4153116" y="283933"/>
                  </a:lnTo>
                  <a:lnTo>
                    <a:pt x="4127360" y="253809"/>
                  </a:lnTo>
                  <a:lnTo>
                    <a:pt x="4096283" y="230555"/>
                  </a:lnTo>
                  <a:lnTo>
                    <a:pt x="4096283" y="402729"/>
                  </a:lnTo>
                  <a:lnTo>
                    <a:pt x="3844163" y="402729"/>
                  </a:lnTo>
                  <a:lnTo>
                    <a:pt x="3859390" y="354596"/>
                  </a:lnTo>
                  <a:lnTo>
                    <a:pt x="3886466" y="317055"/>
                  </a:lnTo>
                  <a:lnTo>
                    <a:pt x="3924452" y="292646"/>
                  </a:lnTo>
                  <a:lnTo>
                    <a:pt x="3972356" y="283933"/>
                  </a:lnTo>
                  <a:lnTo>
                    <a:pt x="4015638" y="290360"/>
                  </a:lnTo>
                  <a:lnTo>
                    <a:pt x="4053865" y="310959"/>
                  </a:lnTo>
                  <a:lnTo>
                    <a:pt x="4082326" y="347751"/>
                  </a:lnTo>
                  <a:lnTo>
                    <a:pt x="4096283" y="402729"/>
                  </a:lnTo>
                  <a:lnTo>
                    <a:pt x="4096283" y="230555"/>
                  </a:lnTo>
                  <a:lnTo>
                    <a:pt x="4093045" y="228130"/>
                  </a:lnTo>
                  <a:lnTo>
                    <a:pt x="4054970" y="210388"/>
                  </a:lnTo>
                  <a:lnTo>
                    <a:pt x="4014559" y="200088"/>
                  </a:lnTo>
                  <a:lnTo>
                    <a:pt x="3973207" y="196761"/>
                  </a:lnTo>
                  <a:lnTo>
                    <a:pt x="3923296" y="201637"/>
                  </a:lnTo>
                  <a:lnTo>
                    <a:pt x="3877818" y="215734"/>
                  </a:lnTo>
                  <a:lnTo>
                    <a:pt x="3837470" y="238277"/>
                  </a:lnTo>
                  <a:lnTo>
                    <a:pt x="3802926" y="268452"/>
                  </a:lnTo>
                  <a:lnTo>
                    <a:pt x="3774884" y="305473"/>
                  </a:lnTo>
                  <a:lnTo>
                    <a:pt x="3754005" y="348551"/>
                  </a:lnTo>
                  <a:lnTo>
                    <a:pt x="3740975" y="396900"/>
                  </a:lnTo>
                  <a:lnTo>
                    <a:pt x="3736492" y="449732"/>
                  </a:lnTo>
                  <a:lnTo>
                    <a:pt x="3740251" y="498157"/>
                  </a:lnTo>
                  <a:lnTo>
                    <a:pt x="3751173" y="542340"/>
                  </a:lnTo>
                  <a:lnTo>
                    <a:pt x="3768674" y="581875"/>
                  </a:lnTo>
                  <a:lnTo>
                    <a:pt x="3792194" y="616407"/>
                  </a:lnTo>
                  <a:lnTo>
                    <a:pt x="3821163" y="645515"/>
                  </a:lnTo>
                  <a:lnTo>
                    <a:pt x="3854996" y="668832"/>
                  </a:lnTo>
                  <a:lnTo>
                    <a:pt x="3893134" y="685965"/>
                  </a:lnTo>
                  <a:lnTo>
                    <a:pt x="3935006" y="696518"/>
                  </a:lnTo>
                  <a:lnTo>
                    <a:pt x="3980053" y="700125"/>
                  </a:lnTo>
                  <a:lnTo>
                    <a:pt x="4029291" y="695807"/>
                  </a:lnTo>
                  <a:lnTo>
                    <a:pt x="4074096" y="683387"/>
                  </a:lnTo>
                  <a:lnTo>
                    <a:pt x="4113860" y="663702"/>
                  </a:lnTo>
                  <a:lnTo>
                    <a:pt x="4148036" y="637552"/>
                  </a:lnTo>
                  <a:lnTo>
                    <a:pt x="4176026" y="605764"/>
                  </a:lnTo>
                  <a:lnTo>
                    <a:pt x="4197273" y="569175"/>
                  </a:lnTo>
                  <a:lnTo>
                    <a:pt x="4197540" y="568528"/>
                  </a:lnTo>
                  <a:lnTo>
                    <a:pt x="4197693" y="568210"/>
                  </a:lnTo>
                  <a:lnTo>
                    <a:pt x="4100195" y="535089"/>
                  </a:lnTo>
                  <a:lnTo>
                    <a:pt x="4078719" y="566051"/>
                  </a:lnTo>
                  <a:lnTo>
                    <a:pt x="4051033" y="589495"/>
                  </a:lnTo>
                  <a:lnTo>
                    <a:pt x="4017886" y="604342"/>
                  </a:lnTo>
                  <a:lnTo>
                    <a:pt x="3980053" y="609536"/>
                  </a:lnTo>
                  <a:lnTo>
                    <a:pt x="3937571" y="603707"/>
                  </a:lnTo>
                  <a:lnTo>
                    <a:pt x="3900513" y="586676"/>
                  </a:lnTo>
                  <a:lnTo>
                    <a:pt x="3870579" y="559142"/>
                  </a:lnTo>
                  <a:lnTo>
                    <a:pt x="3849522" y="521804"/>
                  </a:lnTo>
                  <a:lnTo>
                    <a:pt x="3839032" y="475373"/>
                  </a:lnTo>
                  <a:lnTo>
                    <a:pt x="4198823" y="475373"/>
                  </a:lnTo>
                  <a:lnTo>
                    <a:pt x="4198823" y="445452"/>
                  </a:lnTo>
                  <a:close/>
                </a:path>
              </a:pathLst>
            </a:custGeom>
            <a:solidFill>
              <a:srgbClr val="FFFFFF"/>
            </a:solidFill>
          </p:spPr>
          <p:txBody>
            <a:bodyPr wrap="square" lIns="0" tIns="0" rIns="0" bIns="0" rtlCol="0"/>
            <a:lstStyle/>
            <a:p>
              <a:endParaRPr dirty="0"/>
            </a:p>
          </p:txBody>
        </p:sp>
        <p:pic>
          <p:nvPicPr>
            <p:cNvPr id="19" name="object 5">
              <a:extLst>
                <a:ext uri="{FF2B5EF4-FFF2-40B4-BE49-F238E27FC236}">
                  <a16:creationId xmlns:a16="http://schemas.microsoft.com/office/drawing/2014/main" id="{09113198-8DF1-5AB4-2A74-906F66955A02}"/>
                </a:ext>
              </a:extLst>
            </p:cNvPr>
            <p:cNvPicPr/>
            <p:nvPr/>
          </p:nvPicPr>
          <p:blipFill>
            <a:blip r:embed="rId5" cstate="print"/>
            <a:stretch>
              <a:fillRect/>
            </a:stretch>
          </p:blipFill>
          <p:spPr>
            <a:xfrm>
              <a:off x="1187091" y="1051352"/>
              <a:ext cx="131619" cy="132467"/>
            </a:xfrm>
            <a:prstGeom prst="rect">
              <a:avLst/>
            </a:prstGeom>
          </p:spPr>
        </p:pic>
      </p:grpSp>
    </p:spTree>
    <p:extLst>
      <p:ext uri="{BB962C8B-B14F-4D97-AF65-F5344CB8AC3E}">
        <p14:creationId xmlns:p14="http://schemas.microsoft.com/office/powerpoint/2010/main" val="26350338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1_Backcov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AE6DB42-72B1-E33D-0904-47B64AFF1575}"/>
              </a:ext>
            </a:extLst>
          </p:cNvPr>
          <p:cNvGraphicFramePr>
            <a:graphicFrameLocks noChangeAspect="1"/>
          </p:cNvGraphicFramePr>
          <p:nvPr userDrawn="1">
            <p:custDataLst>
              <p:tags r:id="rId1"/>
            </p:custDataLst>
            <p:extLst>
              <p:ext uri="{D42A27DB-BD31-4B8C-83A1-F6EECF244321}">
                <p14:modId xmlns:p14="http://schemas.microsoft.com/office/powerpoint/2010/main" val="3974063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2" name="think-cell data - do not delete" hidden="1">
                        <a:extLst>
                          <a:ext uri="{FF2B5EF4-FFF2-40B4-BE49-F238E27FC236}">
                            <a16:creationId xmlns:a16="http://schemas.microsoft.com/office/drawing/2014/main" id="{9AE6DB42-72B1-E33D-0904-47B64AFF15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327E3DE2-2EA2-F26B-D065-B9694246AC0D}"/>
              </a:ext>
            </a:extLst>
          </p:cNvPr>
          <p:cNvGrpSpPr/>
          <p:nvPr userDrawn="1"/>
        </p:nvGrpSpPr>
        <p:grpSpPr>
          <a:xfrm>
            <a:off x="3315629" y="2965224"/>
            <a:ext cx="5560742" cy="927552"/>
            <a:chOff x="10923753" y="1706758"/>
            <a:chExt cx="7512536" cy="1253118"/>
          </a:xfrm>
        </p:grpSpPr>
        <p:grpSp>
          <p:nvGrpSpPr>
            <p:cNvPr id="12" name="object 38">
              <a:extLst>
                <a:ext uri="{FF2B5EF4-FFF2-40B4-BE49-F238E27FC236}">
                  <a16:creationId xmlns:a16="http://schemas.microsoft.com/office/drawing/2014/main" id="{9880692F-70CA-AFDF-F956-A1BB5F57BFDC}"/>
                </a:ext>
              </a:extLst>
            </p:cNvPr>
            <p:cNvGrpSpPr/>
            <p:nvPr userDrawn="1"/>
          </p:nvGrpSpPr>
          <p:grpSpPr>
            <a:xfrm>
              <a:off x="10923753" y="1714382"/>
              <a:ext cx="735330" cy="1245235"/>
              <a:chOff x="10923753" y="1714382"/>
              <a:chExt cx="735330" cy="1245235"/>
            </a:xfrm>
          </p:grpSpPr>
          <p:sp>
            <p:nvSpPr>
              <p:cNvPr id="13" name="object 39">
                <a:extLst>
                  <a:ext uri="{FF2B5EF4-FFF2-40B4-BE49-F238E27FC236}">
                    <a16:creationId xmlns:a16="http://schemas.microsoft.com/office/drawing/2014/main" id="{B73F586D-D3DD-4390-E522-3763112099AD}"/>
                  </a:ext>
                </a:extLst>
              </p:cNvPr>
              <p:cNvSpPr/>
              <p:nvPr/>
            </p:nvSpPr>
            <p:spPr>
              <a:xfrm>
                <a:off x="10923753" y="1904561"/>
                <a:ext cx="735330" cy="1055370"/>
              </a:xfrm>
              <a:custGeom>
                <a:avLst/>
                <a:gdLst/>
                <a:ahLst/>
                <a:cxnLst/>
                <a:rect l="l" t="t" r="r" b="b"/>
                <a:pathLst>
                  <a:path w="735329" h="1055370">
                    <a:moveTo>
                      <a:pt x="735126" y="696264"/>
                    </a:moveTo>
                    <a:lnTo>
                      <a:pt x="689292" y="699173"/>
                    </a:lnTo>
                    <a:lnTo>
                      <a:pt x="686409" y="699350"/>
                    </a:lnTo>
                    <a:lnTo>
                      <a:pt x="677418" y="701116"/>
                    </a:lnTo>
                    <a:lnTo>
                      <a:pt x="640435" y="708329"/>
                    </a:lnTo>
                    <a:lnTo>
                      <a:pt x="596709" y="722833"/>
                    </a:lnTo>
                    <a:lnTo>
                      <a:pt x="555599" y="742480"/>
                    </a:lnTo>
                    <a:lnTo>
                      <a:pt x="517512" y="766876"/>
                    </a:lnTo>
                    <a:lnTo>
                      <a:pt x="482815" y="795629"/>
                    </a:lnTo>
                    <a:lnTo>
                      <a:pt x="451904" y="828370"/>
                    </a:lnTo>
                    <a:lnTo>
                      <a:pt x="425157" y="864704"/>
                    </a:lnTo>
                    <a:lnTo>
                      <a:pt x="402958" y="904252"/>
                    </a:lnTo>
                    <a:lnTo>
                      <a:pt x="385686" y="946632"/>
                    </a:lnTo>
                    <a:lnTo>
                      <a:pt x="373735" y="991450"/>
                    </a:lnTo>
                    <a:lnTo>
                      <a:pt x="367474" y="1038326"/>
                    </a:lnTo>
                    <a:lnTo>
                      <a:pt x="364477" y="1016482"/>
                    </a:lnTo>
                    <a:lnTo>
                      <a:pt x="361073" y="991628"/>
                    </a:lnTo>
                    <a:lnTo>
                      <a:pt x="348996" y="947000"/>
                    </a:lnTo>
                    <a:lnTo>
                      <a:pt x="331635" y="904811"/>
                    </a:lnTo>
                    <a:lnTo>
                      <a:pt x="309384" y="865428"/>
                    </a:lnTo>
                    <a:lnTo>
                      <a:pt x="282613" y="829246"/>
                    </a:lnTo>
                    <a:lnTo>
                      <a:pt x="251701" y="796658"/>
                    </a:lnTo>
                    <a:lnTo>
                      <a:pt x="217043" y="768032"/>
                    </a:lnTo>
                    <a:lnTo>
                      <a:pt x="179006" y="743750"/>
                    </a:lnTo>
                    <a:lnTo>
                      <a:pt x="165747" y="737450"/>
                    </a:lnTo>
                    <a:lnTo>
                      <a:pt x="137972" y="724204"/>
                    </a:lnTo>
                    <a:lnTo>
                      <a:pt x="94335" y="709764"/>
                    </a:lnTo>
                    <a:lnTo>
                      <a:pt x="48463" y="700824"/>
                    </a:lnTo>
                    <a:lnTo>
                      <a:pt x="0" y="697776"/>
                    </a:lnTo>
                    <a:lnTo>
                      <a:pt x="4559" y="746353"/>
                    </a:lnTo>
                    <a:lnTo>
                      <a:pt x="15227" y="792911"/>
                    </a:lnTo>
                    <a:lnTo>
                      <a:pt x="31597" y="836993"/>
                    </a:lnTo>
                    <a:lnTo>
                      <a:pt x="53225" y="878205"/>
                    </a:lnTo>
                    <a:lnTo>
                      <a:pt x="79730" y="916139"/>
                    </a:lnTo>
                    <a:lnTo>
                      <a:pt x="110680" y="950353"/>
                    </a:lnTo>
                    <a:lnTo>
                      <a:pt x="145656" y="980465"/>
                    </a:lnTo>
                    <a:lnTo>
                      <a:pt x="184264" y="1006043"/>
                    </a:lnTo>
                    <a:lnTo>
                      <a:pt x="226072" y="1026693"/>
                    </a:lnTo>
                    <a:lnTo>
                      <a:pt x="270675" y="1041971"/>
                    </a:lnTo>
                    <a:lnTo>
                      <a:pt x="317652" y="1051496"/>
                    </a:lnTo>
                    <a:lnTo>
                      <a:pt x="366585" y="1054836"/>
                    </a:lnTo>
                    <a:lnTo>
                      <a:pt x="368223" y="1054836"/>
                    </a:lnTo>
                    <a:lnTo>
                      <a:pt x="417309" y="1051483"/>
                    </a:lnTo>
                    <a:lnTo>
                      <a:pt x="464413" y="1041920"/>
                    </a:lnTo>
                    <a:lnTo>
                      <a:pt x="509130" y="1026566"/>
                    </a:lnTo>
                    <a:lnTo>
                      <a:pt x="551027" y="1005827"/>
                    </a:lnTo>
                    <a:lnTo>
                      <a:pt x="589711" y="980135"/>
                    </a:lnTo>
                    <a:lnTo>
                      <a:pt x="624738" y="949896"/>
                    </a:lnTo>
                    <a:lnTo>
                      <a:pt x="655713" y="915517"/>
                    </a:lnTo>
                    <a:lnTo>
                      <a:pt x="682205" y="877443"/>
                    </a:lnTo>
                    <a:lnTo>
                      <a:pt x="703821" y="836053"/>
                    </a:lnTo>
                    <a:lnTo>
                      <a:pt x="720115" y="791794"/>
                    </a:lnTo>
                    <a:lnTo>
                      <a:pt x="730694" y="745058"/>
                    </a:lnTo>
                    <a:lnTo>
                      <a:pt x="735114" y="696290"/>
                    </a:lnTo>
                    <a:close/>
                  </a:path>
                  <a:path w="735329" h="1055370">
                    <a:moveTo>
                      <a:pt x="735126" y="356158"/>
                    </a:moveTo>
                    <a:lnTo>
                      <a:pt x="686396" y="359244"/>
                    </a:lnTo>
                    <a:lnTo>
                      <a:pt x="640422" y="368223"/>
                    </a:lnTo>
                    <a:lnTo>
                      <a:pt x="596696" y="382739"/>
                    </a:lnTo>
                    <a:lnTo>
                      <a:pt x="555599" y="402374"/>
                    </a:lnTo>
                    <a:lnTo>
                      <a:pt x="517512" y="426770"/>
                    </a:lnTo>
                    <a:lnTo>
                      <a:pt x="482815" y="455523"/>
                    </a:lnTo>
                    <a:lnTo>
                      <a:pt x="451904" y="488264"/>
                    </a:lnTo>
                    <a:lnTo>
                      <a:pt x="425157" y="524598"/>
                    </a:lnTo>
                    <a:lnTo>
                      <a:pt x="402958" y="564146"/>
                    </a:lnTo>
                    <a:lnTo>
                      <a:pt x="385686" y="606526"/>
                    </a:lnTo>
                    <a:lnTo>
                      <a:pt x="373735" y="651344"/>
                    </a:lnTo>
                    <a:lnTo>
                      <a:pt x="367474" y="698220"/>
                    </a:lnTo>
                    <a:lnTo>
                      <a:pt x="361073" y="651522"/>
                    </a:lnTo>
                    <a:lnTo>
                      <a:pt x="348996" y="606894"/>
                    </a:lnTo>
                    <a:lnTo>
                      <a:pt x="331635" y="564692"/>
                    </a:lnTo>
                    <a:lnTo>
                      <a:pt x="309384" y="525310"/>
                    </a:lnTo>
                    <a:lnTo>
                      <a:pt x="282613" y="489140"/>
                    </a:lnTo>
                    <a:lnTo>
                      <a:pt x="251701" y="456552"/>
                    </a:lnTo>
                    <a:lnTo>
                      <a:pt x="217043" y="427926"/>
                    </a:lnTo>
                    <a:lnTo>
                      <a:pt x="179006" y="403644"/>
                    </a:lnTo>
                    <a:lnTo>
                      <a:pt x="137972" y="384098"/>
                    </a:lnTo>
                    <a:lnTo>
                      <a:pt x="94335" y="369658"/>
                    </a:lnTo>
                    <a:lnTo>
                      <a:pt x="48463" y="360718"/>
                    </a:lnTo>
                    <a:lnTo>
                      <a:pt x="0" y="357644"/>
                    </a:lnTo>
                    <a:lnTo>
                      <a:pt x="4559" y="406247"/>
                    </a:lnTo>
                    <a:lnTo>
                      <a:pt x="15227" y="452793"/>
                    </a:lnTo>
                    <a:lnTo>
                      <a:pt x="31597" y="496887"/>
                    </a:lnTo>
                    <a:lnTo>
                      <a:pt x="53238" y="538099"/>
                    </a:lnTo>
                    <a:lnTo>
                      <a:pt x="79730" y="576021"/>
                    </a:lnTo>
                    <a:lnTo>
                      <a:pt x="110680" y="610247"/>
                    </a:lnTo>
                    <a:lnTo>
                      <a:pt x="145669" y="640359"/>
                    </a:lnTo>
                    <a:lnTo>
                      <a:pt x="184264" y="665937"/>
                    </a:lnTo>
                    <a:lnTo>
                      <a:pt x="226072" y="686574"/>
                    </a:lnTo>
                    <a:lnTo>
                      <a:pt x="270675" y="701865"/>
                    </a:lnTo>
                    <a:lnTo>
                      <a:pt x="317652" y="711390"/>
                    </a:lnTo>
                    <a:lnTo>
                      <a:pt x="366585" y="714730"/>
                    </a:lnTo>
                    <a:lnTo>
                      <a:pt x="368223" y="714730"/>
                    </a:lnTo>
                    <a:lnTo>
                      <a:pt x="417309" y="711377"/>
                    </a:lnTo>
                    <a:lnTo>
                      <a:pt x="464413" y="701814"/>
                    </a:lnTo>
                    <a:lnTo>
                      <a:pt x="509130" y="686447"/>
                    </a:lnTo>
                    <a:lnTo>
                      <a:pt x="551027" y="665721"/>
                    </a:lnTo>
                    <a:lnTo>
                      <a:pt x="589711" y="640029"/>
                    </a:lnTo>
                    <a:lnTo>
                      <a:pt x="624738" y="609777"/>
                    </a:lnTo>
                    <a:lnTo>
                      <a:pt x="655713" y="575411"/>
                    </a:lnTo>
                    <a:lnTo>
                      <a:pt x="682205" y="537324"/>
                    </a:lnTo>
                    <a:lnTo>
                      <a:pt x="703821" y="495947"/>
                    </a:lnTo>
                    <a:lnTo>
                      <a:pt x="720115" y="451675"/>
                    </a:lnTo>
                    <a:lnTo>
                      <a:pt x="730694" y="404952"/>
                    </a:lnTo>
                    <a:lnTo>
                      <a:pt x="735126" y="356158"/>
                    </a:lnTo>
                    <a:close/>
                  </a:path>
                  <a:path w="735329" h="1055370">
                    <a:moveTo>
                      <a:pt x="735126" y="0"/>
                    </a:moveTo>
                    <a:lnTo>
                      <a:pt x="686396" y="3073"/>
                    </a:lnTo>
                    <a:lnTo>
                      <a:pt x="640422" y="12065"/>
                    </a:lnTo>
                    <a:lnTo>
                      <a:pt x="596696" y="26568"/>
                    </a:lnTo>
                    <a:lnTo>
                      <a:pt x="555599" y="46215"/>
                    </a:lnTo>
                    <a:lnTo>
                      <a:pt x="517512" y="70599"/>
                    </a:lnTo>
                    <a:lnTo>
                      <a:pt x="482815" y="99364"/>
                    </a:lnTo>
                    <a:lnTo>
                      <a:pt x="451904" y="132105"/>
                    </a:lnTo>
                    <a:lnTo>
                      <a:pt x="425157" y="168440"/>
                    </a:lnTo>
                    <a:lnTo>
                      <a:pt x="402958" y="207987"/>
                    </a:lnTo>
                    <a:lnTo>
                      <a:pt x="385686" y="250355"/>
                    </a:lnTo>
                    <a:lnTo>
                      <a:pt x="373735" y="295173"/>
                    </a:lnTo>
                    <a:lnTo>
                      <a:pt x="367474" y="342049"/>
                    </a:lnTo>
                    <a:lnTo>
                      <a:pt x="361073" y="295363"/>
                    </a:lnTo>
                    <a:lnTo>
                      <a:pt x="348996" y="250723"/>
                    </a:lnTo>
                    <a:lnTo>
                      <a:pt x="331635" y="208534"/>
                    </a:lnTo>
                    <a:lnTo>
                      <a:pt x="309384" y="169151"/>
                    </a:lnTo>
                    <a:lnTo>
                      <a:pt x="282613" y="132969"/>
                    </a:lnTo>
                    <a:lnTo>
                      <a:pt x="251701" y="100380"/>
                    </a:lnTo>
                    <a:lnTo>
                      <a:pt x="217043" y="71755"/>
                    </a:lnTo>
                    <a:lnTo>
                      <a:pt x="179006" y="47472"/>
                    </a:lnTo>
                    <a:lnTo>
                      <a:pt x="137972" y="27927"/>
                    </a:lnTo>
                    <a:lnTo>
                      <a:pt x="94335" y="13487"/>
                    </a:lnTo>
                    <a:lnTo>
                      <a:pt x="48463" y="4546"/>
                    </a:lnTo>
                    <a:lnTo>
                      <a:pt x="0" y="1485"/>
                    </a:lnTo>
                    <a:lnTo>
                      <a:pt x="4559" y="50088"/>
                    </a:lnTo>
                    <a:lnTo>
                      <a:pt x="15227" y="96634"/>
                    </a:lnTo>
                    <a:lnTo>
                      <a:pt x="31597" y="140716"/>
                    </a:lnTo>
                    <a:lnTo>
                      <a:pt x="53238" y="181940"/>
                    </a:lnTo>
                    <a:lnTo>
                      <a:pt x="79730" y="219862"/>
                    </a:lnTo>
                    <a:lnTo>
                      <a:pt x="110680" y="254088"/>
                    </a:lnTo>
                    <a:lnTo>
                      <a:pt x="145669" y="284187"/>
                    </a:lnTo>
                    <a:lnTo>
                      <a:pt x="184264" y="309778"/>
                    </a:lnTo>
                    <a:lnTo>
                      <a:pt x="226072" y="330415"/>
                    </a:lnTo>
                    <a:lnTo>
                      <a:pt x="270675" y="345706"/>
                    </a:lnTo>
                    <a:lnTo>
                      <a:pt x="317652" y="355219"/>
                    </a:lnTo>
                    <a:lnTo>
                      <a:pt x="366585" y="358559"/>
                    </a:lnTo>
                    <a:lnTo>
                      <a:pt x="368223" y="358559"/>
                    </a:lnTo>
                    <a:lnTo>
                      <a:pt x="417309" y="355206"/>
                    </a:lnTo>
                    <a:lnTo>
                      <a:pt x="464413" y="345643"/>
                    </a:lnTo>
                    <a:lnTo>
                      <a:pt x="509130" y="330288"/>
                    </a:lnTo>
                    <a:lnTo>
                      <a:pt x="551027" y="309549"/>
                    </a:lnTo>
                    <a:lnTo>
                      <a:pt x="589711" y="283857"/>
                    </a:lnTo>
                    <a:lnTo>
                      <a:pt x="624738" y="253619"/>
                    </a:lnTo>
                    <a:lnTo>
                      <a:pt x="655713" y="219252"/>
                    </a:lnTo>
                    <a:lnTo>
                      <a:pt x="682205" y="181165"/>
                    </a:lnTo>
                    <a:lnTo>
                      <a:pt x="703821" y="139776"/>
                    </a:lnTo>
                    <a:lnTo>
                      <a:pt x="720115" y="95516"/>
                    </a:lnTo>
                    <a:lnTo>
                      <a:pt x="730694" y="48780"/>
                    </a:lnTo>
                    <a:lnTo>
                      <a:pt x="735126" y="0"/>
                    </a:lnTo>
                    <a:close/>
                  </a:path>
                </a:pathLst>
              </a:custGeom>
              <a:solidFill>
                <a:srgbClr val="009FD3"/>
              </a:solidFill>
            </p:spPr>
            <p:txBody>
              <a:bodyPr wrap="square" lIns="0" tIns="0" rIns="0" bIns="0" rtlCol="0"/>
              <a:lstStyle/>
              <a:p>
                <a:endParaRPr dirty="0"/>
              </a:p>
            </p:txBody>
          </p:sp>
          <p:pic>
            <p:nvPicPr>
              <p:cNvPr id="14" name="object 40">
                <a:extLst>
                  <a:ext uri="{FF2B5EF4-FFF2-40B4-BE49-F238E27FC236}">
                    <a16:creationId xmlns:a16="http://schemas.microsoft.com/office/drawing/2014/main" id="{284065E2-19F9-F14A-EFCD-F2D20BEB4F22}"/>
                  </a:ext>
                </a:extLst>
              </p:cNvPr>
              <p:cNvPicPr/>
              <p:nvPr/>
            </p:nvPicPr>
            <p:blipFill>
              <a:blip r:embed="rId5" cstate="print"/>
              <a:stretch>
                <a:fillRect/>
              </a:stretch>
            </p:blipFill>
            <p:spPr>
              <a:xfrm>
                <a:off x="11174235" y="1714382"/>
                <a:ext cx="235500" cy="237008"/>
              </a:xfrm>
              <a:prstGeom prst="rect">
                <a:avLst/>
              </a:prstGeom>
            </p:spPr>
          </p:pic>
        </p:grpSp>
        <p:sp>
          <p:nvSpPr>
            <p:cNvPr id="15" name="object 41">
              <a:extLst>
                <a:ext uri="{FF2B5EF4-FFF2-40B4-BE49-F238E27FC236}">
                  <a16:creationId xmlns:a16="http://schemas.microsoft.com/office/drawing/2014/main" id="{88594B9C-0BAE-6E56-B9D5-2839EC4C90B4}"/>
                </a:ext>
              </a:extLst>
            </p:cNvPr>
            <p:cNvSpPr/>
            <p:nvPr userDrawn="1"/>
          </p:nvSpPr>
          <p:spPr>
            <a:xfrm>
              <a:off x="11898393" y="2058811"/>
              <a:ext cx="845819" cy="901065"/>
            </a:xfrm>
            <a:custGeom>
              <a:avLst/>
              <a:gdLst/>
              <a:ahLst/>
              <a:cxnLst/>
              <a:rect l="l" t="t" r="r" b="b"/>
              <a:pathLst>
                <a:path w="845820" h="901064">
                  <a:moveTo>
                    <a:pt x="432709" y="0"/>
                  </a:moveTo>
                  <a:lnTo>
                    <a:pt x="384043" y="2321"/>
                  </a:lnTo>
                  <a:lnTo>
                    <a:pt x="337266" y="9196"/>
                  </a:lnTo>
                  <a:lnTo>
                    <a:pt x="292595" y="20488"/>
                  </a:lnTo>
                  <a:lnTo>
                    <a:pt x="250247" y="36062"/>
                  </a:lnTo>
                  <a:lnTo>
                    <a:pt x="210441" y="55780"/>
                  </a:lnTo>
                  <a:lnTo>
                    <a:pt x="173394" y="79508"/>
                  </a:lnTo>
                  <a:lnTo>
                    <a:pt x="139322" y="107110"/>
                  </a:lnTo>
                  <a:lnTo>
                    <a:pt x="108445" y="138449"/>
                  </a:lnTo>
                  <a:lnTo>
                    <a:pt x="80979" y="173389"/>
                  </a:lnTo>
                  <a:lnTo>
                    <a:pt x="57141" y="211795"/>
                  </a:lnTo>
                  <a:lnTo>
                    <a:pt x="37150" y="253531"/>
                  </a:lnTo>
                  <a:lnTo>
                    <a:pt x="21223" y="298461"/>
                  </a:lnTo>
                  <a:lnTo>
                    <a:pt x="9577" y="346449"/>
                  </a:lnTo>
                  <a:lnTo>
                    <a:pt x="2430" y="397358"/>
                  </a:lnTo>
                  <a:lnTo>
                    <a:pt x="0" y="451054"/>
                  </a:lnTo>
                  <a:lnTo>
                    <a:pt x="2451" y="504730"/>
                  </a:lnTo>
                  <a:lnTo>
                    <a:pt x="9659" y="555585"/>
                  </a:lnTo>
                  <a:lnTo>
                    <a:pt x="21407" y="603488"/>
                  </a:lnTo>
                  <a:lnTo>
                    <a:pt x="37477" y="648308"/>
                  </a:lnTo>
                  <a:lnTo>
                    <a:pt x="57651" y="689916"/>
                  </a:lnTo>
                  <a:lnTo>
                    <a:pt x="81713" y="728180"/>
                  </a:lnTo>
                  <a:lnTo>
                    <a:pt x="109445" y="762971"/>
                  </a:lnTo>
                  <a:lnTo>
                    <a:pt x="140629" y="794157"/>
                  </a:lnTo>
                  <a:lnTo>
                    <a:pt x="175047" y="821609"/>
                  </a:lnTo>
                  <a:lnTo>
                    <a:pt x="212482" y="845195"/>
                  </a:lnTo>
                  <a:lnTo>
                    <a:pt x="252718" y="864785"/>
                  </a:lnTo>
                  <a:lnTo>
                    <a:pt x="295535" y="880250"/>
                  </a:lnTo>
                  <a:lnTo>
                    <a:pt x="340717" y="891457"/>
                  </a:lnTo>
                  <a:lnTo>
                    <a:pt x="388047" y="898277"/>
                  </a:lnTo>
                  <a:lnTo>
                    <a:pt x="437306" y="900579"/>
                  </a:lnTo>
                  <a:lnTo>
                    <a:pt x="488856" y="898061"/>
                  </a:lnTo>
                  <a:lnTo>
                    <a:pt x="538264" y="890595"/>
                  </a:lnTo>
                  <a:lnTo>
                    <a:pt x="585282" y="878310"/>
                  </a:lnTo>
                  <a:lnTo>
                    <a:pt x="629660" y="861339"/>
                  </a:lnTo>
                  <a:lnTo>
                    <a:pt x="671150" y="839811"/>
                  </a:lnTo>
                  <a:lnTo>
                    <a:pt x="709505" y="813859"/>
                  </a:lnTo>
                  <a:lnTo>
                    <a:pt x="744475" y="783611"/>
                  </a:lnTo>
                  <a:lnTo>
                    <a:pt x="775812" y="749201"/>
                  </a:lnTo>
                  <a:lnTo>
                    <a:pt x="803269" y="710757"/>
                  </a:lnTo>
                  <a:lnTo>
                    <a:pt x="826595" y="668411"/>
                  </a:lnTo>
                  <a:lnTo>
                    <a:pt x="845544" y="622295"/>
                  </a:lnTo>
                  <a:lnTo>
                    <a:pt x="677361" y="556548"/>
                  </a:lnTo>
                  <a:lnTo>
                    <a:pt x="656452" y="599824"/>
                  </a:lnTo>
                  <a:lnTo>
                    <a:pt x="630620" y="637616"/>
                  </a:lnTo>
                  <a:lnTo>
                    <a:pt x="600186" y="669496"/>
                  </a:lnTo>
                  <a:lnTo>
                    <a:pt x="565470" y="695035"/>
                  </a:lnTo>
                  <a:lnTo>
                    <a:pt x="526794" y="713808"/>
                  </a:lnTo>
                  <a:lnTo>
                    <a:pt x="484479" y="725385"/>
                  </a:lnTo>
                  <a:lnTo>
                    <a:pt x="438845" y="729339"/>
                  </a:lnTo>
                  <a:lnTo>
                    <a:pt x="393247" y="725381"/>
                  </a:lnTo>
                  <a:lnTo>
                    <a:pt x="350658" y="713759"/>
                  </a:lnTo>
                  <a:lnTo>
                    <a:pt x="311707" y="694850"/>
                  </a:lnTo>
                  <a:lnTo>
                    <a:pt x="277023" y="669033"/>
                  </a:lnTo>
                  <a:lnTo>
                    <a:pt x="247234" y="636684"/>
                  </a:lnTo>
                  <a:lnTo>
                    <a:pt x="222970" y="598181"/>
                  </a:lnTo>
                  <a:lnTo>
                    <a:pt x="204860" y="553902"/>
                  </a:lnTo>
                  <a:lnTo>
                    <a:pt x="193532" y="504224"/>
                  </a:lnTo>
                  <a:lnTo>
                    <a:pt x="189617" y="449525"/>
                  </a:lnTo>
                  <a:lnTo>
                    <a:pt x="193069" y="398502"/>
                  </a:lnTo>
                  <a:lnTo>
                    <a:pt x="203189" y="350889"/>
                  </a:lnTo>
                  <a:lnTo>
                    <a:pt x="219626" y="307378"/>
                  </a:lnTo>
                  <a:lnTo>
                    <a:pt x="242027" y="268662"/>
                  </a:lnTo>
                  <a:lnTo>
                    <a:pt x="270040" y="235432"/>
                  </a:lnTo>
                  <a:lnTo>
                    <a:pt x="303314" y="208382"/>
                  </a:lnTo>
                  <a:lnTo>
                    <a:pt x="341494" y="188204"/>
                  </a:lnTo>
                  <a:lnTo>
                    <a:pt x="384230" y="175589"/>
                  </a:lnTo>
                  <a:lnTo>
                    <a:pt x="431170" y="171230"/>
                  </a:lnTo>
                  <a:lnTo>
                    <a:pt x="478796" y="175457"/>
                  </a:lnTo>
                  <a:lnTo>
                    <a:pt x="523200" y="188222"/>
                  </a:lnTo>
                  <a:lnTo>
                    <a:pt x="563443" y="209653"/>
                  </a:lnTo>
                  <a:lnTo>
                    <a:pt x="598587" y="239875"/>
                  </a:lnTo>
                  <a:lnTo>
                    <a:pt x="627693" y="279017"/>
                  </a:lnTo>
                  <a:lnTo>
                    <a:pt x="649823" y="327204"/>
                  </a:lnTo>
                  <a:lnTo>
                    <a:pt x="821105" y="258390"/>
                  </a:lnTo>
                  <a:lnTo>
                    <a:pt x="799654" y="209917"/>
                  </a:lnTo>
                  <a:lnTo>
                    <a:pt x="773213" y="166352"/>
                  </a:lnTo>
                  <a:lnTo>
                    <a:pt x="742205" y="127739"/>
                  </a:lnTo>
                  <a:lnTo>
                    <a:pt x="707052" y="94125"/>
                  </a:lnTo>
                  <a:lnTo>
                    <a:pt x="668175" y="65556"/>
                  </a:lnTo>
                  <a:lnTo>
                    <a:pt x="625997" y="42079"/>
                  </a:lnTo>
                  <a:lnTo>
                    <a:pt x="580940" y="23738"/>
                  </a:lnTo>
                  <a:lnTo>
                    <a:pt x="533424" y="10581"/>
                  </a:lnTo>
                  <a:lnTo>
                    <a:pt x="483873" y="2652"/>
                  </a:lnTo>
                  <a:lnTo>
                    <a:pt x="432709" y="0"/>
                  </a:lnTo>
                  <a:close/>
                </a:path>
              </a:pathLst>
            </a:custGeom>
            <a:solidFill>
              <a:srgbClr val="009FD3"/>
            </a:solidFill>
          </p:spPr>
          <p:txBody>
            <a:bodyPr wrap="square" lIns="0" tIns="0" rIns="0" bIns="0" rtlCol="0"/>
            <a:lstStyle/>
            <a:p>
              <a:endParaRPr dirty="0"/>
            </a:p>
          </p:txBody>
        </p:sp>
        <p:sp>
          <p:nvSpPr>
            <p:cNvPr id="16" name="object 42">
              <a:extLst>
                <a:ext uri="{FF2B5EF4-FFF2-40B4-BE49-F238E27FC236}">
                  <a16:creationId xmlns:a16="http://schemas.microsoft.com/office/drawing/2014/main" id="{86DA75FA-0A63-0491-024B-7E3B6E83FFA1}"/>
                </a:ext>
              </a:extLst>
            </p:cNvPr>
            <p:cNvSpPr/>
            <p:nvPr userDrawn="1"/>
          </p:nvSpPr>
          <p:spPr>
            <a:xfrm>
              <a:off x="13864963" y="2081364"/>
              <a:ext cx="520065" cy="875030"/>
            </a:xfrm>
            <a:custGeom>
              <a:avLst/>
              <a:gdLst/>
              <a:ahLst/>
              <a:cxnLst/>
              <a:rect l="l" t="t" r="r" b="b"/>
              <a:pathLst>
                <a:path w="520065" h="875030">
                  <a:moveTo>
                    <a:pt x="434238" y="0"/>
                  </a:moveTo>
                  <a:lnTo>
                    <a:pt x="385526" y="4421"/>
                  </a:lnTo>
                  <a:lnTo>
                    <a:pt x="340530" y="17026"/>
                  </a:lnTo>
                  <a:lnTo>
                    <a:pt x="299597" y="36826"/>
                  </a:lnTo>
                  <a:lnTo>
                    <a:pt x="263076" y="62831"/>
                  </a:lnTo>
                  <a:lnTo>
                    <a:pt x="231316" y="94054"/>
                  </a:lnTo>
                  <a:lnTo>
                    <a:pt x="204665" y="129504"/>
                  </a:lnTo>
                  <a:lnTo>
                    <a:pt x="183470" y="168193"/>
                  </a:lnTo>
                  <a:lnTo>
                    <a:pt x="177387" y="168193"/>
                  </a:lnTo>
                  <a:lnTo>
                    <a:pt x="177387" y="24449"/>
                  </a:lnTo>
                  <a:lnTo>
                    <a:pt x="0" y="24449"/>
                  </a:lnTo>
                  <a:lnTo>
                    <a:pt x="0" y="874601"/>
                  </a:lnTo>
                  <a:lnTo>
                    <a:pt x="180455" y="874601"/>
                  </a:lnTo>
                  <a:lnTo>
                    <a:pt x="180455" y="521387"/>
                  </a:lnTo>
                  <a:lnTo>
                    <a:pt x="181846" y="478588"/>
                  </a:lnTo>
                  <a:lnTo>
                    <a:pt x="186448" y="434569"/>
                  </a:lnTo>
                  <a:lnTo>
                    <a:pt x="194902" y="390677"/>
                  </a:lnTo>
                  <a:lnTo>
                    <a:pt x="207851" y="348260"/>
                  </a:lnTo>
                  <a:lnTo>
                    <a:pt x="225938" y="308669"/>
                  </a:lnTo>
                  <a:lnTo>
                    <a:pt x="249803" y="273252"/>
                  </a:lnTo>
                  <a:lnTo>
                    <a:pt x="280091" y="243358"/>
                  </a:lnTo>
                  <a:lnTo>
                    <a:pt x="317441" y="220334"/>
                  </a:lnTo>
                  <a:lnTo>
                    <a:pt x="362498" y="205531"/>
                  </a:lnTo>
                  <a:lnTo>
                    <a:pt x="415903" y="200297"/>
                  </a:lnTo>
                  <a:lnTo>
                    <a:pt x="439236" y="201203"/>
                  </a:lnTo>
                  <a:lnTo>
                    <a:pt x="466157" y="204115"/>
                  </a:lnTo>
                  <a:lnTo>
                    <a:pt x="493939" y="209322"/>
                  </a:lnTo>
                  <a:lnTo>
                    <a:pt x="519858" y="217113"/>
                  </a:lnTo>
                  <a:lnTo>
                    <a:pt x="519858" y="15277"/>
                  </a:lnTo>
                  <a:lnTo>
                    <a:pt x="497459" y="7730"/>
                  </a:lnTo>
                  <a:lnTo>
                    <a:pt x="475917" y="3052"/>
                  </a:lnTo>
                  <a:lnTo>
                    <a:pt x="454940" y="667"/>
                  </a:lnTo>
                  <a:lnTo>
                    <a:pt x="434238" y="0"/>
                  </a:lnTo>
                  <a:close/>
                </a:path>
              </a:pathLst>
            </a:custGeom>
            <a:solidFill>
              <a:srgbClr val="009FD3"/>
            </a:solidFill>
          </p:spPr>
          <p:txBody>
            <a:bodyPr wrap="square" lIns="0" tIns="0" rIns="0" bIns="0" rtlCol="0"/>
            <a:lstStyle/>
            <a:p>
              <a:endParaRPr dirty="0"/>
            </a:p>
          </p:txBody>
        </p:sp>
        <p:sp>
          <p:nvSpPr>
            <p:cNvPr id="17" name="object 43">
              <a:extLst>
                <a:ext uri="{FF2B5EF4-FFF2-40B4-BE49-F238E27FC236}">
                  <a16:creationId xmlns:a16="http://schemas.microsoft.com/office/drawing/2014/main" id="{6C6DC449-E5C4-95B5-25B6-D5FD5173E0D0}"/>
                </a:ext>
              </a:extLst>
            </p:cNvPr>
            <p:cNvSpPr/>
            <p:nvPr userDrawn="1"/>
          </p:nvSpPr>
          <p:spPr>
            <a:xfrm>
              <a:off x="15392646" y="2058803"/>
              <a:ext cx="691515" cy="901065"/>
            </a:xfrm>
            <a:custGeom>
              <a:avLst/>
              <a:gdLst/>
              <a:ahLst/>
              <a:cxnLst/>
              <a:rect l="l" t="t" r="r" b="b"/>
              <a:pathLst>
                <a:path w="691515" h="901064">
                  <a:moveTo>
                    <a:pt x="348617" y="0"/>
                  </a:moveTo>
                  <a:lnTo>
                    <a:pt x="299106" y="2817"/>
                  </a:lnTo>
                  <a:lnTo>
                    <a:pt x="251924" y="11166"/>
                  </a:lnTo>
                  <a:lnTo>
                    <a:pt x="207748" y="24890"/>
                  </a:lnTo>
                  <a:lnTo>
                    <a:pt x="167260" y="43834"/>
                  </a:lnTo>
                  <a:lnTo>
                    <a:pt x="131137" y="67842"/>
                  </a:lnTo>
                  <a:lnTo>
                    <a:pt x="100059" y="96758"/>
                  </a:lnTo>
                  <a:lnTo>
                    <a:pt x="74705" y="130426"/>
                  </a:lnTo>
                  <a:lnTo>
                    <a:pt x="55754" y="168692"/>
                  </a:lnTo>
                  <a:lnTo>
                    <a:pt x="43885" y="211398"/>
                  </a:lnTo>
                  <a:lnTo>
                    <a:pt x="39778" y="258390"/>
                  </a:lnTo>
                  <a:lnTo>
                    <a:pt x="45816" y="314072"/>
                  </a:lnTo>
                  <a:lnTo>
                    <a:pt x="62568" y="361225"/>
                  </a:lnTo>
                  <a:lnTo>
                    <a:pt x="87992" y="400637"/>
                  </a:lnTo>
                  <a:lnTo>
                    <a:pt x="120044" y="433095"/>
                  </a:lnTo>
                  <a:lnTo>
                    <a:pt x="156684" y="459388"/>
                  </a:lnTo>
                  <a:lnTo>
                    <a:pt x="195867" y="480304"/>
                  </a:lnTo>
                  <a:lnTo>
                    <a:pt x="235553" y="496631"/>
                  </a:lnTo>
                  <a:lnTo>
                    <a:pt x="273698" y="509157"/>
                  </a:lnTo>
                  <a:lnTo>
                    <a:pt x="362386" y="535146"/>
                  </a:lnTo>
                  <a:lnTo>
                    <a:pt x="411388" y="551110"/>
                  </a:lnTo>
                  <a:lnTo>
                    <a:pt x="455080" y="572235"/>
                  </a:lnTo>
                  <a:lnTo>
                    <a:pt x="486442" y="603107"/>
                  </a:lnTo>
                  <a:lnTo>
                    <a:pt x="498456" y="648315"/>
                  </a:lnTo>
                  <a:lnTo>
                    <a:pt x="485392" y="697213"/>
                  </a:lnTo>
                  <a:lnTo>
                    <a:pt x="452410" y="728771"/>
                  </a:lnTo>
                  <a:lnTo>
                    <a:pt x="408818" y="745710"/>
                  </a:lnTo>
                  <a:lnTo>
                    <a:pt x="363926" y="750752"/>
                  </a:lnTo>
                  <a:lnTo>
                    <a:pt x="319209" y="745345"/>
                  </a:lnTo>
                  <a:lnTo>
                    <a:pt x="274782" y="728781"/>
                  </a:lnTo>
                  <a:lnTo>
                    <a:pt x="233142" y="700548"/>
                  </a:lnTo>
                  <a:lnTo>
                    <a:pt x="196787" y="660132"/>
                  </a:lnTo>
                  <a:lnTo>
                    <a:pt x="168214" y="607018"/>
                  </a:lnTo>
                  <a:lnTo>
                    <a:pt x="0" y="662063"/>
                  </a:lnTo>
                  <a:lnTo>
                    <a:pt x="15600" y="703298"/>
                  </a:lnTo>
                  <a:lnTo>
                    <a:pt x="36540" y="741477"/>
                  </a:lnTo>
                  <a:lnTo>
                    <a:pt x="62564" y="776297"/>
                  </a:lnTo>
                  <a:lnTo>
                    <a:pt x="93413" y="807457"/>
                  </a:lnTo>
                  <a:lnTo>
                    <a:pt x="128831" y="834653"/>
                  </a:lnTo>
                  <a:lnTo>
                    <a:pt x="168560" y="857584"/>
                  </a:lnTo>
                  <a:lnTo>
                    <a:pt x="212345" y="875945"/>
                  </a:lnTo>
                  <a:lnTo>
                    <a:pt x="259926" y="889435"/>
                  </a:lnTo>
                  <a:lnTo>
                    <a:pt x="311049" y="897751"/>
                  </a:lnTo>
                  <a:lnTo>
                    <a:pt x="365454" y="900590"/>
                  </a:lnTo>
                  <a:lnTo>
                    <a:pt x="422495" y="897347"/>
                  </a:lnTo>
                  <a:lnTo>
                    <a:pt x="475054" y="887856"/>
                  </a:lnTo>
                  <a:lnTo>
                    <a:pt x="522772" y="872475"/>
                  </a:lnTo>
                  <a:lnTo>
                    <a:pt x="565290" y="851563"/>
                  </a:lnTo>
                  <a:lnTo>
                    <a:pt x="602251" y="825476"/>
                  </a:lnTo>
                  <a:lnTo>
                    <a:pt x="633295" y="794572"/>
                  </a:lnTo>
                  <a:lnTo>
                    <a:pt x="658065" y="759210"/>
                  </a:lnTo>
                  <a:lnTo>
                    <a:pt x="676201" y="719747"/>
                  </a:lnTo>
                  <a:lnTo>
                    <a:pt x="687346" y="676541"/>
                  </a:lnTo>
                  <a:lnTo>
                    <a:pt x="691141" y="629949"/>
                  </a:lnTo>
                  <a:lnTo>
                    <a:pt x="684472" y="571470"/>
                  </a:lnTo>
                  <a:lnTo>
                    <a:pt x="666175" y="523636"/>
                  </a:lnTo>
                  <a:lnTo>
                    <a:pt x="638811" y="485192"/>
                  </a:lnTo>
                  <a:lnTo>
                    <a:pt x="604942" y="454882"/>
                  </a:lnTo>
                  <a:lnTo>
                    <a:pt x="567129" y="431453"/>
                  </a:lnTo>
                  <a:lnTo>
                    <a:pt x="527935" y="413648"/>
                  </a:lnTo>
                  <a:lnTo>
                    <a:pt x="489922" y="400213"/>
                  </a:lnTo>
                  <a:lnTo>
                    <a:pt x="385328" y="370030"/>
                  </a:lnTo>
                  <a:lnTo>
                    <a:pt x="340711" y="356690"/>
                  </a:lnTo>
                  <a:lnTo>
                    <a:pt x="296689" y="339319"/>
                  </a:lnTo>
                  <a:lnTo>
                    <a:pt x="258615" y="316079"/>
                  </a:lnTo>
                  <a:lnTo>
                    <a:pt x="231844" y="285132"/>
                  </a:lnTo>
                  <a:lnTo>
                    <a:pt x="221731" y="244641"/>
                  </a:lnTo>
                  <a:lnTo>
                    <a:pt x="230686" y="205079"/>
                  </a:lnTo>
                  <a:lnTo>
                    <a:pt x="255548" y="174692"/>
                  </a:lnTo>
                  <a:lnTo>
                    <a:pt x="293315" y="155199"/>
                  </a:lnTo>
                  <a:lnTo>
                    <a:pt x="340984" y="148320"/>
                  </a:lnTo>
                  <a:lnTo>
                    <a:pt x="398485" y="158137"/>
                  </a:lnTo>
                  <a:lnTo>
                    <a:pt x="443228" y="184439"/>
                  </a:lnTo>
                  <a:lnTo>
                    <a:pt x="476217" y="222497"/>
                  </a:lnTo>
                  <a:lnTo>
                    <a:pt x="498456" y="267583"/>
                  </a:lnTo>
                  <a:lnTo>
                    <a:pt x="666660" y="212538"/>
                  </a:lnTo>
                  <a:lnTo>
                    <a:pt x="651471" y="173433"/>
                  </a:lnTo>
                  <a:lnTo>
                    <a:pt x="630571" y="136996"/>
                  </a:lnTo>
                  <a:lnTo>
                    <a:pt x="604248" y="103745"/>
                  </a:lnTo>
                  <a:lnTo>
                    <a:pt x="572792" y="74194"/>
                  </a:lnTo>
                  <a:lnTo>
                    <a:pt x="536491" y="48859"/>
                  </a:lnTo>
                  <a:lnTo>
                    <a:pt x="495634" y="28257"/>
                  </a:lnTo>
                  <a:lnTo>
                    <a:pt x="450510" y="12902"/>
                  </a:lnTo>
                  <a:lnTo>
                    <a:pt x="401408" y="3311"/>
                  </a:lnTo>
                  <a:lnTo>
                    <a:pt x="348617" y="0"/>
                  </a:lnTo>
                  <a:close/>
                </a:path>
              </a:pathLst>
            </a:custGeom>
            <a:solidFill>
              <a:srgbClr val="009FD3"/>
            </a:solidFill>
          </p:spPr>
          <p:txBody>
            <a:bodyPr wrap="square" lIns="0" tIns="0" rIns="0" bIns="0" rtlCol="0"/>
            <a:lstStyle/>
            <a:p>
              <a:endParaRPr dirty="0"/>
            </a:p>
          </p:txBody>
        </p:sp>
        <p:sp>
          <p:nvSpPr>
            <p:cNvPr id="18" name="object 44">
              <a:extLst>
                <a:ext uri="{FF2B5EF4-FFF2-40B4-BE49-F238E27FC236}">
                  <a16:creationId xmlns:a16="http://schemas.microsoft.com/office/drawing/2014/main" id="{58CBFBA7-125D-4F7F-4D58-D0ACE580913F}"/>
                </a:ext>
              </a:extLst>
            </p:cNvPr>
            <p:cNvSpPr/>
            <p:nvPr userDrawn="1"/>
          </p:nvSpPr>
          <p:spPr>
            <a:xfrm>
              <a:off x="16265861" y="1732732"/>
              <a:ext cx="180975" cy="1223645"/>
            </a:xfrm>
            <a:custGeom>
              <a:avLst/>
              <a:gdLst/>
              <a:ahLst/>
              <a:cxnLst/>
              <a:rect l="l" t="t" r="r" b="b"/>
              <a:pathLst>
                <a:path w="180975" h="1223645">
                  <a:moveTo>
                    <a:pt x="180402" y="0"/>
                  </a:moveTo>
                  <a:lnTo>
                    <a:pt x="0" y="0"/>
                  </a:lnTo>
                  <a:lnTo>
                    <a:pt x="0" y="1223219"/>
                  </a:lnTo>
                  <a:lnTo>
                    <a:pt x="180402" y="1223219"/>
                  </a:lnTo>
                  <a:lnTo>
                    <a:pt x="180402" y="0"/>
                  </a:lnTo>
                  <a:close/>
                </a:path>
              </a:pathLst>
            </a:custGeom>
            <a:solidFill>
              <a:srgbClr val="6F7070"/>
            </a:solidFill>
          </p:spPr>
          <p:txBody>
            <a:bodyPr wrap="square" lIns="0" tIns="0" rIns="0" bIns="0" rtlCol="0"/>
            <a:lstStyle/>
            <a:p>
              <a:endParaRPr dirty="0"/>
            </a:p>
          </p:txBody>
        </p:sp>
        <p:sp>
          <p:nvSpPr>
            <p:cNvPr id="19" name="object 45">
              <a:extLst>
                <a:ext uri="{FF2B5EF4-FFF2-40B4-BE49-F238E27FC236}">
                  <a16:creationId xmlns:a16="http://schemas.microsoft.com/office/drawing/2014/main" id="{67A12A31-AA61-D372-EF1A-A0479FDCD17F}"/>
                </a:ext>
              </a:extLst>
            </p:cNvPr>
            <p:cNvSpPr/>
            <p:nvPr userDrawn="1"/>
          </p:nvSpPr>
          <p:spPr>
            <a:xfrm>
              <a:off x="16640864" y="1714387"/>
              <a:ext cx="235585" cy="1242060"/>
            </a:xfrm>
            <a:custGeom>
              <a:avLst/>
              <a:gdLst/>
              <a:ahLst/>
              <a:cxnLst/>
              <a:rect l="l" t="t" r="r" b="b"/>
              <a:pathLst>
                <a:path w="235584" h="1242060">
                  <a:moveTo>
                    <a:pt x="207951" y="391433"/>
                  </a:moveTo>
                  <a:lnTo>
                    <a:pt x="27548" y="391433"/>
                  </a:lnTo>
                  <a:lnTo>
                    <a:pt x="27548" y="1241585"/>
                  </a:lnTo>
                  <a:lnTo>
                    <a:pt x="207951" y="1241585"/>
                  </a:lnTo>
                  <a:lnTo>
                    <a:pt x="207951" y="391433"/>
                  </a:lnTo>
                  <a:close/>
                </a:path>
                <a:path w="235584" h="1242060">
                  <a:moveTo>
                    <a:pt x="119273" y="0"/>
                  </a:moveTo>
                  <a:lnTo>
                    <a:pt x="71614" y="9342"/>
                  </a:lnTo>
                  <a:lnTo>
                    <a:pt x="33839" y="34598"/>
                  </a:lnTo>
                  <a:lnTo>
                    <a:pt x="8962" y="71606"/>
                  </a:lnTo>
                  <a:lnTo>
                    <a:pt x="0" y="116205"/>
                  </a:lnTo>
                  <a:lnTo>
                    <a:pt x="8962" y="163467"/>
                  </a:lnTo>
                  <a:lnTo>
                    <a:pt x="33839" y="201839"/>
                  </a:lnTo>
                  <a:lnTo>
                    <a:pt x="71614" y="227595"/>
                  </a:lnTo>
                  <a:lnTo>
                    <a:pt x="119273" y="237008"/>
                  </a:lnTo>
                  <a:lnTo>
                    <a:pt x="165171" y="227595"/>
                  </a:lnTo>
                  <a:lnTo>
                    <a:pt x="202042" y="201839"/>
                  </a:lnTo>
                  <a:lnTo>
                    <a:pt x="226585" y="163467"/>
                  </a:lnTo>
                  <a:lnTo>
                    <a:pt x="235500" y="116205"/>
                  </a:lnTo>
                  <a:lnTo>
                    <a:pt x="226585" y="71606"/>
                  </a:lnTo>
                  <a:lnTo>
                    <a:pt x="202042" y="34598"/>
                  </a:lnTo>
                  <a:lnTo>
                    <a:pt x="165171" y="9342"/>
                  </a:lnTo>
                  <a:lnTo>
                    <a:pt x="119273" y="0"/>
                  </a:lnTo>
                  <a:close/>
                </a:path>
              </a:pathLst>
            </a:custGeom>
            <a:solidFill>
              <a:srgbClr val="6F7070"/>
            </a:solidFill>
          </p:spPr>
          <p:txBody>
            <a:bodyPr wrap="square" lIns="0" tIns="0" rIns="0" bIns="0" rtlCol="0"/>
            <a:lstStyle/>
            <a:p>
              <a:endParaRPr dirty="0"/>
            </a:p>
          </p:txBody>
        </p:sp>
        <p:sp>
          <p:nvSpPr>
            <p:cNvPr id="20" name="object 46">
              <a:extLst>
                <a:ext uri="{FF2B5EF4-FFF2-40B4-BE49-F238E27FC236}">
                  <a16:creationId xmlns:a16="http://schemas.microsoft.com/office/drawing/2014/main" id="{6980EA68-1914-7952-25E7-E35CE45986C9}"/>
                </a:ext>
              </a:extLst>
            </p:cNvPr>
            <p:cNvSpPr/>
            <p:nvPr userDrawn="1"/>
          </p:nvSpPr>
          <p:spPr>
            <a:xfrm>
              <a:off x="17020103" y="1706758"/>
              <a:ext cx="544830" cy="1249680"/>
            </a:xfrm>
            <a:custGeom>
              <a:avLst/>
              <a:gdLst/>
              <a:ahLst/>
              <a:cxnLst/>
              <a:rect l="l" t="t" r="r" b="b"/>
              <a:pathLst>
                <a:path w="544830" h="1249680">
                  <a:moveTo>
                    <a:pt x="399108" y="0"/>
                  </a:moveTo>
                  <a:lnTo>
                    <a:pt x="350985" y="2989"/>
                  </a:lnTo>
                  <a:lnTo>
                    <a:pt x="306799" y="11987"/>
                  </a:lnTo>
                  <a:lnTo>
                    <a:pt x="266815" y="27041"/>
                  </a:lnTo>
                  <a:lnTo>
                    <a:pt x="231300" y="48195"/>
                  </a:lnTo>
                  <a:lnTo>
                    <a:pt x="200520" y="75496"/>
                  </a:lnTo>
                  <a:lnTo>
                    <a:pt x="174739" y="108989"/>
                  </a:lnTo>
                  <a:lnTo>
                    <a:pt x="154225" y="148720"/>
                  </a:lnTo>
                  <a:lnTo>
                    <a:pt x="139243" y="194736"/>
                  </a:lnTo>
                  <a:lnTo>
                    <a:pt x="130059" y="247081"/>
                  </a:lnTo>
                  <a:lnTo>
                    <a:pt x="126938" y="305802"/>
                  </a:lnTo>
                  <a:lnTo>
                    <a:pt x="126938" y="399055"/>
                  </a:lnTo>
                  <a:lnTo>
                    <a:pt x="0" y="399055"/>
                  </a:lnTo>
                  <a:lnTo>
                    <a:pt x="0" y="562663"/>
                  </a:lnTo>
                  <a:lnTo>
                    <a:pt x="126938" y="562663"/>
                  </a:lnTo>
                  <a:lnTo>
                    <a:pt x="126938" y="1249197"/>
                  </a:lnTo>
                  <a:lnTo>
                    <a:pt x="308880" y="1249197"/>
                  </a:lnTo>
                  <a:lnTo>
                    <a:pt x="308880" y="562663"/>
                  </a:lnTo>
                  <a:lnTo>
                    <a:pt x="519900" y="562663"/>
                  </a:lnTo>
                  <a:lnTo>
                    <a:pt x="519900" y="399055"/>
                  </a:lnTo>
                  <a:lnTo>
                    <a:pt x="308880" y="399055"/>
                  </a:lnTo>
                  <a:lnTo>
                    <a:pt x="308880" y="324136"/>
                  </a:lnTo>
                  <a:lnTo>
                    <a:pt x="309468" y="284076"/>
                  </a:lnTo>
                  <a:lnTo>
                    <a:pt x="313580" y="245202"/>
                  </a:lnTo>
                  <a:lnTo>
                    <a:pt x="346479" y="181890"/>
                  </a:lnTo>
                  <a:lnTo>
                    <a:pt x="382316" y="162890"/>
                  </a:lnTo>
                  <a:lnTo>
                    <a:pt x="435777" y="155953"/>
                  </a:lnTo>
                  <a:lnTo>
                    <a:pt x="460697" y="157243"/>
                  </a:lnTo>
                  <a:lnTo>
                    <a:pt x="486044" y="161686"/>
                  </a:lnTo>
                  <a:lnTo>
                    <a:pt x="513395" y="170142"/>
                  </a:lnTo>
                  <a:lnTo>
                    <a:pt x="544328" y="183470"/>
                  </a:lnTo>
                  <a:lnTo>
                    <a:pt x="544328" y="29025"/>
                  </a:lnTo>
                  <a:lnTo>
                    <a:pt x="508322" y="15460"/>
                  </a:lnTo>
                  <a:lnTo>
                    <a:pt x="470583" y="6486"/>
                  </a:lnTo>
                  <a:lnTo>
                    <a:pt x="433412" y="1525"/>
                  </a:lnTo>
                  <a:lnTo>
                    <a:pt x="399108" y="0"/>
                  </a:lnTo>
                  <a:close/>
                </a:path>
              </a:pathLst>
            </a:custGeom>
            <a:solidFill>
              <a:srgbClr val="6F7070"/>
            </a:solidFill>
          </p:spPr>
          <p:txBody>
            <a:bodyPr wrap="square" lIns="0" tIns="0" rIns="0" bIns="0" rtlCol="0"/>
            <a:lstStyle/>
            <a:p>
              <a:endParaRPr dirty="0"/>
            </a:p>
          </p:txBody>
        </p:sp>
        <p:sp>
          <p:nvSpPr>
            <p:cNvPr id="21" name="object 47">
              <a:extLst>
                <a:ext uri="{FF2B5EF4-FFF2-40B4-BE49-F238E27FC236}">
                  <a16:creationId xmlns:a16="http://schemas.microsoft.com/office/drawing/2014/main" id="{31B6662E-E5E3-03F7-4D48-D6A3C49B5B81}"/>
                </a:ext>
              </a:extLst>
            </p:cNvPr>
            <p:cNvSpPr/>
            <p:nvPr userDrawn="1"/>
          </p:nvSpPr>
          <p:spPr>
            <a:xfrm>
              <a:off x="14449116" y="2058803"/>
              <a:ext cx="827405" cy="901065"/>
            </a:xfrm>
            <a:custGeom>
              <a:avLst/>
              <a:gdLst/>
              <a:ahLst/>
              <a:cxnLst/>
              <a:rect l="l" t="t" r="r" b="b"/>
              <a:pathLst>
                <a:path w="827405" h="901064">
                  <a:moveTo>
                    <a:pt x="423536" y="0"/>
                  </a:moveTo>
                  <a:lnTo>
                    <a:pt x="374987" y="2512"/>
                  </a:lnTo>
                  <a:lnTo>
                    <a:pt x="328539" y="9907"/>
                  </a:lnTo>
                  <a:lnTo>
                    <a:pt x="284376" y="21968"/>
                  </a:lnTo>
                  <a:lnTo>
                    <a:pt x="242684" y="38482"/>
                  </a:lnTo>
                  <a:lnTo>
                    <a:pt x="203647" y="59234"/>
                  </a:lnTo>
                  <a:lnTo>
                    <a:pt x="167450" y="84010"/>
                  </a:lnTo>
                  <a:lnTo>
                    <a:pt x="134278" y="112593"/>
                  </a:lnTo>
                  <a:lnTo>
                    <a:pt x="104317" y="144770"/>
                  </a:lnTo>
                  <a:lnTo>
                    <a:pt x="77750" y="180326"/>
                  </a:lnTo>
                  <a:lnTo>
                    <a:pt x="54763" y="219046"/>
                  </a:lnTo>
                  <a:lnTo>
                    <a:pt x="35541" y="260715"/>
                  </a:lnTo>
                  <a:lnTo>
                    <a:pt x="20269" y="305119"/>
                  </a:lnTo>
                  <a:lnTo>
                    <a:pt x="9132" y="352044"/>
                  </a:lnTo>
                  <a:lnTo>
                    <a:pt x="2313" y="401273"/>
                  </a:lnTo>
                  <a:lnTo>
                    <a:pt x="0" y="452593"/>
                  </a:lnTo>
                  <a:lnTo>
                    <a:pt x="2450" y="505453"/>
                  </a:lnTo>
                  <a:lnTo>
                    <a:pt x="9655" y="555675"/>
                  </a:lnTo>
                  <a:lnTo>
                    <a:pt x="21394" y="603111"/>
                  </a:lnTo>
                  <a:lnTo>
                    <a:pt x="37448" y="647611"/>
                  </a:lnTo>
                  <a:lnTo>
                    <a:pt x="57595" y="689025"/>
                  </a:lnTo>
                  <a:lnTo>
                    <a:pt x="81615" y="727205"/>
                  </a:lnTo>
                  <a:lnTo>
                    <a:pt x="109289" y="762000"/>
                  </a:lnTo>
                  <a:lnTo>
                    <a:pt x="140397" y="793261"/>
                  </a:lnTo>
                  <a:lnTo>
                    <a:pt x="174717" y="820840"/>
                  </a:lnTo>
                  <a:lnTo>
                    <a:pt x="212029" y="844585"/>
                  </a:lnTo>
                  <a:lnTo>
                    <a:pt x="252115" y="864348"/>
                  </a:lnTo>
                  <a:lnTo>
                    <a:pt x="294752" y="879980"/>
                  </a:lnTo>
                  <a:lnTo>
                    <a:pt x="339722" y="891330"/>
                  </a:lnTo>
                  <a:lnTo>
                    <a:pt x="386804" y="898250"/>
                  </a:lnTo>
                  <a:lnTo>
                    <a:pt x="435777" y="900590"/>
                  </a:lnTo>
                  <a:lnTo>
                    <a:pt x="489540" y="897772"/>
                  </a:lnTo>
                  <a:lnTo>
                    <a:pt x="540585" y="889528"/>
                  </a:lnTo>
                  <a:lnTo>
                    <a:pt x="588690" y="876176"/>
                  </a:lnTo>
                  <a:lnTo>
                    <a:pt x="633633" y="858032"/>
                  </a:lnTo>
                  <a:lnTo>
                    <a:pt x="675191" y="835414"/>
                  </a:lnTo>
                  <a:lnTo>
                    <a:pt x="713143" y="808638"/>
                  </a:lnTo>
                  <a:lnTo>
                    <a:pt x="747265" y="778021"/>
                  </a:lnTo>
                  <a:lnTo>
                    <a:pt x="777336" y="743880"/>
                  </a:lnTo>
                  <a:lnTo>
                    <a:pt x="781044" y="738511"/>
                  </a:lnTo>
                  <a:lnTo>
                    <a:pt x="435777" y="738511"/>
                  </a:lnTo>
                  <a:lnTo>
                    <a:pt x="387306" y="734405"/>
                  </a:lnTo>
                  <a:lnTo>
                    <a:pt x="342170" y="722288"/>
                  </a:lnTo>
                  <a:lnTo>
                    <a:pt x="301121" y="702467"/>
                  </a:lnTo>
                  <a:lnTo>
                    <a:pt x="264909" y="675246"/>
                  </a:lnTo>
                  <a:lnTo>
                    <a:pt x="234287" y="640929"/>
                  </a:lnTo>
                  <a:lnTo>
                    <a:pt x="210008" y="599822"/>
                  </a:lnTo>
                  <a:lnTo>
                    <a:pt x="192822" y="552229"/>
                  </a:lnTo>
                  <a:lnTo>
                    <a:pt x="183481" y="498456"/>
                  </a:lnTo>
                  <a:lnTo>
                    <a:pt x="827210" y="498456"/>
                  </a:lnTo>
                  <a:lnTo>
                    <a:pt x="827210" y="444949"/>
                  </a:lnTo>
                  <a:lnTo>
                    <a:pt x="824522" y="383338"/>
                  </a:lnTo>
                  <a:lnTo>
                    <a:pt x="822469" y="368491"/>
                  </a:lnTo>
                  <a:lnTo>
                    <a:pt x="192653" y="368491"/>
                  </a:lnTo>
                  <a:lnTo>
                    <a:pt x="205522" y="317240"/>
                  </a:lnTo>
                  <a:lnTo>
                    <a:pt x="225559" y="271525"/>
                  </a:lnTo>
                  <a:lnTo>
                    <a:pt x="252443" y="232202"/>
                  </a:lnTo>
                  <a:lnTo>
                    <a:pt x="285851" y="200127"/>
                  </a:lnTo>
                  <a:lnTo>
                    <a:pt x="325463" y="176157"/>
                  </a:lnTo>
                  <a:lnTo>
                    <a:pt x="370955" y="161146"/>
                  </a:lnTo>
                  <a:lnTo>
                    <a:pt x="422008" y="155953"/>
                  </a:lnTo>
                  <a:lnTo>
                    <a:pt x="746090" y="155953"/>
                  </a:lnTo>
                  <a:lnTo>
                    <a:pt x="741928" y="149612"/>
                  </a:lnTo>
                  <a:lnTo>
                    <a:pt x="714261" y="116820"/>
                  </a:lnTo>
                  <a:lnTo>
                    <a:pt x="683773" y="88374"/>
                  </a:lnTo>
                  <a:lnTo>
                    <a:pt x="650846" y="64145"/>
                  </a:lnTo>
                  <a:lnTo>
                    <a:pt x="615864" y="44001"/>
                  </a:lnTo>
                  <a:lnTo>
                    <a:pt x="579210" y="27813"/>
                  </a:lnTo>
                  <a:lnTo>
                    <a:pt x="541267" y="15449"/>
                  </a:lnTo>
                  <a:lnTo>
                    <a:pt x="502418" y="6779"/>
                  </a:lnTo>
                  <a:lnTo>
                    <a:pt x="463047" y="1673"/>
                  </a:lnTo>
                  <a:lnTo>
                    <a:pt x="423536" y="0"/>
                  </a:lnTo>
                  <a:close/>
                </a:path>
                <a:path w="827405" h="901064">
                  <a:moveTo>
                    <a:pt x="650744" y="605311"/>
                  </a:moveTo>
                  <a:lnTo>
                    <a:pt x="626428" y="643642"/>
                  </a:lnTo>
                  <a:lnTo>
                    <a:pt x="596971" y="676278"/>
                  </a:lnTo>
                  <a:lnTo>
                    <a:pt x="562776" y="702652"/>
                  </a:lnTo>
                  <a:lnTo>
                    <a:pt x="524059" y="722288"/>
                  </a:lnTo>
                  <a:lnTo>
                    <a:pt x="523916" y="722288"/>
                  </a:lnTo>
                  <a:lnTo>
                    <a:pt x="481541" y="734405"/>
                  </a:lnTo>
                  <a:lnTo>
                    <a:pt x="481034" y="734405"/>
                  </a:lnTo>
                  <a:lnTo>
                    <a:pt x="435777" y="738511"/>
                  </a:lnTo>
                  <a:lnTo>
                    <a:pt x="781044" y="738511"/>
                  </a:lnTo>
                  <a:lnTo>
                    <a:pt x="803134" y="706532"/>
                  </a:lnTo>
                  <a:lnTo>
                    <a:pt x="824435" y="666293"/>
                  </a:lnTo>
                  <a:lnTo>
                    <a:pt x="824697" y="665728"/>
                  </a:lnTo>
                  <a:lnTo>
                    <a:pt x="824906" y="665131"/>
                  </a:lnTo>
                  <a:lnTo>
                    <a:pt x="825168" y="664566"/>
                  </a:lnTo>
                  <a:lnTo>
                    <a:pt x="650744" y="605311"/>
                  </a:lnTo>
                  <a:close/>
                </a:path>
                <a:path w="827405" h="901064">
                  <a:moveTo>
                    <a:pt x="746090" y="155953"/>
                  </a:moveTo>
                  <a:lnTo>
                    <a:pt x="422008" y="155953"/>
                  </a:lnTo>
                  <a:lnTo>
                    <a:pt x="466874" y="159622"/>
                  </a:lnTo>
                  <a:lnTo>
                    <a:pt x="509973" y="171076"/>
                  </a:lnTo>
                  <a:lnTo>
                    <a:pt x="549726" y="190981"/>
                  </a:lnTo>
                  <a:lnTo>
                    <a:pt x="584557" y="220008"/>
                  </a:lnTo>
                  <a:lnTo>
                    <a:pt x="612887" y="258822"/>
                  </a:lnTo>
                  <a:lnTo>
                    <a:pt x="633140" y="308094"/>
                  </a:lnTo>
                  <a:lnTo>
                    <a:pt x="643739" y="368491"/>
                  </a:lnTo>
                  <a:lnTo>
                    <a:pt x="822469" y="368491"/>
                  </a:lnTo>
                  <a:lnTo>
                    <a:pt x="816712" y="326855"/>
                  </a:lnTo>
                  <a:lnTo>
                    <a:pt x="804165" y="275372"/>
                  </a:lnTo>
                  <a:lnTo>
                    <a:pt x="787263" y="228757"/>
                  </a:lnTo>
                  <a:lnTo>
                    <a:pt x="766390" y="186881"/>
                  </a:lnTo>
                  <a:lnTo>
                    <a:pt x="746090" y="155953"/>
                  </a:lnTo>
                  <a:close/>
                </a:path>
              </a:pathLst>
            </a:custGeom>
            <a:solidFill>
              <a:srgbClr val="009FD3"/>
            </a:solidFill>
          </p:spPr>
          <p:txBody>
            <a:bodyPr wrap="square" lIns="0" tIns="0" rIns="0" bIns="0" rtlCol="0"/>
            <a:lstStyle/>
            <a:p>
              <a:endParaRPr dirty="0"/>
            </a:p>
          </p:txBody>
        </p:sp>
        <p:sp>
          <p:nvSpPr>
            <p:cNvPr id="22" name="object 48">
              <a:extLst>
                <a:ext uri="{FF2B5EF4-FFF2-40B4-BE49-F238E27FC236}">
                  <a16:creationId xmlns:a16="http://schemas.microsoft.com/office/drawing/2014/main" id="{6AF75E10-409D-EF71-C894-33540E6046E2}"/>
                </a:ext>
              </a:extLst>
            </p:cNvPr>
            <p:cNvSpPr/>
            <p:nvPr userDrawn="1"/>
          </p:nvSpPr>
          <p:spPr>
            <a:xfrm>
              <a:off x="12844981" y="2058803"/>
              <a:ext cx="827405" cy="901065"/>
            </a:xfrm>
            <a:custGeom>
              <a:avLst/>
              <a:gdLst/>
              <a:ahLst/>
              <a:cxnLst/>
              <a:rect l="l" t="t" r="r" b="b"/>
              <a:pathLst>
                <a:path w="827405" h="901064">
                  <a:moveTo>
                    <a:pt x="423536" y="0"/>
                  </a:moveTo>
                  <a:lnTo>
                    <a:pt x="374987" y="2512"/>
                  </a:lnTo>
                  <a:lnTo>
                    <a:pt x="328539" y="9907"/>
                  </a:lnTo>
                  <a:lnTo>
                    <a:pt x="284376" y="21968"/>
                  </a:lnTo>
                  <a:lnTo>
                    <a:pt x="242684" y="38482"/>
                  </a:lnTo>
                  <a:lnTo>
                    <a:pt x="203647" y="59234"/>
                  </a:lnTo>
                  <a:lnTo>
                    <a:pt x="167450" y="84010"/>
                  </a:lnTo>
                  <a:lnTo>
                    <a:pt x="134278" y="112593"/>
                  </a:lnTo>
                  <a:lnTo>
                    <a:pt x="104317" y="144770"/>
                  </a:lnTo>
                  <a:lnTo>
                    <a:pt x="77750" y="180326"/>
                  </a:lnTo>
                  <a:lnTo>
                    <a:pt x="54763" y="219046"/>
                  </a:lnTo>
                  <a:lnTo>
                    <a:pt x="35541" y="260715"/>
                  </a:lnTo>
                  <a:lnTo>
                    <a:pt x="20269" y="305119"/>
                  </a:lnTo>
                  <a:lnTo>
                    <a:pt x="9132" y="352044"/>
                  </a:lnTo>
                  <a:lnTo>
                    <a:pt x="2313" y="401273"/>
                  </a:lnTo>
                  <a:lnTo>
                    <a:pt x="0" y="452593"/>
                  </a:lnTo>
                  <a:lnTo>
                    <a:pt x="2450" y="505453"/>
                  </a:lnTo>
                  <a:lnTo>
                    <a:pt x="9655" y="555675"/>
                  </a:lnTo>
                  <a:lnTo>
                    <a:pt x="21394" y="603111"/>
                  </a:lnTo>
                  <a:lnTo>
                    <a:pt x="37448" y="647611"/>
                  </a:lnTo>
                  <a:lnTo>
                    <a:pt x="57595" y="689025"/>
                  </a:lnTo>
                  <a:lnTo>
                    <a:pt x="81615" y="727205"/>
                  </a:lnTo>
                  <a:lnTo>
                    <a:pt x="109289" y="762000"/>
                  </a:lnTo>
                  <a:lnTo>
                    <a:pt x="140397" y="793261"/>
                  </a:lnTo>
                  <a:lnTo>
                    <a:pt x="174717" y="820840"/>
                  </a:lnTo>
                  <a:lnTo>
                    <a:pt x="212029" y="844585"/>
                  </a:lnTo>
                  <a:lnTo>
                    <a:pt x="252115" y="864348"/>
                  </a:lnTo>
                  <a:lnTo>
                    <a:pt x="294752" y="879980"/>
                  </a:lnTo>
                  <a:lnTo>
                    <a:pt x="339722" y="891330"/>
                  </a:lnTo>
                  <a:lnTo>
                    <a:pt x="386804" y="898250"/>
                  </a:lnTo>
                  <a:lnTo>
                    <a:pt x="435777" y="900590"/>
                  </a:lnTo>
                  <a:lnTo>
                    <a:pt x="489540" y="897772"/>
                  </a:lnTo>
                  <a:lnTo>
                    <a:pt x="540586" y="889528"/>
                  </a:lnTo>
                  <a:lnTo>
                    <a:pt x="588692" y="876176"/>
                  </a:lnTo>
                  <a:lnTo>
                    <a:pt x="633636" y="858032"/>
                  </a:lnTo>
                  <a:lnTo>
                    <a:pt x="675195" y="835414"/>
                  </a:lnTo>
                  <a:lnTo>
                    <a:pt x="713147" y="808638"/>
                  </a:lnTo>
                  <a:lnTo>
                    <a:pt x="747270" y="778021"/>
                  </a:lnTo>
                  <a:lnTo>
                    <a:pt x="777340" y="743880"/>
                  </a:lnTo>
                  <a:lnTo>
                    <a:pt x="781048" y="738511"/>
                  </a:lnTo>
                  <a:lnTo>
                    <a:pt x="435777" y="738511"/>
                  </a:lnTo>
                  <a:lnTo>
                    <a:pt x="387306" y="734405"/>
                  </a:lnTo>
                  <a:lnTo>
                    <a:pt x="342170" y="722288"/>
                  </a:lnTo>
                  <a:lnTo>
                    <a:pt x="301121" y="702467"/>
                  </a:lnTo>
                  <a:lnTo>
                    <a:pt x="264909" y="675246"/>
                  </a:lnTo>
                  <a:lnTo>
                    <a:pt x="234287" y="640929"/>
                  </a:lnTo>
                  <a:lnTo>
                    <a:pt x="210008" y="599822"/>
                  </a:lnTo>
                  <a:lnTo>
                    <a:pt x="192822" y="552229"/>
                  </a:lnTo>
                  <a:lnTo>
                    <a:pt x="183481" y="498456"/>
                  </a:lnTo>
                  <a:lnTo>
                    <a:pt x="827210" y="498456"/>
                  </a:lnTo>
                  <a:lnTo>
                    <a:pt x="827210" y="444949"/>
                  </a:lnTo>
                  <a:lnTo>
                    <a:pt x="824522" y="383338"/>
                  </a:lnTo>
                  <a:lnTo>
                    <a:pt x="822469" y="368491"/>
                  </a:lnTo>
                  <a:lnTo>
                    <a:pt x="192653" y="368491"/>
                  </a:lnTo>
                  <a:lnTo>
                    <a:pt x="205519" y="317240"/>
                  </a:lnTo>
                  <a:lnTo>
                    <a:pt x="225554" y="271525"/>
                  </a:lnTo>
                  <a:lnTo>
                    <a:pt x="252438" y="232202"/>
                  </a:lnTo>
                  <a:lnTo>
                    <a:pt x="285848" y="200127"/>
                  </a:lnTo>
                  <a:lnTo>
                    <a:pt x="325461" y="176157"/>
                  </a:lnTo>
                  <a:lnTo>
                    <a:pt x="370955" y="161146"/>
                  </a:lnTo>
                  <a:lnTo>
                    <a:pt x="422008" y="155953"/>
                  </a:lnTo>
                  <a:lnTo>
                    <a:pt x="746090" y="155953"/>
                  </a:lnTo>
                  <a:lnTo>
                    <a:pt x="741928" y="149612"/>
                  </a:lnTo>
                  <a:lnTo>
                    <a:pt x="714261" y="116820"/>
                  </a:lnTo>
                  <a:lnTo>
                    <a:pt x="683773" y="88374"/>
                  </a:lnTo>
                  <a:lnTo>
                    <a:pt x="650846" y="64145"/>
                  </a:lnTo>
                  <a:lnTo>
                    <a:pt x="615864" y="44001"/>
                  </a:lnTo>
                  <a:lnTo>
                    <a:pt x="579210" y="27813"/>
                  </a:lnTo>
                  <a:lnTo>
                    <a:pt x="541267" y="15449"/>
                  </a:lnTo>
                  <a:lnTo>
                    <a:pt x="502418" y="6779"/>
                  </a:lnTo>
                  <a:lnTo>
                    <a:pt x="463047" y="1673"/>
                  </a:lnTo>
                  <a:lnTo>
                    <a:pt x="423536" y="0"/>
                  </a:lnTo>
                  <a:close/>
                </a:path>
                <a:path w="827405" h="901064">
                  <a:moveTo>
                    <a:pt x="650744" y="605311"/>
                  </a:moveTo>
                  <a:lnTo>
                    <a:pt x="626428" y="643642"/>
                  </a:lnTo>
                  <a:lnTo>
                    <a:pt x="596971" y="676278"/>
                  </a:lnTo>
                  <a:lnTo>
                    <a:pt x="562776" y="702652"/>
                  </a:lnTo>
                  <a:lnTo>
                    <a:pt x="524059" y="722288"/>
                  </a:lnTo>
                  <a:lnTo>
                    <a:pt x="523916" y="722288"/>
                  </a:lnTo>
                  <a:lnTo>
                    <a:pt x="481541" y="734405"/>
                  </a:lnTo>
                  <a:lnTo>
                    <a:pt x="481034" y="734405"/>
                  </a:lnTo>
                  <a:lnTo>
                    <a:pt x="435777" y="738511"/>
                  </a:lnTo>
                  <a:lnTo>
                    <a:pt x="781048" y="738511"/>
                  </a:lnTo>
                  <a:lnTo>
                    <a:pt x="803136" y="706532"/>
                  </a:lnTo>
                  <a:lnTo>
                    <a:pt x="824435" y="666293"/>
                  </a:lnTo>
                  <a:lnTo>
                    <a:pt x="824697" y="665728"/>
                  </a:lnTo>
                  <a:lnTo>
                    <a:pt x="824906" y="665131"/>
                  </a:lnTo>
                  <a:lnTo>
                    <a:pt x="825168" y="664566"/>
                  </a:lnTo>
                  <a:lnTo>
                    <a:pt x="650744" y="605311"/>
                  </a:lnTo>
                  <a:close/>
                </a:path>
                <a:path w="827405" h="901064">
                  <a:moveTo>
                    <a:pt x="746090" y="155953"/>
                  </a:moveTo>
                  <a:lnTo>
                    <a:pt x="422008" y="155953"/>
                  </a:lnTo>
                  <a:lnTo>
                    <a:pt x="466874" y="159622"/>
                  </a:lnTo>
                  <a:lnTo>
                    <a:pt x="509973" y="171076"/>
                  </a:lnTo>
                  <a:lnTo>
                    <a:pt x="549726" y="190981"/>
                  </a:lnTo>
                  <a:lnTo>
                    <a:pt x="584557" y="220008"/>
                  </a:lnTo>
                  <a:lnTo>
                    <a:pt x="612887" y="258822"/>
                  </a:lnTo>
                  <a:lnTo>
                    <a:pt x="633140" y="308094"/>
                  </a:lnTo>
                  <a:lnTo>
                    <a:pt x="643739" y="368491"/>
                  </a:lnTo>
                  <a:lnTo>
                    <a:pt x="822469" y="368491"/>
                  </a:lnTo>
                  <a:lnTo>
                    <a:pt x="816712" y="326855"/>
                  </a:lnTo>
                  <a:lnTo>
                    <a:pt x="804165" y="275372"/>
                  </a:lnTo>
                  <a:lnTo>
                    <a:pt x="787263" y="228757"/>
                  </a:lnTo>
                  <a:lnTo>
                    <a:pt x="766390" y="186881"/>
                  </a:lnTo>
                  <a:lnTo>
                    <a:pt x="746090" y="155953"/>
                  </a:lnTo>
                  <a:close/>
                </a:path>
              </a:pathLst>
            </a:custGeom>
            <a:solidFill>
              <a:srgbClr val="009FD3"/>
            </a:solidFill>
          </p:spPr>
          <p:txBody>
            <a:bodyPr wrap="square" lIns="0" tIns="0" rIns="0" bIns="0" rtlCol="0"/>
            <a:lstStyle/>
            <a:p>
              <a:endParaRPr dirty="0"/>
            </a:p>
          </p:txBody>
        </p:sp>
        <p:sp>
          <p:nvSpPr>
            <p:cNvPr id="23" name="object 49">
              <a:extLst>
                <a:ext uri="{FF2B5EF4-FFF2-40B4-BE49-F238E27FC236}">
                  <a16:creationId xmlns:a16="http://schemas.microsoft.com/office/drawing/2014/main" id="{778227E3-BEEC-B011-F12E-2F9C618C433B}"/>
                </a:ext>
              </a:extLst>
            </p:cNvPr>
            <p:cNvSpPr/>
            <p:nvPr userDrawn="1"/>
          </p:nvSpPr>
          <p:spPr>
            <a:xfrm>
              <a:off x="17608884" y="2058803"/>
              <a:ext cx="827405" cy="901065"/>
            </a:xfrm>
            <a:custGeom>
              <a:avLst/>
              <a:gdLst/>
              <a:ahLst/>
              <a:cxnLst/>
              <a:rect l="l" t="t" r="r" b="b"/>
              <a:pathLst>
                <a:path w="827405" h="901064">
                  <a:moveTo>
                    <a:pt x="423536" y="0"/>
                  </a:moveTo>
                  <a:lnTo>
                    <a:pt x="374987" y="2512"/>
                  </a:lnTo>
                  <a:lnTo>
                    <a:pt x="328539" y="9907"/>
                  </a:lnTo>
                  <a:lnTo>
                    <a:pt x="284376" y="21968"/>
                  </a:lnTo>
                  <a:lnTo>
                    <a:pt x="242684" y="38482"/>
                  </a:lnTo>
                  <a:lnTo>
                    <a:pt x="203647" y="59234"/>
                  </a:lnTo>
                  <a:lnTo>
                    <a:pt x="167450" y="84010"/>
                  </a:lnTo>
                  <a:lnTo>
                    <a:pt x="134278" y="112593"/>
                  </a:lnTo>
                  <a:lnTo>
                    <a:pt x="104317" y="144770"/>
                  </a:lnTo>
                  <a:lnTo>
                    <a:pt x="77750" y="180326"/>
                  </a:lnTo>
                  <a:lnTo>
                    <a:pt x="54763" y="219046"/>
                  </a:lnTo>
                  <a:lnTo>
                    <a:pt x="35541" y="260715"/>
                  </a:lnTo>
                  <a:lnTo>
                    <a:pt x="20269" y="305119"/>
                  </a:lnTo>
                  <a:lnTo>
                    <a:pt x="9132" y="352044"/>
                  </a:lnTo>
                  <a:lnTo>
                    <a:pt x="2313" y="401273"/>
                  </a:lnTo>
                  <a:lnTo>
                    <a:pt x="0" y="452593"/>
                  </a:lnTo>
                  <a:lnTo>
                    <a:pt x="2450" y="505453"/>
                  </a:lnTo>
                  <a:lnTo>
                    <a:pt x="9655" y="555675"/>
                  </a:lnTo>
                  <a:lnTo>
                    <a:pt x="21394" y="603111"/>
                  </a:lnTo>
                  <a:lnTo>
                    <a:pt x="37448" y="647611"/>
                  </a:lnTo>
                  <a:lnTo>
                    <a:pt x="57595" y="689025"/>
                  </a:lnTo>
                  <a:lnTo>
                    <a:pt x="81615" y="727205"/>
                  </a:lnTo>
                  <a:lnTo>
                    <a:pt x="109289" y="762000"/>
                  </a:lnTo>
                  <a:lnTo>
                    <a:pt x="140397" y="793261"/>
                  </a:lnTo>
                  <a:lnTo>
                    <a:pt x="174717" y="820840"/>
                  </a:lnTo>
                  <a:lnTo>
                    <a:pt x="212029" y="844585"/>
                  </a:lnTo>
                  <a:lnTo>
                    <a:pt x="252115" y="864348"/>
                  </a:lnTo>
                  <a:lnTo>
                    <a:pt x="294752" y="879980"/>
                  </a:lnTo>
                  <a:lnTo>
                    <a:pt x="339722" y="891330"/>
                  </a:lnTo>
                  <a:lnTo>
                    <a:pt x="386804" y="898250"/>
                  </a:lnTo>
                  <a:lnTo>
                    <a:pt x="435777" y="900590"/>
                  </a:lnTo>
                  <a:lnTo>
                    <a:pt x="489542" y="897772"/>
                  </a:lnTo>
                  <a:lnTo>
                    <a:pt x="540590" y="889528"/>
                  </a:lnTo>
                  <a:lnTo>
                    <a:pt x="588696" y="876176"/>
                  </a:lnTo>
                  <a:lnTo>
                    <a:pt x="633640" y="858032"/>
                  </a:lnTo>
                  <a:lnTo>
                    <a:pt x="675199" y="835414"/>
                  </a:lnTo>
                  <a:lnTo>
                    <a:pt x="713150" y="808638"/>
                  </a:lnTo>
                  <a:lnTo>
                    <a:pt x="747272" y="778021"/>
                  </a:lnTo>
                  <a:lnTo>
                    <a:pt x="777341" y="743880"/>
                  </a:lnTo>
                  <a:lnTo>
                    <a:pt x="781049" y="738511"/>
                  </a:lnTo>
                  <a:lnTo>
                    <a:pt x="435777" y="738511"/>
                  </a:lnTo>
                  <a:lnTo>
                    <a:pt x="387306" y="734405"/>
                  </a:lnTo>
                  <a:lnTo>
                    <a:pt x="342170" y="722288"/>
                  </a:lnTo>
                  <a:lnTo>
                    <a:pt x="301121" y="702467"/>
                  </a:lnTo>
                  <a:lnTo>
                    <a:pt x="264909" y="675246"/>
                  </a:lnTo>
                  <a:lnTo>
                    <a:pt x="234287" y="640929"/>
                  </a:lnTo>
                  <a:lnTo>
                    <a:pt x="210008" y="599822"/>
                  </a:lnTo>
                  <a:lnTo>
                    <a:pt x="192822" y="552229"/>
                  </a:lnTo>
                  <a:lnTo>
                    <a:pt x="183481" y="498456"/>
                  </a:lnTo>
                  <a:lnTo>
                    <a:pt x="827210" y="498456"/>
                  </a:lnTo>
                  <a:lnTo>
                    <a:pt x="827210" y="444949"/>
                  </a:lnTo>
                  <a:lnTo>
                    <a:pt x="824522" y="383338"/>
                  </a:lnTo>
                  <a:lnTo>
                    <a:pt x="822469" y="368491"/>
                  </a:lnTo>
                  <a:lnTo>
                    <a:pt x="192653" y="368491"/>
                  </a:lnTo>
                  <a:lnTo>
                    <a:pt x="205522" y="317240"/>
                  </a:lnTo>
                  <a:lnTo>
                    <a:pt x="225559" y="271525"/>
                  </a:lnTo>
                  <a:lnTo>
                    <a:pt x="252443" y="232202"/>
                  </a:lnTo>
                  <a:lnTo>
                    <a:pt x="285851" y="200127"/>
                  </a:lnTo>
                  <a:lnTo>
                    <a:pt x="325463" y="176157"/>
                  </a:lnTo>
                  <a:lnTo>
                    <a:pt x="370955" y="161146"/>
                  </a:lnTo>
                  <a:lnTo>
                    <a:pt x="422008" y="155953"/>
                  </a:lnTo>
                  <a:lnTo>
                    <a:pt x="746090" y="155953"/>
                  </a:lnTo>
                  <a:lnTo>
                    <a:pt x="741928" y="149612"/>
                  </a:lnTo>
                  <a:lnTo>
                    <a:pt x="714261" y="116820"/>
                  </a:lnTo>
                  <a:lnTo>
                    <a:pt x="683773" y="88374"/>
                  </a:lnTo>
                  <a:lnTo>
                    <a:pt x="650846" y="64145"/>
                  </a:lnTo>
                  <a:lnTo>
                    <a:pt x="615864" y="44001"/>
                  </a:lnTo>
                  <a:lnTo>
                    <a:pt x="579210" y="27813"/>
                  </a:lnTo>
                  <a:lnTo>
                    <a:pt x="541267" y="15449"/>
                  </a:lnTo>
                  <a:lnTo>
                    <a:pt x="502418" y="6779"/>
                  </a:lnTo>
                  <a:lnTo>
                    <a:pt x="463047" y="1673"/>
                  </a:lnTo>
                  <a:lnTo>
                    <a:pt x="423536" y="0"/>
                  </a:lnTo>
                  <a:close/>
                </a:path>
                <a:path w="827405" h="901064">
                  <a:moveTo>
                    <a:pt x="650744" y="605311"/>
                  </a:moveTo>
                  <a:lnTo>
                    <a:pt x="626428" y="643642"/>
                  </a:lnTo>
                  <a:lnTo>
                    <a:pt x="596971" y="676278"/>
                  </a:lnTo>
                  <a:lnTo>
                    <a:pt x="562776" y="702652"/>
                  </a:lnTo>
                  <a:lnTo>
                    <a:pt x="524059" y="722288"/>
                  </a:lnTo>
                  <a:lnTo>
                    <a:pt x="523916" y="722288"/>
                  </a:lnTo>
                  <a:lnTo>
                    <a:pt x="481541" y="734405"/>
                  </a:lnTo>
                  <a:lnTo>
                    <a:pt x="481034" y="734405"/>
                  </a:lnTo>
                  <a:lnTo>
                    <a:pt x="435777" y="738511"/>
                  </a:lnTo>
                  <a:lnTo>
                    <a:pt x="781049" y="738511"/>
                  </a:lnTo>
                  <a:lnTo>
                    <a:pt x="803136" y="706532"/>
                  </a:lnTo>
                  <a:lnTo>
                    <a:pt x="824435" y="666293"/>
                  </a:lnTo>
                  <a:lnTo>
                    <a:pt x="824697" y="665728"/>
                  </a:lnTo>
                  <a:lnTo>
                    <a:pt x="824906" y="665131"/>
                  </a:lnTo>
                  <a:lnTo>
                    <a:pt x="825168" y="664566"/>
                  </a:lnTo>
                  <a:lnTo>
                    <a:pt x="650744" y="605311"/>
                  </a:lnTo>
                  <a:close/>
                </a:path>
                <a:path w="827405" h="901064">
                  <a:moveTo>
                    <a:pt x="746090" y="155953"/>
                  </a:moveTo>
                  <a:lnTo>
                    <a:pt x="422008" y="155953"/>
                  </a:lnTo>
                  <a:lnTo>
                    <a:pt x="466874" y="159622"/>
                  </a:lnTo>
                  <a:lnTo>
                    <a:pt x="509973" y="171076"/>
                  </a:lnTo>
                  <a:lnTo>
                    <a:pt x="549726" y="190981"/>
                  </a:lnTo>
                  <a:lnTo>
                    <a:pt x="584557" y="220008"/>
                  </a:lnTo>
                  <a:lnTo>
                    <a:pt x="612887" y="258822"/>
                  </a:lnTo>
                  <a:lnTo>
                    <a:pt x="633140" y="308094"/>
                  </a:lnTo>
                  <a:lnTo>
                    <a:pt x="643739" y="368491"/>
                  </a:lnTo>
                  <a:lnTo>
                    <a:pt x="822469" y="368491"/>
                  </a:lnTo>
                  <a:lnTo>
                    <a:pt x="816712" y="326855"/>
                  </a:lnTo>
                  <a:lnTo>
                    <a:pt x="804165" y="275372"/>
                  </a:lnTo>
                  <a:lnTo>
                    <a:pt x="787263" y="228757"/>
                  </a:lnTo>
                  <a:lnTo>
                    <a:pt x="766390" y="186881"/>
                  </a:lnTo>
                  <a:lnTo>
                    <a:pt x="746090" y="155953"/>
                  </a:lnTo>
                  <a:close/>
                </a:path>
              </a:pathLst>
            </a:custGeom>
            <a:solidFill>
              <a:srgbClr val="6F7070"/>
            </a:solidFill>
          </p:spPr>
          <p:txBody>
            <a:bodyPr wrap="square" lIns="0" tIns="0" rIns="0" bIns="0" rtlCol="0"/>
            <a:lstStyle/>
            <a:p>
              <a:endParaRPr dirty="0"/>
            </a:p>
          </p:txBody>
        </p:sp>
      </p:grpSp>
    </p:spTree>
    <p:extLst>
      <p:ext uri="{BB962C8B-B14F-4D97-AF65-F5344CB8AC3E}">
        <p14:creationId xmlns:p14="http://schemas.microsoft.com/office/powerpoint/2010/main" val="4174009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05ACAA-EDA1-1D89-323B-00F1195C160C}"/>
              </a:ext>
            </a:extLst>
          </p:cNvPr>
          <p:cNvGraphicFramePr>
            <a:graphicFrameLocks noChangeAspect="1"/>
          </p:cNvGraphicFramePr>
          <p:nvPr userDrawn="1">
            <p:custDataLst>
              <p:tags r:id="rId1"/>
            </p:custDataLst>
            <p:extLst>
              <p:ext uri="{D42A27DB-BD31-4B8C-83A1-F6EECF244321}">
                <p14:modId xmlns:p14="http://schemas.microsoft.com/office/powerpoint/2010/main" val="2463287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6" name="think-cell data - do not delete" hidden="1">
                        <a:extLst>
                          <a:ext uri="{FF2B5EF4-FFF2-40B4-BE49-F238E27FC236}">
                            <a16:creationId xmlns:a16="http://schemas.microsoft.com/office/drawing/2014/main" id="{3005ACAA-EDA1-1D89-323B-00F1195C16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Heading"/>
          <p:cNvSpPr>
            <a:spLocks noGrp="1"/>
          </p:cNvSpPr>
          <p:nvPr>
            <p:ph type="body" idx="10" hasCustomPrompt="1"/>
          </p:nvPr>
        </p:nvSpPr>
        <p:spPr>
          <a:xfrm>
            <a:off x="457200" y="1472184"/>
            <a:ext cx="11277600" cy="429768"/>
          </a:xfrm>
        </p:spPr>
        <p:txBody>
          <a:bodyPr/>
          <a:lstStyle>
            <a:lvl1pPr marL="0" indent="0">
              <a:spcBef>
                <a:spcPts val="0"/>
              </a:spcBef>
              <a:buFont typeface="Arial" panose="020B0604020202020204" pitchFamily="34" charset="0"/>
              <a:buNone/>
              <a:defRPr sz="1400" b="1">
                <a:solidFill>
                  <a:schemeClr val="tx1"/>
                </a:solidFill>
              </a:defRPr>
            </a:lvl1pPr>
            <a:lvl2pPr marL="285750" indent="-285750">
              <a:spcBef>
                <a:spcPts val="0"/>
              </a:spcBef>
              <a:buFont typeface="Arial" panose="020B0604020202020204" pitchFamily="34" charset="0"/>
              <a:buNone/>
              <a:defRPr sz="1400" b="0" kern="0" dirty="0">
                <a:solidFill>
                  <a:schemeClr val="tx1"/>
                </a:solidFill>
                <a:latin typeface="Figtree Medium" pitchFamily="2" charset="0"/>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lang="en-US"/>
              <a:t>Heading 14 pt</a:t>
            </a:r>
          </a:p>
          <a:p>
            <a:pPr lvl="1"/>
            <a:r>
              <a:rPr lang="en-US"/>
              <a:t>Subheading 14 pt</a:t>
            </a:r>
          </a:p>
        </p:txBody>
      </p:sp>
      <p:sp>
        <p:nvSpPr>
          <p:cNvPr id="4" name="Content"/>
          <p:cNvSpPr>
            <a:spLocks noGrp="1"/>
          </p:cNvSpPr>
          <p:nvPr>
            <p:ph idx="11"/>
          </p:nvPr>
        </p:nvSpPr>
        <p:spPr>
          <a:xfrm>
            <a:off x="457200" y="1956816"/>
            <a:ext cx="112776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962085735"/>
      </p:ext>
    </p:extLst>
  </p:cSld>
  <p:clrMapOvr>
    <a:masterClrMapping/>
  </p:clrMapOvr>
  <p:extLst>
    <p:ext uri="{DCECCB84-F9BA-43D5-87BE-67443E8EF086}">
      <p15:sldGuideLst xmlns:p15="http://schemas.microsoft.com/office/powerpoint/2012/main">
        <p15:guide id="3" orient="horz" pos="927" userDrawn="1">
          <p15:clr>
            <a:srgbClr val="FBAE40"/>
          </p15:clr>
        </p15:guide>
        <p15:guide id="6" orient="horz" pos="123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4014ACA-BDC5-6284-6DC4-E3D743FBFEE6}"/>
              </a:ext>
            </a:extLst>
          </p:cNvPr>
          <p:cNvGraphicFramePr>
            <a:graphicFrameLocks noChangeAspect="1"/>
          </p:cNvGraphicFramePr>
          <p:nvPr userDrawn="1">
            <p:custDataLst>
              <p:tags r:id="rId1"/>
            </p:custDataLst>
            <p:extLst>
              <p:ext uri="{D42A27DB-BD31-4B8C-83A1-F6EECF244321}">
                <p14:modId xmlns:p14="http://schemas.microsoft.com/office/powerpoint/2010/main" val="2337655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2" name="think-cell data - do not delete" hidden="1">
                        <a:extLst>
                          <a:ext uri="{FF2B5EF4-FFF2-40B4-BE49-F238E27FC236}">
                            <a16:creationId xmlns:a16="http://schemas.microsoft.com/office/drawing/2014/main" id="{B4014ACA-BDC5-6284-6DC4-E3D743FBFE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4231172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B8D53A6-C820-26C0-7356-67543A665C3A}"/>
              </a:ext>
            </a:extLst>
          </p:cNvPr>
          <p:cNvGraphicFramePr>
            <a:graphicFrameLocks noChangeAspect="1"/>
          </p:cNvGraphicFramePr>
          <p:nvPr userDrawn="1">
            <p:custDataLst>
              <p:tags r:id="rId1"/>
            </p:custDataLst>
            <p:extLst>
              <p:ext uri="{D42A27DB-BD31-4B8C-83A1-F6EECF244321}">
                <p14:modId xmlns:p14="http://schemas.microsoft.com/office/powerpoint/2010/main" val="320364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DB8D53A6-C820-26C0-7356-67543A665C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lvl1pPr>
              <a:defRPr sz="1800" b="1" i="0">
                <a:solidFill>
                  <a:srgbClr val="031F43"/>
                </a:solidFill>
                <a:latin typeface="Figtree Light" pitchFamily="2" charset="0"/>
                <a:cs typeface="Arial"/>
              </a:defRPr>
            </a:lvl1pPr>
          </a:lstStyle>
          <a:p>
            <a:endParaRPr/>
          </a:p>
        </p:txBody>
      </p:sp>
      <p:sp>
        <p:nvSpPr>
          <p:cNvPr id="3" name="Holder 3"/>
          <p:cNvSpPr>
            <a:spLocks noGrp="1"/>
          </p:cNvSpPr>
          <p:nvPr>
            <p:ph type="body" idx="1"/>
          </p:nvPr>
        </p:nvSpPr>
        <p:spPr/>
        <p:txBody>
          <a:bodyPr lIns="0" tIns="0" rIns="0" bIns="0"/>
          <a:lstStyle>
            <a:lvl1pPr>
              <a:defRPr sz="1100" b="0" i="0">
                <a:solidFill>
                  <a:srgbClr val="031F43"/>
                </a:solidFill>
                <a:latin typeface="Figtree Light" pitchFamily="2" charset="0"/>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lang="en-US"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pPr/>
              <a:t>6/29/25</a:t>
            </a:fld>
            <a:endParaRPr lang="en-US" dirty="0"/>
          </a:p>
        </p:txBody>
      </p:sp>
      <p:sp>
        <p:nvSpPr>
          <p:cNvPr id="6" name="Holder 6"/>
          <p:cNvSpPr>
            <a:spLocks noGrp="1"/>
          </p:cNvSpPr>
          <p:nvPr>
            <p:ph type="sldNum" sz="quarter" idx="7"/>
          </p:nvPr>
        </p:nvSpPr>
        <p:spPr/>
        <p:txBody>
          <a:bodyPr lIns="0" tIns="0" rIns="0" bIns="0"/>
          <a:lstStyle>
            <a:lvl1pPr>
              <a:defRPr sz="900" b="0" i="0">
                <a:solidFill>
                  <a:srgbClr val="031F43"/>
                </a:solidFill>
                <a:latin typeface="Figtree Light" pitchFamily="2" charset="0"/>
                <a:cs typeface="Arial"/>
              </a:defRPr>
            </a:lvl1pPr>
          </a:lstStyle>
          <a:p>
            <a:pPr marL="38100">
              <a:spcBef>
                <a:spcPts val="15"/>
              </a:spcBef>
            </a:pPr>
            <a:fld id="{81D60167-4931-47E6-BA6A-407CBD079E47}" type="slidenum">
              <a:rPr lang="en-US" spc="-50" smtClean="0"/>
              <a:pPr marL="38100">
                <a:spcBef>
                  <a:spcPts val="15"/>
                </a:spcBef>
              </a:pPr>
              <a:t>‹#›</a:t>
            </a:fld>
            <a:endParaRPr lang="en-US" spc="-50" dirty="0"/>
          </a:p>
        </p:txBody>
      </p:sp>
    </p:spTree>
    <p:extLst>
      <p:ext uri="{BB962C8B-B14F-4D97-AF65-F5344CB8AC3E}">
        <p14:creationId xmlns:p14="http://schemas.microsoft.com/office/powerpoint/2010/main" val="9449796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cSld name="Qualification">
    <p:spTree>
      <p:nvGrpSpPr>
        <p:cNvPr id="1" name=""/>
        <p:cNvGrpSpPr/>
        <p:nvPr/>
      </p:nvGrpSpPr>
      <p:grpSpPr>
        <a:xfrm>
          <a:off x="0" y="0"/>
          <a:ext cx="0" cy="0"/>
          <a:chOff x="0" y="0"/>
          <a:chExt cx="0" cy="0"/>
        </a:xfrm>
      </p:grpSpPr>
      <p:graphicFrame>
        <p:nvGraphicFramePr>
          <p:cNvPr id="2" name="TextConfOW-S-">
            <a:extLst>
              <a:ext uri="{FF2B5EF4-FFF2-40B4-BE49-F238E27FC236}">
                <a16:creationId xmlns:a16="http://schemas.microsoft.com/office/drawing/2014/main" id="{3A70B77B-25A8-A547-7687-F1AF819BB68D}"/>
              </a:ext>
            </a:extLst>
          </p:cNvPr>
          <p:cNvGraphicFramePr>
            <a:graphicFrameLocks noGrp="1"/>
          </p:cNvGraphicFramePr>
          <p:nvPr userDrawn="1">
            <p:extLst>
              <p:ext uri="{D42A27DB-BD31-4B8C-83A1-F6EECF244321}">
                <p14:modId xmlns:p14="http://schemas.microsoft.com/office/powerpoint/2010/main" val="3244363495"/>
              </p:ext>
            </p:extLst>
          </p:nvPr>
        </p:nvGraphicFramePr>
        <p:xfrm>
          <a:off x="457200" y="1828800"/>
          <a:ext cx="9321800" cy="3200400"/>
        </p:xfrm>
        <a:graphic>
          <a:graphicData uri="http://schemas.openxmlformats.org/drawingml/2006/table">
            <a:tbl>
              <a:tblPr firstRow="1" bandRow="1">
                <a:tableStyleId>{2D5ABB26-0587-4C30-8999-92F81FD0307C}</a:tableStyleId>
              </a:tblPr>
              <a:tblGrid>
                <a:gridCol w="9321800">
                  <a:extLst>
                    <a:ext uri="{9D8B030D-6E8A-4147-A177-3AD203B41FA5}">
                      <a16:colId xmlns:a16="http://schemas.microsoft.com/office/drawing/2014/main" val="1796135959"/>
                    </a:ext>
                  </a:extLst>
                </a:gridCol>
              </a:tblGrid>
              <a:tr h="411480">
                <a:tc>
                  <a:txBody>
                    <a:bodyPr/>
                    <a:lstStyle/>
                    <a:p>
                      <a:r>
                        <a:rPr lang="en-GB" sz="2400" b="1" dirty="0">
                          <a:latin typeface="+mj-lt"/>
                        </a:rPr>
                        <a:t>QUALIFICATIONS, ASSUMPTIONS, AND LIMITING CONDITIONS</a:t>
                      </a:r>
                      <a:endParaRPr lang="en-US" sz="2400" b="1" dirty="0">
                        <a:latin typeface="+mj-lt"/>
                      </a:endParaRPr>
                    </a:p>
                  </a:txBody>
                  <a:tcPr marL="0" marR="0" marT="0" marB="0"/>
                </a:tc>
                <a:extLst>
                  <a:ext uri="{0D108BD9-81ED-4DB2-BD59-A6C34878D82A}">
                    <a16:rowId xmlns:a16="http://schemas.microsoft.com/office/drawing/2014/main" val="617464070"/>
                  </a:ext>
                </a:extLst>
              </a:tr>
              <a:tr h="2788920">
                <a:tc>
                  <a:txBody>
                    <a:bodyPr/>
                    <a:lstStyle/>
                    <a:p>
                      <a:pPr>
                        <a:spcBef>
                          <a:spcPts val="600"/>
                        </a:spcBef>
                      </a:pPr>
                      <a:r>
                        <a:rPr lang="en-GB" sz="1200" dirty="0"/>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In addition, this report does not represent legal, medical, accounting, safety, or other specialized advice. For any such advice, Oliver Wyman recommends seeking and obtaining advice from a qualified professional.</a:t>
                      </a:r>
                      <a:endParaRPr lang="en-US" sz="1200" dirty="0"/>
                    </a:p>
                  </a:txBody>
                  <a:tcPr marL="0" marR="0" marT="0" marB="0"/>
                </a:tc>
                <a:extLst>
                  <a:ext uri="{0D108BD9-81ED-4DB2-BD59-A6C34878D82A}">
                    <a16:rowId xmlns:a16="http://schemas.microsoft.com/office/drawing/2014/main" val="1945527895"/>
                  </a:ext>
                </a:extLst>
              </a:tr>
            </a:tbl>
          </a:graphicData>
        </a:graphic>
      </p:graphicFrame>
    </p:spTree>
    <p:extLst>
      <p:ext uri="{BB962C8B-B14F-4D97-AF65-F5344CB8AC3E}">
        <p14:creationId xmlns:p14="http://schemas.microsoft.com/office/powerpoint/2010/main" val="12951734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ig portrait photo on righ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A476F82-3362-673A-BFF2-BCC557E636B6}"/>
              </a:ext>
            </a:extLst>
          </p:cNvPr>
          <p:cNvGraphicFramePr>
            <a:graphicFrameLocks noChangeAspect="1"/>
          </p:cNvGraphicFramePr>
          <p:nvPr userDrawn="1">
            <p:custDataLst>
              <p:tags r:id="rId1"/>
            </p:custDataLst>
            <p:extLst>
              <p:ext uri="{D42A27DB-BD31-4B8C-83A1-F6EECF244321}">
                <p14:modId xmlns:p14="http://schemas.microsoft.com/office/powerpoint/2010/main" val="3791938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6" name="think-cell data - do not delete" hidden="1">
                        <a:extLst>
                          <a:ext uri="{FF2B5EF4-FFF2-40B4-BE49-F238E27FC236}">
                            <a16:creationId xmlns:a16="http://schemas.microsoft.com/office/drawing/2014/main" id="{7A476F82-3362-673A-BFF2-BCC557E636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Heading"/>
          <p:cNvSpPr>
            <a:spLocks noGrp="1"/>
          </p:cNvSpPr>
          <p:nvPr>
            <p:ph type="body" idx="10" hasCustomPrompt="1"/>
          </p:nvPr>
        </p:nvSpPr>
        <p:spPr>
          <a:xfrm>
            <a:off x="457199" y="1472184"/>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285750" indent="-285750">
              <a:spcBef>
                <a:spcPts val="0"/>
              </a:spcBef>
              <a:buFont typeface="Arial" panose="020B0604020202020204" pitchFamily="34" charset="0"/>
              <a:buChar char="​"/>
              <a:defRPr sz="1400" kern="0" dirty="0">
                <a:solidFill>
                  <a:schemeClr val="tx1"/>
                </a:solidFill>
                <a:latin typeface="Figtree Medium" pitchFamily="2" charset="0"/>
                <a:ea typeface="+mn-ea"/>
                <a:cs typeface="+mn-cs"/>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marL="0" lvl="1" indent="0" algn="l" defTabSz="914370" rtl="0" eaLnBrk="1" latinLnBrk="0" hangingPunct="1">
              <a:spcBef>
                <a:spcPts val="0"/>
              </a:spcBef>
              <a:buFont typeface="Arial" panose="020B0604020202020204" pitchFamily="34" charset="0"/>
              <a:buChar char="​"/>
            </a:pPr>
            <a:r>
              <a:t>Subheading 14 pt</a:t>
            </a:r>
          </a:p>
        </p:txBody>
      </p:sp>
      <p:sp>
        <p:nvSpPr>
          <p:cNvPr id="4" name="Content"/>
          <p:cNvSpPr>
            <a:spLocks noGrp="1"/>
          </p:cNvSpPr>
          <p:nvPr>
            <p:ph sz="half" idx="11"/>
          </p:nvPr>
        </p:nvSpPr>
        <p:spPr>
          <a:xfrm>
            <a:off x="457198" y="1956816"/>
            <a:ext cx="7366000" cy="444398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280400" y="0"/>
            <a:ext cx="3911600" cy="6858000"/>
          </a:xfrm>
        </p:spPr>
        <p:txBody>
          <a:bodyPr tIns="640080" anchor="ctr"/>
          <a:lstStyle>
            <a:lvl1pPr marL="0" indent="0" algn="ctr">
              <a:buNone/>
              <a:defRPr sz="1400">
                <a:solidFill>
                  <a:srgbClr val="C3C3C3"/>
                </a:solidFill>
              </a:defRPr>
            </a:lvl1pPr>
          </a:lstStyle>
          <a:p>
            <a:r>
              <a:rPr lang="en-US" dirty="0"/>
              <a:t>Click icon to add picture</a:t>
            </a:r>
            <a:endParaRPr dirty="0"/>
          </a:p>
        </p:txBody>
      </p:sp>
      <p:sp>
        <p:nvSpPr>
          <p:cNvPr id="7" name="Title 6">
            <a:extLst>
              <a:ext uri="{FF2B5EF4-FFF2-40B4-BE49-F238E27FC236}">
                <a16:creationId xmlns:a16="http://schemas.microsoft.com/office/drawing/2014/main" id="{E4D872BF-784E-4FB4-185C-724FC8193818}"/>
              </a:ext>
            </a:extLst>
          </p:cNvPr>
          <p:cNvSpPr>
            <a:spLocks noGrp="1"/>
          </p:cNvSpPr>
          <p:nvPr>
            <p:ph type="title"/>
          </p:nvPr>
        </p:nvSpPr>
        <p:spPr>
          <a:xfrm>
            <a:off x="457200" y="457200"/>
            <a:ext cx="7366000" cy="758952"/>
          </a:xfrm>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183795911"/>
      </p:ext>
    </p:extLst>
  </p:cSld>
  <p:clrMapOvr>
    <a:masterClrMapping/>
  </p:clrMapOvr>
  <p:extLst>
    <p:ext uri="{DCECCB84-F9BA-43D5-87BE-67443E8EF086}">
      <p15:sldGuideLst xmlns:p15="http://schemas.microsoft.com/office/powerpoint/2012/main">
        <p15:guide id="1" orient="horz" pos="924" userDrawn="1">
          <p15:clr>
            <a:srgbClr val="FBAE40"/>
          </p15:clr>
        </p15:guide>
        <p15:guide id="4" orient="horz" pos="1232" userDrawn="1">
          <p15:clr>
            <a:srgbClr val="FBAE40"/>
          </p15:clr>
        </p15:guide>
        <p15:guide id="6" pos="4928">
          <p15:clr>
            <a:srgbClr val="FBAE40"/>
          </p15:clr>
        </p15:guide>
        <p15:guide id="9" pos="521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p:bg>
      <p:bgPr>
        <a:solidFill>
          <a:srgbClr val="009FD3"/>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8F42BEE-1737-CC49-3AA0-D55A2FAF2CA7}"/>
              </a:ext>
            </a:extLst>
          </p:cNvPr>
          <p:cNvGraphicFramePr>
            <a:graphicFrameLocks noChangeAspect="1"/>
          </p:cNvGraphicFramePr>
          <p:nvPr userDrawn="1">
            <p:custDataLst>
              <p:tags r:id="rId1"/>
            </p:custDataLst>
            <p:extLst>
              <p:ext uri="{D42A27DB-BD31-4B8C-83A1-F6EECF244321}">
                <p14:modId xmlns:p14="http://schemas.microsoft.com/office/powerpoint/2010/main" val="3938065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38F42BEE-1737-CC49-3AA0-D55A2FAF2C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ectionTitle"/>
          <p:cNvSpPr>
            <a:spLocks noGrp="1"/>
          </p:cNvSpPr>
          <p:nvPr>
            <p:ph type="body" sz="quarter" idx="11" hasCustomPrompt="1"/>
          </p:nvPr>
        </p:nvSpPr>
        <p:spPr>
          <a:xfrm>
            <a:off x="457200" y="4681728"/>
            <a:ext cx="6273800" cy="948978"/>
          </a:xfrm>
        </p:spPr>
        <p:txBody>
          <a:bodyPr vert="horz" wrap="square" lIns="0" tIns="0" rIns="0" bIns="0" numCol="1" anchor="t" anchorCtr="0" compatLnSpc="1">
            <a:prstTxWarp prst="textNoShape">
              <a:avLst/>
            </a:prstTxWarp>
            <a:spAutoFit/>
          </a:bodyPr>
          <a:lstStyle>
            <a:lvl1pPr marL="0" indent="0" algn="l" fontAlgn="base">
              <a:lnSpc>
                <a:spcPct val="100000"/>
              </a:lnSpc>
              <a:spcBef>
                <a:spcPts val="0"/>
              </a:spcBef>
              <a:spcAft>
                <a:spcPts val="200"/>
              </a:spcAft>
              <a:buFont typeface="Arial" panose="020B0604020202020204" pitchFamily="34" charset="0"/>
              <a:buChar char="​"/>
              <a:defRPr sz="4000">
                <a:solidFill>
                  <a:schemeClr val="bg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2000">
                <a:solidFill>
                  <a:schemeClr val="bg1"/>
                </a:solidFill>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t>Click to add section title</a:t>
            </a:r>
          </a:p>
          <a:p>
            <a:pPr lvl="1"/>
            <a:r>
              <a:t>Click to add section subtitle</a:t>
            </a:r>
          </a:p>
        </p:txBody>
      </p:sp>
      <p:sp>
        <p:nvSpPr>
          <p:cNvPr id="3" name="SectionNumber"/>
          <p:cNvSpPr>
            <a:spLocks noGrp="1"/>
          </p:cNvSpPr>
          <p:nvPr>
            <p:ph type="body" sz="quarter" idx="12" hasCustomPrompt="1"/>
          </p:nvPr>
        </p:nvSpPr>
        <p:spPr>
          <a:xfrm>
            <a:off x="457200" y="3340100"/>
            <a:ext cx="6273800" cy="1341628"/>
          </a:xfrm>
        </p:spPr>
        <p:txBody>
          <a:bodyPr lIns="0" tIns="0" rIns="0" bIns="0" anchor="b"/>
          <a:lstStyle>
            <a:lvl1pPr marL="342900" indent="-342900" algn="l" fontAlgn="base">
              <a:lnSpc>
                <a:spcPct val="100000"/>
              </a:lnSpc>
              <a:spcBef>
                <a:spcPts val="0"/>
              </a:spcBef>
              <a:spcAft>
                <a:spcPts val="0"/>
              </a:spcAft>
              <a:buFont typeface="Arial" panose="020B0604020202020204" pitchFamily="34" charset="0"/>
              <a:buChar char="​"/>
              <a:defRPr sz="11500" b="1" kern="0" dirty="0">
                <a:solidFill>
                  <a:schemeClr val="bg1"/>
                </a:solidFill>
                <a:latin typeface="+mj-lt"/>
                <a:ea typeface="+mj-ea"/>
                <a:cs typeface="+mj-cs"/>
              </a:defRPr>
            </a:lvl1pPr>
            <a:lvl2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9pPr>
          </a:lstStyle>
          <a:p>
            <a:pPr marL="0" lvl="0" indent="0" algn="l" defTabSz="914370" rtl="0" eaLnBrk="1" fontAlgn="base" latinLnBrk="0" hangingPunct="1">
              <a:lnSpc>
                <a:spcPct val="88000"/>
              </a:lnSpc>
              <a:spcBef>
                <a:spcPts val="0"/>
              </a:spcBef>
              <a:spcAft>
                <a:spcPts val="0"/>
              </a:spcAft>
              <a:buFont typeface="Arial" panose="020B0604020202020204" pitchFamily="34" charset="0"/>
              <a:buChar char="​"/>
            </a:pPr>
            <a:r>
              <a:t>##</a:t>
            </a:r>
          </a:p>
        </p:txBody>
      </p:sp>
      <p:grpSp>
        <p:nvGrpSpPr>
          <p:cNvPr id="4" name="Group 3">
            <a:extLst>
              <a:ext uri="{FF2B5EF4-FFF2-40B4-BE49-F238E27FC236}">
                <a16:creationId xmlns:a16="http://schemas.microsoft.com/office/drawing/2014/main" id="{7D185872-D6C1-AAE6-46ED-D1631F36F9B6}"/>
              </a:ext>
            </a:extLst>
          </p:cNvPr>
          <p:cNvGrpSpPr/>
          <p:nvPr userDrawn="1"/>
        </p:nvGrpSpPr>
        <p:grpSpPr>
          <a:xfrm>
            <a:off x="7101763" y="123"/>
            <a:ext cx="4940816" cy="6857754"/>
            <a:chOff x="7226300" y="123"/>
            <a:chExt cx="4940816" cy="6857754"/>
          </a:xfrm>
        </p:grpSpPr>
        <p:sp>
          <p:nvSpPr>
            <p:cNvPr id="5" name="object 5">
              <a:extLst>
                <a:ext uri="{FF2B5EF4-FFF2-40B4-BE49-F238E27FC236}">
                  <a16:creationId xmlns:a16="http://schemas.microsoft.com/office/drawing/2014/main" id="{3BB29A60-9D36-6427-D48F-5260AF2AC7B2}"/>
                </a:ext>
              </a:extLst>
            </p:cNvPr>
            <p:cNvSpPr/>
            <p:nvPr/>
          </p:nvSpPr>
          <p:spPr>
            <a:xfrm>
              <a:off x="10679200" y="6037749"/>
              <a:ext cx="332700" cy="477101"/>
            </a:xfrm>
            <a:custGeom>
              <a:avLst/>
              <a:gdLst/>
              <a:ahLst/>
              <a:cxnLst/>
              <a:rect l="l" t="t" r="r" b="b"/>
              <a:pathLst>
                <a:path w="548640" h="786765">
                  <a:moveTo>
                    <a:pt x="548043" y="266611"/>
                  </a:moveTo>
                  <a:lnTo>
                    <a:pt x="500380" y="270649"/>
                  </a:lnTo>
                  <a:lnTo>
                    <a:pt x="455853" y="282308"/>
                  </a:lnTo>
                  <a:lnTo>
                    <a:pt x="414616" y="300901"/>
                  </a:lnTo>
                  <a:lnTo>
                    <a:pt x="377355" y="325780"/>
                  </a:lnTo>
                  <a:lnTo>
                    <a:pt x="344728" y="356235"/>
                  </a:lnTo>
                  <a:lnTo>
                    <a:pt x="317411" y="391629"/>
                  </a:lnTo>
                  <a:lnTo>
                    <a:pt x="296087" y="431253"/>
                  </a:lnTo>
                  <a:lnTo>
                    <a:pt x="281432" y="474446"/>
                  </a:lnTo>
                  <a:lnTo>
                    <a:pt x="274091" y="520534"/>
                  </a:lnTo>
                  <a:lnTo>
                    <a:pt x="266915" y="474256"/>
                  </a:lnTo>
                  <a:lnTo>
                    <a:pt x="252361" y="430885"/>
                  </a:lnTo>
                  <a:lnTo>
                    <a:pt x="231101" y="391096"/>
                  </a:lnTo>
                  <a:lnTo>
                    <a:pt x="203809" y="355561"/>
                  </a:lnTo>
                  <a:lnTo>
                    <a:pt x="171157" y="324954"/>
                  </a:lnTo>
                  <a:lnTo>
                    <a:pt x="133845" y="299986"/>
                  </a:lnTo>
                  <a:lnTo>
                    <a:pt x="92544" y="281292"/>
                  </a:lnTo>
                  <a:lnTo>
                    <a:pt x="47917" y="269582"/>
                  </a:lnTo>
                  <a:lnTo>
                    <a:pt x="12" y="265531"/>
                  </a:lnTo>
                  <a:lnTo>
                    <a:pt x="5461" y="313690"/>
                  </a:lnTo>
                  <a:lnTo>
                    <a:pt x="18846" y="358952"/>
                  </a:lnTo>
                  <a:lnTo>
                    <a:pt x="39471" y="400583"/>
                  </a:lnTo>
                  <a:lnTo>
                    <a:pt x="66560" y="437832"/>
                  </a:lnTo>
                  <a:lnTo>
                    <a:pt x="99402" y="469988"/>
                  </a:lnTo>
                  <a:lnTo>
                    <a:pt x="137261" y="496303"/>
                  </a:lnTo>
                  <a:lnTo>
                    <a:pt x="179387" y="516026"/>
                  </a:lnTo>
                  <a:lnTo>
                    <a:pt x="225056" y="528459"/>
                  </a:lnTo>
                  <a:lnTo>
                    <a:pt x="273532" y="532841"/>
                  </a:lnTo>
                  <a:lnTo>
                    <a:pt x="274751" y="532841"/>
                  </a:lnTo>
                  <a:lnTo>
                    <a:pt x="323100" y="528472"/>
                  </a:lnTo>
                  <a:lnTo>
                    <a:pt x="368655" y="516102"/>
                  </a:lnTo>
                  <a:lnTo>
                    <a:pt x="410679" y="496468"/>
                  </a:lnTo>
                  <a:lnTo>
                    <a:pt x="448475" y="470268"/>
                  </a:lnTo>
                  <a:lnTo>
                    <a:pt x="481266" y="438251"/>
                  </a:lnTo>
                  <a:lnTo>
                    <a:pt x="508368" y="401154"/>
                  </a:lnTo>
                  <a:lnTo>
                    <a:pt x="529005" y="359689"/>
                  </a:lnTo>
                  <a:lnTo>
                    <a:pt x="542480" y="314604"/>
                  </a:lnTo>
                  <a:lnTo>
                    <a:pt x="548043" y="266611"/>
                  </a:lnTo>
                  <a:close/>
                </a:path>
                <a:path w="548640" h="786765">
                  <a:moveTo>
                    <a:pt x="548043" y="1092"/>
                  </a:moveTo>
                  <a:lnTo>
                    <a:pt x="500380" y="5130"/>
                  </a:lnTo>
                  <a:lnTo>
                    <a:pt x="455853" y="16789"/>
                  </a:lnTo>
                  <a:lnTo>
                    <a:pt x="414616" y="35382"/>
                  </a:lnTo>
                  <a:lnTo>
                    <a:pt x="377355" y="60248"/>
                  </a:lnTo>
                  <a:lnTo>
                    <a:pt x="344728" y="90716"/>
                  </a:lnTo>
                  <a:lnTo>
                    <a:pt x="317411" y="126098"/>
                  </a:lnTo>
                  <a:lnTo>
                    <a:pt x="296087" y="165722"/>
                  </a:lnTo>
                  <a:lnTo>
                    <a:pt x="281432" y="208915"/>
                  </a:lnTo>
                  <a:lnTo>
                    <a:pt x="274091" y="255003"/>
                  </a:lnTo>
                  <a:lnTo>
                    <a:pt x="266915" y="208724"/>
                  </a:lnTo>
                  <a:lnTo>
                    <a:pt x="252361" y="165354"/>
                  </a:lnTo>
                  <a:lnTo>
                    <a:pt x="231101" y="125564"/>
                  </a:lnTo>
                  <a:lnTo>
                    <a:pt x="203809" y="90030"/>
                  </a:lnTo>
                  <a:lnTo>
                    <a:pt x="171157" y="59436"/>
                  </a:lnTo>
                  <a:lnTo>
                    <a:pt x="133845" y="34455"/>
                  </a:lnTo>
                  <a:lnTo>
                    <a:pt x="92544" y="15773"/>
                  </a:lnTo>
                  <a:lnTo>
                    <a:pt x="47917" y="4064"/>
                  </a:lnTo>
                  <a:lnTo>
                    <a:pt x="12" y="0"/>
                  </a:lnTo>
                  <a:lnTo>
                    <a:pt x="5461" y="48171"/>
                  </a:lnTo>
                  <a:lnTo>
                    <a:pt x="18846"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79" y="230936"/>
                  </a:lnTo>
                  <a:lnTo>
                    <a:pt x="448475" y="204749"/>
                  </a:lnTo>
                  <a:lnTo>
                    <a:pt x="481266" y="172732"/>
                  </a:lnTo>
                  <a:lnTo>
                    <a:pt x="508368" y="135623"/>
                  </a:lnTo>
                  <a:lnTo>
                    <a:pt x="529005" y="94170"/>
                  </a:lnTo>
                  <a:lnTo>
                    <a:pt x="542480" y="49085"/>
                  </a:lnTo>
                  <a:lnTo>
                    <a:pt x="548043" y="1092"/>
                  </a:lnTo>
                  <a:close/>
                </a:path>
                <a:path w="548640" h="786765">
                  <a:moveTo>
                    <a:pt x="548093" y="520204"/>
                  </a:moveTo>
                  <a:lnTo>
                    <a:pt x="500380" y="524217"/>
                  </a:lnTo>
                  <a:lnTo>
                    <a:pt x="455853" y="535876"/>
                  </a:lnTo>
                  <a:lnTo>
                    <a:pt x="414616" y="554469"/>
                  </a:lnTo>
                  <a:lnTo>
                    <a:pt x="377355" y="579348"/>
                  </a:lnTo>
                  <a:lnTo>
                    <a:pt x="344728" y="609803"/>
                  </a:lnTo>
                  <a:lnTo>
                    <a:pt x="317411" y="645172"/>
                  </a:lnTo>
                  <a:lnTo>
                    <a:pt x="296087" y="684796"/>
                  </a:lnTo>
                  <a:lnTo>
                    <a:pt x="281419" y="727989"/>
                  </a:lnTo>
                  <a:lnTo>
                    <a:pt x="274091" y="774065"/>
                  </a:lnTo>
                  <a:lnTo>
                    <a:pt x="266915" y="727824"/>
                  </a:lnTo>
                  <a:lnTo>
                    <a:pt x="252361" y="684453"/>
                  </a:lnTo>
                  <a:lnTo>
                    <a:pt x="231101" y="644652"/>
                  </a:lnTo>
                  <a:lnTo>
                    <a:pt x="203809" y="609117"/>
                  </a:lnTo>
                  <a:lnTo>
                    <a:pt x="171157" y="578523"/>
                  </a:lnTo>
                  <a:lnTo>
                    <a:pt x="133845" y="553542"/>
                  </a:lnTo>
                  <a:lnTo>
                    <a:pt x="92544" y="534835"/>
                  </a:lnTo>
                  <a:lnTo>
                    <a:pt x="47917" y="523125"/>
                  </a:lnTo>
                  <a:lnTo>
                    <a:pt x="0" y="519074"/>
                  </a:lnTo>
                  <a:lnTo>
                    <a:pt x="5448" y="567245"/>
                  </a:lnTo>
                  <a:lnTo>
                    <a:pt x="18846" y="612521"/>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2DB7EA"/>
            </a:solidFill>
          </p:spPr>
          <p:txBody>
            <a:bodyPr wrap="square" lIns="0" tIns="0" rIns="0" bIns="0" rtlCol="0"/>
            <a:lstStyle/>
            <a:p>
              <a:endParaRPr dirty="0"/>
            </a:p>
          </p:txBody>
        </p:sp>
        <p:pic>
          <p:nvPicPr>
            <p:cNvPr id="6" name="object 6">
              <a:extLst>
                <a:ext uri="{FF2B5EF4-FFF2-40B4-BE49-F238E27FC236}">
                  <a16:creationId xmlns:a16="http://schemas.microsoft.com/office/drawing/2014/main" id="{66ABBC9D-CC24-2249-D6F8-BDC377D8AC49}"/>
                </a:ext>
              </a:extLst>
            </p:cNvPr>
            <p:cNvPicPr/>
            <p:nvPr/>
          </p:nvPicPr>
          <p:blipFill>
            <a:blip r:embed="rId5" cstate="print"/>
            <a:stretch>
              <a:fillRect/>
            </a:stretch>
          </p:blipFill>
          <p:spPr>
            <a:xfrm>
              <a:off x="10791857" y="5951762"/>
              <a:ext cx="106445" cy="107156"/>
            </a:xfrm>
            <a:prstGeom prst="rect">
              <a:avLst/>
            </a:prstGeom>
          </p:spPr>
        </p:pic>
        <p:sp>
          <p:nvSpPr>
            <p:cNvPr id="31" name="object 7">
              <a:extLst>
                <a:ext uri="{FF2B5EF4-FFF2-40B4-BE49-F238E27FC236}">
                  <a16:creationId xmlns:a16="http://schemas.microsoft.com/office/drawing/2014/main" id="{17C54F7B-4082-7639-45A7-623B81A997BF}"/>
                </a:ext>
              </a:extLst>
            </p:cNvPr>
            <p:cNvSpPr/>
            <p:nvPr/>
          </p:nvSpPr>
          <p:spPr>
            <a:xfrm>
              <a:off x="10679200" y="5383587"/>
              <a:ext cx="332700" cy="477101"/>
            </a:xfrm>
            <a:custGeom>
              <a:avLst/>
              <a:gdLst/>
              <a:ahLst/>
              <a:cxnLst/>
              <a:rect l="l" t="t" r="r" b="b"/>
              <a:pathLst>
                <a:path w="548640" h="786765">
                  <a:moveTo>
                    <a:pt x="548043" y="266623"/>
                  </a:moveTo>
                  <a:lnTo>
                    <a:pt x="500380" y="270649"/>
                  </a:lnTo>
                  <a:lnTo>
                    <a:pt x="455853" y="282308"/>
                  </a:lnTo>
                  <a:lnTo>
                    <a:pt x="414616" y="300913"/>
                  </a:lnTo>
                  <a:lnTo>
                    <a:pt x="377355" y="325780"/>
                  </a:lnTo>
                  <a:lnTo>
                    <a:pt x="344728" y="356235"/>
                  </a:lnTo>
                  <a:lnTo>
                    <a:pt x="317411" y="391617"/>
                  </a:lnTo>
                  <a:lnTo>
                    <a:pt x="296087" y="431241"/>
                  </a:lnTo>
                  <a:lnTo>
                    <a:pt x="281432" y="474446"/>
                  </a:lnTo>
                  <a:lnTo>
                    <a:pt x="274091" y="520522"/>
                  </a:lnTo>
                  <a:lnTo>
                    <a:pt x="266915"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46" y="358952"/>
                  </a:lnTo>
                  <a:lnTo>
                    <a:pt x="39471" y="400583"/>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79" y="496455"/>
                  </a:lnTo>
                  <a:lnTo>
                    <a:pt x="448475" y="470268"/>
                  </a:lnTo>
                  <a:lnTo>
                    <a:pt x="481266" y="438251"/>
                  </a:lnTo>
                  <a:lnTo>
                    <a:pt x="508368" y="401154"/>
                  </a:lnTo>
                  <a:lnTo>
                    <a:pt x="529005" y="359689"/>
                  </a:lnTo>
                  <a:lnTo>
                    <a:pt x="542480" y="314604"/>
                  </a:lnTo>
                  <a:lnTo>
                    <a:pt x="548043" y="266623"/>
                  </a:lnTo>
                  <a:close/>
                </a:path>
                <a:path w="548640" h="786765">
                  <a:moveTo>
                    <a:pt x="548043" y="1079"/>
                  </a:moveTo>
                  <a:lnTo>
                    <a:pt x="500380" y="5118"/>
                  </a:lnTo>
                  <a:lnTo>
                    <a:pt x="455853" y="16764"/>
                  </a:lnTo>
                  <a:lnTo>
                    <a:pt x="414616" y="35369"/>
                  </a:lnTo>
                  <a:lnTo>
                    <a:pt x="377355" y="60236"/>
                  </a:lnTo>
                  <a:lnTo>
                    <a:pt x="344728" y="90703"/>
                  </a:lnTo>
                  <a:lnTo>
                    <a:pt x="317411" y="126085"/>
                  </a:lnTo>
                  <a:lnTo>
                    <a:pt x="296087" y="165722"/>
                  </a:lnTo>
                  <a:lnTo>
                    <a:pt x="281432" y="208915"/>
                  </a:lnTo>
                  <a:lnTo>
                    <a:pt x="274091" y="255003"/>
                  </a:lnTo>
                  <a:lnTo>
                    <a:pt x="266915" y="208724"/>
                  </a:lnTo>
                  <a:lnTo>
                    <a:pt x="252361" y="165354"/>
                  </a:lnTo>
                  <a:lnTo>
                    <a:pt x="231101" y="125564"/>
                  </a:lnTo>
                  <a:lnTo>
                    <a:pt x="203809" y="90030"/>
                  </a:lnTo>
                  <a:lnTo>
                    <a:pt x="171157" y="59423"/>
                  </a:lnTo>
                  <a:lnTo>
                    <a:pt x="133845" y="34442"/>
                  </a:lnTo>
                  <a:lnTo>
                    <a:pt x="92544" y="15760"/>
                  </a:lnTo>
                  <a:lnTo>
                    <a:pt x="47917" y="4051"/>
                  </a:lnTo>
                  <a:lnTo>
                    <a:pt x="12" y="0"/>
                  </a:lnTo>
                  <a:lnTo>
                    <a:pt x="5461" y="48158"/>
                  </a:lnTo>
                  <a:lnTo>
                    <a:pt x="18846"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36"/>
                  </a:lnTo>
                  <a:lnTo>
                    <a:pt x="481266" y="172720"/>
                  </a:lnTo>
                  <a:lnTo>
                    <a:pt x="508368" y="135623"/>
                  </a:lnTo>
                  <a:lnTo>
                    <a:pt x="529005" y="94157"/>
                  </a:lnTo>
                  <a:lnTo>
                    <a:pt x="542480" y="49072"/>
                  </a:lnTo>
                  <a:lnTo>
                    <a:pt x="548043" y="1079"/>
                  </a:lnTo>
                  <a:close/>
                </a:path>
                <a:path w="548640" h="786765">
                  <a:moveTo>
                    <a:pt x="548093" y="520192"/>
                  </a:moveTo>
                  <a:lnTo>
                    <a:pt x="500380" y="524217"/>
                  </a:lnTo>
                  <a:lnTo>
                    <a:pt x="455853" y="535876"/>
                  </a:lnTo>
                  <a:lnTo>
                    <a:pt x="414616" y="554469"/>
                  </a:lnTo>
                  <a:lnTo>
                    <a:pt x="377355" y="579335"/>
                  </a:lnTo>
                  <a:lnTo>
                    <a:pt x="344728" y="609790"/>
                  </a:lnTo>
                  <a:lnTo>
                    <a:pt x="317411" y="645172"/>
                  </a:lnTo>
                  <a:lnTo>
                    <a:pt x="296087" y="684796"/>
                  </a:lnTo>
                  <a:lnTo>
                    <a:pt x="281419" y="727976"/>
                  </a:lnTo>
                  <a:lnTo>
                    <a:pt x="274091" y="774065"/>
                  </a:lnTo>
                  <a:lnTo>
                    <a:pt x="266915" y="727811"/>
                  </a:lnTo>
                  <a:lnTo>
                    <a:pt x="252361" y="684441"/>
                  </a:lnTo>
                  <a:lnTo>
                    <a:pt x="231101" y="644652"/>
                  </a:lnTo>
                  <a:lnTo>
                    <a:pt x="203809" y="609117"/>
                  </a:lnTo>
                  <a:lnTo>
                    <a:pt x="171157" y="578523"/>
                  </a:lnTo>
                  <a:lnTo>
                    <a:pt x="133845" y="553542"/>
                  </a:lnTo>
                  <a:lnTo>
                    <a:pt x="92544" y="534847"/>
                  </a:lnTo>
                  <a:lnTo>
                    <a:pt x="47917" y="523125"/>
                  </a:lnTo>
                  <a:lnTo>
                    <a:pt x="0" y="519061"/>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27"/>
                  </a:lnTo>
                  <a:lnTo>
                    <a:pt x="368655" y="769670"/>
                  </a:lnTo>
                  <a:lnTo>
                    <a:pt x="410679" y="750023"/>
                  </a:lnTo>
                  <a:lnTo>
                    <a:pt x="448475" y="723823"/>
                  </a:lnTo>
                  <a:lnTo>
                    <a:pt x="449313" y="723011"/>
                  </a:lnTo>
                  <a:lnTo>
                    <a:pt x="481266" y="691819"/>
                  </a:lnTo>
                  <a:lnTo>
                    <a:pt x="508393" y="654697"/>
                  </a:lnTo>
                  <a:lnTo>
                    <a:pt x="529056" y="613244"/>
                  </a:lnTo>
                  <a:lnTo>
                    <a:pt x="542531" y="568172"/>
                  </a:lnTo>
                  <a:lnTo>
                    <a:pt x="548093" y="520192"/>
                  </a:lnTo>
                  <a:close/>
                </a:path>
              </a:pathLst>
            </a:custGeom>
            <a:solidFill>
              <a:srgbClr val="7ED3F1"/>
            </a:solidFill>
          </p:spPr>
          <p:txBody>
            <a:bodyPr wrap="square" lIns="0" tIns="0" rIns="0" bIns="0" rtlCol="0"/>
            <a:lstStyle/>
            <a:p>
              <a:endParaRPr dirty="0"/>
            </a:p>
          </p:txBody>
        </p:sp>
        <p:pic>
          <p:nvPicPr>
            <p:cNvPr id="32" name="object 8">
              <a:extLst>
                <a:ext uri="{FF2B5EF4-FFF2-40B4-BE49-F238E27FC236}">
                  <a16:creationId xmlns:a16="http://schemas.microsoft.com/office/drawing/2014/main" id="{2485B320-F4A1-0823-2352-EC0029152ADB}"/>
                </a:ext>
              </a:extLst>
            </p:cNvPr>
            <p:cNvPicPr/>
            <p:nvPr/>
          </p:nvPicPr>
          <p:blipFill>
            <a:blip r:embed="rId6" cstate="print"/>
            <a:stretch>
              <a:fillRect/>
            </a:stretch>
          </p:blipFill>
          <p:spPr>
            <a:xfrm>
              <a:off x="10791857" y="5297596"/>
              <a:ext cx="106445" cy="107156"/>
            </a:xfrm>
            <a:prstGeom prst="rect">
              <a:avLst/>
            </a:prstGeom>
          </p:spPr>
        </p:pic>
        <p:sp>
          <p:nvSpPr>
            <p:cNvPr id="33" name="object 9">
              <a:extLst>
                <a:ext uri="{FF2B5EF4-FFF2-40B4-BE49-F238E27FC236}">
                  <a16:creationId xmlns:a16="http://schemas.microsoft.com/office/drawing/2014/main" id="{EA596C49-8163-FEF5-9F25-F3FE81597C8F}"/>
                </a:ext>
              </a:extLst>
            </p:cNvPr>
            <p:cNvSpPr/>
            <p:nvPr/>
          </p:nvSpPr>
          <p:spPr>
            <a:xfrm>
              <a:off x="10679208" y="6691912"/>
              <a:ext cx="332700" cy="165965"/>
            </a:xfrm>
            <a:custGeom>
              <a:avLst/>
              <a:gdLst/>
              <a:ahLst/>
              <a:cxnLst/>
              <a:rect l="l" t="t" r="r" b="b"/>
              <a:pathLst>
                <a:path w="548640" h="273684">
                  <a:moveTo>
                    <a:pt x="62560" y="273431"/>
                  </a:moveTo>
                  <a:lnTo>
                    <a:pt x="47904" y="269595"/>
                  </a:lnTo>
                  <a:lnTo>
                    <a:pt x="0" y="265544"/>
                  </a:lnTo>
                  <a:lnTo>
                    <a:pt x="889" y="273431"/>
                  </a:lnTo>
                  <a:lnTo>
                    <a:pt x="62560" y="273431"/>
                  </a:lnTo>
                  <a:close/>
                </a:path>
                <a:path w="548640" h="273684">
                  <a:moveTo>
                    <a:pt x="548030" y="266623"/>
                  </a:moveTo>
                  <a:lnTo>
                    <a:pt x="500367" y="270649"/>
                  </a:lnTo>
                  <a:lnTo>
                    <a:pt x="489724" y="273431"/>
                  </a:lnTo>
                  <a:lnTo>
                    <a:pt x="547243" y="273431"/>
                  </a:lnTo>
                  <a:lnTo>
                    <a:pt x="548030" y="266623"/>
                  </a:lnTo>
                  <a:close/>
                </a:path>
                <a:path w="548640" h="273684">
                  <a:moveTo>
                    <a:pt x="548030" y="1079"/>
                  </a:moveTo>
                  <a:lnTo>
                    <a:pt x="500367" y="5118"/>
                  </a:lnTo>
                  <a:lnTo>
                    <a:pt x="455841" y="16776"/>
                  </a:lnTo>
                  <a:lnTo>
                    <a:pt x="414604" y="35382"/>
                  </a:lnTo>
                  <a:lnTo>
                    <a:pt x="377342" y="60248"/>
                  </a:lnTo>
                  <a:lnTo>
                    <a:pt x="344716" y="90716"/>
                  </a:lnTo>
                  <a:lnTo>
                    <a:pt x="317398" y="126098"/>
                  </a:lnTo>
                  <a:lnTo>
                    <a:pt x="296075" y="165722"/>
                  </a:lnTo>
                  <a:lnTo>
                    <a:pt x="281419" y="208915"/>
                  </a:lnTo>
                  <a:lnTo>
                    <a:pt x="274078" y="255003"/>
                  </a:lnTo>
                  <a:lnTo>
                    <a:pt x="266903" y="208724"/>
                  </a:lnTo>
                  <a:lnTo>
                    <a:pt x="252349" y="165354"/>
                  </a:lnTo>
                  <a:lnTo>
                    <a:pt x="231089" y="125564"/>
                  </a:lnTo>
                  <a:lnTo>
                    <a:pt x="203796" y="90030"/>
                  </a:lnTo>
                  <a:lnTo>
                    <a:pt x="171145" y="59436"/>
                  </a:lnTo>
                  <a:lnTo>
                    <a:pt x="133832" y="34455"/>
                  </a:lnTo>
                  <a:lnTo>
                    <a:pt x="92532" y="15773"/>
                  </a:lnTo>
                  <a:lnTo>
                    <a:pt x="47904" y="4064"/>
                  </a:lnTo>
                  <a:lnTo>
                    <a:pt x="0" y="0"/>
                  </a:lnTo>
                  <a:lnTo>
                    <a:pt x="5448" y="48171"/>
                  </a:lnTo>
                  <a:lnTo>
                    <a:pt x="18834" y="93421"/>
                  </a:lnTo>
                  <a:lnTo>
                    <a:pt x="39458" y="135051"/>
                  </a:lnTo>
                  <a:lnTo>
                    <a:pt x="66548" y="172313"/>
                  </a:lnTo>
                  <a:lnTo>
                    <a:pt x="99390" y="204457"/>
                  </a:lnTo>
                  <a:lnTo>
                    <a:pt x="137248" y="230771"/>
                  </a:lnTo>
                  <a:lnTo>
                    <a:pt x="179374" y="250507"/>
                  </a:lnTo>
                  <a:lnTo>
                    <a:pt x="225044" y="262928"/>
                  </a:lnTo>
                  <a:lnTo>
                    <a:pt x="273519" y="267309"/>
                  </a:lnTo>
                  <a:lnTo>
                    <a:pt x="274739" y="267309"/>
                  </a:lnTo>
                  <a:lnTo>
                    <a:pt x="323088" y="262940"/>
                  </a:lnTo>
                  <a:lnTo>
                    <a:pt x="368642" y="250583"/>
                  </a:lnTo>
                  <a:lnTo>
                    <a:pt x="410667" y="230936"/>
                  </a:lnTo>
                  <a:lnTo>
                    <a:pt x="448462" y="204736"/>
                  </a:lnTo>
                  <a:lnTo>
                    <a:pt x="481253" y="172720"/>
                  </a:lnTo>
                  <a:lnTo>
                    <a:pt x="508355" y="135623"/>
                  </a:lnTo>
                  <a:lnTo>
                    <a:pt x="528993" y="94157"/>
                  </a:lnTo>
                  <a:lnTo>
                    <a:pt x="542467" y="49072"/>
                  </a:lnTo>
                  <a:lnTo>
                    <a:pt x="548030" y="1079"/>
                  </a:lnTo>
                  <a:close/>
                </a:path>
              </a:pathLst>
            </a:custGeom>
            <a:solidFill>
              <a:srgbClr val="7ED3F1"/>
            </a:solidFill>
          </p:spPr>
          <p:txBody>
            <a:bodyPr wrap="square" lIns="0" tIns="0" rIns="0" bIns="0" rtlCol="0"/>
            <a:lstStyle/>
            <a:p>
              <a:endParaRPr dirty="0"/>
            </a:p>
          </p:txBody>
        </p:sp>
        <p:pic>
          <p:nvPicPr>
            <p:cNvPr id="34" name="object 10">
              <a:extLst>
                <a:ext uri="{FF2B5EF4-FFF2-40B4-BE49-F238E27FC236}">
                  <a16:creationId xmlns:a16="http://schemas.microsoft.com/office/drawing/2014/main" id="{7D73331D-B43E-2C86-85D3-19EC542628BB}"/>
                </a:ext>
              </a:extLst>
            </p:cNvPr>
            <p:cNvPicPr/>
            <p:nvPr/>
          </p:nvPicPr>
          <p:blipFill>
            <a:blip r:embed="rId6" cstate="print"/>
            <a:stretch>
              <a:fillRect/>
            </a:stretch>
          </p:blipFill>
          <p:spPr>
            <a:xfrm>
              <a:off x="10791857" y="6605926"/>
              <a:ext cx="106445" cy="107156"/>
            </a:xfrm>
            <a:prstGeom prst="rect">
              <a:avLst/>
            </a:prstGeom>
          </p:spPr>
        </p:pic>
        <p:sp>
          <p:nvSpPr>
            <p:cNvPr id="35" name="object 11">
              <a:extLst>
                <a:ext uri="{FF2B5EF4-FFF2-40B4-BE49-F238E27FC236}">
                  <a16:creationId xmlns:a16="http://schemas.microsoft.com/office/drawing/2014/main" id="{EBB07008-3D95-C899-1085-8247E2C1ED9C}"/>
                </a:ext>
              </a:extLst>
            </p:cNvPr>
            <p:cNvSpPr/>
            <p:nvPr/>
          </p:nvSpPr>
          <p:spPr>
            <a:xfrm>
              <a:off x="10294123" y="6479532"/>
              <a:ext cx="332700" cy="316141"/>
            </a:xfrm>
            <a:custGeom>
              <a:avLst/>
              <a:gdLst/>
              <a:ahLst/>
              <a:cxnLst/>
              <a:rect l="l" t="t" r="r" b="b"/>
              <a:pathLst>
                <a:path w="548640" h="521334">
                  <a:moveTo>
                    <a:pt x="548081" y="520852"/>
                  </a:moveTo>
                  <a:lnTo>
                    <a:pt x="542632" y="472694"/>
                  </a:lnTo>
                  <a:lnTo>
                    <a:pt x="529234" y="427431"/>
                  </a:lnTo>
                  <a:lnTo>
                    <a:pt x="508622" y="385800"/>
                  </a:lnTo>
                  <a:lnTo>
                    <a:pt x="481520" y="348551"/>
                  </a:lnTo>
                  <a:lnTo>
                    <a:pt x="448691" y="316395"/>
                  </a:lnTo>
                  <a:lnTo>
                    <a:pt x="410832" y="290093"/>
                  </a:lnTo>
                  <a:lnTo>
                    <a:pt x="368706" y="270357"/>
                  </a:lnTo>
                  <a:lnTo>
                    <a:pt x="323037" y="257924"/>
                  </a:lnTo>
                  <a:lnTo>
                    <a:pt x="274561" y="253555"/>
                  </a:lnTo>
                  <a:lnTo>
                    <a:pt x="273329" y="253555"/>
                  </a:lnTo>
                  <a:lnTo>
                    <a:pt x="224993" y="257911"/>
                  </a:lnTo>
                  <a:lnTo>
                    <a:pt x="179438" y="270281"/>
                  </a:lnTo>
                  <a:lnTo>
                    <a:pt x="137401" y="289915"/>
                  </a:lnTo>
                  <a:lnTo>
                    <a:pt x="99618" y="316115"/>
                  </a:lnTo>
                  <a:lnTo>
                    <a:pt x="66814" y="348132"/>
                  </a:lnTo>
                  <a:lnTo>
                    <a:pt x="39725" y="385229"/>
                  </a:lnTo>
                  <a:lnTo>
                    <a:pt x="19075" y="426694"/>
                  </a:lnTo>
                  <a:lnTo>
                    <a:pt x="5613" y="471792"/>
                  </a:lnTo>
                  <a:lnTo>
                    <a:pt x="50" y="519772"/>
                  </a:lnTo>
                  <a:lnTo>
                    <a:pt x="47713" y="515747"/>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27"/>
                  </a:lnTo>
                  <a:lnTo>
                    <a:pt x="295719" y="355498"/>
                  </a:lnTo>
                  <a:lnTo>
                    <a:pt x="316992" y="395300"/>
                  </a:lnTo>
                  <a:lnTo>
                    <a:pt x="344284" y="430834"/>
                  </a:lnTo>
                  <a:lnTo>
                    <a:pt x="376923" y="461429"/>
                  </a:lnTo>
                  <a:lnTo>
                    <a:pt x="414248" y="486410"/>
                  </a:lnTo>
                  <a:lnTo>
                    <a:pt x="455549" y="505091"/>
                  </a:lnTo>
                  <a:lnTo>
                    <a:pt x="500164" y="516801"/>
                  </a:lnTo>
                  <a:lnTo>
                    <a:pt x="548081" y="520852"/>
                  </a:lnTo>
                  <a:close/>
                </a:path>
                <a:path w="548640" h="521334">
                  <a:moveTo>
                    <a:pt x="548093" y="267322"/>
                  </a:moveTo>
                  <a:lnTo>
                    <a:pt x="542645" y="219138"/>
                  </a:lnTo>
                  <a:lnTo>
                    <a:pt x="529247" y="173875"/>
                  </a:lnTo>
                  <a:lnTo>
                    <a:pt x="508635" y="132245"/>
                  </a:lnTo>
                  <a:lnTo>
                    <a:pt x="481533" y="94996"/>
                  </a:lnTo>
                  <a:lnTo>
                    <a:pt x="448691" y="62839"/>
                  </a:lnTo>
                  <a:lnTo>
                    <a:pt x="410845" y="36537"/>
                  </a:lnTo>
                  <a:lnTo>
                    <a:pt x="368706" y="16814"/>
                  </a:lnTo>
                  <a:lnTo>
                    <a:pt x="323037" y="4368"/>
                  </a:lnTo>
                  <a:lnTo>
                    <a:pt x="274561" y="12"/>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77" y="231914"/>
                  </a:lnTo>
                  <a:lnTo>
                    <a:pt x="170738" y="207048"/>
                  </a:lnTo>
                  <a:lnTo>
                    <a:pt x="203365" y="176593"/>
                  </a:lnTo>
                  <a:lnTo>
                    <a:pt x="230682" y="141211"/>
                  </a:lnTo>
                  <a:lnTo>
                    <a:pt x="252006" y="101600"/>
                  </a:lnTo>
                  <a:lnTo>
                    <a:pt x="266674" y="58407"/>
                  </a:lnTo>
                  <a:lnTo>
                    <a:pt x="273989" y="12357"/>
                  </a:lnTo>
                  <a:lnTo>
                    <a:pt x="281165" y="58572"/>
                  </a:lnTo>
                  <a:lnTo>
                    <a:pt x="295719" y="101942"/>
                  </a:lnTo>
                  <a:lnTo>
                    <a:pt x="316992" y="141744"/>
                  </a:lnTo>
                  <a:lnTo>
                    <a:pt x="344284" y="177279"/>
                  </a:lnTo>
                  <a:lnTo>
                    <a:pt x="376923" y="207873"/>
                  </a:lnTo>
                  <a:lnTo>
                    <a:pt x="414248" y="232854"/>
                  </a:lnTo>
                  <a:lnTo>
                    <a:pt x="455549"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36" name="object 12">
              <a:extLst>
                <a:ext uri="{FF2B5EF4-FFF2-40B4-BE49-F238E27FC236}">
                  <a16:creationId xmlns:a16="http://schemas.microsoft.com/office/drawing/2014/main" id="{1CAA0DAD-94F4-4435-4E4C-D082B4F19406}"/>
                </a:ext>
              </a:extLst>
            </p:cNvPr>
            <p:cNvPicPr/>
            <p:nvPr/>
          </p:nvPicPr>
          <p:blipFill>
            <a:blip r:embed="rId7" cstate="print"/>
            <a:stretch>
              <a:fillRect/>
            </a:stretch>
          </p:blipFill>
          <p:spPr>
            <a:xfrm>
              <a:off x="10330217" y="6794307"/>
              <a:ext cx="260137" cy="63416"/>
            </a:xfrm>
            <a:prstGeom prst="rect">
              <a:avLst/>
            </a:prstGeom>
          </p:spPr>
        </p:pic>
        <p:sp>
          <p:nvSpPr>
            <p:cNvPr id="43" name="object 13">
              <a:extLst>
                <a:ext uri="{FF2B5EF4-FFF2-40B4-BE49-F238E27FC236}">
                  <a16:creationId xmlns:a16="http://schemas.microsoft.com/office/drawing/2014/main" id="{26C3C9D9-F0BE-5974-1E4A-2D0A93ECF36B}"/>
                </a:ext>
              </a:extLst>
            </p:cNvPr>
            <p:cNvSpPr/>
            <p:nvPr/>
          </p:nvSpPr>
          <p:spPr>
            <a:xfrm>
              <a:off x="10294123" y="5171198"/>
              <a:ext cx="332700" cy="477101"/>
            </a:xfrm>
            <a:custGeom>
              <a:avLst/>
              <a:gdLst/>
              <a:ahLst/>
              <a:cxnLst/>
              <a:rect l="l" t="t" r="r" b="b"/>
              <a:pathLst>
                <a:path w="548640" h="786765">
                  <a:moveTo>
                    <a:pt x="548081" y="786396"/>
                  </a:moveTo>
                  <a:lnTo>
                    <a:pt x="542632" y="738225"/>
                  </a:lnTo>
                  <a:lnTo>
                    <a:pt x="529234" y="692975"/>
                  </a:lnTo>
                  <a:lnTo>
                    <a:pt x="508622" y="651344"/>
                  </a:lnTo>
                  <a:lnTo>
                    <a:pt x="481520" y="614083"/>
                  </a:lnTo>
                  <a:lnTo>
                    <a:pt x="448691" y="581939"/>
                  </a:lnTo>
                  <a:lnTo>
                    <a:pt x="410832" y="555625"/>
                  </a:lnTo>
                  <a:lnTo>
                    <a:pt x="368706" y="535889"/>
                  </a:lnTo>
                  <a:lnTo>
                    <a:pt x="323037" y="523468"/>
                  </a:lnTo>
                  <a:lnTo>
                    <a:pt x="274561" y="519087"/>
                  </a:lnTo>
                  <a:lnTo>
                    <a:pt x="273329" y="519087"/>
                  </a:lnTo>
                  <a:lnTo>
                    <a:pt x="224993" y="523455"/>
                  </a:lnTo>
                  <a:lnTo>
                    <a:pt x="179438" y="535813"/>
                  </a:lnTo>
                  <a:lnTo>
                    <a:pt x="137401" y="555459"/>
                  </a:lnTo>
                  <a:lnTo>
                    <a:pt x="99618" y="581660"/>
                  </a:lnTo>
                  <a:lnTo>
                    <a:pt x="66814" y="613676"/>
                  </a:lnTo>
                  <a:lnTo>
                    <a:pt x="39725" y="650773"/>
                  </a:lnTo>
                  <a:lnTo>
                    <a:pt x="19075" y="692238"/>
                  </a:lnTo>
                  <a:lnTo>
                    <a:pt x="5613" y="737323"/>
                  </a:lnTo>
                  <a:lnTo>
                    <a:pt x="50" y="785317"/>
                  </a:lnTo>
                  <a:lnTo>
                    <a:pt x="47713" y="781278"/>
                  </a:lnTo>
                  <a:lnTo>
                    <a:pt x="92240" y="769620"/>
                  </a:lnTo>
                  <a:lnTo>
                    <a:pt x="133477" y="751027"/>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48" y="751941"/>
                  </a:lnTo>
                  <a:lnTo>
                    <a:pt x="455549" y="770623"/>
                  </a:lnTo>
                  <a:lnTo>
                    <a:pt x="500164" y="782332"/>
                  </a:lnTo>
                  <a:lnTo>
                    <a:pt x="548081" y="786396"/>
                  </a:lnTo>
                  <a:close/>
                </a:path>
                <a:path w="548640" h="786765">
                  <a:moveTo>
                    <a:pt x="548081" y="520865"/>
                  </a:moveTo>
                  <a:lnTo>
                    <a:pt x="542632" y="472706"/>
                  </a:lnTo>
                  <a:lnTo>
                    <a:pt x="529234" y="427443"/>
                  </a:lnTo>
                  <a:lnTo>
                    <a:pt x="508622" y="385813"/>
                  </a:lnTo>
                  <a:lnTo>
                    <a:pt x="481520" y="348551"/>
                  </a:lnTo>
                  <a:lnTo>
                    <a:pt x="448691" y="316407"/>
                  </a:lnTo>
                  <a:lnTo>
                    <a:pt x="410832" y="290093"/>
                  </a:lnTo>
                  <a:lnTo>
                    <a:pt x="368706" y="270357"/>
                  </a:lnTo>
                  <a:lnTo>
                    <a:pt x="323037" y="257937"/>
                  </a:lnTo>
                  <a:lnTo>
                    <a:pt x="274561" y="253568"/>
                  </a:lnTo>
                  <a:lnTo>
                    <a:pt x="273329" y="253568"/>
                  </a:lnTo>
                  <a:lnTo>
                    <a:pt x="224993" y="257924"/>
                  </a:lnTo>
                  <a:lnTo>
                    <a:pt x="179438" y="270281"/>
                  </a:lnTo>
                  <a:lnTo>
                    <a:pt x="137401" y="289928"/>
                  </a:lnTo>
                  <a:lnTo>
                    <a:pt x="99618" y="316128"/>
                  </a:lnTo>
                  <a:lnTo>
                    <a:pt x="66814" y="348132"/>
                  </a:lnTo>
                  <a:lnTo>
                    <a:pt x="39725" y="385241"/>
                  </a:lnTo>
                  <a:lnTo>
                    <a:pt x="19075" y="426694"/>
                  </a:lnTo>
                  <a:lnTo>
                    <a:pt x="5613" y="471792"/>
                  </a:lnTo>
                  <a:lnTo>
                    <a:pt x="50" y="519772"/>
                  </a:lnTo>
                  <a:lnTo>
                    <a:pt x="47713" y="515734"/>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48" y="486410"/>
                  </a:lnTo>
                  <a:lnTo>
                    <a:pt x="455549" y="505104"/>
                  </a:lnTo>
                  <a:lnTo>
                    <a:pt x="500164" y="516813"/>
                  </a:lnTo>
                  <a:lnTo>
                    <a:pt x="548081" y="520865"/>
                  </a:lnTo>
                  <a:close/>
                </a:path>
                <a:path w="548640" h="786765">
                  <a:moveTo>
                    <a:pt x="548093" y="267322"/>
                  </a:moveTo>
                  <a:lnTo>
                    <a:pt x="542645" y="219151"/>
                  </a:lnTo>
                  <a:lnTo>
                    <a:pt x="529247" y="173875"/>
                  </a:lnTo>
                  <a:lnTo>
                    <a:pt x="508635" y="132245"/>
                  </a:lnTo>
                  <a:lnTo>
                    <a:pt x="481533" y="94996"/>
                  </a:lnTo>
                  <a:lnTo>
                    <a:pt x="465277" y="79095"/>
                  </a:lnTo>
                  <a:lnTo>
                    <a:pt x="448691" y="62852"/>
                  </a:lnTo>
                  <a:lnTo>
                    <a:pt x="426351" y="47332"/>
                  </a:lnTo>
                  <a:lnTo>
                    <a:pt x="410845" y="36537"/>
                  </a:lnTo>
                  <a:lnTo>
                    <a:pt x="397395" y="30251"/>
                  </a:lnTo>
                  <a:lnTo>
                    <a:pt x="368706" y="16814"/>
                  </a:lnTo>
                  <a:lnTo>
                    <a:pt x="323037" y="4394"/>
                  </a:lnTo>
                  <a:lnTo>
                    <a:pt x="274561" y="12"/>
                  </a:lnTo>
                  <a:lnTo>
                    <a:pt x="273329" y="0"/>
                  </a:lnTo>
                  <a:lnTo>
                    <a:pt x="224993" y="4356"/>
                  </a:lnTo>
                  <a:lnTo>
                    <a:pt x="179438" y="16725"/>
                  </a:lnTo>
                  <a:lnTo>
                    <a:pt x="137401" y="36372"/>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77" y="231927"/>
                  </a:lnTo>
                  <a:lnTo>
                    <a:pt x="170738" y="207048"/>
                  </a:lnTo>
                  <a:lnTo>
                    <a:pt x="203365" y="176593"/>
                  </a:lnTo>
                  <a:lnTo>
                    <a:pt x="230682" y="141211"/>
                  </a:lnTo>
                  <a:lnTo>
                    <a:pt x="252006" y="101600"/>
                  </a:lnTo>
                  <a:lnTo>
                    <a:pt x="266674" y="58407"/>
                  </a:lnTo>
                  <a:lnTo>
                    <a:pt x="273989" y="12357"/>
                  </a:lnTo>
                  <a:lnTo>
                    <a:pt x="280047" y="51409"/>
                  </a:lnTo>
                  <a:lnTo>
                    <a:pt x="295719" y="101942"/>
                  </a:lnTo>
                  <a:lnTo>
                    <a:pt x="316992" y="141744"/>
                  </a:lnTo>
                  <a:lnTo>
                    <a:pt x="344284" y="177279"/>
                  </a:lnTo>
                  <a:lnTo>
                    <a:pt x="376923" y="207873"/>
                  </a:lnTo>
                  <a:lnTo>
                    <a:pt x="414248" y="232867"/>
                  </a:lnTo>
                  <a:lnTo>
                    <a:pt x="455549"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44" name="object 14">
              <a:extLst>
                <a:ext uri="{FF2B5EF4-FFF2-40B4-BE49-F238E27FC236}">
                  <a16:creationId xmlns:a16="http://schemas.microsoft.com/office/drawing/2014/main" id="{F80B0C10-74AD-3D48-FAAE-6DD3F3EDF68B}"/>
                </a:ext>
              </a:extLst>
            </p:cNvPr>
            <p:cNvPicPr/>
            <p:nvPr/>
          </p:nvPicPr>
          <p:blipFill>
            <a:blip r:embed="rId8" cstate="print"/>
            <a:stretch>
              <a:fillRect/>
            </a:stretch>
          </p:blipFill>
          <p:spPr>
            <a:xfrm>
              <a:off x="10407394" y="5626898"/>
              <a:ext cx="106445" cy="107156"/>
            </a:xfrm>
            <a:prstGeom prst="rect">
              <a:avLst/>
            </a:prstGeom>
          </p:spPr>
        </p:pic>
        <p:sp>
          <p:nvSpPr>
            <p:cNvPr id="45" name="object 15">
              <a:extLst>
                <a:ext uri="{FF2B5EF4-FFF2-40B4-BE49-F238E27FC236}">
                  <a16:creationId xmlns:a16="http://schemas.microsoft.com/office/drawing/2014/main" id="{7C361EF0-C489-05A2-AFD5-F5CB6A7918B6}"/>
                </a:ext>
              </a:extLst>
            </p:cNvPr>
            <p:cNvSpPr/>
            <p:nvPr/>
          </p:nvSpPr>
          <p:spPr>
            <a:xfrm>
              <a:off x="10294123" y="5825360"/>
              <a:ext cx="332700" cy="477101"/>
            </a:xfrm>
            <a:custGeom>
              <a:avLst/>
              <a:gdLst/>
              <a:ahLst/>
              <a:cxnLst/>
              <a:rect l="l" t="t" r="r" b="b"/>
              <a:pathLst>
                <a:path w="548640" h="786765">
                  <a:moveTo>
                    <a:pt x="548081" y="786396"/>
                  </a:moveTo>
                  <a:lnTo>
                    <a:pt x="542632" y="738238"/>
                  </a:lnTo>
                  <a:lnTo>
                    <a:pt x="529234" y="692975"/>
                  </a:lnTo>
                  <a:lnTo>
                    <a:pt x="508622" y="651344"/>
                  </a:lnTo>
                  <a:lnTo>
                    <a:pt x="481520" y="614095"/>
                  </a:lnTo>
                  <a:lnTo>
                    <a:pt x="448691" y="581939"/>
                  </a:lnTo>
                  <a:lnTo>
                    <a:pt x="410832" y="555637"/>
                  </a:lnTo>
                  <a:lnTo>
                    <a:pt x="368706" y="535901"/>
                  </a:lnTo>
                  <a:lnTo>
                    <a:pt x="323037" y="523481"/>
                  </a:lnTo>
                  <a:lnTo>
                    <a:pt x="274561" y="519099"/>
                  </a:lnTo>
                  <a:lnTo>
                    <a:pt x="273329" y="519099"/>
                  </a:lnTo>
                  <a:lnTo>
                    <a:pt x="224993" y="523455"/>
                  </a:lnTo>
                  <a:lnTo>
                    <a:pt x="179438" y="535825"/>
                  </a:lnTo>
                  <a:lnTo>
                    <a:pt x="137401" y="555472"/>
                  </a:lnTo>
                  <a:lnTo>
                    <a:pt x="99618" y="581660"/>
                  </a:lnTo>
                  <a:lnTo>
                    <a:pt x="66814" y="613676"/>
                  </a:lnTo>
                  <a:lnTo>
                    <a:pt x="39725" y="650773"/>
                  </a:lnTo>
                  <a:lnTo>
                    <a:pt x="19075" y="692238"/>
                  </a:lnTo>
                  <a:lnTo>
                    <a:pt x="5613" y="737323"/>
                  </a:lnTo>
                  <a:lnTo>
                    <a:pt x="50" y="785304"/>
                  </a:lnTo>
                  <a:lnTo>
                    <a:pt x="47713" y="781278"/>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48"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91" y="316407"/>
                  </a:lnTo>
                  <a:lnTo>
                    <a:pt x="410832" y="290093"/>
                  </a:lnTo>
                  <a:lnTo>
                    <a:pt x="368706" y="270370"/>
                  </a:lnTo>
                  <a:lnTo>
                    <a:pt x="323037" y="257937"/>
                  </a:lnTo>
                  <a:lnTo>
                    <a:pt x="274561" y="253555"/>
                  </a:lnTo>
                  <a:lnTo>
                    <a:pt x="273329" y="253555"/>
                  </a:lnTo>
                  <a:lnTo>
                    <a:pt x="224993" y="257924"/>
                  </a:lnTo>
                  <a:lnTo>
                    <a:pt x="179438" y="270294"/>
                  </a:lnTo>
                  <a:lnTo>
                    <a:pt x="137401" y="289928"/>
                  </a:lnTo>
                  <a:lnTo>
                    <a:pt x="99618" y="316128"/>
                  </a:lnTo>
                  <a:lnTo>
                    <a:pt x="66814" y="348145"/>
                  </a:lnTo>
                  <a:lnTo>
                    <a:pt x="39725" y="385241"/>
                  </a:lnTo>
                  <a:lnTo>
                    <a:pt x="19075" y="426694"/>
                  </a:lnTo>
                  <a:lnTo>
                    <a:pt x="5613" y="471792"/>
                  </a:lnTo>
                  <a:lnTo>
                    <a:pt x="50" y="519772"/>
                  </a:lnTo>
                  <a:lnTo>
                    <a:pt x="47713" y="515734"/>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48" y="486410"/>
                  </a:lnTo>
                  <a:lnTo>
                    <a:pt x="455549" y="505104"/>
                  </a:lnTo>
                  <a:lnTo>
                    <a:pt x="500164" y="516813"/>
                  </a:lnTo>
                  <a:lnTo>
                    <a:pt x="548081" y="520865"/>
                  </a:lnTo>
                  <a:close/>
                </a:path>
                <a:path w="548640" h="786765">
                  <a:moveTo>
                    <a:pt x="548093" y="267322"/>
                  </a:moveTo>
                  <a:lnTo>
                    <a:pt x="542645" y="219151"/>
                  </a:lnTo>
                  <a:lnTo>
                    <a:pt x="529247" y="173888"/>
                  </a:lnTo>
                  <a:lnTo>
                    <a:pt x="508635" y="132257"/>
                  </a:lnTo>
                  <a:lnTo>
                    <a:pt x="481533" y="94996"/>
                  </a:lnTo>
                  <a:lnTo>
                    <a:pt x="448691" y="62852"/>
                  </a:lnTo>
                  <a:lnTo>
                    <a:pt x="410845" y="36550"/>
                  </a:lnTo>
                  <a:lnTo>
                    <a:pt x="368706" y="16814"/>
                  </a:lnTo>
                  <a:lnTo>
                    <a:pt x="323037" y="4394"/>
                  </a:lnTo>
                  <a:lnTo>
                    <a:pt x="274561" y="0"/>
                  </a:lnTo>
                  <a:lnTo>
                    <a:pt x="273329" y="0"/>
                  </a:lnTo>
                  <a:lnTo>
                    <a:pt x="224993" y="4356"/>
                  </a:lnTo>
                  <a:lnTo>
                    <a:pt x="179438" y="16725"/>
                  </a:lnTo>
                  <a:lnTo>
                    <a:pt x="137401" y="36372"/>
                  </a:lnTo>
                  <a:lnTo>
                    <a:pt x="99618" y="62572"/>
                  </a:lnTo>
                  <a:lnTo>
                    <a:pt x="98780" y="63385"/>
                  </a:lnTo>
                  <a:lnTo>
                    <a:pt x="66814" y="94576"/>
                  </a:lnTo>
                  <a:lnTo>
                    <a:pt x="39700" y="131686"/>
                  </a:lnTo>
                  <a:lnTo>
                    <a:pt x="19037" y="173139"/>
                  </a:lnTo>
                  <a:lnTo>
                    <a:pt x="5562" y="218224"/>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3989" y="12369"/>
                  </a:lnTo>
                  <a:lnTo>
                    <a:pt x="281165" y="58585"/>
                  </a:lnTo>
                  <a:lnTo>
                    <a:pt x="295719" y="101955"/>
                  </a:lnTo>
                  <a:lnTo>
                    <a:pt x="316992" y="141744"/>
                  </a:lnTo>
                  <a:lnTo>
                    <a:pt x="344284" y="177279"/>
                  </a:lnTo>
                  <a:lnTo>
                    <a:pt x="376936" y="207886"/>
                  </a:lnTo>
                  <a:lnTo>
                    <a:pt x="414248" y="232867"/>
                  </a:lnTo>
                  <a:lnTo>
                    <a:pt x="455549"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46" name="object 16">
              <a:extLst>
                <a:ext uri="{FF2B5EF4-FFF2-40B4-BE49-F238E27FC236}">
                  <a16:creationId xmlns:a16="http://schemas.microsoft.com/office/drawing/2014/main" id="{BC061557-27F7-1C5A-6F91-AAD334B6F9ED}"/>
                </a:ext>
              </a:extLst>
            </p:cNvPr>
            <p:cNvPicPr/>
            <p:nvPr/>
          </p:nvPicPr>
          <p:blipFill>
            <a:blip r:embed="rId9" cstate="print"/>
            <a:stretch>
              <a:fillRect/>
            </a:stretch>
          </p:blipFill>
          <p:spPr>
            <a:xfrm>
              <a:off x="10407394" y="6281064"/>
              <a:ext cx="106445" cy="107156"/>
            </a:xfrm>
            <a:prstGeom prst="rect">
              <a:avLst/>
            </a:prstGeom>
          </p:spPr>
        </p:pic>
        <p:sp>
          <p:nvSpPr>
            <p:cNvPr id="47" name="object 17">
              <a:extLst>
                <a:ext uri="{FF2B5EF4-FFF2-40B4-BE49-F238E27FC236}">
                  <a16:creationId xmlns:a16="http://schemas.microsoft.com/office/drawing/2014/main" id="{F321619D-0692-37BA-C3C0-7936B603F15E}"/>
                </a:ext>
              </a:extLst>
            </p:cNvPr>
            <p:cNvSpPr/>
            <p:nvPr/>
          </p:nvSpPr>
          <p:spPr>
            <a:xfrm>
              <a:off x="11449331" y="6037749"/>
              <a:ext cx="332700" cy="477101"/>
            </a:xfrm>
            <a:custGeom>
              <a:avLst/>
              <a:gdLst/>
              <a:ahLst/>
              <a:cxnLst/>
              <a:rect l="l" t="t" r="r" b="b"/>
              <a:pathLst>
                <a:path w="548640" h="786765">
                  <a:moveTo>
                    <a:pt x="548055" y="266611"/>
                  </a:moveTo>
                  <a:lnTo>
                    <a:pt x="500380" y="270649"/>
                  </a:lnTo>
                  <a:lnTo>
                    <a:pt x="455853" y="282308"/>
                  </a:lnTo>
                  <a:lnTo>
                    <a:pt x="414616" y="300901"/>
                  </a:lnTo>
                  <a:lnTo>
                    <a:pt x="377355" y="325780"/>
                  </a:lnTo>
                  <a:lnTo>
                    <a:pt x="344728" y="356235"/>
                  </a:lnTo>
                  <a:lnTo>
                    <a:pt x="317423" y="391629"/>
                  </a:lnTo>
                  <a:lnTo>
                    <a:pt x="296100" y="431253"/>
                  </a:lnTo>
                  <a:lnTo>
                    <a:pt x="281432" y="474446"/>
                  </a:lnTo>
                  <a:lnTo>
                    <a:pt x="274104" y="520534"/>
                  </a:lnTo>
                  <a:lnTo>
                    <a:pt x="266928" y="474256"/>
                  </a:lnTo>
                  <a:lnTo>
                    <a:pt x="252374" y="430885"/>
                  </a:lnTo>
                  <a:lnTo>
                    <a:pt x="231101" y="391096"/>
                  </a:lnTo>
                  <a:lnTo>
                    <a:pt x="203809" y="355561"/>
                  </a:lnTo>
                  <a:lnTo>
                    <a:pt x="171170" y="324954"/>
                  </a:lnTo>
                  <a:lnTo>
                    <a:pt x="133858" y="299986"/>
                  </a:lnTo>
                  <a:lnTo>
                    <a:pt x="92544" y="281292"/>
                  </a:lnTo>
                  <a:lnTo>
                    <a:pt x="47929" y="269582"/>
                  </a:lnTo>
                  <a:lnTo>
                    <a:pt x="12" y="265531"/>
                  </a:lnTo>
                  <a:lnTo>
                    <a:pt x="5461" y="313690"/>
                  </a:lnTo>
                  <a:lnTo>
                    <a:pt x="18859" y="358952"/>
                  </a:lnTo>
                  <a:lnTo>
                    <a:pt x="39471" y="400583"/>
                  </a:lnTo>
                  <a:lnTo>
                    <a:pt x="66573" y="437832"/>
                  </a:lnTo>
                  <a:lnTo>
                    <a:pt x="99415" y="469988"/>
                  </a:lnTo>
                  <a:lnTo>
                    <a:pt x="137261" y="496303"/>
                  </a:lnTo>
                  <a:lnTo>
                    <a:pt x="179387" y="516026"/>
                  </a:lnTo>
                  <a:lnTo>
                    <a:pt x="225056" y="528459"/>
                  </a:lnTo>
                  <a:lnTo>
                    <a:pt x="273532" y="532841"/>
                  </a:lnTo>
                  <a:lnTo>
                    <a:pt x="274764" y="532841"/>
                  </a:lnTo>
                  <a:lnTo>
                    <a:pt x="323100" y="528472"/>
                  </a:lnTo>
                  <a:lnTo>
                    <a:pt x="368655" y="516102"/>
                  </a:lnTo>
                  <a:lnTo>
                    <a:pt x="410692" y="496468"/>
                  </a:lnTo>
                  <a:lnTo>
                    <a:pt x="448475" y="470268"/>
                  </a:lnTo>
                  <a:lnTo>
                    <a:pt x="481279" y="438251"/>
                  </a:lnTo>
                  <a:lnTo>
                    <a:pt x="508368" y="401154"/>
                  </a:lnTo>
                  <a:lnTo>
                    <a:pt x="529018" y="359689"/>
                  </a:lnTo>
                  <a:lnTo>
                    <a:pt x="542480" y="314604"/>
                  </a:lnTo>
                  <a:lnTo>
                    <a:pt x="548055" y="266611"/>
                  </a:lnTo>
                  <a:close/>
                </a:path>
                <a:path w="548640" h="786765">
                  <a:moveTo>
                    <a:pt x="548055" y="1092"/>
                  </a:moveTo>
                  <a:lnTo>
                    <a:pt x="500380" y="5130"/>
                  </a:lnTo>
                  <a:lnTo>
                    <a:pt x="455853" y="16789"/>
                  </a:lnTo>
                  <a:lnTo>
                    <a:pt x="414616" y="35382"/>
                  </a:lnTo>
                  <a:lnTo>
                    <a:pt x="377355" y="60248"/>
                  </a:lnTo>
                  <a:lnTo>
                    <a:pt x="344728" y="90716"/>
                  </a:lnTo>
                  <a:lnTo>
                    <a:pt x="317423" y="126098"/>
                  </a:lnTo>
                  <a:lnTo>
                    <a:pt x="296100" y="165722"/>
                  </a:lnTo>
                  <a:lnTo>
                    <a:pt x="281432" y="208915"/>
                  </a:lnTo>
                  <a:lnTo>
                    <a:pt x="274104" y="255003"/>
                  </a:lnTo>
                  <a:lnTo>
                    <a:pt x="266928" y="208724"/>
                  </a:lnTo>
                  <a:lnTo>
                    <a:pt x="252374" y="165354"/>
                  </a:lnTo>
                  <a:lnTo>
                    <a:pt x="231101" y="125564"/>
                  </a:lnTo>
                  <a:lnTo>
                    <a:pt x="203809" y="90030"/>
                  </a:lnTo>
                  <a:lnTo>
                    <a:pt x="171170" y="59436"/>
                  </a:lnTo>
                  <a:lnTo>
                    <a:pt x="133858" y="34455"/>
                  </a:lnTo>
                  <a:lnTo>
                    <a:pt x="92544" y="15773"/>
                  </a:lnTo>
                  <a:lnTo>
                    <a:pt x="47929" y="4064"/>
                  </a:lnTo>
                  <a:lnTo>
                    <a:pt x="12" y="0"/>
                  </a:lnTo>
                  <a:lnTo>
                    <a:pt x="5461" y="48171"/>
                  </a:lnTo>
                  <a:lnTo>
                    <a:pt x="18859" y="93433"/>
                  </a:lnTo>
                  <a:lnTo>
                    <a:pt x="39471" y="135051"/>
                  </a:lnTo>
                  <a:lnTo>
                    <a:pt x="66573" y="172313"/>
                  </a:lnTo>
                  <a:lnTo>
                    <a:pt x="99415" y="204457"/>
                  </a:lnTo>
                  <a:lnTo>
                    <a:pt x="137261" y="230771"/>
                  </a:lnTo>
                  <a:lnTo>
                    <a:pt x="179387" y="250507"/>
                  </a:lnTo>
                  <a:lnTo>
                    <a:pt x="225056" y="262928"/>
                  </a:lnTo>
                  <a:lnTo>
                    <a:pt x="273532" y="267309"/>
                  </a:lnTo>
                  <a:lnTo>
                    <a:pt x="274764" y="267309"/>
                  </a:lnTo>
                  <a:lnTo>
                    <a:pt x="323100" y="262953"/>
                  </a:lnTo>
                  <a:lnTo>
                    <a:pt x="368655" y="250583"/>
                  </a:lnTo>
                  <a:lnTo>
                    <a:pt x="410692" y="230936"/>
                  </a:lnTo>
                  <a:lnTo>
                    <a:pt x="448475" y="204749"/>
                  </a:lnTo>
                  <a:lnTo>
                    <a:pt x="481279" y="172732"/>
                  </a:lnTo>
                  <a:lnTo>
                    <a:pt x="508368" y="135623"/>
                  </a:lnTo>
                  <a:lnTo>
                    <a:pt x="529018" y="94170"/>
                  </a:lnTo>
                  <a:lnTo>
                    <a:pt x="542480" y="49085"/>
                  </a:lnTo>
                  <a:lnTo>
                    <a:pt x="548055" y="1092"/>
                  </a:lnTo>
                  <a:close/>
                </a:path>
                <a:path w="548640" h="786765">
                  <a:moveTo>
                    <a:pt x="548093" y="520204"/>
                  </a:moveTo>
                  <a:lnTo>
                    <a:pt x="500380" y="524217"/>
                  </a:lnTo>
                  <a:lnTo>
                    <a:pt x="455853" y="535876"/>
                  </a:lnTo>
                  <a:lnTo>
                    <a:pt x="414616" y="554469"/>
                  </a:lnTo>
                  <a:lnTo>
                    <a:pt x="377355" y="579348"/>
                  </a:lnTo>
                  <a:lnTo>
                    <a:pt x="344728" y="609803"/>
                  </a:lnTo>
                  <a:lnTo>
                    <a:pt x="317411" y="645172"/>
                  </a:lnTo>
                  <a:lnTo>
                    <a:pt x="296087" y="684796"/>
                  </a:lnTo>
                  <a:lnTo>
                    <a:pt x="281419" y="727989"/>
                  </a:lnTo>
                  <a:lnTo>
                    <a:pt x="274091" y="774039"/>
                  </a:lnTo>
                  <a:lnTo>
                    <a:pt x="266928" y="727824"/>
                  </a:lnTo>
                  <a:lnTo>
                    <a:pt x="252374" y="684453"/>
                  </a:lnTo>
                  <a:lnTo>
                    <a:pt x="231101" y="644652"/>
                  </a:lnTo>
                  <a:lnTo>
                    <a:pt x="203809" y="609117"/>
                  </a:lnTo>
                  <a:lnTo>
                    <a:pt x="171170" y="578523"/>
                  </a:lnTo>
                  <a:lnTo>
                    <a:pt x="133858" y="553542"/>
                  </a:lnTo>
                  <a:lnTo>
                    <a:pt x="92532" y="534835"/>
                  </a:lnTo>
                  <a:lnTo>
                    <a:pt x="47917" y="523125"/>
                  </a:lnTo>
                  <a:lnTo>
                    <a:pt x="0" y="519074"/>
                  </a:lnTo>
                  <a:lnTo>
                    <a:pt x="5448" y="567245"/>
                  </a:lnTo>
                  <a:lnTo>
                    <a:pt x="18846" y="612508"/>
                  </a:lnTo>
                  <a:lnTo>
                    <a:pt x="39458" y="654138"/>
                  </a:lnTo>
                  <a:lnTo>
                    <a:pt x="66560" y="691400"/>
                  </a:lnTo>
                  <a:lnTo>
                    <a:pt x="99402" y="723544"/>
                  </a:lnTo>
                  <a:lnTo>
                    <a:pt x="125717" y="741832"/>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2DB7EA"/>
            </a:solidFill>
          </p:spPr>
          <p:txBody>
            <a:bodyPr wrap="square" lIns="0" tIns="0" rIns="0" bIns="0" rtlCol="0"/>
            <a:lstStyle/>
            <a:p>
              <a:endParaRPr dirty="0"/>
            </a:p>
          </p:txBody>
        </p:sp>
        <p:pic>
          <p:nvPicPr>
            <p:cNvPr id="48" name="object 18">
              <a:extLst>
                <a:ext uri="{FF2B5EF4-FFF2-40B4-BE49-F238E27FC236}">
                  <a16:creationId xmlns:a16="http://schemas.microsoft.com/office/drawing/2014/main" id="{A2EB85AB-851E-386F-371D-305245C58A74}"/>
                </a:ext>
              </a:extLst>
            </p:cNvPr>
            <p:cNvPicPr/>
            <p:nvPr/>
          </p:nvPicPr>
          <p:blipFill>
            <a:blip r:embed="rId10" cstate="print"/>
            <a:stretch>
              <a:fillRect/>
            </a:stretch>
          </p:blipFill>
          <p:spPr>
            <a:xfrm>
              <a:off x="11561989" y="5951762"/>
              <a:ext cx="106445" cy="107156"/>
            </a:xfrm>
            <a:prstGeom prst="rect">
              <a:avLst/>
            </a:prstGeom>
          </p:spPr>
        </p:pic>
        <p:sp>
          <p:nvSpPr>
            <p:cNvPr id="49" name="object 19">
              <a:extLst>
                <a:ext uri="{FF2B5EF4-FFF2-40B4-BE49-F238E27FC236}">
                  <a16:creationId xmlns:a16="http://schemas.microsoft.com/office/drawing/2014/main" id="{6A065237-ECF6-4338-F0A7-5BE9DF4EA193}"/>
                </a:ext>
              </a:extLst>
            </p:cNvPr>
            <p:cNvSpPr/>
            <p:nvPr/>
          </p:nvSpPr>
          <p:spPr>
            <a:xfrm>
              <a:off x="11449331" y="5383587"/>
              <a:ext cx="332700" cy="477101"/>
            </a:xfrm>
            <a:custGeom>
              <a:avLst/>
              <a:gdLst/>
              <a:ahLst/>
              <a:cxnLst/>
              <a:rect l="l" t="t" r="r" b="b"/>
              <a:pathLst>
                <a:path w="548640" h="786765">
                  <a:moveTo>
                    <a:pt x="548055" y="266623"/>
                  </a:moveTo>
                  <a:lnTo>
                    <a:pt x="500380" y="270649"/>
                  </a:lnTo>
                  <a:lnTo>
                    <a:pt x="455853" y="282308"/>
                  </a:lnTo>
                  <a:lnTo>
                    <a:pt x="414616" y="300913"/>
                  </a:lnTo>
                  <a:lnTo>
                    <a:pt x="377355" y="325780"/>
                  </a:lnTo>
                  <a:lnTo>
                    <a:pt x="344728" y="356235"/>
                  </a:lnTo>
                  <a:lnTo>
                    <a:pt x="317423" y="391617"/>
                  </a:lnTo>
                  <a:lnTo>
                    <a:pt x="296100" y="431241"/>
                  </a:lnTo>
                  <a:lnTo>
                    <a:pt x="281432" y="474446"/>
                  </a:lnTo>
                  <a:lnTo>
                    <a:pt x="274104" y="520522"/>
                  </a:lnTo>
                  <a:lnTo>
                    <a:pt x="266928" y="474256"/>
                  </a:lnTo>
                  <a:lnTo>
                    <a:pt x="252374" y="430885"/>
                  </a:lnTo>
                  <a:lnTo>
                    <a:pt x="231101" y="391083"/>
                  </a:lnTo>
                  <a:lnTo>
                    <a:pt x="203809" y="355549"/>
                  </a:lnTo>
                  <a:lnTo>
                    <a:pt x="171170" y="324954"/>
                  </a:lnTo>
                  <a:lnTo>
                    <a:pt x="133858" y="299974"/>
                  </a:lnTo>
                  <a:lnTo>
                    <a:pt x="92544" y="281292"/>
                  </a:lnTo>
                  <a:lnTo>
                    <a:pt x="47929" y="269582"/>
                  </a:lnTo>
                  <a:lnTo>
                    <a:pt x="12" y="265531"/>
                  </a:lnTo>
                  <a:lnTo>
                    <a:pt x="5461" y="313690"/>
                  </a:lnTo>
                  <a:lnTo>
                    <a:pt x="18859" y="358952"/>
                  </a:lnTo>
                  <a:lnTo>
                    <a:pt x="39471" y="400583"/>
                  </a:lnTo>
                  <a:lnTo>
                    <a:pt x="66573" y="437832"/>
                  </a:lnTo>
                  <a:lnTo>
                    <a:pt x="99415" y="469976"/>
                  </a:lnTo>
                  <a:lnTo>
                    <a:pt x="137261" y="496290"/>
                  </a:lnTo>
                  <a:lnTo>
                    <a:pt x="179387" y="516026"/>
                  </a:lnTo>
                  <a:lnTo>
                    <a:pt x="225056" y="528447"/>
                  </a:lnTo>
                  <a:lnTo>
                    <a:pt x="273532" y="532828"/>
                  </a:lnTo>
                  <a:lnTo>
                    <a:pt x="274764" y="532828"/>
                  </a:lnTo>
                  <a:lnTo>
                    <a:pt x="323100" y="528472"/>
                  </a:lnTo>
                  <a:lnTo>
                    <a:pt x="368655" y="516102"/>
                  </a:lnTo>
                  <a:lnTo>
                    <a:pt x="410692" y="496455"/>
                  </a:lnTo>
                  <a:lnTo>
                    <a:pt x="448475" y="470268"/>
                  </a:lnTo>
                  <a:lnTo>
                    <a:pt x="481279" y="438251"/>
                  </a:lnTo>
                  <a:lnTo>
                    <a:pt x="508368" y="401154"/>
                  </a:lnTo>
                  <a:lnTo>
                    <a:pt x="529018" y="359689"/>
                  </a:lnTo>
                  <a:lnTo>
                    <a:pt x="542480" y="314604"/>
                  </a:lnTo>
                  <a:lnTo>
                    <a:pt x="548055" y="266623"/>
                  </a:lnTo>
                  <a:close/>
                </a:path>
                <a:path w="548640" h="786765">
                  <a:moveTo>
                    <a:pt x="548055" y="1079"/>
                  </a:moveTo>
                  <a:lnTo>
                    <a:pt x="500380" y="5118"/>
                  </a:lnTo>
                  <a:lnTo>
                    <a:pt x="455853" y="16764"/>
                  </a:lnTo>
                  <a:lnTo>
                    <a:pt x="414616" y="35369"/>
                  </a:lnTo>
                  <a:lnTo>
                    <a:pt x="377355" y="60236"/>
                  </a:lnTo>
                  <a:lnTo>
                    <a:pt x="344728" y="90703"/>
                  </a:lnTo>
                  <a:lnTo>
                    <a:pt x="317423" y="126085"/>
                  </a:lnTo>
                  <a:lnTo>
                    <a:pt x="296100" y="165722"/>
                  </a:lnTo>
                  <a:lnTo>
                    <a:pt x="281432" y="208915"/>
                  </a:lnTo>
                  <a:lnTo>
                    <a:pt x="274104" y="255003"/>
                  </a:lnTo>
                  <a:lnTo>
                    <a:pt x="266928" y="208724"/>
                  </a:lnTo>
                  <a:lnTo>
                    <a:pt x="252374" y="165354"/>
                  </a:lnTo>
                  <a:lnTo>
                    <a:pt x="231101" y="125564"/>
                  </a:lnTo>
                  <a:lnTo>
                    <a:pt x="203809" y="90030"/>
                  </a:lnTo>
                  <a:lnTo>
                    <a:pt x="171170" y="59423"/>
                  </a:lnTo>
                  <a:lnTo>
                    <a:pt x="133858" y="34442"/>
                  </a:lnTo>
                  <a:lnTo>
                    <a:pt x="92544" y="15760"/>
                  </a:lnTo>
                  <a:lnTo>
                    <a:pt x="47929" y="4051"/>
                  </a:lnTo>
                  <a:lnTo>
                    <a:pt x="12" y="0"/>
                  </a:lnTo>
                  <a:lnTo>
                    <a:pt x="5461" y="48158"/>
                  </a:lnTo>
                  <a:lnTo>
                    <a:pt x="18859" y="93421"/>
                  </a:lnTo>
                  <a:lnTo>
                    <a:pt x="39471" y="135051"/>
                  </a:lnTo>
                  <a:lnTo>
                    <a:pt x="66573" y="172300"/>
                  </a:lnTo>
                  <a:lnTo>
                    <a:pt x="99415" y="204457"/>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36"/>
                  </a:lnTo>
                  <a:lnTo>
                    <a:pt x="481279" y="172720"/>
                  </a:lnTo>
                  <a:lnTo>
                    <a:pt x="508368" y="135623"/>
                  </a:lnTo>
                  <a:lnTo>
                    <a:pt x="529018" y="94157"/>
                  </a:lnTo>
                  <a:lnTo>
                    <a:pt x="542480" y="49072"/>
                  </a:lnTo>
                  <a:lnTo>
                    <a:pt x="548055" y="1079"/>
                  </a:lnTo>
                  <a:close/>
                </a:path>
                <a:path w="548640" h="786765">
                  <a:moveTo>
                    <a:pt x="548093" y="520192"/>
                  </a:moveTo>
                  <a:lnTo>
                    <a:pt x="500380" y="524217"/>
                  </a:lnTo>
                  <a:lnTo>
                    <a:pt x="455853" y="535876"/>
                  </a:lnTo>
                  <a:lnTo>
                    <a:pt x="414616" y="554469"/>
                  </a:lnTo>
                  <a:lnTo>
                    <a:pt x="377355" y="579335"/>
                  </a:lnTo>
                  <a:lnTo>
                    <a:pt x="344728" y="609790"/>
                  </a:lnTo>
                  <a:lnTo>
                    <a:pt x="317411" y="645172"/>
                  </a:lnTo>
                  <a:lnTo>
                    <a:pt x="296087" y="684796"/>
                  </a:lnTo>
                  <a:lnTo>
                    <a:pt x="281419" y="727976"/>
                  </a:lnTo>
                  <a:lnTo>
                    <a:pt x="274091" y="774039"/>
                  </a:lnTo>
                  <a:lnTo>
                    <a:pt x="266928" y="727811"/>
                  </a:lnTo>
                  <a:lnTo>
                    <a:pt x="252374" y="684441"/>
                  </a:lnTo>
                  <a:lnTo>
                    <a:pt x="231101" y="644652"/>
                  </a:lnTo>
                  <a:lnTo>
                    <a:pt x="203809" y="609117"/>
                  </a:lnTo>
                  <a:lnTo>
                    <a:pt x="171170" y="578523"/>
                  </a:lnTo>
                  <a:lnTo>
                    <a:pt x="133858" y="553542"/>
                  </a:lnTo>
                  <a:lnTo>
                    <a:pt x="92544" y="534847"/>
                  </a:lnTo>
                  <a:lnTo>
                    <a:pt x="47917" y="523125"/>
                  </a:lnTo>
                  <a:lnTo>
                    <a:pt x="0" y="519061"/>
                  </a:lnTo>
                  <a:lnTo>
                    <a:pt x="5448" y="567245"/>
                  </a:lnTo>
                  <a:lnTo>
                    <a:pt x="18846" y="612508"/>
                  </a:lnTo>
                  <a:lnTo>
                    <a:pt x="39458" y="654138"/>
                  </a:lnTo>
                  <a:lnTo>
                    <a:pt x="66560" y="691388"/>
                  </a:lnTo>
                  <a:lnTo>
                    <a:pt x="67259" y="692073"/>
                  </a:lnTo>
                  <a:lnTo>
                    <a:pt x="99402" y="723544"/>
                  </a:lnTo>
                  <a:lnTo>
                    <a:pt x="125717" y="741832"/>
                  </a:lnTo>
                  <a:lnTo>
                    <a:pt x="137261" y="749858"/>
                  </a:lnTo>
                  <a:lnTo>
                    <a:pt x="179387" y="769594"/>
                  </a:lnTo>
                  <a:lnTo>
                    <a:pt x="225056" y="782015"/>
                  </a:lnTo>
                  <a:lnTo>
                    <a:pt x="273532" y="786396"/>
                  </a:lnTo>
                  <a:lnTo>
                    <a:pt x="274764" y="786396"/>
                  </a:lnTo>
                  <a:lnTo>
                    <a:pt x="323100" y="782027"/>
                  </a:lnTo>
                  <a:lnTo>
                    <a:pt x="368655" y="769670"/>
                  </a:lnTo>
                  <a:lnTo>
                    <a:pt x="410692" y="750023"/>
                  </a:lnTo>
                  <a:lnTo>
                    <a:pt x="448475" y="723823"/>
                  </a:lnTo>
                  <a:lnTo>
                    <a:pt x="481279" y="691819"/>
                  </a:lnTo>
                  <a:lnTo>
                    <a:pt x="508393" y="654697"/>
                  </a:lnTo>
                  <a:lnTo>
                    <a:pt x="529043" y="613244"/>
                  </a:lnTo>
                  <a:lnTo>
                    <a:pt x="542531" y="568172"/>
                  </a:lnTo>
                  <a:lnTo>
                    <a:pt x="548093" y="520192"/>
                  </a:lnTo>
                  <a:close/>
                </a:path>
              </a:pathLst>
            </a:custGeom>
            <a:solidFill>
              <a:srgbClr val="7ED3F1"/>
            </a:solidFill>
          </p:spPr>
          <p:txBody>
            <a:bodyPr wrap="square" lIns="0" tIns="0" rIns="0" bIns="0" rtlCol="0"/>
            <a:lstStyle/>
            <a:p>
              <a:endParaRPr dirty="0"/>
            </a:p>
          </p:txBody>
        </p:sp>
        <p:pic>
          <p:nvPicPr>
            <p:cNvPr id="50" name="object 20">
              <a:extLst>
                <a:ext uri="{FF2B5EF4-FFF2-40B4-BE49-F238E27FC236}">
                  <a16:creationId xmlns:a16="http://schemas.microsoft.com/office/drawing/2014/main" id="{8533895A-B6A4-E6BC-FB03-C55DADE4575A}"/>
                </a:ext>
              </a:extLst>
            </p:cNvPr>
            <p:cNvPicPr/>
            <p:nvPr/>
          </p:nvPicPr>
          <p:blipFill>
            <a:blip r:embed="rId11" cstate="print"/>
            <a:stretch>
              <a:fillRect/>
            </a:stretch>
          </p:blipFill>
          <p:spPr>
            <a:xfrm>
              <a:off x="11561989" y="5297596"/>
              <a:ext cx="106445" cy="107156"/>
            </a:xfrm>
            <a:prstGeom prst="rect">
              <a:avLst/>
            </a:prstGeom>
          </p:spPr>
        </p:pic>
        <p:sp>
          <p:nvSpPr>
            <p:cNvPr id="51" name="object 21">
              <a:extLst>
                <a:ext uri="{FF2B5EF4-FFF2-40B4-BE49-F238E27FC236}">
                  <a16:creationId xmlns:a16="http://schemas.microsoft.com/office/drawing/2014/main" id="{9088F55A-F73E-9E1A-A32E-0D8CC5CBCA40}"/>
                </a:ext>
              </a:extLst>
            </p:cNvPr>
            <p:cNvSpPr/>
            <p:nvPr/>
          </p:nvSpPr>
          <p:spPr>
            <a:xfrm>
              <a:off x="11449339" y="6691912"/>
              <a:ext cx="332700" cy="165965"/>
            </a:xfrm>
            <a:custGeom>
              <a:avLst/>
              <a:gdLst/>
              <a:ahLst/>
              <a:cxnLst/>
              <a:rect l="l" t="t" r="r" b="b"/>
              <a:pathLst>
                <a:path w="548640" h="273684">
                  <a:moveTo>
                    <a:pt x="62560" y="273431"/>
                  </a:moveTo>
                  <a:lnTo>
                    <a:pt x="47917" y="269595"/>
                  </a:lnTo>
                  <a:lnTo>
                    <a:pt x="0" y="265544"/>
                  </a:lnTo>
                  <a:lnTo>
                    <a:pt x="889" y="273431"/>
                  </a:lnTo>
                  <a:lnTo>
                    <a:pt x="62560" y="273431"/>
                  </a:lnTo>
                  <a:close/>
                </a:path>
                <a:path w="548640" h="273684">
                  <a:moveTo>
                    <a:pt x="548030" y="266623"/>
                  </a:moveTo>
                  <a:lnTo>
                    <a:pt x="500367" y="270649"/>
                  </a:lnTo>
                  <a:lnTo>
                    <a:pt x="489724" y="273431"/>
                  </a:lnTo>
                  <a:lnTo>
                    <a:pt x="547243" y="273431"/>
                  </a:lnTo>
                  <a:lnTo>
                    <a:pt x="548030" y="266623"/>
                  </a:lnTo>
                  <a:close/>
                </a:path>
                <a:path w="548640" h="273684">
                  <a:moveTo>
                    <a:pt x="548043" y="1079"/>
                  </a:moveTo>
                  <a:lnTo>
                    <a:pt x="500367" y="5118"/>
                  </a:lnTo>
                  <a:lnTo>
                    <a:pt x="455841" y="16776"/>
                  </a:lnTo>
                  <a:lnTo>
                    <a:pt x="414604" y="35382"/>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21"/>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57"/>
                  </a:lnTo>
                  <a:lnTo>
                    <a:pt x="542467" y="49072"/>
                  </a:lnTo>
                  <a:lnTo>
                    <a:pt x="548043" y="1079"/>
                  </a:lnTo>
                  <a:close/>
                </a:path>
              </a:pathLst>
            </a:custGeom>
            <a:solidFill>
              <a:srgbClr val="7ED3F1"/>
            </a:solidFill>
          </p:spPr>
          <p:txBody>
            <a:bodyPr wrap="square" lIns="0" tIns="0" rIns="0" bIns="0" rtlCol="0"/>
            <a:lstStyle/>
            <a:p>
              <a:endParaRPr dirty="0"/>
            </a:p>
          </p:txBody>
        </p:sp>
        <p:pic>
          <p:nvPicPr>
            <p:cNvPr id="52" name="object 22">
              <a:extLst>
                <a:ext uri="{FF2B5EF4-FFF2-40B4-BE49-F238E27FC236}">
                  <a16:creationId xmlns:a16="http://schemas.microsoft.com/office/drawing/2014/main" id="{C8BDFF27-D837-2D80-8C83-24029881B5A0}"/>
                </a:ext>
              </a:extLst>
            </p:cNvPr>
            <p:cNvPicPr/>
            <p:nvPr/>
          </p:nvPicPr>
          <p:blipFill>
            <a:blip r:embed="rId11" cstate="print"/>
            <a:stretch>
              <a:fillRect/>
            </a:stretch>
          </p:blipFill>
          <p:spPr>
            <a:xfrm>
              <a:off x="11561989" y="6605926"/>
              <a:ext cx="106445" cy="107156"/>
            </a:xfrm>
            <a:prstGeom prst="rect">
              <a:avLst/>
            </a:prstGeom>
          </p:spPr>
        </p:pic>
        <p:sp>
          <p:nvSpPr>
            <p:cNvPr id="53" name="object 23">
              <a:extLst>
                <a:ext uri="{FF2B5EF4-FFF2-40B4-BE49-F238E27FC236}">
                  <a16:creationId xmlns:a16="http://schemas.microsoft.com/office/drawing/2014/main" id="{92EBD77F-203E-5437-5DA7-F074577C65C4}"/>
                </a:ext>
              </a:extLst>
            </p:cNvPr>
            <p:cNvSpPr/>
            <p:nvPr/>
          </p:nvSpPr>
          <p:spPr>
            <a:xfrm>
              <a:off x="11064254" y="6479532"/>
              <a:ext cx="332700" cy="316141"/>
            </a:xfrm>
            <a:custGeom>
              <a:avLst/>
              <a:gdLst/>
              <a:ahLst/>
              <a:cxnLst/>
              <a:rect l="l" t="t" r="r" b="b"/>
              <a:pathLst>
                <a:path w="548640" h="521334">
                  <a:moveTo>
                    <a:pt x="548081" y="520852"/>
                  </a:moveTo>
                  <a:lnTo>
                    <a:pt x="542632" y="472694"/>
                  </a:lnTo>
                  <a:lnTo>
                    <a:pt x="529234" y="427431"/>
                  </a:lnTo>
                  <a:lnTo>
                    <a:pt x="508622" y="385800"/>
                  </a:lnTo>
                  <a:lnTo>
                    <a:pt x="481520" y="348551"/>
                  </a:lnTo>
                  <a:lnTo>
                    <a:pt x="448678" y="316395"/>
                  </a:lnTo>
                  <a:lnTo>
                    <a:pt x="410832" y="290093"/>
                  </a:lnTo>
                  <a:lnTo>
                    <a:pt x="368706" y="270357"/>
                  </a:lnTo>
                  <a:lnTo>
                    <a:pt x="323037" y="257924"/>
                  </a:lnTo>
                  <a:lnTo>
                    <a:pt x="274561" y="253555"/>
                  </a:lnTo>
                  <a:lnTo>
                    <a:pt x="273329" y="253555"/>
                  </a:lnTo>
                  <a:lnTo>
                    <a:pt x="224993" y="257911"/>
                  </a:lnTo>
                  <a:lnTo>
                    <a:pt x="179438" y="270281"/>
                  </a:lnTo>
                  <a:lnTo>
                    <a:pt x="137401" y="289915"/>
                  </a:lnTo>
                  <a:lnTo>
                    <a:pt x="99618" y="316115"/>
                  </a:lnTo>
                  <a:lnTo>
                    <a:pt x="66814" y="348132"/>
                  </a:lnTo>
                  <a:lnTo>
                    <a:pt x="39725" y="385229"/>
                  </a:lnTo>
                  <a:lnTo>
                    <a:pt x="19075" y="426694"/>
                  </a:lnTo>
                  <a:lnTo>
                    <a:pt x="5613" y="471792"/>
                  </a:lnTo>
                  <a:lnTo>
                    <a:pt x="38" y="519772"/>
                  </a:lnTo>
                  <a:lnTo>
                    <a:pt x="47713" y="515747"/>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27"/>
                  </a:lnTo>
                  <a:lnTo>
                    <a:pt x="295719" y="355498"/>
                  </a:lnTo>
                  <a:lnTo>
                    <a:pt x="316992" y="395300"/>
                  </a:lnTo>
                  <a:lnTo>
                    <a:pt x="344284" y="430834"/>
                  </a:lnTo>
                  <a:lnTo>
                    <a:pt x="376923" y="461429"/>
                  </a:lnTo>
                  <a:lnTo>
                    <a:pt x="414235" y="486410"/>
                  </a:lnTo>
                  <a:lnTo>
                    <a:pt x="455549" y="505091"/>
                  </a:lnTo>
                  <a:lnTo>
                    <a:pt x="500164" y="516801"/>
                  </a:lnTo>
                  <a:lnTo>
                    <a:pt x="548081" y="520852"/>
                  </a:lnTo>
                  <a:close/>
                </a:path>
                <a:path w="548640" h="521334">
                  <a:moveTo>
                    <a:pt x="548081" y="267322"/>
                  </a:moveTo>
                  <a:lnTo>
                    <a:pt x="547077" y="258432"/>
                  </a:lnTo>
                  <a:lnTo>
                    <a:pt x="542645" y="219138"/>
                  </a:lnTo>
                  <a:lnTo>
                    <a:pt x="529247" y="173875"/>
                  </a:lnTo>
                  <a:lnTo>
                    <a:pt x="508635" y="132245"/>
                  </a:lnTo>
                  <a:lnTo>
                    <a:pt x="481533" y="94996"/>
                  </a:lnTo>
                  <a:lnTo>
                    <a:pt x="448691" y="62839"/>
                  </a:lnTo>
                  <a:lnTo>
                    <a:pt x="433158" y="52057"/>
                  </a:lnTo>
                  <a:lnTo>
                    <a:pt x="410832" y="36537"/>
                  </a:lnTo>
                  <a:lnTo>
                    <a:pt x="368706" y="16814"/>
                  </a:lnTo>
                  <a:lnTo>
                    <a:pt x="323037" y="4368"/>
                  </a:lnTo>
                  <a:lnTo>
                    <a:pt x="274561" y="12"/>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64" y="231914"/>
                  </a:lnTo>
                  <a:lnTo>
                    <a:pt x="170738" y="207048"/>
                  </a:lnTo>
                  <a:lnTo>
                    <a:pt x="203365" y="176593"/>
                  </a:lnTo>
                  <a:lnTo>
                    <a:pt x="230682" y="141211"/>
                  </a:lnTo>
                  <a:lnTo>
                    <a:pt x="252006" y="101600"/>
                  </a:lnTo>
                  <a:lnTo>
                    <a:pt x="266674" y="58407"/>
                  </a:lnTo>
                  <a:lnTo>
                    <a:pt x="273989" y="12357"/>
                  </a:lnTo>
                  <a:lnTo>
                    <a:pt x="281165" y="58572"/>
                  </a:lnTo>
                  <a:lnTo>
                    <a:pt x="295719" y="101942"/>
                  </a:lnTo>
                  <a:lnTo>
                    <a:pt x="316992" y="141744"/>
                  </a:lnTo>
                  <a:lnTo>
                    <a:pt x="344284" y="177279"/>
                  </a:lnTo>
                  <a:lnTo>
                    <a:pt x="376923" y="207873"/>
                  </a:lnTo>
                  <a:lnTo>
                    <a:pt x="414235" y="232854"/>
                  </a:lnTo>
                  <a:lnTo>
                    <a:pt x="455549" y="251548"/>
                  </a:lnTo>
                  <a:lnTo>
                    <a:pt x="500176" y="263258"/>
                  </a:lnTo>
                  <a:lnTo>
                    <a:pt x="548081" y="267322"/>
                  </a:lnTo>
                  <a:close/>
                </a:path>
              </a:pathLst>
            </a:custGeom>
            <a:solidFill>
              <a:srgbClr val="2DB7EA"/>
            </a:solidFill>
          </p:spPr>
          <p:txBody>
            <a:bodyPr wrap="square" lIns="0" tIns="0" rIns="0" bIns="0" rtlCol="0"/>
            <a:lstStyle/>
            <a:p>
              <a:endParaRPr dirty="0"/>
            </a:p>
          </p:txBody>
        </p:sp>
        <p:pic>
          <p:nvPicPr>
            <p:cNvPr id="54" name="object 24">
              <a:extLst>
                <a:ext uri="{FF2B5EF4-FFF2-40B4-BE49-F238E27FC236}">
                  <a16:creationId xmlns:a16="http://schemas.microsoft.com/office/drawing/2014/main" id="{B9064BDF-D9E5-939A-739E-E130F02A71CE}"/>
                </a:ext>
              </a:extLst>
            </p:cNvPr>
            <p:cNvPicPr/>
            <p:nvPr/>
          </p:nvPicPr>
          <p:blipFill>
            <a:blip r:embed="rId12" cstate="print"/>
            <a:stretch>
              <a:fillRect/>
            </a:stretch>
          </p:blipFill>
          <p:spPr>
            <a:xfrm>
              <a:off x="11100347" y="6794307"/>
              <a:ext cx="260137" cy="63416"/>
            </a:xfrm>
            <a:prstGeom prst="rect">
              <a:avLst/>
            </a:prstGeom>
          </p:spPr>
        </p:pic>
        <p:sp>
          <p:nvSpPr>
            <p:cNvPr id="173" name="object 25">
              <a:extLst>
                <a:ext uri="{FF2B5EF4-FFF2-40B4-BE49-F238E27FC236}">
                  <a16:creationId xmlns:a16="http://schemas.microsoft.com/office/drawing/2014/main" id="{79C9C21D-471B-0D20-1521-14580EB0BB88}"/>
                </a:ext>
              </a:extLst>
            </p:cNvPr>
            <p:cNvSpPr/>
            <p:nvPr/>
          </p:nvSpPr>
          <p:spPr>
            <a:xfrm>
              <a:off x="11064254" y="5171198"/>
              <a:ext cx="332700" cy="477101"/>
            </a:xfrm>
            <a:custGeom>
              <a:avLst/>
              <a:gdLst/>
              <a:ahLst/>
              <a:cxnLst/>
              <a:rect l="l" t="t" r="r" b="b"/>
              <a:pathLst>
                <a:path w="548640" h="786765">
                  <a:moveTo>
                    <a:pt x="548081" y="786396"/>
                  </a:moveTo>
                  <a:lnTo>
                    <a:pt x="542632" y="738225"/>
                  </a:lnTo>
                  <a:lnTo>
                    <a:pt x="529234" y="692975"/>
                  </a:lnTo>
                  <a:lnTo>
                    <a:pt x="508622" y="651344"/>
                  </a:lnTo>
                  <a:lnTo>
                    <a:pt x="481520" y="614083"/>
                  </a:lnTo>
                  <a:lnTo>
                    <a:pt x="448678" y="581939"/>
                  </a:lnTo>
                  <a:lnTo>
                    <a:pt x="410832" y="555625"/>
                  </a:lnTo>
                  <a:lnTo>
                    <a:pt x="368706" y="535889"/>
                  </a:lnTo>
                  <a:lnTo>
                    <a:pt x="323037" y="523468"/>
                  </a:lnTo>
                  <a:lnTo>
                    <a:pt x="274561" y="519087"/>
                  </a:lnTo>
                  <a:lnTo>
                    <a:pt x="273329" y="519087"/>
                  </a:lnTo>
                  <a:lnTo>
                    <a:pt x="224993" y="523455"/>
                  </a:lnTo>
                  <a:lnTo>
                    <a:pt x="179438" y="535813"/>
                  </a:lnTo>
                  <a:lnTo>
                    <a:pt x="137401" y="555459"/>
                  </a:lnTo>
                  <a:lnTo>
                    <a:pt x="99618" y="581660"/>
                  </a:lnTo>
                  <a:lnTo>
                    <a:pt x="66814" y="613676"/>
                  </a:lnTo>
                  <a:lnTo>
                    <a:pt x="39725" y="650773"/>
                  </a:lnTo>
                  <a:lnTo>
                    <a:pt x="19075" y="692238"/>
                  </a:lnTo>
                  <a:lnTo>
                    <a:pt x="5613" y="737323"/>
                  </a:lnTo>
                  <a:lnTo>
                    <a:pt x="38" y="785317"/>
                  </a:lnTo>
                  <a:lnTo>
                    <a:pt x="47713" y="781278"/>
                  </a:lnTo>
                  <a:lnTo>
                    <a:pt x="92240" y="769620"/>
                  </a:lnTo>
                  <a:lnTo>
                    <a:pt x="133464" y="751027"/>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35" y="751941"/>
                  </a:lnTo>
                  <a:lnTo>
                    <a:pt x="455549" y="770623"/>
                  </a:lnTo>
                  <a:lnTo>
                    <a:pt x="500164" y="782332"/>
                  </a:lnTo>
                  <a:lnTo>
                    <a:pt x="548081" y="786396"/>
                  </a:lnTo>
                  <a:close/>
                </a:path>
                <a:path w="548640" h="786765">
                  <a:moveTo>
                    <a:pt x="548081" y="520865"/>
                  </a:moveTo>
                  <a:lnTo>
                    <a:pt x="542632" y="472706"/>
                  </a:lnTo>
                  <a:lnTo>
                    <a:pt x="529234" y="427443"/>
                  </a:lnTo>
                  <a:lnTo>
                    <a:pt x="508622" y="385813"/>
                  </a:lnTo>
                  <a:lnTo>
                    <a:pt x="481520" y="348551"/>
                  </a:lnTo>
                  <a:lnTo>
                    <a:pt x="448678" y="316407"/>
                  </a:lnTo>
                  <a:lnTo>
                    <a:pt x="410832" y="290093"/>
                  </a:lnTo>
                  <a:lnTo>
                    <a:pt x="368706" y="270357"/>
                  </a:lnTo>
                  <a:lnTo>
                    <a:pt x="323037" y="257937"/>
                  </a:lnTo>
                  <a:lnTo>
                    <a:pt x="274561" y="253568"/>
                  </a:lnTo>
                  <a:lnTo>
                    <a:pt x="273329" y="253568"/>
                  </a:lnTo>
                  <a:lnTo>
                    <a:pt x="224993" y="257924"/>
                  </a:lnTo>
                  <a:lnTo>
                    <a:pt x="179438" y="270281"/>
                  </a:lnTo>
                  <a:lnTo>
                    <a:pt x="137401" y="289928"/>
                  </a:lnTo>
                  <a:lnTo>
                    <a:pt x="99618" y="316128"/>
                  </a:lnTo>
                  <a:lnTo>
                    <a:pt x="66814" y="348132"/>
                  </a:lnTo>
                  <a:lnTo>
                    <a:pt x="39725" y="385241"/>
                  </a:lnTo>
                  <a:lnTo>
                    <a:pt x="19075" y="426694"/>
                  </a:lnTo>
                  <a:lnTo>
                    <a:pt x="5613" y="471792"/>
                  </a:lnTo>
                  <a:lnTo>
                    <a:pt x="38" y="519772"/>
                  </a:lnTo>
                  <a:lnTo>
                    <a:pt x="47713" y="515734"/>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5">
                  <a:moveTo>
                    <a:pt x="548081" y="267322"/>
                  </a:moveTo>
                  <a:lnTo>
                    <a:pt x="546976" y="257530"/>
                  </a:lnTo>
                  <a:lnTo>
                    <a:pt x="542645" y="219151"/>
                  </a:lnTo>
                  <a:lnTo>
                    <a:pt x="529247" y="173875"/>
                  </a:lnTo>
                  <a:lnTo>
                    <a:pt x="508635" y="132245"/>
                  </a:lnTo>
                  <a:lnTo>
                    <a:pt x="481533" y="94996"/>
                  </a:lnTo>
                  <a:lnTo>
                    <a:pt x="449376" y="63525"/>
                  </a:lnTo>
                  <a:lnTo>
                    <a:pt x="448691" y="62852"/>
                  </a:lnTo>
                  <a:lnTo>
                    <a:pt x="410832" y="36537"/>
                  </a:lnTo>
                  <a:lnTo>
                    <a:pt x="368706" y="16814"/>
                  </a:lnTo>
                  <a:lnTo>
                    <a:pt x="323037" y="4394"/>
                  </a:lnTo>
                  <a:lnTo>
                    <a:pt x="274561" y="12"/>
                  </a:lnTo>
                  <a:lnTo>
                    <a:pt x="273329" y="0"/>
                  </a:lnTo>
                  <a:lnTo>
                    <a:pt x="224993" y="4356"/>
                  </a:lnTo>
                  <a:lnTo>
                    <a:pt x="179438" y="16725"/>
                  </a:lnTo>
                  <a:lnTo>
                    <a:pt x="137401" y="36372"/>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64" y="231927"/>
                  </a:lnTo>
                  <a:lnTo>
                    <a:pt x="170738" y="207048"/>
                  </a:lnTo>
                  <a:lnTo>
                    <a:pt x="203365" y="176593"/>
                  </a:lnTo>
                  <a:lnTo>
                    <a:pt x="230682" y="141211"/>
                  </a:lnTo>
                  <a:lnTo>
                    <a:pt x="252006" y="101600"/>
                  </a:lnTo>
                  <a:lnTo>
                    <a:pt x="266674" y="58407"/>
                  </a:lnTo>
                  <a:lnTo>
                    <a:pt x="273989" y="12357"/>
                  </a:lnTo>
                  <a:lnTo>
                    <a:pt x="280047" y="51409"/>
                  </a:lnTo>
                  <a:lnTo>
                    <a:pt x="295719" y="101942"/>
                  </a:lnTo>
                  <a:lnTo>
                    <a:pt x="316992" y="141744"/>
                  </a:lnTo>
                  <a:lnTo>
                    <a:pt x="344284" y="177279"/>
                  </a:lnTo>
                  <a:lnTo>
                    <a:pt x="376923" y="207873"/>
                  </a:lnTo>
                  <a:lnTo>
                    <a:pt x="414248" y="232867"/>
                  </a:lnTo>
                  <a:lnTo>
                    <a:pt x="455549" y="251548"/>
                  </a:lnTo>
                  <a:lnTo>
                    <a:pt x="500176" y="263258"/>
                  </a:lnTo>
                  <a:lnTo>
                    <a:pt x="548081" y="267322"/>
                  </a:lnTo>
                  <a:close/>
                </a:path>
              </a:pathLst>
            </a:custGeom>
            <a:solidFill>
              <a:srgbClr val="2DB7EA"/>
            </a:solidFill>
          </p:spPr>
          <p:txBody>
            <a:bodyPr wrap="square" lIns="0" tIns="0" rIns="0" bIns="0" rtlCol="0"/>
            <a:lstStyle/>
            <a:p>
              <a:endParaRPr dirty="0"/>
            </a:p>
          </p:txBody>
        </p:sp>
        <p:pic>
          <p:nvPicPr>
            <p:cNvPr id="174" name="object 26">
              <a:extLst>
                <a:ext uri="{FF2B5EF4-FFF2-40B4-BE49-F238E27FC236}">
                  <a16:creationId xmlns:a16="http://schemas.microsoft.com/office/drawing/2014/main" id="{44F8AA1E-3282-BE7A-6231-2479C68DA0E7}"/>
                </a:ext>
              </a:extLst>
            </p:cNvPr>
            <p:cNvPicPr/>
            <p:nvPr/>
          </p:nvPicPr>
          <p:blipFill>
            <a:blip r:embed="rId13" cstate="print"/>
            <a:stretch>
              <a:fillRect/>
            </a:stretch>
          </p:blipFill>
          <p:spPr>
            <a:xfrm>
              <a:off x="11177526" y="5626898"/>
              <a:ext cx="106445" cy="107156"/>
            </a:xfrm>
            <a:prstGeom prst="rect">
              <a:avLst/>
            </a:prstGeom>
          </p:spPr>
        </p:pic>
        <p:sp>
          <p:nvSpPr>
            <p:cNvPr id="175" name="object 27">
              <a:extLst>
                <a:ext uri="{FF2B5EF4-FFF2-40B4-BE49-F238E27FC236}">
                  <a16:creationId xmlns:a16="http://schemas.microsoft.com/office/drawing/2014/main" id="{A5DD5590-4613-F8B2-1FF3-B61EDB1A2B4A}"/>
                </a:ext>
              </a:extLst>
            </p:cNvPr>
            <p:cNvSpPr/>
            <p:nvPr/>
          </p:nvSpPr>
          <p:spPr>
            <a:xfrm>
              <a:off x="11064254" y="5825360"/>
              <a:ext cx="332700" cy="477101"/>
            </a:xfrm>
            <a:custGeom>
              <a:avLst/>
              <a:gdLst/>
              <a:ahLst/>
              <a:cxnLst/>
              <a:rect l="l" t="t" r="r" b="b"/>
              <a:pathLst>
                <a:path w="548640" h="786765">
                  <a:moveTo>
                    <a:pt x="548081" y="786396"/>
                  </a:moveTo>
                  <a:lnTo>
                    <a:pt x="542632" y="738238"/>
                  </a:lnTo>
                  <a:lnTo>
                    <a:pt x="529234" y="692975"/>
                  </a:lnTo>
                  <a:lnTo>
                    <a:pt x="508622" y="651344"/>
                  </a:lnTo>
                  <a:lnTo>
                    <a:pt x="481520" y="614095"/>
                  </a:lnTo>
                  <a:lnTo>
                    <a:pt x="448678" y="581939"/>
                  </a:lnTo>
                  <a:lnTo>
                    <a:pt x="410832" y="555637"/>
                  </a:lnTo>
                  <a:lnTo>
                    <a:pt x="368706" y="535901"/>
                  </a:lnTo>
                  <a:lnTo>
                    <a:pt x="323037" y="523481"/>
                  </a:lnTo>
                  <a:lnTo>
                    <a:pt x="274561" y="519099"/>
                  </a:lnTo>
                  <a:lnTo>
                    <a:pt x="273329" y="519099"/>
                  </a:lnTo>
                  <a:lnTo>
                    <a:pt x="224993" y="523455"/>
                  </a:lnTo>
                  <a:lnTo>
                    <a:pt x="179438" y="535825"/>
                  </a:lnTo>
                  <a:lnTo>
                    <a:pt x="137401" y="555472"/>
                  </a:lnTo>
                  <a:lnTo>
                    <a:pt x="99618" y="581660"/>
                  </a:lnTo>
                  <a:lnTo>
                    <a:pt x="66814" y="613676"/>
                  </a:lnTo>
                  <a:lnTo>
                    <a:pt x="39725" y="650773"/>
                  </a:lnTo>
                  <a:lnTo>
                    <a:pt x="19075" y="692238"/>
                  </a:lnTo>
                  <a:lnTo>
                    <a:pt x="5613" y="737323"/>
                  </a:lnTo>
                  <a:lnTo>
                    <a:pt x="38" y="785304"/>
                  </a:lnTo>
                  <a:lnTo>
                    <a:pt x="47713" y="781278"/>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35"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78" y="316407"/>
                  </a:lnTo>
                  <a:lnTo>
                    <a:pt x="410832" y="290093"/>
                  </a:lnTo>
                  <a:lnTo>
                    <a:pt x="368706" y="270370"/>
                  </a:lnTo>
                  <a:lnTo>
                    <a:pt x="323037" y="257937"/>
                  </a:lnTo>
                  <a:lnTo>
                    <a:pt x="274561" y="253555"/>
                  </a:lnTo>
                  <a:lnTo>
                    <a:pt x="273329" y="253555"/>
                  </a:lnTo>
                  <a:lnTo>
                    <a:pt x="224993" y="257924"/>
                  </a:lnTo>
                  <a:lnTo>
                    <a:pt x="179438" y="270294"/>
                  </a:lnTo>
                  <a:lnTo>
                    <a:pt x="137401" y="289928"/>
                  </a:lnTo>
                  <a:lnTo>
                    <a:pt x="99618" y="316128"/>
                  </a:lnTo>
                  <a:lnTo>
                    <a:pt x="66814" y="348145"/>
                  </a:lnTo>
                  <a:lnTo>
                    <a:pt x="39725" y="385241"/>
                  </a:lnTo>
                  <a:lnTo>
                    <a:pt x="19075" y="426694"/>
                  </a:lnTo>
                  <a:lnTo>
                    <a:pt x="5613" y="471792"/>
                  </a:lnTo>
                  <a:lnTo>
                    <a:pt x="38" y="519772"/>
                  </a:lnTo>
                  <a:lnTo>
                    <a:pt x="47713" y="515734"/>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5">
                  <a:moveTo>
                    <a:pt x="548081" y="267322"/>
                  </a:moveTo>
                  <a:lnTo>
                    <a:pt x="547458" y="261874"/>
                  </a:lnTo>
                  <a:lnTo>
                    <a:pt x="542645" y="219151"/>
                  </a:lnTo>
                  <a:lnTo>
                    <a:pt x="529247" y="173888"/>
                  </a:lnTo>
                  <a:lnTo>
                    <a:pt x="508635" y="132257"/>
                  </a:lnTo>
                  <a:lnTo>
                    <a:pt x="481533" y="94996"/>
                  </a:lnTo>
                  <a:lnTo>
                    <a:pt x="448691" y="62852"/>
                  </a:lnTo>
                  <a:lnTo>
                    <a:pt x="433158" y="52070"/>
                  </a:lnTo>
                  <a:lnTo>
                    <a:pt x="410832" y="36550"/>
                  </a:lnTo>
                  <a:lnTo>
                    <a:pt x="368706" y="16814"/>
                  </a:lnTo>
                  <a:lnTo>
                    <a:pt x="323037" y="4394"/>
                  </a:lnTo>
                  <a:lnTo>
                    <a:pt x="274561" y="0"/>
                  </a:lnTo>
                  <a:lnTo>
                    <a:pt x="273329" y="0"/>
                  </a:lnTo>
                  <a:lnTo>
                    <a:pt x="224993" y="4356"/>
                  </a:lnTo>
                  <a:lnTo>
                    <a:pt x="179438" y="16725"/>
                  </a:lnTo>
                  <a:lnTo>
                    <a:pt x="137401" y="36372"/>
                  </a:lnTo>
                  <a:lnTo>
                    <a:pt x="99618" y="62572"/>
                  </a:lnTo>
                  <a:lnTo>
                    <a:pt x="98780" y="63385"/>
                  </a:lnTo>
                  <a:lnTo>
                    <a:pt x="66814" y="94576"/>
                  </a:lnTo>
                  <a:lnTo>
                    <a:pt x="39700" y="131686"/>
                  </a:lnTo>
                  <a:lnTo>
                    <a:pt x="19037" y="173139"/>
                  </a:lnTo>
                  <a:lnTo>
                    <a:pt x="5562" y="218224"/>
                  </a:lnTo>
                  <a:lnTo>
                    <a:pt x="0" y="266192"/>
                  </a:lnTo>
                  <a:lnTo>
                    <a:pt x="47713" y="262178"/>
                  </a:lnTo>
                  <a:lnTo>
                    <a:pt x="92240" y="250532"/>
                  </a:lnTo>
                  <a:lnTo>
                    <a:pt x="133464" y="231927"/>
                  </a:lnTo>
                  <a:lnTo>
                    <a:pt x="170738" y="207060"/>
                  </a:lnTo>
                  <a:lnTo>
                    <a:pt x="203365" y="176593"/>
                  </a:lnTo>
                  <a:lnTo>
                    <a:pt x="230682" y="141224"/>
                  </a:lnTo>
                  <a:lnTo>
                    <a:pt x="252006" y="101600"/>
                  </a:lnTo>
                  <a:lnTo>
                    <a:pt x="266674" y="58407"/>
                  </a:lnTo>
                  <a:lnTo>
                    <a:pt x="273989" y="12369"/>
                  </a:lnTo>
                  <a:lnTo>
                    <a:pt x="281165" y="58585"/>
                  </a:lnTo>
                  <a:lnTo>
                    <a:pt x="295719" y="101955"/>
                  </a:lnTo>
                  <a:lnTo>
                    <a:pt x="316992" y="141744"/>
                  </a:lnTo>
                  <a:lnTo>
                    <a:pt x="344284" y="177279"/>
                  </a:lnTo>
                  <a:lnTo>
                    <a:pt x="376936" y="207886"/>
                  </a:lnTo>
                  <a:lnTo>
                    <a:pt x="414248" y="232867"/>
                  </a:lnTo>
                  <a:lnTo>
                    <a:pt x="455549" y="251561"/>
                  </a:lnTo>
                  <a:lnTo>
                    <a:pt x="500176" y="263271"/>
                  </a:lnTo>
                  <a:lnTo>
                    <a:pt x="548081" y="267322"/>
                  </a:lnTo>
                  <a:close/>
                </a:path>
              </a:pathLst>
            </a:custGeom>
            <a:solidFill>
              <a:srgbClr val="7ED3F1"/>
            </a:solidFill>
          </p:spPr>
          <p:txBody>
            <a:bodyPr wrap="square" lIns="0" tIns="0" rIns="0" bIns="0" rtlCol="0"/>
            <a:lstStyle/>
            <a:p>
              <a:endParaRPr dirty="0"/>
            </a:p>
          </p:txBody>
        </p:sp>
        <p:pic>
          <p:nvPicPr>
            <p:cNvPr id="176" name="object 28">
              <a:extLst>
                <a:ext uri="{FF2B5EF4-FFF2-40B4-BE49-F238E27FC236}">
                  <a16:creationId xmlns:a16="http://schemas.microsoft.com/office/drawing/2014/main" id="{33957DDE-0D37-D033-AB42-578147BDF205}"/>
                </a:ext>
              </a:extLst>
            </p:cNvPr>
            <p:cNvPicPr/>
            <p:nvPr/>
          </p:nvPicPr>
          <p:blipFill>
            <a:blip r:embed="rId14" cstate="print"/>
            <a:stretch>
              <a:fillRect/>
            </a:stretch>
          </p:blipFill>
          <p:spPr>
            <a:xfrm>
              <a:off x="11177526" y="6281064"/>
              <a:ext cx="106445" cy="107156"/>
            </a:xfrm>
            <a:prstGeom prst="rect">
              <a:avLst/>
            </a:prstGeom>
          </p:spPr>
        </p:pic>
        <p:sp>
          <p:nvSpPr>
            <p:cNvPr id="177" name="object 35">
              <a:extLst>
                <a:ext uri="{FF2B5EF4-FFF2-40B4-BE49-F238E27FC236}">
                  <a16:creationId xmlns:a16="http://schemas.microsoft.com/office/drawing/2014/main" id="{E3B339E7-8406-D8FB-7D8A-7181C21BCC73}"/>
                </a:ext>
              </a:extLst>
            </p:cNvPr>
            <p:cNvSpPr/>
            <p:nvPr/>
          </p:nvSpPr>
          <p:spPr>
            <a:xfrm>
              <a:off x="11834385" y="6479532"/>
              <a:ext cx="332700" cy="316141"/>
            </a:xfrm>
            <a:custGeom>
              <a:avLst/>
              <a:gdLst/>
              <a:ahLst/>
              <a:cxnLst/>
              <a:rect l="l" t="t" r="r" b="b"/>
              <a:pathLst>
                <a:path w="548640" h="521334">
                  <a:moveTo>
                    <a:pt x="548081" y="520852"/>
                  </a:moveTo>
                  <a:lnTo>
                    <a:pt x="542632" y="472694"/>
                  </a:lnTo>
                  <a:lnTo>
                    <a:pt x="529234" y="427431"/>
                  </a:lnTo>
                  <a:lnTo>
                    <a:pt x="508622" y="385800"/>
                  </a:lnTo>
                  <a:lnTo>
                    <a:pt x="481533" y="348551"/>
                  </a:lnTo>
                  <a:lnTo>
                    <a:pt x="448691" y="316395"/>
                  </a:lnTo>
                  <a:lnTo>
                    <a:pt x="410832" y="290093"/>
                  </a:lnTo>
                  <a:lnTo>
                    <a:pt x="368706" y="270357"/>
                  </a:lnTo>
                  <a:lnTo>
                    <a:pt x="323037" y="257924"/>
                  </a:lnTo>
                  <a:lnTo>
                    <a:pt x="274561" y="253555"/>
                  </a:lnTo>
                  <a:lnTo>
                    <a:pt x="273342" y="253555"/>
                  </a:lnTo>
                  <a:lnTo>
                    <a:pt x="224993" y="257911"/>
                  </a:lnTo>
                  <a:lnTo>
                    <a:pt x="179438" y="270281"/>
                  </a:lnTo>
                  <a:lnTo>
                    <a:pt x="137401" y="289915"/>
                  </a:lnTo>
                  <a:lnTo>
                    <a:pt x="99618" y="316115"/>
                  </a:lnTo>
                  <a:lnTo>
                    <a:pt x="66814" y="348132"/>
                  </a:lnTo>
                  <a:lnTo>
                    <a:pt x="39725" y="385229"/>
                  </a:lnTo>
                  <a:lnTo>
                    <a:pt x="19088" y="426694"/>
                  </a:lnTo>
                  <a:lnTo>
                    <a:pt x="5613" y="471792"/>
                  </a:lnTo>
                  <a:lnTo>
                    <a:pt x="50" y="519772"/>
                  </a:lnTo>
                  <a:lnTo>
                    <a:pt x="47713" y="515747"/>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27"/>
                  </a:lnTo>
                  <a:lnTo>
                    <a:pt x="295732" y="355498"/>
                  </a:lnTo>
                  <a:lnTo>
                    <a:pt x="316992" y="395300"/>
                  </a:lnTo>
                  <a:lnTo>
                    <a:pt x="344284" y="430834"/>
                  </a:lnTo>
                  <a:lnTo>
                    <a:pt x="376936" y="461429"/>
                  </a:lnTo>
                  <a:lnTo>
                    <a:pt x="414248" y="486410"/>
                  </a:lnTo>
                  <a:lnTo>
                    <a:pt x="455549" y="505091"/>
                  </a:lnTo>
                  <a:lnTo>
                    <a:pt x="500164" y="516801"/>
                  </a:lnTo>
                  <a:lnTo>
                    <a:pt x="548081" y="520852"/>
                  </a:lnTo>
                  <a:close/>
                </a:path>
                <a:path w="548640" h="521334">
                  <a:moveTo>
                    <a:pt x="548093" y="267322"/>
                  </a:moveTo>
                  <a:lnTo>
                    <a:pt x="542645" y="219138"/>
                  </a:lnTo>
                  <a:lnTo>
                    <a:pt x="529247" y="173875"/>
                  </a:lnTo>
                  <a:lnTo>
                    <a:pt x="508635" y="132245"/>
                  </a:lnTo>
                  <a:lnTo>
                    <a:pt x="481533" y="94996"/>
                  </a:lnTo>
                  <a:lnTo>
                    <a:pt x="448691" y="62839"/>
                  </a:lnTo>
                  <a:lnTo>
                    <a:pt x="410845" y="36537"/>
                  </a:lnTo>
                  <a:lnTo>
                    <a:pt x="368719" y="16814"/>
                  </a:lnTo>
                  <a:lnTo>
                    <a:pt x="323037" y="4368"/>
                  </a:lnTo>
                  <a:lnTo>
                    <a:pt x="274574" y="12"/>
                  </a:lnTo>
                  <a:lnTo>
                    <a:pt x="273342" y="0"/>
                  </a:lnTo>
                  <a:lnTo>
                    <a:pt x="224993" y="4356"/>
                  </a:lnTo>
                  <a:lnTo>
                    <a:pt x="179438" y="16713"/>
                  </a:lnTo>
                  <a:lnTo>
                    <a:pt x="137401" y="36360"/>
                  </a:lnTo>
                  <a:lnTo>
                    <a:pt x="99618" y="62560"/>
                  </a:lnTo>
                  <a:lnTo>
                    <a:pt x="66814" y="94576"/>
                  </a:lnTo>
                  <a:lnTo>
                    <a:pt x="39700" y="131686"/>
                  </a:lnTo>
                  <a:lnTo>
                    <a:pt x="19050" y="173139"/>
                  </a:lnTo>
                  <a:lnTo>
                    <a:pt x="5575" y="218211"/>
                  </a:lnTo>
                  <a:lnTo>
                    <a:pt x="0" y="266192"/>
                  </a:lnTo>
                  <a:lnTo>
                    <a:pt x="47713" y="262178"/>
                  </a:lnTo>
                  <a:lnTo>
                    <a:pt x="92240" y="250520"/>
                  </a:lnTo>
                  <a:lnTo>
                    <a:pt x="133477" y="231914"/>
                  </a:lnTo>
                  <a:lnTo>
                    <a:pt x="170738" y="207048"/>
                  </a:lnTo>
                  <a:lnTo>
                    <a:pt x="203365" y="176593"/>
                  </a:lnTo>
                  <a:lnTo>
                    <a:pt x="230682" y="141211"/>
                  </a:lnTo>
                  <a:lnTo>
                    <a:pt x="252006" y="101600"/>
                  </a:lnTo>
                  <a:lnTo>
                    <a:pt x="266674" y="58407"/>
                  </a:lnTo>
                  <a:lnTo>
                    <a:pt x="274002" y="12319"/>
                  </a:lnTo>
                  <a:lnTo>
                    <a:pt x="274955" y="18529"/>
                  </a:lnTo>
                  <a:lnTo>
                    <a:pt x="281165" y="58572"/>
                  </a:lnTo>
                  <a:lnTo>
                    <a:pt x="295732" y="101942"/>
                  </a:lnTo>
                  <a:lnTo>
                    <a:pt x="316992" y="141744"/>
                  </a:lnTo>
                  <a:lnTo>
                    <a:pt x="344284" y="177279"/>
                  </a:lnTo>
                  <a:lnTo>
                    <a:pt x="376936" y="207873"/>
                  </a:lnTo>
                  <a:lnTo>
                    <a:pt x="414248" y="232854"/>
                  </a:lnTo>
                  <a:lnTo>
                    <a:pt x="455561"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178" name="object 36">
              <a:extLst>
                <a:ext uri="{FF2B5EF4-FFF2-40B4-BE49-F238E27FC236}">
                  <a16:creationId xmlns:a16="http://schemas.microsoft.com/office/drawing/2014/main" id="{246C5C5C-7441-3BC9-4417-1D25E607E042}"/>
                </a:ext>
              </a:extLst>
            </p:cNvPr>
            <p:cNvPicPr/>
            <p:nvPr/>
          </p:nvPicPr>
          <p:blipFill>
            <a:blip r:embed="rId15" cstate="print"/>
            <a:stretch>
              <a:fillRect/>
            </a:stretch>
          </p:blipFill>
          <p:spPr>
            <a:xfrm>
              <a:off x="11870481" y="6794307"/>
              <a:ext cx="260137" cy="63416"/>
            </a:xfrm>
            <a:prstGeom prst="rect">
              <a:avLst/>
            </a:prstGeom>
          </p:spPr>
        </p:pic>
        <p:sp>
          <p:nvSpPr>
            <p:cNvPr id="179" name="object 37">
              <a:extLst>
                <a:ext uri="{FF2B5EF4-FFF2-40B4-BE49-F238E27FC236}">
                  <a16:creationId xmlns:a16="http://schemas.microsoft.com/office/drawing/2014/main" id="{203479E3-FF8B-9849-6D4C-760C591C439D}"/>
                </a:ext>
              </a:extLst>
            </p:cNvPr>
            <p:cNvSpPr/>
            <p:nvPr/>
          </p:nvSpPr>
          <p:spPr>
            <a:xfrm>
              <a:off x="11834385" y="5171198"/>
              <a:ext cx="332700" cy="477101"/>
            </a:xfrm>
            <a:custGeom>
              <a:avLst/>
              <a:gdLst/>
              <a:ahLst/>
              <a:cxnLst/>
              <a:rect l="l" t="t" r="r" b="b"/>
              <a:pathLst>
                <a:path w="548640" h="786765">
                  <a:moveTo>
                    <a:pt x="548081" y="786396"/>
                  </a:moveTo>
                  <a:lnTo>
                    <a:pt x="542632" y="738225"/>
                  </a:lnTo>
                  <a:lnTo>
                    <a:pt x="529234" y="692975"/>
                  </a:lnTo>
                  <a:lnTo>
                    <a:pt x="508622" y="651344"/>
                  </a:lnTo>
                  <a:lnTo>
                    <a:pt x="481533" y="614083"/>
                  </a:lnTo>
                  <a:lnTo>
                    <a:pt x="448691" y="581939"/>
                  </a:lnTo>
                  <a:lnTo>
                    <a:pt x="410832" y="555625"/>
                  </a:lnTo>
                  <a:lnTo>
                    <a:pt x="368706" y="535889"/>
                  </a:lnTo>
                  <a:lnTo>
                    <a:pt x="323037" y="523468"/>
                  </a:lnTo>
                  <a:lnTo>
                    <a:pt x="274561" y="519087"/>
                  </a:lnTo>
                  <a:lnTo>
                    <a:pt x="273342" y="519087"/>
                  </a:lnTo>
                  <a:lnTo>
                    <a:pt x="224993" y="523455"/>
                  </a:lnTo>
                  <a:lnTo>
                    <a:pt x="179438" y="535813"/>
                  </a:lnTo>
                  <a:lnTo>
                    <a:pt x="137401" y="555459"/>
                  </a:lnTo>
                  <a:lnTo>
                    <a:pt x="99618" y="581660"/>
                  </a:lnTo>
                  <a:lnTo>
                    <a:pt x="66814" y="613676"/>
                  </a:lnTo>
                  <a:lnTo>
                    <a:pt x="39725" y="650773"/>
                  </a:lnTo>
                  <a:lnTo>
                    <a:pt x="19088" y="692238"/>
                  </a:lnTo>
                  <a:lnTo>
                    <a:pt x="5613" y="737323"/>
                  </a:lnTo>
                  <a:lnTo>
                    <a:pt x="50" y="785317"/>
                  </a:lnTo>
                  <a:lnTo>
                    <a:pt x="47713" y="781278"/>
                  </a:lnTo>
                  <a:lnTo>
                    <a:pt x="92240" y="769620"/>
                  </a:lnTo>
                  <a:lnTo>
                    <a:pt x="133477" y="751027"/>
                  </a:lnTo>
                  <a:lnTo>
                    <a:pt x="170738" y="726147"/>
                  </a:lnTo>
                  <a:lnTo>
                    <a:pt x="203365" y="695680"/>
                  </a:lnTo>
                  <a:lnTo>
                    <a:pt x="230670" y="660298"/>
                  </a:lnTo>
                  <a:lnTo>
                    <a:pt x="252006" y="620674"/>
                  </a:lnTo>
                  <a:lnTo>
                    <a:pt x="266661" y="577481"/>
                  </a:lnTo>
                  <a:lnTo>
                    <a:pt x="274002" y="531393"/>
                  </a:lnTo>
                  <a:lnTo>
                    <a:pt x="281165" y="577672"/>
                  </a:lnTo>
                  <a:lnTo>
                    <a:pt x="295732" y="621042"/>
                  </a:lnTo>
                  <a:lnTo>
                    <a:pt x="316992" y="660831"/>
                  </a:lnTo>
                  <a:lnTo>
                    <a:pt x="344284" y="696366"/>
                  </a:lnTo>
                  <a:lnTo>
                    <a:pt x="376936" y="726960"/>
                  </a:lnTo>
                  <a:lnTo>
                    <a:pt x="414248" y="751941"/>
                  </a:lnTo>
                  <a:lnTo>
                    <a:pt x="455549" y="770623"/>
                  </a:lnTo>
                  <a:lnTo>
                    <a:pt x="500164" y="782332"/>
                  </a:lnTo>
                  <a:lnTo>
                    <a:pt x="548081" y="786396"/>
                  </a:lnTo>
                  <a:close/>
                </a:path>
                <a:path w="548640" h="786765">
                  <a:moveTo>
                    <a:pt x="548081" y="520865"/>
                  </a:moveTo>
                  <a:lnTo>
                    <a:pt x="542632" y="472706"/>
                  </a:lnTo>
                  <a:lnTo>
                    <a:pt x="529234" y="427443"/>
                  </a:lnTo>
                  <a:lnTo>
                    <a:pt x="508622" y="385813"/>
                  </a:lnTo>
                  <a:lnTo>
                    <a:pt x="481533" y="348551"/>
                  </a:lnTo>
                  <a:lnTo>
                    <a:pt x="448691" y="316407"/>
                  </a:lnTo>
                  <a:lnTo>
                    <a:pt x="410832" y="290093"/>
                  </a:lnTo>
                  <a:lnTo>
                    <a:pt x="368706" y="270357"/>
                  </a:lnTo>
                  <a:lnTo>
                    <a:pt x="323037" y="257937"/>
                  </a:lnTo>
                  <a:lnTo>
                    <a:pt x="274561" y="253568"/>
                  </a:lnTo>
                  <a:lnTo>
                    <a:pt x="273342" y="253568"/>
                  </a:lnTo>
                  <a:lnTo>
                    <a:pt x="224993" y="257924"/>
                  </a:lnTo>
                  <a:lnTo>
                    <a:pt x="179438" y="270281"/>
                  </a:lnTo>
                  <a:lnTo>
                    <a:pt x="137401" y="289928"/>
                  </a:lnTo>
                  <a:lnTo>
                    <a:pt x="99618" y="316128"/>
                  </a:lnTo>
                  <a:lnTo>
                    <a:pt x="66814" y="348132"/>
                  </a:lnTo>
                  <a:lnTo>
                    <a:pt x="39725" y="385241"/>
                  </a:lnTo>
                  <a:lnTo>
                    <a:pt x="19088" y="426694"/>
                  </a:lnTo>
                  <a:lnTo>
                    <a:pt x="5613" y="471792"/>
                  </a:lnTo>
                  <a:lnTo>
                    <a:pt x="50" y="519772"/>
                  </a:lnTo>
                  <a:lnTo>
                    <a:pt x="47713" y="515734"/>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40"/>
                  </a:lnTo>
                  <a:lnTo>
                    <a:pt x="295732" y="355511"/>
                  </a:lnTo>
                  <a:lnTo>
                    <a:pt x="316992" y="395300"/>
                  </a:lnTo>
                  <a:lnTo>
                    <a:pt x="344284" y="430834"/>
                  </a:lnTo>
                  <a:lnTo>
                    <a:pt x="376936" y="461441"/>
                  </a:lnTo>
                  <a:lnTo>
                    <a:pt x="414248" y="486410"/>
                  </a:lnTo>
                  <a:lnTo>
                    <a:pt x="455549" y="505104"/>
                  </a:lnTo>
                  <a:lnTo>
                    <a:pt x="500164" y="516813"/>
                  </a:lnTo>
                  <a:lnTo>
                    <a:pt x="548081" y="520865"/>
                  </a:lnTo>
                  <a:close/>
                </a:path>
                <a:path w="548640" h="786765">
                  <a:moveTo>
                    <a:pt x="548093" y="267322"/>
                  </a:moveTo>
                  <a:lnTo>
                    <a:pt x="542645" y="219151"/>
                  </a:lnTo>
                  <a:lnTo>
                    <a:pt x="529247" y="173875"/>
                  </a:lnTo>
                  <a:lnTo>
                    <a:pt x="508635" y="132245"/>
                  </a:lnTo>
                  <a:lnTo>
                    <a:pt x="481533" y="94996"/>
                  </a:lnTo>
                  <a:lnTo>
                    <a:pt x="448691" y="62852"/>
                  </a:lnTo>
                  <a:lnTo>
                    <a:pt x="426351" y="47332"/>
                  </a:lnTo>
                  <a:lnTo>
                    <a:pt x="410845" y="36537"/>
                  </a:lnTo>
                  <a:lnTo>
                    <a:pt x="391109" y="27305"/>
                  </a:lnTo>
                  <a:lnTo>
                    <a:pt x="368719" y="16814"/>
                  </a:lnTo>
                  <a:lnTo>
                    <a:pt x="323049" y="4394"/>
                  </a:lnTo>
                  <a:lnTo>
                    <a:pt x="274574" y="12"/>
                  </a:lnTo>
                  <a:lnTo>
                    <a:pt x="273342" y="0"/>
                  </a:lnTo>
                  <a:lnTo>
                    <a:pt x="224993" y="4356"/>
                  </a:lnTo>
                  <a:lnTo>
                    <a:pt x="179438" y="16725"/>
                  </a:lnTo>
                  <a:lnTo>
                    <a:pt x="137401" y="36372"/>
                  </a:lnTo>
                  <a:lnTo>
                    <a:pt x="99618" y="62560"/>
                  </a:lnTo>
                  <a:lnTo>
                    <a:pt x="66814" y="94576"/>
                  </a:lnTo>
                  <a:lnTo>
                    <a:pt x="39700" y="131686"/>
                  </a:lnTo>
                  <a:lnTo>
                    <a:pt x="19050" y="173139"/>
                  </a:lnTo>
                  <a:lnTo>
                    <a:pt x="5575" y="218211"/>
                  </a:lnTo>
                  <a:lnTo>
                    <a:pt x="0" y="266192"/>
                  </a:lnTo>
                  <a:lnTo>
                    <a:pt x="47713" y="262178"/>
                  </a:lnTo>
                  <a:lnTo>
                    <a:pt x="92240" y="250520"/>
                  </a:lnTo>
                  <a:lnTo>
                    <a:pt x="133477" y="231927"/>
                  </a:lnTo>
                  <a:lnTo>
                    <a:pt x="170738" y="207048"/>
                  </a:lnTo>
                  <a:lnTo>
                    <a:pt x="203365" y="176593"/>
                  </a:lnTo>
                  <a:lnTo>
                    <a:pt x="230682" y="141211"/>
                  </a:lnTo>
                  <a:lnTo>
                    <a:pt x="252006" y="101600"/>
                  </a:lnTo>
                  <a:lnTo>
                    <a:pt x="266674" y="58407"/>
                  </a:lnTo>
                  <a:lnTo>
                    <a:pt x="274002" y="12319"/>
                  </a:lnTo>
                  <a:lnTo>
                    <a:pt x="275107" y="19481"/>
                  </a:lnTo>
                  <a:lnTo>
                    <a:pt x="281165" y="58572"/>
                  </a:lnTo>
                  <a:lnTo>
                    <a:pt x="295732" y="101942"/>
                  </a:lnTo>
                  <a:lnTo>
                    <a:pt x="316992" y="141744"/>
                  </a:lnTo>
                  <a:lnTo>
                    <a:pt x="344284" y="177279"/>
                  </a:lnTo>
                  <a:lnTo>
                    <a:pt x="376936" y="207873"/>
                  </a:lnTo>
                  <a:lnTo>
                    <a:pt x="414248" y="232867"/>
                  </a:lnTo>
                  <a:lnTo>
                    <a:pt x="455561"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180" name="object 38">
              <a:extLst>
                <a:ext uri="{FF2B5EF4-FFF2-40B4-BE49-F238E27FC236}">
                  <a16:creationId xmlns:a16="http://schemas.microsoft.com/office/drawing/2014/main" id="{0687655B-8263-3DF4-114B-AC5BEA02F864}"/>
                </a:ext>
              </a:extLst>
            </p:cNvPr>
            <p:cNvPicPr/>
            <p:nvPr/>
          </p:nvPicPr>
          <p:blipFill>
            <a:blip r:embed="rId16" cstate="print"/>
            <a:stretch>
              <a:fillRect/>
            </a:stretch>
          </p:blipFill>
          <p:spPr>
            <a:xfrm>
              <a:off x="11947657" y="5626898"/>
              <a:ext cx="106445" cy="107156"/>
            </a:xfrm>
            <a:prstGeom prst="rect">
              <a:avLst/>
            </a:prstGeom>
          </p:spPr>
        </p:pic>
        <p:sp>
          <p:nvSpPr>
            <p:cNvPr id="181" name="object 39">
              <a:extLst>
                <a:ext uri="{FF2B5EF4-FFF2-40B4-BE49-F238E27FC236}">
                  <a16:creationId xmlns:a16="http://schemas.microsoft.com/office/drawing/2014/main" id="{A780A2C7-7AB3-5455-E9A8-324FB23E6C0F}"/>
                </a:ext>
              </a:extLst>
            </p:cNvPr>
            <p:cNvSpPr/>
            <p:nvPr/>
          </p:nvSpPr>
          <p:spPr>
            <a:xfrm>
              <a:off x="11834385" y="5825360"/>
              <a:ext cx="332700" cy="477101"/>
            </a:xfrm>
            <a:custGeom>
              <a:avLst/>
              <a:gdLst/>
              <a:ahLst/>
              <a:cxnLst/>
              <a:rect l="l" t="t" r="r" b="b"/>
              <a:pathLst>
                <a:path w="548640" h="786765">
                  <a:moveTo>
                    <a:pt x="548081" y="786396"/>
                  </a:moveTo>
                  <a:lnTo>
                    <a:pt x="542632" y="738238"/>
                  </a:lnTo>
                  <a:lnTo>
                    <a:pt x="529234" y="692975"/>
                  </a:lnTo>
                  <a:lnTo>
                    <a:pt x="508622" y="651344"/>
                  </a:lnTo>
                  <a:lnTo>
                    <a:pt x="481533" y="614095"/>
                  </a:lnTo>
                  <a:lnTo>
                    <a:pt x="448691" y="581939"/>
                  </a:lnTo>
                  <a:lnTo>
                    <a:pt x="410832" y="555637"/>
                  </a:lnTo>
                  <a:lnTo>
                    <a:pt x="368706" y="535901"/>
                  </a:lnTo>
                  <a:lnTo>
                    <a:pt x="323037" y="523481"/>
                  </a:lnTo>
                  <a:lnTo>
                    <a:pt x="274561" y="519099"/>
                  </a:lnTo>
                  <a:lnTo>
                    <a:pt x="273342" y="519099"/>
                  </a:lnTo>
                  <a:lnTo>
                    <a:pt x="224993" y="523455"/>
                  </a:lnTo>
                  <a:lnTo>
                    <a:pt x="179438" y="535825"/>
                  </a:lnTo>
                  <a:lnTo>
                    <a:pt x="137401" y="555472"/>
                  </a:lnTo>
                  <a:lnTo>
                    <a:pt x="99618" y="581660"/>
                  </a:lnTo>
                  <a:lnTo>
                    <a:pt x="66814" y="613676"/>
                  </a:lnTo>
                  <a:lnTo>
                    <a:pt x="39725" y="650773"/>
                  </a:lnTo>
                  <a:lnTo>
                    <a:pt x="19088" y="692238"/>
                  </a:lnTo>
                  <a:lnTo>
                    <a:pt x="5613" y="737323"/>
                  </a:lnTo>
                  <a:lnTo>
                    <a:pt x="50" y="785304"/>
                  </a:lnTo>
                  <a:lnTo>
                    <a:pt x="47713" y="781278"/>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72"/>
                  </a:lnTo>
                  <a:lnTo>
                    <a:pt x="295732" y="621042"/>
                  </a:lnTo>
                  <a:lnTo>
                    <a:pt x="316992" y="660831"/>
                  </a:lnTo>
                  <a:lnTo>
                    <a:pt x="344284" y="696366"/>
                  </a:lnTo>
                  <a:lnTo>
                    <a:pt x="376936" y="726973"/>
                  </a:lnTo>
                  <a:lnTo>
                    <a:pt x="414248"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33" y="348564"/>
                  </a:lnTo>
                  <a:lnTo>
                    <a:pt x="448691" y="316407"/>
                  </a:lnTo>
                  <a:lnTo>
                    <a:pt x="410832" y="290093"/>
                  </a:lnTo>
                  <a:lnTo>
                    <a:pt x="368706" y="270370"/>
                  </a:lnTo>
                  <a:lnTo>
                    <a:pt x="323037" y="257937"/>
                  </a:lnTo>
                  <a:lnTo>
                    <a:pt x="274561" y="253555"/>
                  </a:lnTo>
                  <a:lnTo>
                    <a:pt x="273342" y="253555"/>
                  </a:lnTo>
                  <a:lnTo>
                    <a:pt x="224993" y="257924"/>
                  </a:lnTo>
                  <a:lnTo>
                    <a:pt x="179438" y="270294"/>
                  </a:lnTo>
                  <a:lnTo>
                    <a:pt x="137401" y="289928"/>
                  </a:lnTo>
                  <a:lnTo>
                    <a:pt x="99618" y="316128"/>
                  </a:lnTo>
                  <a:lnTo>
                    <a:pt x="66814" y="348145"/>
                  </a:lnTo>
                  <a:lnTo>
                    <a:pt x="39725" y="385241"/>
                  </a:lnTo>
                  <a:lnTo>
                    <a:pt x="19088" y="426694"/>
                  </a:lnTo>
                  <a:lnTo>
                    <a:pt x="5613" y="471792"/>
                  </a:lnTo>
                  <a:lnTo>
                    <a:pt x="50" y="519772"/>
                  </a:lnTo>
                  <a:lnTo>
                    <a:pt x="47713" y="515734"/>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40"/>
                  </a:lnTo>
                  <a:lnTo>
                    <a:pt x="295732" y="355511"/>
                  </a:lnTo>
                  <a:lnTo>
                    <a:pt x="316992" y="395300"/>
                  </a:lnTo>
                  <a:lnTo>
                    <a:pt x="344284" y="430834"/>
                  </a:lnTo>
                  <a:lnTo>
                    <a:pt x="376936" y="461441"/>
                  </a:lnTo>
                  <a:lnTo>
                    <a:pt x="414248" y="486410"/>
                  </a:lnTo>
                  <a:lnTo>
                    <a:pt x="455549" y="505104"/>
                  </a:lnTo>
                  <a:lnTo>
                    <a:pt x="500164" y="516813"/>
                  </a:lnTo>
                  <a:lnTo>
                    <a:pt x="548081" y="520865"/>
                  </a:lnTo>
                  <a:close/>
                </a:path>
                <a:path w="548640" h="786765">
                  <a:moveTo>
                    <a:pt x="548093" y="267322"/>
                  </a:moveTo>
                  <a:lnTo>
                    <a:pt x="542645" y="219151"/>
                  </a:lnTo>
                  <a:lnTo>
                    <a:pt x="529247" y="173888"/>
                  </a:lnTo>
                  <a:lnTo>
                    <a:pt x="508635" y="132257"/>
                  </a:lnTo>
                  <a:lnTo>
                    <a:pt x="481533" y="94996"/>
                  </a:lnTo>
                  <a:lnTo>
                    <a:pt x="448691" y="62852"/>
                  </a:lnTo>
                  <a:lnTo>
                    <a:pt x="410845" y="36550"/>
                  </a:lnTo>
                  <a:lnTo>
                    <a:pt x="368719" y="16814"/>
                  </a:lnTo>
                  <a:lnTo>
                    <a:pt x="323049" y="4394"/>
                  </a:lnTo>
                  <a:lnTo>
                    <a:pt x="274561" y="0"/>
                  </a:lnTo>
                  <a:lnTo>
                    <a:pt x="273342" y="0"/>
                  </a:lnTo>
                  <a:lnTo>
                    <a:pt x="224993" y="4356"/>
                  </a:lnTo>
                  <a:lnTo>
                    <a:pt x="179438" y="16725"/>
                  </a:lnTo>
                  <a:lnTo>
                    <a:pt x="137401" y="36372"/>
                  </a:lnTo>
                  <a:lnTo>
                    <a:pt x="99618" y="62572"/>
                  </a:lnTo>
                  <a:lnTo>
                    <a:pt x="66814" y="94576"/>
                  </a:lnTo>
                  <a:lnTo>
                    <a:pt x="39700" y="131686"/>
                  </a:lnTo>
                  <a:lnTo>
                    <a:pt x="19050" y="173139"/>
                  </a:lnTo>
                  <a:lnTo>
                    <a:pt x="5575" y="218224"/>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4002" y="12331"/>
                  </a:lnTo>
                  <a:lnTo>
                    <a:pt x="275691" y="23266"/>
                  </a:lnTo>
                  <a:lnTo>
                    <a:pt x="281165" y="58585"/>
                  </a:lnTo>
                  <a:lnTo>
                    <a:pt x="295732" y="101955"/>
                  </a:lnTo>
                  <a:lnTo>
                    <a:pt x="316992" y="141744"/>
                  </a:lnTo>
                  <a:lnTo>
                    <a:pt x="344284" y="177279"/>
                  </a:lnTo>
                  <a:lnTo>
                    <a:pt x="376936" y="207886"/>
                  </a:lnTo>
                  <a:lnTo>
                    <a:pt x="414248" y="232867"/>
                  </a:lnTo>
                  <a:lnTo>
                    <a:pt x="455561"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182" name="object 40">
              <a:extLst>
                <a:ext uri="{FF2B5EF4-FFF2-40B4-BE49-F238E27FC236}">
                  <a16:creationId xmlns:a16="http://schemas.microsoft.com/office/drawing/2014/main" id="{D34A54DB-E92A-7E9D-5374-16E3C7581950}"/>
                </a:ext>
              </a:extLst>
            </p:cNvPr>
            <p:cNvPicPr/>
            <p:nvPr/>
          </p:nvPicPr>
          <p:blipFill>
            <a:blip r:embed="rId17" cstate="print"/>
            <a:stretch>
              <a:fillRect/>
            </a:stretch>
          </p:blipFill>
          <p:spPr>
            <a:xfrm>
              <a:off x="11947657" y="6281064"/>
              <a:ext cx="106445" cy="107156"/>
            </a:xfrm>
            <a:prstGeom prst="rect">
              <a:avLst/>
            </a:prstGeom>
          </p:spPr>
        </p:pic>
        <p:sp>
          <p:nvSpPr>
            <p:cNvPr id="183" name="object 53">
              <a:extLst>
                <a:ext uri="{FF2B5EF4-FFF2-40B4-BE49-F238E27FC236}">
                  <a16:creationId xmlns:a16="http://schemas.microsoft.com/office/drawing/2014/main" id="{00C9166D-A69C-02E6-820C-E1C4BBC25D56}"/>
                </a:ext>
              </a:extLst>
            </p:cNvPr>
            <p:cNvSpPr/>
            <p:nvPr/>
          </p:nvSpPr>
          <p:spPr>
            <a:xfrm>
              <a:off x="7598678" y="6037749"/>
              <a:ext cx="332700" cy="477101"/>
            </a:xfrm>
            <a:custGeom>
              <a:avLst/>
              <a:gdLst/>
              <a:ahLst/>
              <a:cxnLst/>
              <a:rect l="l" t="t" r="r" b="b"/>
              <a:pathLst>
                <a:path w="548640" h="786765">
                  <a:moveTo>
                    <a:pt x="548043" y="266611"/>
                  </a:moveTo>
                  <a:lnTo>
                    <a:pt x="500367" y="270649"/>
                  </a:lnTo>
                  <a:lnTo>
                    <a:pt x="455841" y="282308"/>
                  </a:lnTo>
                  <a:lnTo>
                    <a:pt x="414616" y="300901"/>
                  </a:lnTo>
                  <a:lnTo>
                    <a:pt x="377342" y="325780"/>
                  </a:lnTo>
                  <a:lnTo>
                    <a:pt x="344728" y="356235"/>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86"/>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26"/>
                  </a:lnTo>
                  <a:lnTo>
                    <a:pt x="225044" y="528459"/>
                  </a:lnTo>
                  <a:lnTo>
                    <a:pt x="273519" y="532841"/>
                  </a:lnTo>
                  <a:lnTo>
                    <a:pt x="274751" y="532841"/>
                  </a:lnTo>
                  <a:lnTo>
                    <a:pt x="323088" y="528472"/>
                  </a:lnTo>
                  <a:lnTo>
                    <a:pt x="368642" y="516102"/>
                  </a:lnTo>
                  <a:lnTo>
                    <a:pt x="410679" y="496468"/>
                  </a:lnTo>
                  <a:lnTo>
                    <a:pt x="448462" y="470268"/>
                  </a:lnTo>
                  <a:lnTo>
                    <a:pt x="481266" y="438251"/>
                  </a:lnTo>
                  <a:lnTo>
                    <a:pt x="508355" y="401154"/>
                  </a:lnTo>
                  <a:lnTo>
                    <a:pt x="529005" y="359689"/>
                  </a:lnTo>
                  <a:lnTo>
                    <a:pt x="542480" y="314604"/>
                  </a:lnTo>
                  <a:lnTo>
                    <a:pt x="548043" y="266611"/>
                  </a:lnTo>
                  <a:close/>
                </a:path>
                <a:path w="548640" h="786765">
                  <a:moveTo>
                    <a:pt x="548043" y="1092"/>
                  </a:moveTo>
                  <a:lnTo>
                    <a:pt x="500367" y="5130"/>
                  </a:lnTo>
                  <a:lnTo>
                    <a:pt x="455841" y="16789"/>
                  </a:lnTo>
                  <a:lnTo>
                    <a:pt x="414616" y="35382"/>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49"/>
                  </a:lnTo>
                  <a:lnTo>
                    <a:pt x="481266" y="172732"/>
                  </a:lnTo>
                  <a:lnTo>
                    <a:pt x="508355" y="135623"/>
                  </a:lnTo>
                  <a:lnTo>
                    <a:pt x="529005" y="94170"/>
                  </a:lnTo>
                  <a:lnTo>
                    <a:pt x="542480" y="49085"/>
                  </a:lnTo>
                  <a:lnTo>
                    <a:pt x="548043" y="1092"/>
                  </a:lnTo>
                  <a:close/>
                </a:path>
                <a:path w="548640" h="786765">
                  <a:moveTo>
                    <a:pt x="548081" y="520204"/>
                  </a:moveTo>
                  <a:lnTo>
                    <a:pt x="500367" y="524217"/>
                  </a:lnTo>
                  <a:lnTo>
                    <a:pt x="455841" y="535876"/>
                  </a:lnTo>
                  <a:lnTo>
                    <a:pt x="414616" y="554469"/>
                  </a:lnTo>
                  <a:lnTo>
                    <a:pt x="377342" y="579348"/>
                  </a:lnTo>
                  <a:lnTo>
                    <a:pt x="344728" y="609803"/>
                  </a:lnTo>
                  <a:lnTo>
                    <a:pt x="317398" y="645172"/>
                  </a:lnTo>
                  <a:lnTo>
                    <a:pt x="296075" y="684796"/>
                  </a:lnTo>
                  <a:lnTo>
                    <a:pt x="281419" y="727989"/>
                  </a:lnTo>
                  <a:lnTo>
                    <a:pt x="274078" y="774039"/>
                  </a:lnTo>
                  <a:lnTo>
                    <a:pt x="268224" y="736307"/>
                  </a:lnTo>
                  <a:lnTo>
                    <a:pt x="266915" y="727824"/>
                  </a:lnTo>
                  <a:lnTo>
                    <a:pt x="252361" y="684453"/>
                  </a:lnTo>
                  <a:lnTo>
                    <a:pt x="231089" y="644652"/>
                  </a:lnTo>
                  <a:lnTo>
                    <a:pt x="203796" y="609117"/>
                  </a:lnTo>
                  <a:lnTo>
                    <a:pt x="171157" y="578523"/>
                  </a:lnTo>
                  <a:lnTo>
                    <a:pt x="133845" y="553542"/>
                  </a:lnTo>
                  <a:lnTo>
                    <a:pt x="92532" y="534835"/>
                  </a:lnTo>
                  <a:lnTo>
                    <a:pt x="47904" y="523125"/>
                  </a:lnTo>
                  <a:lnTo>
                    <a:pt x="0" y="519074"/>
                  </a:lnTo>
                  <a:lnTo>
                    <a:pt x="5448" y="567258"/>
                  </a:lnTo>
                  <a:lnTo>
                    <a:pt x="9410" y="580644"/>
                  </a:lnTo>
                  <a:lnTo>
                    <a:pt x="18834" y="612508"/>
                  </a:lnTo>
                  <a:lnTo>
                    <a:pt x="39458" y="654138"/>
                  </a:lnTo>
                  <a:lnTo>
                    <a:pt x="66548" y="691400"/>
                  </a:lnTo>
                  <a:lnTo>
                    <a:pt x="99390" y="72354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2DB7EA"/>
            </a:solidFill>
          </p:spPr>
          <p:txBody>
            <a:bodyPr wrap="square" lIns="0" tIns="0" rIns="0" bIns="0" rtlCol="0"/>
            <a:lstStyle/>
            <a:p>
              <a:endParaRPr dirty="0"/>
            </a:p>
          </p:txBody>
        </p:sp>
        <p:pic>
          <p:nvPicPr>
            <p:cNvPr id="184" name="object 54">
              <a:extLst>
                <a:ext uri="{FF2B5EF4-FFF2-40B4-BE49-F238E27FC236}">
                  <a16:creationId xmlns:a16="http://schemas.microsoft.com/office/drawing/2014/main" id="{55612C8E-B41B-53DA-6A26-298FCDD4CE97}"/>
                </a:ext>
              </a:extLst>
            </p:cNvPr>
            <p:cNvPicPr/>
            <p:nvPr/>
          </p:nvPicPr>
          <p:blipFill>
            <a:blip r:embed="rId5" cstate="print"/>
            <a:stretch>
              <a:fillRect/>
            </a:stretch>
          </p:blipFill>
          <p:spPr>
            <a:xfrm>
              <a:off x="7711331" y="5951762"/>
              <a:ext cx="106445" cy="107156"/>
            </a:xfrm>
            <a:prstGeom prst="rect">
              <a:avLst/>
            </a:prstGeom>
          </p:spPr>
        </p:pic>
        <p:sp>
          <p:nvSpPr>
            <p:cNvPr id="185" name="object 55">
              <a:extLst>
                <a:ext uri="{FF2B5EF4-FFF2-40B4-BE49-F238E27FC236}">
                  <a16:creationId xmlns:a16="http://schemas.microsoft.com/office/drawing/2014/main" id="{D35B128B-8FEC-4870-4632-C5E5F023B7D6}"/>
                </a:ext>
              </a:extLst>
            </p:cNvPr>
            <p:cNvSpPr/>
            <p:nvPr/>
          </p:nvSpPr>
          <p:spPr>
            <a:xfrm>
              <a:off x="7598678" y="5383587"/>
              <a:ext cx="332700" cy="477101"/>
            </a:xfrm>
            <a:custGeom>
              <a:avLst/>
              <a:gdLst/>
              <a:ahLst/>
              <a:cxnLst/>
              <a:rect l="l" t="t" r="r" b="b"/>
              <a:pathLst>
                <a:path w="548640" h="786765">
                  <a:moveTo>
                    <a:pt x="548043" y="266623"/>
                  </a:moveTo>
                  <a:lnTo>
                    <a:pt x="500367" y="270649"/>
                  </a:lnTo>
                  <a:lnTo>
                    <a:pt x="455841" y="282308"/>
                  </a:lnTo>
                  <a:lnTo>
                    <a:pt x="414616" y="300913"/>
                  </a:lnTo>
                  <a:lnTo>
                    <a:pt x="377342" y="325780"/>
                  </a:lnTo>
                  <a:lnTo>
                    <a:pt x="344728" y="356235"/>
                  </a:lnTo>
                  <a:lnTo>
                    <a:pt x="317411" y="391617"/>
                  </a:lnTo>
                  <a:lnTo>
                    <a:pt x="296087" y="431241"/>
                  </a:lnTo>
                  <a:lnTo>
                    <a:pt x="281419" y="474446"/>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54"/>
                  </a:lnTo>
                  <a:lnTo>
                    <a:pt x="529005" y="359689"/>
                  </a:lnTo>
                  <a:lnTo>
                    <a:pt x="542480" y="314604"/>
                  </a:lnTo>
                  <a:lnTo>
                    <a:pt x="548043" y="266623"/>
                  </a:lnTo>
                  <a:close/>
                </a:path>
                <a:path w="548640" h="786765">
                  <a:moveTo>
                    <a:pt x="548043" y="1079"/>
                  </a:moveTo>
                  <a:lnTo>
                    <a:pt x="500367" y="5118"/>
                  </a:lnTo>
                  <a:lnTo>
                    <a:pt x="455841" y="16764"/>
                  </a:lnTo>
                  <a:lnTo>
                    <a:pt x="414616" y="35369"/>
                  </a:lnTo>
                  <a:lnTo>
                    <a:pt x="377342" y="60236"/>
                  </a:lnTo>
                  <a:lnTo>
                    <a:pt x="344728" y="90703"/>
                  </a:lnTo>
                  <a:lnTo>
                    <a:pt x="317411" y="126085"/>
                  </a:lnTo>
                  <a:lnTo>
                    <a:pt x="296087" y="165722"/>
                  </a:lnTo>
                  <a:lnTo>
                    <a:pt x="281419" y="208915"/>
                  </a:lnTo>
                  <a:lnTo>
                    <a:pt x="274091" y="255003"/>
                  </a:lnTo>
                  <a:lnTo>
                    <a:pt x="266915" y="208724"/>
                  </a:lnTo>
                  <a:lnTo>
                    <a:pt x="252361" y="165354"/>
                  </a:lnTo>
                  <a:lnTo>
                    <a:pt x="231089"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80" y="49072"/>
                  </a:lnTo>
                  <a:lnTo>
                    <a:pt x="548043" y="1079"/>
                  </a:lnTo>
                  <a:close/>
                </a:path>
                <a:path w="548640" h="786765">
                  <a:moveTo>
                    <a:pt x="548081" y="520192"/>
                  </a:moveTo>
                  <a:lnTo>
                    <a:pt x="500367" y="524217"/>
                  </a:lnTo>
                  <a:lnTo>
                    <a:pt x="455841" y="535876"/>
                  </a:lnTo>
                  <a:lnTo>
                    <a:pt x="414616" y="554469"/>
                  </a:lnTo>
                  <a:lnTo>
                    <a:pt x="377342" y="579335"/>
                  </a:lnTo>
                  <a:lnTo>
                    <a:pt x="344716" y="609790"/>
                  </a:lnTo>
                  <a:lnTo>
                    <a:pt x="317398" y="645172"/>
                  </a:lnTo>
                  <a:lnTo>
                    <a:pt x="296075" y="684796"/>
                  </a:lnTo>
                  <a:lnTo>
                    <a:pt x="281419" y="727976"/>
                  </a:lnTo>
                  <a:lnTo>
                    <a:pt x="274078" y="774039"/>
                  </a:lnTo>
                  <a:lnTo>
                    <a:pt x="266915" y="727811"/>
                  </a:lnTo>
                  <a:lnTo>
                    <a:pt x="252361" y="684441"/>
                  </a:lnTo>
                  <a:lnTo>
                    <a:pt x="231089" y="644652"/>
                  </a:lnTo>
                  <a:lnTo>
                    <a:pt x="203796" y="609117"/>
                  </a:lnTo>
                  <a:lnTo>
                    <a:pt x="171157" y="578523"/>
                  </a:lnTo>
                  <a:lnTo>
                    <a:pt x="133845" y="553542"/>
                  </a:lnTo>
                  <a:lnTo>
                    <a:pt x="92532" y="534847"/>
                  </a:lnTo>
                  <a:lnTo>
                    <a:pt x="47904" y="523125"/>
                  </a:lnTo>
                  <a:lnTo>
                    <a:pt x="0" y="519061"/>
                  </a:lnTo>
                  <a:lnTo>
                    <a:pt x="5448" y="567258"/>
                  </a:lnTo>
                  <a:lnTo>
                    <a:pt x="18834" y="612508"/>
                  </a:lnTo>
                  <a:lnTo>
                    <a:pt x="39458" y="654138"/>
                  </a:lnTo>
                  <a:lnTo>
                    <a:pt x="66548" y="691388"/>
                  </a:lnTo>
                  <a:lnTo>
                    <a:pt x="67246" y="692073"/>
                  </a:lnTo>
                  <a:lnTo>
                    <a:pt x="99390" y="723544"/>
                  </a:lnTo>
                  <a:lnTo>
                    <a:pt x="137248" y="749858"/>
                  </a:lnTo>
                  <a:lnTo>
                    <a:pt x="179374" y="769594"/>
                  </a:lnTo>
                  <a:lnTo>
                    <a:pt x="225044" y="782015"/>
                  </a:lnTo>
                  <a:lnTo>
                    <a:pt x="273519" y="786396"/>
                  </a:lnTo>
                  <a:lnTo>
                    <a:pt x="274751" y="786396"/>
                  </a:lnTo>
                  <a:lnTo>
                    <a:pt x="323088" y="782027"/>
                  </a:lnTo>
                  <a:lnTo>
                    <a:pt x="368642" y="769670"/>
                  </a:lnTo>
                  <a:lnTo>
                    <a:pt x="410679" y="750023"/>
                  </a:lnTo>
                  <a:lnTo>
                    <a:pt x="448462" y="723823"/>
                  </a:lnTo>
                  <a:lnTo>
                    <a:pt x="481266" y="691819"/>
                  </a:lnTo>
                  <a:lnTo>
                    <a:pt x="508393" y="654697"/>
                  </a:lnTo>
                  <a:lnTo>
                    <a:pt x="529043" y="613244"/>
                  </a:lnTo>
                  <a:lnTo>
                    <a:pt x="542518" y="568172"/>
                  </a:lnTo>
                  <a:lnTo>
                    <a:pt x="548081" y="520192"/>
                  </a:lnTo>
                  <a:close/>
                </a:path>
              </a:pathLst>
            </a:custGeom>
            <a:solidFill>
              <a:srgbClr val="7ED3F1"/>
            </a:solidFill>
          </p:spPr>
          <p:txBody>
            <a:bodyPr wrap="square" lIns="0" tIns="0" rIns="0" bIns="0" rtlCol="0"/>
            <a:lstStyle/>
            <a:p>
              <a:endParaRPr dirty="0"/>
            </a:p>
          </p:txBody>
        </p:sp>
        <p:pic>
          <p:nvPicPr>
            <p:cNvPr id="186" name="object 56">
              <a:extLst>
                <a:ext uri="{FF2B5EF4-FFF2-40B4-BE49-F238E27FC236}">
                  <a16:creationId xmlns:a16="http://schemas.microsoft.com/office/drawing/2014/main" id="{D3B3D85B-80A8-123D-844D-8BF925BE44C6}"/>
                </a:ext>
              </a:extLst>
            </p:cNvPr>
            <p:cNvPicPr/>
            <p:nvPr/>
          </p:nvPicPr>
          <p:blipFill>
            <a:blip r:embed="rId6" cstate="print"/>
            <a:stretch>
              <a:fillRect/>
            </a:stretch>
          </p:blipFill>
          <p:spPr>
            <a:xfrm>
              <a:off x="7711331" y="5297596"/>
              <a:ext cx="106445" cy="107156"/>
            </a:xfrm>
            <a:prstGeom prst="rect">
              <a:avLst/>
            </a:prstGeom>
          </p:spPr>
        </p:pic>
        <p:sp>
          <p:nvSpPr>
            <p:cNvPr id="187" name="object 57">
              <a:extLst>
                <a:ext uri="{FF2B5EF4-FFF2-40B4-BE49-F238E27FC236}">
                  <a16:creationId xmlns:a16="http://schemas.microsoft.com/office/drawing/2014/main" id="{E561F993-A3F5-E0E4-437F-1094F4D8A732}"/>
                </a:ext>
              </a:extLst>
            </p:cNvPr>
            <p:cNvSpPr/>
            <p:nvPr/>
          </p:nvSpPr>
          <p:spPr>
            <a:xfrm>
              <a:off x="7598678" y="6691912"/>
              <a:ext cx="332700" cy="165965"/>
            </a:xfrm>
            <a:custGeom>
              <a:avLst/>
              <a:gdLst/>
              <a:ahLst/>
              <a:cxnLst/>
              <a:rect l="l" t="t" r="r" b="b"/>
              <a:pathLst>
                <a:path w="548640" h="273684">
                  <a:moveTo>
                    <a:pt x="62560" y="273431"/>
                  </a:moveTo>
                  <a:lnTo>
                    <a:pt x="47917" y="269595"/>
                  </a:lnTo>
                  <a:lnTo>
                    <a:pt x="0" y="265544"/>
                  </a:lnTo>
                  <a:lnTo>
                    <a:pt x="901" y="273431"/>
                  </a:lnTo>
                  <a:lnTo>
                    <a:pt x="62560" y="273431"/>
                  </a:lnTo>
                  <a:close/>
                </a:path>
                <a:path w="548640" h="273684">
                  <a:moveTo>
                    <a:pt x="548043" y="266623"/>
                  </a:moveTo>
                  <a:lnTo>
                    <a:pt x="500367" y="270649"/>
                  </a:lnTo>
                  <a:lnTo>
                    <a:pt x="489737" y="273431"/>
                  </a:lnTo>
                  <a:lnTo>
                    <a:pt x="547243" y="273431"/>
                  </a:lnTo>
                  <a:lnTo>
                    <a:pt x="548043" y="266623"/>
                  </a:lnTo>
                  <a:close/>
                </a:path>
                <a:path w="548640" h="273684">
                  <a:moveTo>
                    <a:pt x="548043" y="1079"/>
                  </a:moveTo>
                  <a:lnTo>
                    <a:pt x="500367" y="5118"/>
                  </a:lnTo>
                  <a:lnTo>
                    <a:pt x="455841" y="16776"/>
                  </a:lnTo>
                  <a:lnTo>
                    <a:pt x="414616" y="35382"/>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21"/>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57"/>
                  </a:lnTo>
                  <a:lnTo>
                    <a:pt x="542480" y="49072"/>
                  </a:lnTo>
                  <a:lnTo>
                    <a:pt x="548043" y="1079"/>
                  </a:lnTo>
                  <a:close/>
                </a:path>
              </a:pathLst>
            </a:custGeom>
            <a:solidFill>
              <a:srgbClr val="7ED3F1"/>
            </a:solidFill>
          </p:spPr>
          <p:txBody>
            <a:bodyPr wrap="square" lIns="0" tIns="0" rIns="0" bIns="0" rtlCol="0"/>
            <a:lstStyle/>
            <a:p>
              <a:endParaRPr dirty="0"/>
            </a:p>
          </p:txBody>
        </p:sp>
        <p:pic>
          <p:nvPicPr>
            <p:cNvPr id="188" name="object 58">
              <a:extLst>
                <a:ext uri="{FF2B5EF4-FFF2-40B4-BE49-F238E27FC236}">
                  <a16:creationId xmlns:a16="http://schemas.microsoft.com/office/drawing/2014/main" id="{DD1B5512-19CB-8197-10A4-E14F6972151B}"/>
                </a:ext>
              </a:extLst>
            </p:cNvPr>
            <p:cNvPicPr/>
            <p:nvPr/>
          </p:nvPicPr>
          <p:blipFill>
            <a:blip r:embed="rId6" cstate="print"/>
            <a:stretch>
              <a:fillRect/>
            </a:stretch>
          </p:blipFill>
          <p:spPr>
            <a:xfrm>
              <a:off x="7711331" y="6605926"/>
              <a:ext cx="106445" cy="107156"/>
            </a:xfrm>
            <a:prstGeom prst="rect">
              <a:avLst/>
            </a:prstGeom>
          </p:spPr>
        </p:pic>
        <p:sp>
          <p:nvSpPr>
            <p:cNvPr id="208" name="object 59">
              <a:extLst>
                <a:ext uri="{FF2B5EF4-FFF2-40B4-BE49-F238E27FC236}">
                  <a16:creationId xmlns:a16="http://schemas.microsoft.com/office/drawing/2014/main" id="{9AFAA8EF-51FE-C015-1A95-613B87BC1E7C}"/>
                </a:ext>
              </a:extLst>
            </p:cNvPr>
            <p:cNvSpPr/>
            <p:nvPr/>
          </p:nvSpPr>
          <p:spPr>
            <a:xfrm>
              <a:off x="7226300" y="6479532"/>
              <a:ext cx="319992" cy="316141"/>
            </a:xfrm>
            <a:custGeom>
              <a:avLst/>
              <a:gdLst/>
              <a:ahLst/>
              <a:cxnLst/>
              <a:rect l="l" t="t" r="r" b="b"/>
              <a:pathLst>
                <a:path w="527684" h="521334">
                  <a:moveTo>
                    <a:pt x="527126" y="520852"/>
                  </a:moveTo>
                  <a:lnTo>
                    <a:pt x="521677" y="472694"/>
                  </a:lnTo>
                  <a:lnTo>
                    <a:pt x="508279" y="427431"/>
                  </a:lnTo>
                  <a:lnTo>
                    <a:pt x="487667" y="385800"/>
                  </a:lnTo>
                  <a:lnTo>
                    <a:pt x="460578" y="348551"/>
                  </a:lnTo>
                  <a:lnTo>
                    <a:pt x="427736" y="316395"/>
                  </a:lnTo>
                  <a:lnTo>
                    <a:pt x="389877" y="290093"/>
                  </a:lnTo>
                  <a:lnTo>
                    <a:pt x="347751" y="270357"/>
                  </a:lnTo>
                  <a:lnTo>
                    <a:pt x="302082" y="257924"/>
                  </a:lnTo>
                  <a:lnTo>
                    <a:pt x="253606" y="253555"/>
                  </a:lnTo>
                  <a:lnTo>
                    <a:pt x="252387" y="253555"/>
                  </a:lnTo>
                  <a:lnTo>
                    <a:pt x="204038" y="257911"/>
                  </a:lnTo>
                  <a:lnTo>
                    <a:pt x="158483" y="270281"/>
                  </a:lnTo>
                  <a:lnTo>
                    <a:pt x="116446" y="289915"/>
                  </a:lnTo>
                  <a:lnTo>
                    <a:pt x="78663" y="316115"/>
                  </a:lnTo>
                  <a:lnTo>
                    <a:pt x="45859" y="348132"/>
                  </a:lnTo>
                  <a:lnTo>
                    <a:pt x="18770" y="385229"/>
                  </a:lnTo>
                  <a:lnTo>
                    <a:pt x="0" y="422922"/>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27"/>
                  </a:lnTo>
                  <a:lnTo>
                    <a:pt x="274777" y="355498"/>
                  </a:lnTo>
                  <a:lnTo>
                    <a:pt x="296037" y="395300"/>
                  </a:lnTo>
                  <a:lnTo>
                    <a:pt x="323329" y="430834"/>
                  </a:lnTo>
                  <a:lnTo>
                    <a:pt x="355968" y="461429"/>
                  </a:lnTo>
                  <a:lnTo>
                    <a:pt x="393293" y="486410"/>
                  </a:lnTo>
                  <a:lnTo>
                    <a:pt x="434594" y="505091"/>
                  </a:lnTo>
                  <a:lnTo>
                    <a:pt x="479209" y="516801"/>
                  </a:lnTo>
                  <a:lnTo>
                    <a:pt x="527126" y="520852"/>
                  </a:lnTo>
                  <a:close/>
                </a:path>
                <a:path w="527684" h="521334">
                  <a:moveTo>
                    <a:pt x="527138" y="267322"/>
                  </a:moveTo>
                  <a:lnTo>
                    <a:pt x="521690" y="219138"/>
                  </a:lnTo>
                  <a:lnTo>
                    <a:pt x="508292" y="173875"/>
                  </a:lnTo>
                  <a:lnTo>
                    <a:pt x="487680" y="132245"/>
                  </a:lnTo>
                  <a:lnTo>
                    <a:pt x="460578" y="94996"/>
                  </a:lnTo>
                  <a:lnTo>
                    <a:pt x="427736" y="62839"/>
                  </a:lnTo>
                  <a:lnTo>
                    <a:pt x="389890" y="36537"/>
                  </a:lnTo>
                  <a:lnTo>
                    <a:pt x="347764" y="16814"/>
                  </a:lnTo>
                  <a:lnTo>
                    <a:pt x="302082" y="4368"/>
                  </a:lnTo>
                  <a:lnTo>
                    <a:pt x="253619" y="12"/>
                  </a:lnTo>
                  <a:lnTo>
                    <a:pt x="252387" y="0"/>
                  </a:lnTo>
                  <a:lnTo>
                    <a:pt x="204038" y="4356"/>
                  </a:lnTo>
                  <a:lnTo>
                    <a:pt x="158483" y="16713"/>
                  </a:lnTo>
                  <a:lnTo>
                    <a:pt x="116446" y="36360"/>
                  </a:lnTo>
                  <a:lnTo>
                    <a:pt x="78663" y="62560"/>
                  </a:lnTo>
                  <a:lnTo>
                    <a:pt x="45859" y="94576"/>
                  </a:lnTo>
                  <a:lnTo>
                    <a:pt x="18745" y="131686"/>
                  </a:lnTo>
                  <a:lnTo>
                    <a:pt x="0" y="169291"/>
                  </a:lnTo>
                  <a:lnTo>
                    <a:pt x="0" y="264439"/>
                  </a:lnTo>
                  <a:lnTo>
                    <a:pt x="26758" y="262178"/>
                  </a:lnTo>
                  <a:lnTo>
                    <a:pt x="71285" y="250520"/>
                  </a:lnTo>
                  <a:lnTo>
                    <a:pt x="112522" y="231914"/>
                  </a:lnTo>
                  <a:lnTo>
                    <a:pt x="149783" y="207048"/>
                  </a:lnTo>
                  <a:lnTo>
                    <a:pt x="182410" y="176593"/>
                  </a:lnTo>
                  <a:lnTo>
                    <a:pt x="209727" y="141211"/>
                  </a:lnTo>
                  <a:lnTo>
                    <a:pt x="231051" y="101600"/>
                  </a:lnTo>
                  <a:lnTo>
                    <a:pt x="245719" y="58407"/>
                  </a:lnTo>
                  <a:lnTo>
                    <a:pt x="253034" y="12357"/>
                  </a:lnTo>
                  <a:lnTo>
                    <a:pt x="260210" y="58572"/>
                  </a:lnTo>
                  <a:lnTo>
                    <a:pt x="274777" y="101942"/>
                  </a:lnTo>
                  <a:lnTo>
                    <a:pt x="296037" y="141744"/>
                  </a:lnTo>
                  <a:lnTo>
                    <a:pt x="323329" y="177279"/>
                  </a:lnTo>
                  <a:lnTo>
                    <a:pt x="355968" y="207873"/>
                  </a:lnTo>
                  <a:lnTo>
                    <a:pt x="393293" y="232854"/>
                  </a:lnTo>
                  <a:lnTo>
                    <a:pt x="434606" y="251548"/>
                  </a:lnTo>
                  <a:lnTo>
                    <a:pt x="479221" y="263258"/>
                  </a:lnTo>
                  <a:lnTo>
                    <a:pt x="527138" y="267322"/>
                  </a:lnTo>
                  <a:close/>
                </a:path>
              </a:pathLst>
            </a:custGeom>
            <a:solidFill>
              <a:srgbClr val="2DB7EA"/>
            </a:solidFill>
          </p:spPr>
          <p:txBody>
            <a:bodyPr wrap="square" lIns="0" tIns="0" rIns="0" bIns="0" rtlCol="0"/>
            <a:lstStyle/>
            <a:p>
              <a:endParaRPr dirty="0"/>
            </a:p>
          </p:txBody>
        </p:sp>
        <p:pic>
          <p:nvPicPr>
            <p:cNvPr id="209" name="object 60">
              <a:extLst>
                <a:ext uri="{FF2B5EF4-FFF2-40B4-BE49-F238E27FC236}">
                  <a16:creationId xmlns:a16="http://schemas.microsoft.com/office/drawing/2014/main" id="{CCE2B985-779F-F36E-8257-A93D142A1258}"/>
                </a:ext>
              </a:extLst>
            </p:cNvPr>
            <p:cNvPicPr/>
            <p:nvPr/>
          </p:nvPicPr>
          <p:blipFill>
            <a:blip r:embed="rId18" cstate="print"/>
            <a:stretch>
              <a:fillRect/>
            </a:stretch>
          </p:blipFill>
          <p:spPr>
            <a:xfrm>
              <a:off x="7249688" y="6794307"/>
              <a:ext cx="260137" cy="63416"/>
            </a:xfrm>
            <a:prstGeom prst="rect">
              <a:avLst/>
            </a:prstGeom>
          </p:spPr>
        </p:pic>
        <p:sp>
          <p:nvSpPr>
            <p:cNvPr id="210" name="object 61">
              <a:extLst>
                <a:ext uri="{FF2B5EF4-FFF2-40B4-BE49-F238E27FC236}">
                  <a16:creationId xmlns:a16="http://schemas.microsoft.com/office/drawing/2014/main" id="{FB405E77-C5E6-4105-229B-55866B4C43CF}"/>
                </a:ext>
              </a:extLst>
            </p:cNvPr>
            <p:cNvSpPr/>
            <p:nvPr/>
          </p:nvSpPr>
          <p:spPr>
            <a:xfrm>
              <a:off x="7226300" y="5171198"/>
              <a:ext cx="319992" cy="477101"/>
            </a:xfrm>
            <a:custGeom>
              <a:avLst/>
              <a:gdLst/>
              <a:ahLst/>
              <a:cxnLst/>
              <a:rect l="l" t="t" r="r" b="b"/>
              <a:pathLst>
                <a:path w="527684" h="786765">
                  <a:moveTo>
                    <a:pt x="527126" y="786396"/>
                  </a:moveTo>
                  <a:lnTo>
                    <a:pt x="521677" y="738225"/>
                  </a:lnTo>
                  <a:lnTo>
                    <a:pt x="508279" y="692975"/>
                  </a:lnTo>
                  <a:lnTo>
                    <a:pt x="487667" y="651344"/>
                  </a:lnTo>
                  <a:lnTo>
                    <a:pt x="460578" y="614083"/>
                  </a:lnTo>
                  <a:lnTo>
                    <a:pt x="427736" y="581939"/>
                  </a:lnTo>
                  <a:lnTo>
                    <a:pt x="389877" y="555625"/>
                  </a:lnTo>
                  <a:lnTo>
                    <a:pt x="347751" y="535889"/>
                  </a:lnTo>
                  <a:lnTo>
                    <a:pt x="302082" y="523468"/>
                  </a:lnTo>
                  <a:lnTo>
                    <a:pt x="253606" y="519087"/>
                  </a:lnTo>
                  <a:lnTo>
                    <a:pt x="252387" y="519087"/>
                  </a:lnTo>
                  <a:lnTo>
                    <a:pt x="204038" y="523455"/>
                  </a:lnTo>
                  <a:lnTo>
                    <a:pt x="158483" y="535813"/>
                  </a:lnTo>
                  <a:lnTo>
                    <a:pt x="116446" y="555459"/>
                  </a:lnTo>
                  <a:lnTo>
                    <a:pt x="78663" y="581660"/>
                  </a:lnTo>
                  <a:lnTo>
                    <a:pt x="45859" y="613676"/>
                  </a:lnTo>
                  <a:lnTo>
                    <a:pt x="18770" y="650773"/>
                  </a:lnTo>
                  <a:lnTo>
                    <a:pt x="0" y="688467"/>
                  </a:lnTo>
                  <a:lnTo>
                    <a:pt x="0" y="783564"/>
                  </a:lnTo>
                  <a:lnTo>
                    <a:pt x="71285" y="769620"/>
                  </a:lnTo>
                  <a:lnTo>
                    <a:pt x="112522" y="751027"/>
                  </a:lnTo>
                  <a:lnTo>
                    <a:pt x="149783" y="726147"/>
                  </a:lnTo>
                  <a:lnTo>
                    <a:pt x="182410" y="695680"/>
                  </a:lnTo>
                  <a:lnTo>
                    <a:pt x="209715" y="660298"/>
                  </a:lnTo>
                  <a:lnTo>
                    <a:pt x="231038" y="620674"/>
                  </a:lnTo>
                  <a:lnTo>
                    <a:pt x="245706" y="577481"/>
                  </a:lnTo>
                  <a:lnTo>
                    <a:pt x="253034" y="531393"/>
                  </a:lnTo>
                  <a:lnTo>
                    <a:pt x="260210" y="577672"/>
                  </a:lnTo>
                  <a:lnTo>
                    <a:pt x="274777" y="621042"/>
                  </a:lnTo>
                  <a:lnTo>
                    <a:pt x="296037" y="660831"/>
                  </a:lnTo>
                  <a:lnTo>
                    <a:pt x="323329" y="696366"/>
                  </a:lnTo>
                  <a:lnTo>
                    <a:pt x="355968" y="726960"/>
                  </a:lnTo>
                  <a:lnTo>
                    <a:pt x="393293" y="751941"/>
                  </a:lnTo>
                  <a:lnTo>
                    <a:pt x="434594" y="770623"/>
                  </a:lnTo>
                  <a:lnTo>
                    <a:pt x="479209" y="782332"/>
                  </a:lnTo>
                  <a:lnTo>
                    <a:pt x="527126" y="786396"/>
                  </a:lnTo>
                  <a:close/>
                </a:path>
                <a:path w="527684" h="786765">
                  <a:moveTo>
                    <a:pt x="527126" y="520865"/>
                  </a:moveTo>
                  <a:lnTo>
                    <a:pt x="521677" y="472706"/>
                  </a:lnTo>
                  <a:lnTo>
                    <a:pt x="508279" y="427443"/>
                  </a:lnTo>
                  <a:lnTo>
                    <a:pt x="487667" y="385813"/>
                  </a:lnTo>
                  <a:lnTo>
                    <a:pt x="460578" y="348551"/>
                  </a:lnTo>
                  <a:lnTo>
                    <a:pt x="427736" y="316407"/>
                  </a:lnTo>
                  <a:lnTo>
                    <a:pt x="389877" y="290093"/>
                  </a:lnTo>
                  <a:lnTo>
                    <a:pt x="347751" y="270357"/>
                  </a:lnTo>
                  <a:lnTo>
                    <a:pt x="302082" y="257937"/>
                  </a:lnTo>
                  <a:lnTo>
                    <a:pt x="253606" y="253568"/>
                  </a:lnTo>
                  <a:lnTo>
                    <a:pt x="252387" y="253568"/>
                  </a:lnTo>
                  <a:lnTo>
                    <a:pt x="204038" y="257924"/>
                  </a:lnTo>
                  <a:lnTo>
                    <a:pt x="158483" y="270281"/>
                  </a:lnTo>
                  <a:lnTo>
                    <a:pt x="116446" y="289928"/>
                  </a:lnTo>
                  <a:lnTo>
                    <a:pt x="78663" y="316128"/>
                  </a:lnTo>
                  <a:lnTo>
                    <a:pt x="45859" y="348132"/>
                  </a:lnTo>
                  <a:lnTo>
                    <a:pt x="18770" y="385241"/>
                  </a:lnTo>
                  <a:lnTo>
                    <a:pt x="0" y="422922"/>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40"/>
                  </a:lnTo>
                  <a:lnTo>
                    <a:pt x="274777" y="355511"/>
                  </a:lnTo>
                  <a:lnTo>
                    <a:pt x="296037" y="395300"/>
                  </a:lnTo>
                  <a:lnTo>
                    <a:pt x="323329" y="430834"/>
                  </a:lnTo>
                  <a:lnTo>
                    <a:pt x="355968" y="461441"/>
                  </a:lnTo>
                  <a:lnTo>
                    <a:pt x="393293" y="486410"/>
                  </a:lnTo>
                  <a:lnTo>
                    <a:pt x="434594" y="505104"/>
                  </a:lnTo>
                  <a:lnTo>
                    <a:pt x="479209" y="516813"/>
                  </a:lnTo>
                  <a:lnTo>
                    <a:pt x="527126" y="520865"/>
                  </a:lnTo>
                  <a:close/>
                </a:path>
                <a:path w="527684" h="786765">
                  <a:moveTo>
                    <a:pt x="527138" y="267322"/>
                  </a:moveTo>
                  <a:lnTo>
                    <a:pt x="521690" y="219151"/>
                  </a:lnTo>
                  <a:lnTo>
                    <a:pt x="508292" y="173875"/>
                  </a:lnTo>
                  <a:lnTo>
                    <a:pt x="487680" y="132245"/>
                  </a:lnTo>
                  <a:lnTo>
                    <a:pt x="460578" y="94996"/>
                  </a:lnTo>
                  <a:lnTo>
                    <a:pt x="427736" y="62852"/>
                  </a:lnTo>
                  <a:lnTo>
                    <a:pt x="405396" y="47332"/>
                  </a:lnTo>
                  <a:lnTo>
                    <a:pt x="389890" y="36537"/>
                  </a:lnTo>
                  <a:lnTo>
                    <a:pt x="370154" y="27305"/>
                  </a:lnTo>
                  <a:lnTo>
                    <a:pt x="347764" y="16814"/>
                  </a:lnTo>
                  <a:lnTo>
                    <a:pt x="302094" y="4394"/>
                  </a:lnTo>
                  <a:lnTo>
                    <a:pt x="253619" y="12"/>
                  </a:lnTo>
                  <a:lnTo>
                    <a:pt x="252387" y="0"/>
                  </a:lnTo>
                  <a:lnTo>
                    <a:pt x="204038" y="4356"/>
                  </a:lnTo>
                  <a:lnTo>
                    <a:pt x="158483" y="16725"/>
                  </a:lnTo>
                  <a:lnTo>
                    <a:pt x="116446" y="36372"/>
                  </a:lnTo>
                  <a:lnTo>
                    <a:pt x="78663" y="62560"/>
                  </a:lnTo>
                  <a:lnTo>
                    <a:pt x="45859" y="94576"/>
                  </a:lnTo>
                  <a:lnTo>
                    <a:pt x="18745" y="131686"/>
                  </a:lnTo>
                  <a:lnTo>
                    <a:pt x="0" y="169291"/>
                  </a:lnTo>
                  <a:lnTo>
                    <a:pt x="0" y="264439"/>
                  </a:lnTo>
                  <a:lnTo>
                    <a:pt x="26758" y="262178"/>
                  </a:lnTo>
                  <a:lnTo>
                    <a:pt x="71285" y="250520"/>
                  </a:lnTo>
                  <a:lnTo>
                    <a:pt x="112522" y="231927"/>
                  </a:lnTo>
                  <a:lnTo>
                    <a:pt x="149783" y="207048"/>
                  </a:lnTo>
                  <a:lnTo>
                    <a:pt x="182410" y="176593"/>
                  </a:lnTo>
                  <a:lnTo>
                    <a:pt x="209727" y="141211"/>
                  </a:lnTo>
                  <a:lnTo>
                    <a:pt x="231051" y="101600"/>
                  </a:lnTo>
                  <a:lnTo>
                    <a:pt x="245719" y="58407"/>
                  </a:lnTo>
                  <a:lnTo>
                    <a:pt x="253034" y="12357"/>
                  </a:lnTo>
                  <a:lnTo>
                    <a:pt x="260210" y="58572"/>
                  </a:lnTo>
                  <a:lnTo>
                    <a:pt x="274777" y="101942"/>
                  </a:lnTo>
                  <a:lnTo>
                    <a:pt x="296037" y="141744"/>
                  </a:lnTo>
                  <a:lnTo>
                    <a:pt x="323329" y="177279"/>
                  </a:lnTo>
                  <a:lnTo>
                    <a:pt x="355968" y="207873"/>
                  </a:lnTo>
                  <a:lnTo>
                    <a:pt x="393293" y="232867"/>
                  </a:lnTo>
                  <a:lnTo>
                    <a:pt x="434606" y="251548"/>
                  </a:lnTo>
                  <a:lnTo>
                    <a:pt x="479221" y="263258"/>
                  </a:lnTo>
                  <a:lnTo>
                    <a:pt x="527138" y="267322"/>
                  </a:lnTo>
                  <a:close/>
                </a:path>
              </a:pathLst>
            </a:custGeom>
            <a:solidFill>
              <a:srgbClr val="2DB7EA"/>
            </a:solidFill>
          </p:spPr>
          <p:txBody>
            <a:bodyPr wrap="square" lIns="0" tIns="0" rIns="0" bIns="0" rtlCol="0"/>
            <a:lstStyle/>
            <a:p>
              <a:endParaRPr dirty="0"/>
            </a:p>
          </p:txBody>
        </p:sp>
        <p:pic>
          <p:nvPicPr>
            <p:cNvPr id="211" name="object 62">
              <a:extLst>
                <a:ext uri="{FF2B5EF4-FFF2-40B4-BE49-F238E27FC236}">
                  <a16:creationId xmlns:a16="http://schemas.microsoft.com/office/drawing/2014/main" id="{17A1BB00-7536-93B1-24F1-459EB1DD78E9}"/>
                </a:ext>
              </a:extLst>
            </p:cNvPr>
            <p:cNvPicPr/>
            <p:nvPr/>
          </p:nvPicPr>
          <p:blipFill>
            <a:blip r:embed="rId16" cstate="print"/>
            <a:stretch>
              <a:fillRect/>
            </a:stretch>
          </p:blipFill>
          <p:spPr>
            <a:xfrm>
              <a:off x="7326865" y="5626898"/>
              <a:ext cx="106445" cy="107156"/>
            </a:xfrm>
            <a:prstGeom prst="rect">
              <a:avLst/>
            </a:prstGeom>
          </p:spPr>
        </p:pic>
        <p:sp>
          <p:nvSpPr>
            <p:cNvPr id="212" name="object 63">
              <a:extLst>
                <a:ext uri="{FF2B5EF4-FFF2-40B4-BE49-F238E27FC236}">
                  <a16:creationId xmlns:a16="http://schemas.microsoft.com/office/drawing/2014/main" id="{D0B1CC57-EB71-8E75-EDB1-D8CE25954B4E}"/>
                </a:ext>
              </a:extLst>
            </p:cNvPr>
            <p:cNvSpPr/>
            <p:nvPr/>
          </p:nvSpPr>
          <p:spPr>
            <a:xfrm>
              <a:off x="7226300" y="5825360"/>
              <a:ext cx="319992" cy="477101"/>
            </a:xfrm>
            <a:custGeom>
              <a:avLst/>
              <a:gdLst/>
              <a:ahLst/>
              <a:cxnLst/>
              <a:rect l="l" t="t" r="r" b="b"/>
              <a:pathLst>
                <a:path w="527684" h="786765">
                  <a:moveTo>
                    <a:pt x="527126" y="786396"/>
                  </a:moveTo>
                  <a:lnTo>
                    <a:pt x="521677" y="738238"/>
                  </a:lnTo>
                  <a:lnTo>
                    <a:pt x="508279" y="692975"/>
                  </a:lnTo>
                  <a:lnTo>
                    <a:pt x="487667" y="651344"/>
                  </a:lnTo>
                  <a:lnTo>
                    <a:pt x="460578" y="614095"/>
                  </a:lnTo>
                  <a:lnTo>
                    <a:pt x="427736" y="581939"/>
                  </a:lnTo>
                  <a:lnTo>
                    <a:pt x="389877" y="555637"/>
                  </a:lnTo>
                  <a:lnTo>
                    <a:pt x="347751" y="535901"/>
                  </a:lnTo>
                  <a:lnTo>
                    <a:pt x="302082" y="523481"/>
                  </a:lnTo>
                  <a:lnTo>
                    <a:pt x="253606" y="519099"/>
                  </a:lnTo>
                  <a:lnTo>
                    <a:pt x="252387" y="519099"/>
                  </a:lnTo>
                  <a:lnTo>
                    <a:pt x="204038" y="523455"/>
                  </a:lnTo>
                  <a:lnTo>
                    <a:pt x="158483" y="535825"/>
                  </a:lnTo>
                  <a:lnTo>
                    <a:pt x="116446" y="555472"/>
                  </a:lnTo>
                  <a:lnTo>
                    <a:pt x="78663" y="581660"/>
                  </a:lnTo>
                  <a:lnTo>
                    <a:pt x="45859" y="613676"/>
                  </a:lnTo>
                  <a:lnTo>
                    <a:pt x="18770" y="650773"/>
                  </a:lnTo>
                  <a:lnTo>
                    <a:pt x="0" y="688467"/>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72"/>
                  </a:lnTo>
                  <a:lnTo>
                    <a:pt x="274777" y="621042"/>
                  </a:lnTo>
                  <a:lnTo>
                    <a:pt x="296037" y="660831"/>
                  </a:lnTo>
                  <a:lnTo>
                    <a:pt x="323329" y="696366"/>
                  </a:lnTo>
                  <a:lnTo>
                    <a:pt x="355968" y="726973"/>
                  </a:lnTo>
                  <a:lnTo>
                    <a:pt x="393293" y="751954"/>
                  </a:lnTo>
                  <a:lnTo>
                    <a:pt x="434594" y="770636"/>
                  </a:lnTo>
                  <a:lnTo>
                    <a:pt x="479209" y="782345"/>
                  </a:lnTo>
                  <a:lnTo>
                    <a:pt x="527126" y="786396"/>
                  </a:lnTo>
                  <a:close/>
                </a:path>
                <a:path w="527684" h="786765">
                  <a:moveTo>
                    <a:pt x="527126" y="520865"/>
                  </a:moveTo>
                  <a:lnTo>
                    <a:pt x="521677" y="472706"/>
                  </a:lnTo>
                  <a:lnTo>
                    <a:pt x="508279" y="427443"/>
                  </a:lnTo>
                  <a:lnTo>
                    <a:pt x="487667" y="385813"/>
                  </a:lnTo>
                  <a:lnTo>
                    <a:pt x="460578" y="348564"/>
                  </a:lnTo>
                  <a:lnTo>
                    <a:pt x="427736" y="316407"/>
                  </a:lnTo>
                  <a:lnTo>
                    <a:pt x="389877" y="290093"/>
                  </a:lnTo>
                  <a:lnTo>
                    <a:pt x="347751" y="270370"/>
                  </a:lnTo>
                  <a:lnTo>
                    <a:pt x="302082" y="257937"/>
                  </a:lnTo>
                  <a:lnTo>
                    <a:pt x="253606" y="253555"/>
                  </a:lnTo>
                  <a:lnTo>
                    <a:pt x="252387" y="253555"/>
                  </a:lnTo>
                  <a:lnTo>
                    <a:pt x="204038" y="257924"/>
                  </a:lnTo>
                  <a:lnTo>
                    <a:pt x="158483" y="270294"/>
                  </a:lnTo>
                  <a:lnTo>
                    <a:pt x="116446" y="289928"/>
                  </a:lnTo>
                  <a:lnTo>
                    <a:pt x="78663" y="316128"/>
                  </a:lnTo>
                  <a:lnTo>
                    <a:pt x="45859" y="348145"/>
                  </a:lnTo>
                  <a:lnTo>
                    <a:pt x="18770" y="385241"/>
                  </a:lnTo>
                  <a:lnTo>
                    <a:pt x="0" y="422935"/>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40"/>
                  </a:lnTo>
                  <a:lnTo>
                    <a:pt x="274777" y="355511"/>
                  </a:lnTo>
                  <a:lnTo>
                    <a:pt x="296037" y="395300"/>
                  </a:lnTo>
                  <a:lnTo>
                    <a:pt x="323329" y="430834"/>
                  </a:lnTo>
                  <a:lnTo>
                    <a:pt x="355968" y="461441"/>
                  </a:lnTo>
                  <a:lnTo>
                    <a:pt x="393293" y="486410"/>
                  </a:lnTo>
                  <a:lnTo>
                    <a:pt x="434594" y="505104"/>
                  </a:lnTo>
                  <a:lnTo>
                    <a:pt x="479209" y="516813"/>
                  </a:lnTo>
                  <a:lnTo>
                    <a:pt x="527126" y="520865"/>
                  </a:lnTo>
                  <a:close/>
                </a:path>
                <a:path w="527684" h="786765">
                  <a:moveTo>
                    <a:pt x="527138" y="267322"/>
                  </a:moveTo>
                  <a:lnTo>
                    <a:pt x="521690" y="219151"/>
                  </a:lnTo>
                  <a:lnTo>
                    <a:pt x="508292" y="173888"/>
                  </a:lnTo>
                  <a:lnTo>
                    <a:pt x="487680" y="132257"/>
                  </a:lnTo>
                  <a:lnTo>
                    <a:pt x="460578" y="94996"/>
                  </a:lnTo>
                  <a:lnTo>
                    <a:pt x="427736" y="62852"/>
                  </a:lnTo>
                  <a:lnTo>
                    <a:pt x="389890" y="36550"/>
                  </a:lnTo>
                  <a:lnTo>
                    <a:pt x="347764" y="16814"/>
                  </a:lnTo>
                  <a:lnTo>
                    <a:pt x="302094" y="4394"/>
                  </a:lnTo>
                  <a:lnTo>
                    <a:pt x="253606" y="0"/>
                  </a:lnTo>
                  <a:lnTo>
                    <a:pt x="252387" y="0"/>
                  </a:lnTo>
                  <a:lnTo>
                    <a:pt x="204038" y="4356"/>
                  </a:lnTo>
                  <a:lnTo>
                    <a:pt x="158483" y="16725"/>
                  </a:lnTo>
                  <a:lnTo>
                    <a:pt x="116446" y="36372"/>
                  </a:lnTo>
                  <a:lnTo>
                    <a:pt x="78663" y="62572"/>
                  </a:lnTo>
                  <a:lnTo>
                    <a:pt x="45859" y="94576"/>
                  </a:lnTo>
                  <a:lnTo>
                    <a:pt x="18745" y="131686"/>
                  </a:lnTo>
                  <a:lnTo>
                    <a:pt x="0" y="169303"/>
                  </a:lnTo>
                  <a:lnTo>
                    <a:pt x="0" y="264452"/>
                  </a:lnTo>
                  <a:lnTo>
                    <a:pt x="26758" y="262178"/>
                  </a:lnTo>
                  <a:lnTo>
                    <a:pt x="71285" y="250532"/>
                  </a:lnTo>
                  <a:lnTo>
                    <a:pt x="112522" y="231927"/>
                  </a:lnTo>
                  <a:lnTo>
                    <a:pt x="149783" y="207060"/>
                  </a:lnTo>
                  <a:lnTo>
                    <a:pt x="182410" y="176593"/>
                  </a:lnTo>
                  <a:lnTo>
                    <a:pt x="209727" y="141224"/>
                  </a:lnTo>
                  <a:lnTo>
                    <a:pt x="231051" y="101600"/>
                  </a:lnTo>
                  <a:lnTo>
                    <a:pt x="245719" y="58407"/>
                  </a:lnTo>
                  <a:lnTo>
                    <a:pt x="253034" y="12369"/>
                  </a:lnTo>
                  <a:lnTo>
                    <a:pt x="260210" y="58585"/>
                  </a:lnTo>
                  <a:lnTo>
                    <a:pt x="274777" y="101955"/>
                  </a:lnTo>
                  <a:lnTo>
                    <a:pt x="296037" y="141744"/>
                  </a:lnTo>
                  <a:lnTo>
                    <a:pt x="323329" y="177279"/>
                  </a:lnTo>
                  <a:lnTo>
                    <a:pt x="355981" y="207886"/>
                  </a:lnTo>
                  <a:lnTo>
                    <a:pt x="393293" y="232867"/>
                  </a:lnTo>
                  <a:lnTo>
                    <a:pt x="434606" y="251561"/>
                  </a:lnTo>
                  <a:lnTo>
                    <a:pt x="479221" y="263271"/>
                  </a:lnTo>
                  <a:lnTo>
                    <a:pt x="527138" y="267322"/>
                  </a:lnTo>
                  <a:close/>
                </a:path>
              </a:pathLst>
            </a:custGeom>
            <a:solidFill>
              <a:srgbClr val="7ED3F1"/>
            </a:solidFill>
          </p:spPr>
          <p:txBody>
            <a:bodyPr wrap="square" lIns="0" tIns="0" rIns="0" bIns="0" rtlCol="0"/>
            <a:lstStyle/>
            <a:p>
              <a:endParaRPr dirty="0"/>
            </a:p>
          </p:txBody>
        </p:sp>
        <p:pic>
          <p:nvPicPr>
            <p:cNvPr id="213" name="object 64">
              <a:extLst>
                <a:ext uri="{FF2B5EF4-FFF2-40B4-BE49-F238E27FC236}">
                  <a16:creationId xmlns:a16="http://schemas.microsoft.com/office/drawing/2014/main" id="{32FB6EB0-09E0-D5D3-FC37-8F0FA85AAB09}"/>
                </a:ext>
              </a:extLst>
            </p:cNvPr>
            <p:cNvPicPr/>
            <p:nvPr/>
          </p:nvPicPr>
          <p:blipFill>
            <a:blip r:embed="rId17" cstate="print"/>
            <a:stretch>
              <a:fillRect/>
            </a:stretch>
          </p:blipFill>
          <p:spPr>
            <a:xfrm>
              <a:off x="7326865" y="6281064"/>
              <a:ext cx="106445" cy="107156"/>
            </a:xfrm>
            <a:prstGeom prst="rect">
              <a:avLst/>
            </a:prstGeom>
          </p:spPr>
        </p:pic>
        <p:sp>
          <p:nvSpPr>
            <p:cNvPr id="214" name="object 65">
              <a:extLst>
                <a:ext uri="{FF2B5EF4-FFF2-40B4-BE49-F238E27FC236}">
                  <a16:creationId xmlns:a16="http://schemas.microsoft.com/office/drawing/2014/main" id="{CE13D988-FA9B-0E3D-049A-A70EC0F013A6}"/>
                </a:ext>
              </a:extLst>
            </p:cNvPr>
            <p:cNvSpPr/>
            <p:nvPr/>
          </p:nvSpPr>
          <p:spPr>
            <a:xfrm>
              <a:off x="8368808" y="6037749"/>
              <a:ext cx="332700" cy="477101"/>
            </a:xfrm>
            <a:custGeom>
              <a:avLst/>
              <a:gdLst/>
              <a:ahLst/>
              <a:cxnLst/>
              <a:rect l="l" t="t" r="r" b="b"/>
              <a:pathLst>
                <a:path w="548640" h="786765">
                  <a:moveTo>
                    <a:pt x="548043" y="266611"/>
                  </a:moveTo>
                  <a:lnTo>
                    <a:pt x="500367" y="270649"/>
                  </a:lnTo>
                  <a:lnTo>
                    <a:pt x="455841" y="282308"/>
                  </a:lnTo>
                  <a:lnTo>
                    <a:pt x="414616" y="300901"/>
                  </a:lnTo>
                  <a:lnTo>
                    <a:pt x="377342" y="325780"/>
                  </a:lnTo>
                  <a:lnTo>
                    <a:pt x="344716" y="356235"/>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86"/>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26"/>
                  </a:lnTo>
                  <a:lnTo>
                    <a:pt x="225044" y="528459"/>
                  </a:lnTo>
                  <a:lnTo>
                    <a:pt x="273519" y="532841"/>
                  </a:lnTo>
                  <a:lnTo>
                    <a:pt x="274751" y="532841"/>
                  </a:lnTo>
                  <a:lnTo>
                    <a:pt x="323088" y="528472"/>
                  </a:lnTo>
                  <a:lnTo>
                    <a:pt x="368642" y="516102"/>
                  </a:lnTo>
                  <a:lnTo>
                    <a:pt x="410679" y="496468"/>
                  </a:lnTo>
                  <a:lnTo>
                    <a:pt x="448462" y="470268"/>
                  </a:lnTo>
                  <a:lnTo>
                    <a:pt x="481266" y="438251"/>
                  </a:lnTo>
                  <a:lnTo>
                    <a:pt x="508355" y="401154"/>
                  </a:lnTo>
                  <a:lnTo>
                    <a:pt x="529005" y="359689"/>
                  </a:lnTo>
                  <a:lnTo>
                    <a:pt x="542467" y="314604"/>
                  </a:lnTo>
                  <a:lnTo>
                    <a:pt x="548043" y="266611"/>
                  </a:lnTo>
                  <a:close/>
                </a:path>
                <a:path w="548640" h="786765">
                  <a:moveTo>
                    <a:pt x="548043" y="1092"/>
                  </a:moveTo>
                  <a:lnTo>
                    <a:pt x="500367" y="5130"/>
                  </a:lnTo>
                  <a:lnTo>
                    <a:pt x="455841" y="16789"/>
                  </a:lnTo>
                  <a:lnTo>
                    <a:pt x="414616" y="35382"/>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49"/>
                  </a:lnTo>
                  <a:lnTo>
                    <a:pt x="481266" y="172732"/>
                  </a:lnTo>
                  <a:lnTo>
                    <a:pt x="508355" y="135623"/>
                  </a:lnTo>
                  <a:lnTo>
                    <a:pt x="529005" y="94170"/>
                  </a:lnTo>
                  <a:lnTo>
                    <a:pt x="542467" y="49085"/>
                  </a:lnTo>
                  <a:lnTo>
                    <a:pt x="548043" y="1092"/>
                  </a:lnTo>
                  <a:close/>
                </a:path>
                <a:path w="548640" h="786765">
                  <a:moveTo>
                    <a:pt x="548093" y="520204"/>
                  </a:moveTo>
                  <a:lnTo>
                    <a:pt x="500367" y="524217"/>
                  </a:lnTo>
                  <a:lnTo>
                    <a:pt x="455841" y="535876"/>
                  </a:lnTo>
                  <a:lnTo>
                    <a:pt x="414616" y="554469"/>
                  </a:lnTo>
                  <a:lnTo>
                    <a:pt x="377342" y="579348"/>
                  </a:lnTo>
                  <a:lnTo>
                    <a:pt x="344716" y="609803"/>
                  </a:lnTo>
                  <a:lnTo>
                    <a:pt x="317411" y="645172"/>
                  </a:lnTo>
                  <a:lnTo>
                    <a:pt x="296087" y="684796"/>
                  </a:lnTo>
                  <a:lnTo>
                    <a:pt x="281419" y="727989"/>
                  </a:lnTo>
                  <a:lnTo>
                    <a:pt x="274091" y="774065"/>
                  </a:lnTo>
                  <a:lnTo>
                    <a:pt x="266915" y="727824"/>
                  </a:lnTo>
                  <a:lnTo>
                    <a:pt x="252361" y="684453"/>
                  </a:lnTo>
                  <a:lnTo>
                    <a:pt x="231089"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38"/>
                  </a:lnTo>
                  <a:lnTo>
                    <a:pt x="66548" y="691400"/>
                  </a:lnTo>
                  <a:lnTo>
                    <a:pt x="99390" y="72354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2DB7EA"/>
            </a:solidFill>
          </p:spPr>
          <p:txBody>
            <a:bodyPr wrap="square" lIns="0" tIns="0" rIns="0" bIns="0" rtlCol="0"/>
            <a:lstStyle/>
            <a:p>
              <a:endParaRPr dirty="0"/>
            </a:p>
          </p:txBody>
        </p:sp>
        <p:pic>
          <p:nvPicPr>
            <p:cNvPr id="215" name="object 66">
              <a:extLst>
                <a:ext uri="{FF2B5EF4-FFF2-40B4-BE49-F238E27FC236}">
                  <a16:creationId xmlns:a16="http://schemas.microsoft.com/office/drawing/2014/main" id="{AA3E16E2-E90D-140E-A808-C2AEE8A6493C}"/>
                </a:ext>
              </a:extLst>
            </p:cNvPr>
            <p:cNvPicPr/>
            <p:nvPr/>
          </p:nvPicPr>
          <p:blipFill>
            <a:blip r:embed="rId5" cstate="print"/>
            <a:stretch>
              <a:fillRect/>
            </a:stretch>
          </p:blipFill>
          <p:spPr>
            <a:xfrm>
              <a:off x="8481461" y="5951762"/>
              <a:ext cx="106445" cy="107156"/>
            </a:xfrm>
            <a:prstGeom prst="rect">
              <a:avLst/>
            </a:prstGeom>
          </p:spPr>
        </p:pic>
        <p:sp>
          <p:nvSpPr>
            <p:cNvPr id="216" name="object 67">
              <a:extLst>
                <a:ext uri="{FF2B5EF4-FFF2-40B4-BE49-F238E27FC236}">
                  <a16:creationId xmlns:a16="http://schemas.microsoft.com/office/drawing/2014/main" id="{D60A480B-A994-E468-BDAA-54824B54458A}"/>
                </a:ext>
              </a:extLst>
            </p:cNvPr>
            <p:cNvSpPr/>
            <p:nvPr/>
          </p:nvSpPr>
          <p:spPr>
            <a:xfrm>
              <a:off x="8368808" y="5383587"/>
              <a:ext cx="332700" cy="477101"/>
            </a:xfrm>
            <a:custGeom>
              <a:avLst/>
              <a:gdLst/>
              <a:ahLst/>
              <a:cxnLst/>
              <a:rect l="l" t="t" r="r" b="b"/>
              <a:pathLst>
                <a:path w="548640" h="786765">
                  <a:moveTo>
                    <a:pt x="548043" y="266623"/>
                  </a:moveTo>
                  <a:lnTo>
                    <a:pt x="500367" y="270649"/>
                  </a:lnTo>
                  <a:lnTo>
                    <a:pt x="455841" y="282308"/>
                  </a:lnTo>
                  <a:lnTo>
                    <a:pt x="414616" y="300913"/>
                  </a:lnTo>
                  <a:lnTo>
                    <a:pt x="377342" y="325780"/>
                  </a:lnTo>
                  <a:lnTo>
                    <a:pt x="344716" y="356235"/>
                  </a:lnTo>
                  <a:lnTo>
                    <a:pt x="317411" y="391617"/>
                  </a:lnTo>
                  <a:lnTo>
                    <a:pt x="296087" y="431241"/>
                  </a:lnTo>
                  <a:lnTo>
                    <a:pt x="281419" y="474446"/>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54"/>
                  </a:lnTo>
                  <a:lnTo>
                    <a:pt x="529005" y="359689"/>
                  </a:lnTo>
                  <a:lnTo>
                    <a:pt x="542467" y="314604"/>
                  </a:lnTo>
                  <a:lnTo>
                    <a:pt x="548043" y="266623"/>
                  </a:lnTo>
                  <a:close/>
                </a:path>
                <a:path w="548640" h="786765">
                  <a:moveTo>
                    <a:pt x="548043" y="1079"/>
                  </a:moveTo>
                  <a:lnTo>
                    <a:pt x="500367" y="5118"/>
                  </a:lnTo>
                  <a:lnTo>
                    <a:pt x="455841" y="16764"/>
                  </a:lnTo>
                  <a:lnTo>
                    <a:pt x="414616" y="35369"/>
                  </a:lnTo>
                  <a:lnTo>
                    <a:pt x="377342" y="60236"/>
                  </a:lnTo>
                  <a:lnTo>
                    <a:pt x="344716" y="90703"/>
                  </a:lnTo>
                  <a:lnTo>
                    <a:pt x="317411" y="126085"/>
                  </a:lnTo>
                  <a:lnTo>
                    <a:pt x="296087" y="165722"/>
                  </a:lnTo>
                  <a:lnTo>
                    <a:pt x="281419" y="208915"/>
                  </a:lnTo>
                  <a:lnTo>
                    <a:pt x="274091" y="255003"/>
                  </a:lnTo>
                  <a:lnTo>
                    <a:pt x="266915" y="208724"/>
                  </a:lnTo>
                  <a:lnTo>
                    <a:pt x="252361" y="165354"/>
                  </a:lnTo>
                  <a:lnTo>
                    <a:pt x="231089"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67" y="49072"/>
                  </a:lnTo>
                  <a:lnTo>
                    <a:pt x="548043" y="1079"/>
                  </a:lnTo>
                  <a:close/>
                </a:path>
                <a:path w="548640" h="786765">
                  <a:moveTo>
                    <a:pt x="548093" y="520192"/>
                  </a:moveTo>
                  <a:lnTo>
                    <a:pt x="500367" y="524217"/>
                  </a:lnTo>
                  <a:lnTo>
                    <a:pt x="455841" y="535876"/>
                  </a:lnTo>
                  <a:lnTo>
                    <a:pt x="414616" y="554469"/>
                  </a:lnTo>
                  <a:lnTo>
                    <a:pt x="377342" y="579335"/>
                  </a:lnTo>
                  <a:lnTo>
                    <a:pt x="344716" y="609790"/>
                  </a:lnTo>
                  <a:lnTo>
                    <a:pt x="317411" y="645172"/>
                  </a:lnTo>
                  <a:lnTo>
                    <a:pt x="296087" y="684796"/>
                  </a:lnTo>
                  <a:lnTo>
                    <a:pt x="281419" y="727976"/>
                  </a:lnTo>
                  <a:lnTo>
                    <a:pt x="274091" y="774065"/>
                  </a:lnTo>
                  <a:lnTo>
                    <a:pt x="266915" y="727811"/>
                  </a:lnTo>
                  <a:lnTo>
                    <a:pt x="252361" y="684441"/>
                  </a:lnTo>
                  <a:lnTo>
                    <a:pt x="231089" y="644652"/>
                  </a:lnTo>
                  <a:lnTo>
                    <a:pt x="203796" y="609117"/>
                  </a:lnTo>
                  <a:lnTo>
                    <a:pt x="171157" y="578523"/>
                  </a:lnTo>
                  <a:lnTo>
                    <a:pt x="133845" y="553542"/>
                  </a:lnTo>
                  <a:lnTo>
                    <a:pt x="92532" y="534847"/>
                  </a:lnTo>
                  <a:lnTo>
                    <a:pt x="47917" y="523125"/>
                  </a:lnTo>
                  <a:lnTo>
                    <a:pt x="0" y="519061"/>
                  </a:lnTo>
                  <a:lnTo>
                    <a:pt x="5448" y="567258"/>
                  </a:lnTo>
                  <a:lnTo>
                    <a:pt x="18846" y="612508"/>
                  </a:lnTo>
                  <a:lnTo>
                    <a:pt x="39458" y="654138"/>
                  </a:lnTo>
                  <a:lnTo>
                    <a:pt x="66548" y="691388"/>
                  </a:lnTo>
                  <a:lnTo>
                    <a:pt x="67246" y="692073"/>
                  </a:lnTo>
                  <a:lnTo>
                    <a:pt x="99390" y="723544"/>
                  </a:lnTo>
                  <a:lnTo>
                    <a:pt x="137248" y="749858"/>
                  </a:lnTo>
                  <a:lnTo>
                    <a:pt x="179374" y="769594"/>
                  </a:lnTo>
                  <a:lnTo>
                    <a:pt x="225044" y="782015"/>
                  </a:lnTo>
                  <a:lnTo>
                    <a:pt x="273519" y="786396"/>
                  </a:lnTo>
                  <a:lnTo>
                    <a:pt x="274751" y="786396"/>
                  </a:lnTo>
                  <a:lnTo>
                    <a:pt x="323088" y="782027"/>
                  </a:lnTo>
                  <a:lnTo>
                    <a:pt x="368642" y="769670"/>
                  </a:lnTo>
                  <a:lnTo>
                    <a:pt x="410679" y="750023"/>
                  </a:lnTo>
                  <a:lnTo>
                    <a:pt x="448462" y="723823"/>
                  </a:lnTo>
                  <a:lnTo>
                    <a:pt x="479691" y="693356"/>
                  </a:lnTo>
                  <a:lnTo>
                    <a:pt x="481266" y="691819"/>
                  </a:lnTo>
                  <a:lnTo>
                    <a:pt x="508393" y="654697"/>
                  </a:lnTo>
                  <a:lnTo>
                    <a:pt x="529043" y="613244"/>
                  </a:lnTo>
                  <a:lnTo>
                    <a:pt x="542518" y="568172"/>
                  </a:lnTo>
                  <a:lnTo>
                    <a:pt x="548093" y="520192"/>
                  </a:lnTo>
                  <a:close/>
                </a:path>
              </a:pathLst>
            </a:custGeom>
            <a:solidFill>
              <a:srgbClr val="7ED3F1"/>
            </a:solidFill>
          </p:spPr>
          <p:txBody>
            <a:bodyPr wrap="square" lIns="0" tIns="0" rIns="0" bIns="0" rtlCol="0"/>
            <a:lstStyle/>
            <a:p>
              <a:endParaRPr dirty="0"/>
            </a:p>
          </p:txBody>
        </p:sp>
        <p:pic>
          <p:nvPicPr>
            <p:cNvPr id="217" name="object 68">
              <a:extLst>
                <a:ext uri="{FF2B5EF4-FFF2-40B4-BE49-F238E27FC236}">
                  <a16:creationId xmlns:a16="http://schemas.microsoft.com/office/drawing/2014/main" id="{C1A15B6B-3350-F564-3184-E50801D7745E}"/>
                </a:ext>
              </a:extLst>
            </p:cNvPr>
            <p:cNvPicPr/>
            <p:nvPr/>
          </p:nvPicPr>
          <p:blipFill>
            <a:blip r:embed="rId6" cstate="print"/>
            <a:stretch>
              <a:fillRect/>
            </a:stretch>
          </p:blipFill>
          <p:spPr>
            <a:xfrm>
              <a:off x="8481461" y="5297596"/>
              <a:ext cx="106445" cy="107156"/>
            </a:xfrm>
            <a:prstGeom prst="rect">
              <a:avLst/>
            </a:prstGeom>
          </p:spPr>
        </p:pic>
        <p:sp>
          <p:nvSpPr>
            <p:cNvPr id="218" name="object 69">
              <a:extLst>
                <a:ext uri="{FF2B5EF4-FFF2-40B4-BE49-F238E27FC236}">
                  <a16:creationId xmlns:a16="http://schemas.microsoft.com/office/drawing/2014/main" id="{5297D045-0329-8CF3-DD34-24033C25B202}"/>
                </a:ext>
              </a:extLst>
            </p:cNvPr>
            <p:cNvSpPr/>
            <p:nvPr/>
          </p:nvSpPr>
          <p:spPr>
            <a:xfrm>
              <a:off x="8368808" y="6691912"/>
              <a:ext cx="332700" cy="165965"/>
            </a:xfrm>
            <a:custGeom>
              <a:avLst/>
              <a:gdLst/>
              <a:ahLst/>
              <a:cxnLst/>
              <a:rect l="l" t="t" r="r" b="b"/>
              <a:pathLst>
                <a:path w="548640" h="273684">
                  <a:moveTo>
                    <a:pt x="62560" y="273431"/>
                  </a:moveTo>
                  <a:lnTo>
                    <a:pt x="47917" y="269595"/>
                  </a:lnTo>
                  <a:lnTo>
                    <a:pt x="0" y="265544"/>
                  </a:lnTo>
                  <a:lnTo>
                    <a:pt x="889" y="273431"/>
                  </a:lnTo>
                  <a:lnTo>
                    <a:pt x="62560" y="273431"/>
                  </a:lnTo>
                  <a:close/>
                </a:path>
                <a:path w="548640" h="273684">
                  <a:moveTo>
                    <a:pt x="548043" y="266623"/>
                  </a:moveTo>
                  <a:lnTo>
                    <a:pt x="500367" y="270649"/>
                  </a:lnTo>
                  <a:lnTo>
                    <a:pt x="489737" y="273431"/>
                  </a:lnTo>
                  <a:lnTo>
                    <a:pt x="547243" y="273431"/>
                  </a:lnTo>
                  <a:lnTo>
                    <a:pt x="548043" y="266623"/>
                  </a:lnTo>
                  <a:close/>
                </a:path>
                <a:path w="548640" h="273684">
                  <a:moveTo>
                    <a:pt x="548043" y="1079"/>
                  </a:moveTo>
                  <a:lnTo>
                    <a:pt x="500367" y="5118"/>
                  </a:lnTo>
                  <a:lnTo>
                    <a:pt x="455841" y="16776"/>
                  </a:lnTo>
                  <a:lnTo>
                    <a:pt x="414616" y="35382"/>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21"/>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57"/>
                  </a:lnTo>
                  <a:lnTo>
                    <a:pt x="542467" y="49072"/>
                  </a:lnTo>
                  <a:lnTo>
                    <a:pt x="548043" y="1079"/>
                  </a:lnTo>
                  <a:close/>
                </a:path>
              </a:pathLst>
            </a:custGeom>
            <a:solidFill>
              <a:srgbClr val="7ED3F1"/>
            </a:solidFill>
          </p:spPr>
          <p:txBody>
            <a:bodyPr wrap="square" lIns="0" tIns="0" rIns="0" bIns="0" rtlCol="0"/>
            <a:lstStyle/>
            <a:p>
              <a:endParaRPr dirty="0"/>
            </a:p>
          </p:txBody>
        </p:sp>
        <p:pic>
          <p:nvPicPr>
            <p:cNvPr id="219" name="object 70">
              <a:extLst>
                <a:ext uri="{FF2B5EF4-FFF2-40B4-BE49-F238E27FC236}">
                  <a16:creationId xmlns:a16="http://schemas.microsoft.com/office/drawing/2014/main" id="{36BDF278-EDAC-F271-7BCB-F4FBE0DE0B3D}"/>
                </a:ext>
              </a:extLst>
            </p:cNvPr>
            <p:cNvPicPr/>
            <p:nvPr/>
          </p:nvPicPr>
          <p:blipFill>
            <a:blip r:embed="rId6" cstate="print"/>
            <a:stretch>
              <a:fillRect/>
            </a:stretch>
          </p:blipFill>
          <p:spPr>
            <a:xfrm>
              <a:off x="8481461" y="6605926"/>
              <a:ext cx="106445" cy="107156"/>
            </a:xfrm>
            <a:prstGeom prst="rect">
              <a:avLst/>
            </a:prstGeom>
          </p:spPr>
        </p:pic>
        <p:sp>
          <p:nvSpPr>
            <p:cNvPr id="220" name="object 71">
              <a:extLst>
                <a:ext uri="{FF2B5EF4-FFF2-40B4-BE49-F238E27FC236}">
                  <a16:creationId xmlns:a16="http://schemas.microsoft.com/office/drawing/2014/main" id="{07A9785A-077D-013A-6B60-6383553DA92D}"/>
                </a:ext>
              </a:extLst>
            </p:cNvPr>
            <p:cNvSpPr/>
            <p:nvPr/>
          </p:nvSpPr>
          <p:spPr>
            <a:xfrm>
              <a:off x="7983731" y="6479532"/>
              <a:ext cx="332700" cy="316141"/>
            </a:xfrm>
            <a:custGeom>
              <a:avLst/>
              <a:gdLst/>
              <a:ahLst/>
              <a:cxnLst/>
              <a:rect l="l" t="t" r="r" b="b"/>
              <a:pathLst>
                <a:path w="548640" h="521334">
                  <a:moveTo>
                    <a:pt x="548068" y="520852"/>
                  </a:moveTo>
                  <a:lnTo>
                    <a:pt x="542632" y="472694"/>
                  </a:lnTo>
                  <a:lnTo>
                    <a:pt x="529234" y="427431"/>
                  </a:lnTo>
                  <a:lnTo>
                    <a:pt x="508609" y="385800"/>
                  </a:lnTo>
                  <a:lnTo>
                    <a:pt x="481520" y="348551"/>
                  </a:lnTo>
                  <a:lnTo>
                    <a:pt x="448678" y="316395"/>
                  </a:lnTo>
                  <a:lnTo>
                    <a:pt x="410819" y="290093"/>
                  </a:lnTo>
                  <a:lnTo>
                    <a:pt x="368693" y="270357"/>
                  </a:lnTo>
                  <a:lnTo>
                    <a:pt x="323024" y="257924"/>
                  </a:lnTo>
                  <a:lnTo>
                    <a:pt x="274548" y="253555"/>
                  </a:lnTo>
                  <a:lnTo>
                    <a:pt x="273329" y="253555"/>
                  </a:lnTo>
                  <a:lnTo>
                    <a:pt x="224980" y="257911"/>
                  </a:lnTo>
                  <a:lnTo>
                    <a:pt x="179438" y="270281"/>
                  </a:lnTo>
                  <a:lnTo>
                    <a:pt x="137401" y="289915"/>
                  </a:lnTo>
                  <a:lnTo>
                    <a:pt x="99618" y="316115"/>
                  </a:lnTo>
                  <a:lnTo>
                    <a:pt x="66814" y="348132"/>
                  </a:lnTo>
                  <a:lnTo>
                    <a:pt x="39725" y="385229"/>
                  </a:lnTo>
                  <a:lnTo>
                    <a:pt x="19075" y="426694"/>
                  </a:lnTo>
                  <a:lnTo>
                    <a:pt x="5600" y="471792"/>
                  </a:lnTo>
                  <a:lnTo>
                    <a:pt x="38" y="519772"/>
                  </a:lnTo>
                  <a:lnTo>
                    <a:pt x="47713" y="515747"/>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27"/>
                  </a:lnTo>
                  <a:lnTo>
                    <a:pt x="295719" y="355498"/>
                  </a:lnTo>
                  <a:lnTo>
                    <a:pt x="316979" y="395300"/>
                  </a:lnTo>
                  <a:lnTo>
                    <a:pt x="344271" y="430834"/>
                  </a:lnTo>
                  <a:lnTo>
                    <a:pt x="376923" y="461429"/>
                  </a:lnTo>
                  <a:lnTo>
                    <a:pt x="414235" y="486410"/>
                  </a:lnTo>
                  <a:lnTo>
                    <a:pt x="455536" y="505091"/>
                  </a:lnTo>
                  <a:lnTo>
                    <a:pt x="500164" y="516801"/>
                  </a:lnTo>
                  <a:lnTo>
                    <a:pt x="548068" y="520852"/>
                  </a:lnTo>
                  <a:close/>
                </a:path>
                <a:path w="548640" h="521334">
                  <a:moveTo>
                    <a:pt x="548081" y="267322"/>
                  </a:moveTo>
                  <a:lnTo>
                    <a:pt x="542632" y="219138"/>
                  </a:lnTo>
                  <a:lnTo>
                    <a:pt x="529234" y="173875"/>
                  </a:lnTo>
                  <a:lnTo>
                    <a:pt x="508622" y="132245"/>
                  </a:lnTo>
                  <a:lnTo>
                    <a:pt x="481533" y="94996"/>
                  </a:lnTo>
                  <a:lnTo>
                    <a:pt x="448691" y="62839"/>
                  </a:lnTo>
                  <a:lnTo>
                    <a:pt x="422376" y="44564"/>
                  </a:lnTo>
                  <a:lnTo>
                    <a:pt x="410832" y="36537"/>
                  </a:lnTo>
                  <a:lnTo>
                    <a:pt x="368706" y="16814"/>
                  </a:lnTo>
                  <a:lnTo>
                    <a:pt x="323024" y="4368"/>
                  </a:lnTo>
                  <a:lnTo>
                    <a:pt x="274561" y="12"/>
                  </a:lnTo>
                  <a:lnTo>
                    <a:pt x="273329" y="0"/>
                  </a:lnTo>
                  <a:lnTo>
                    <a:pt x="224980" y="4356"/>
                  </a:lnTo>
                  <a:lnTo>
                    <a:pt x="179438" y="16713"/>
                  </a:lnTo>
                  <a:lnTo>
                    <a:pt x="137401" y="36360"/>
                  </a:lnTo>
                  <a:lnTo>
                    <a:pt x="108216" y="56591"/>
                  </a:lnTo>
                  <a:lnTo>
                    <a:pt x="99618" y="62560"/>
                  </a:lnTo>
                  <a:lnTo>
                    <a:pt x="66814" y="94576"/>
                  </a:lnTo>
                  <a:lnTo>
                    <a:pt x="39687" y="131686"/>
                  </a:lnTo>
                  <a:lnTo>
                    <a:pt x="19037" y="173139"/>
                  </a:lnTo>
                  <a:lnTo>
                    <a:pt x="5562" y="218211"/>
                  </a:lnTo>
                  <a:lnTo>
                    <a:pt x="0" y="266192"/>
                  </a:lnTo>
                  <a:lnTo>
                    <a:pt x="47713" y="262178"/>
                  </a:lnTo>
                  <a:lnTo>
                    <a:pt x="92227" y="250520"/>
                  </a:lnTo>
                  <a:lnTo>
                    <a:pt x="133464" y="231914"/>
                  </a:lnTo>
                  <a:lnTo>
                    <a:pt x="170738" y="207048"/>
                  </a:lnTo>
                  <a:lnTo>
                    <a:pt x="203365" y="176593"/>
                  </a:lnTo>
                  <a:lnTo>
                    <a:pt x="230670" y="141211"/>
                  </a:lnTo>
                  <a:lnTo>
                    <a:pt x="251993" y="101600"/>
                  </a:lnTo>
                  <a:lnTo>
                    <a:pt x="266661" y="58407"/>
                  </a:lnTo>
                  <a:lnTo>
                    <a:pt x="273989" y="12319"/>
                  </a:lnTo>
                  <a:lnTo>
                    <a:pt x="281165" y="58572"/>
                  </a:lnTo>
                  <a:lnTo>
                    <a:pt x="295719" y="101942"/>
                  </a:lnTo>
                  <a:lnTo>
                    <a:pt x="316979" y="141744"/>
                  </a:lnTo>
                  <a:lnTo>
                    <a:pt x="344271" y="177279"/>
                  </a:lnTo>
                  <a:lnTo>
                    <a:pt x="376923" y="207873"/>
                  </a:lnTo>
                  <a:lnTo>
                    <a:pt x="414235" y="232854"/>
                  </a:lnTo>
                  <a:lnTo>
                    <a:pt x="455549" y="251548"/>
                  </a:lnTo>
                  <a:lnTo>
                    <a:pt x="500164" y="263258"/>
                  </a:lnTo>
                  <a:lnTo>
                    <a:pt x="548081" y="267322"/>
                  </a:lnTo>
                  <a:close/>
                </a:path>
              </a:pathLst>
            </a:custGeom>
            <a:solidFill>
              <a:srgbClr val="2DB7EA"/>
            </a:solidFill>
          </p:spPr>
          <p:txBody>
            <a:bodyPr wrap="square" lIns="0" tIns="0" rIns="0" bIns="0" rtlCol="0"/>
            <a:lstStyle/>
            <a:p>
              <a:endParaRPr dirty="0"/>
            </a:p>
          </p:txBody>
        </p:sp>
        <p:pic>
          <p:nvPicPr>
            <p:cNvPr id="221" name="object 72">
              <a:extLst>
                <a:ext uri="{FF2B5EF4-FFF2-40B4-BE49-F238E27FC236}">
                  <a16:creationId xmlns:a16="http://schemas.microsoft.com/office/drawing/2014/main" id="{003CC818-1645-4C90-91BB-22123C33CAAE}"/>
                </a:ext>
              </a:extLst>
            </p:cNvPr>
            <p:cNvPicPr/>
            <p:nvPr/>
          </p:nvPicPr>
          <p:blipFill>
            <a:blip r:embed="rId7" cstate="print"/>
            <a:stretch>
              <a:fillRect/>
            </a:stretch>
          </p:blipFill>
          <p:spPr>
            <a:xfrm>
              <a:off x="8019821" y="6794307"/>
              <a:ext cx="260137" cy="63416"/>
            </a:xfrm>
            <a:prstGeom prst="rect">
              <a:avLst/>
            </a:prstGeom>
          </p:spPr>
        </p:pic>
        <p:sp>
          <p:nvSpPr>
            <p:cNvPr id="222" name="object 73">
              <a:extLst>
                <a:ext uri="{FF2B5EF4-FFF2-40B4-BE49-F238E27FC236}">
                  <a16:creationId xmlns:a16="http://schemas.microsoft.com/office/drawing/2014/main" id="{45E15B54-FB9C-340E-1E7E-E523B3F84A97}"/>
                </a:ext>
              </a:extLst>
            </p:cNvPr>
            <p:cNvSpPr/>
            <p:nvPr/>
          </p:nvSpPr>
          <p:spPr>
            <a:xfrm>
              <a:off x="7983731" y="5171198"/>
              <a:ext cx="332700" cy="477101"/>
            </a:xfrm>
            <a:custGeom>
              <a:avLst/>
              <a:gdLst/>
              <a:ahLst/>
              <a:cxnLst/>
              <a:rect l="l" t="t" r="r" b="b"/>
              <a:pathLst>
                <a:path w="548640" h="786765">
                  <a:moveTo>
                    <a:pt x="548068" y="786396"/>
                  </a:moveTo>
                  <a:lnTo>
                    <a:pt x="542632" y="738225"/>
                  </a:lnTo>
                  <a:lnTo>
                    <a:pt x="529234" y="692975"/>
                  </a:lnTo>
                  <a:lnTo>
                    <a:pt x="508609" y="651344"/>
                  </a:lnTo>
                  <a:lnTo>
                    <a:pt x="481520" y="614083"/>
                  </a:lnTo>
                  <a:lnTo>
                    <a:pt x="448678" y="581939"/>
                  </a:lnTo>
                  <a:lnTo>
                    <a:pt x="410819" y="555625"/>
                  </a:lnTo>
                  <a:lnTo>
                    <a:pt x="368693" y="535889"/>
                  </a:lnTo>
                  <a:lnTo>
                    <a:pt x="323024" y="523468"/>
                  </a:lnTo>
                  <a:lnTo>
                    <a:pt x="274548" y="519087"/>
                  </a:lnTo>
                  <a:lnTo>
                    <a:pt x="273329" y="519087"/>
                  </a:lnTo>
                  <a:lnTo>
                    <a:pt x="224980" y="523455"/>
                  </a:lnTo>
                  <a:lnTo>
                    <a:pt x="179438" y="535813"/>
                  </a:lnTo>
                  <a:lnTo>
                    <a:pt x="137401" y="555459"/>
                  </a:lnTo>
                  <a:lnTo>
                    <a:pt x="99618" y="581660"/>
                  </a:lnTo>
                  <a:lnTo>
                    <a:pt x="66814" y="613676"/>
                  </a:lnTo>
                  <a:lnTo>
                    <a:pt x="39725" y="650773"/>
                  </a:lnTo>
                  <a:lnTo>
                    <a:pt x="19075" y="692238"/>
                  </a:lnTo>
                  <a:lnTo>
                    <a:pt x="5600" y="737323"/>
                  </a:lnTo>
                  <a:lnTo>
                    <a:pt x="38" y="785317"/>
                  </a:lnTo>
                  <a:lnTo>
                    <a:pt x="47713" y="781278"/>
                  </a:lnTo>
                  <a:lnTo>
                    <a:pt x="92227" y="769620"/>
                  </a:lnTo>
                  <a:lnTo>
                    <a:pt x="133464" y="751027"/>
                  </a:lnTo>
                  <a:lnTo>
                    <a:pt x="170726" y="726147"/>
                  </a:lnTo>
                  <a:lnTo>
                    <a:pt x="203352" y="695680"/>
                  </a:lnTo>
                  <a:lnTo>
                    <a:pt x="230670" y="660298"/>
                  </a:lnTo>
                  <a:lnTo>
                    <a:pt x="251993" y="620674"/>
                  </a:lnTo>
                  <a:lnTo>
                    <a:pt x="266649" y="577481"/>
                  </a:lnTo>
                  <a:lnTo>
                    <a:pt x="273989" y="531393"/>
                  </a:lnTo>
                  <a:lnTo>
                    <a:pt x="281165" y="577672"/>
                  </a:lnTo>
                  <a:lnTo>
                    <a:pt x="295719" y="621042"/>
                  </a:lnTo>
                  <a:lnTo>
                    <a:pt x="316979" y="660831"/>
                  </a:lnTo>
                  <a:lnTo>
                    <a:pt x="344271" y="696366"/>
                  </a:lnTo>
                  <a:lnTo>
                    <a:pt x="376923" y="726960"/>
                  </a:lnTo>
                  <a:lnTo>
                    <a:pt x="414235" y="751941"/>
                  </a:lnTo>
                  <a:lnTo>
                    <a:pt x="455536" y="770623"/>
                  </a:lnTo>
                  <a:lnTo>
                    <a:pt x="500164" y="782332"/>
                  </a:lnTo>
                  <a:lnTo>
                    <a:pt x="548068" y="786396"/>
                  </a:lnTo>
                  <a:close/>
                </a:path>
                <a:path w="548640" h="786765">
                  <a:moveTo>
                    <a:pt x="548068" y="520865"/>
                  </a:moveTo>
                  <a:lnTo>
                    <a:pt x="542632" y="472706"/>
                  </a:lnTo>
                  <a:lnTo>
                    <a:pt x="529234" y="427443"/>
                  </a:lnTo>
                  <a:lnTo>
                    <a:pt x="508609" y="385813"/>
                  </a:lnTo>
                  <a:lnTo>
                    <a:pt x="481520" y="348551"/>
                  </a:lnTo>
                  <a:lnTo>
                    <a:pt x="448678" y="316407"/>
                  </a:lnTo>
                  <a:lnTo>
                    <a:pt x="410819" y="290093"/>
                  </a:lnTo>
                  <a:lnTo>
                    <a:pt x="368693" y="270357"/>
                  </a:lnTo>
                  <a:lnTo>
                    <a:pt x="323024" y="257937"/>
                  </a:lnTo>
                  <a:lnTo>
                    <a:pt x="274548" y="253568"/>
                  </a:lnTo>
                  <a:lnTo>
                    <a:pt x="273329" y="253568"/>
                  </a:lnTo>
                  <a:lnTo>
                    <a:pt x="224980" y="257924"/>
                  </a:lnTo>
                  <a:lnTo>
                    <a:pt x="179438" y="270281"/>
                  </a:lnTo>
                  <a:lnTo>
                    <a:pt x="137401" y="289928"/>
                  </a:lnTo>
                  <a:lnTo>
                    <a:pt x="99618" y="316128"/>
                  </a:lnTo>
                  <a:lnTo>
                    <a:pt x="66814" y="348132"/>
                  </a:lnTo>
                  <a:lnTo>
                    <a:pt x="39725" y="385241"/>
                  </a:lnTo>
                  <a:lnTo>
                    <a:pt x="19075" y="426694"/>
                  </a:lnTo>
                  <a:lnTo>
                    <a:pt x="5600" y="471792"/>
                  </a:lnTo>
                  <a:lnTo>
                    <a:pt x="38" y="519772"/>
                  </a:lnTo>
                  <a:lnTo>
                    <a:pt x="47713" y="515734"/>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40"/>
                  </a:lnTo>
                  <a:lnTo>
                    <a:pt x="295719" y="355511"/>
                  </a:lnTo>
                  <a:lnTo>
                    <a:pt x="316979" y="395300"/>
                  </a:lnTo>
                  <a:lnTo>
                    <a:pt x="344271" y="430834"/>
                  </a:lnTo>
                  <a:lnTo>
                    <a:pt x="376923" y="461441"/>
                  </a:lnTo>
                  <a:lnTo>
                    <a:pt x="414235" y="486410"/>
                  </a:lnTo>
                  <a:lnTo>
                    <a:pt x="455536" y="505104"/>
                  </a:lnTo>
                  <a:lnTo>
                    <a:pt x="500164" y="516813"/>
                  </a:lnTo>
                  <a:lnTo>
                    <a:pt x="548068" y="520865"/>
                  </a:lnTo>
                  <a:close/>
                </a:path>
                <a:path w="548640" h="786765">
                  <a:moveTo>
                    <a:pt x="548081" y="267322"/>
                  </a:moveTo>
                  <a:lnTo>
                    <a:pt x="543318" y="225285"/>
                  </a:lnTo>
                  <a:lnTo>
                    <a:pt x="542632" y="219151"/>
                  </a:lnTo>
                  <a:lnTo>
                    <a:pt x="529234" y="173875"/>
                  </a:lnTo>
                  <a:lnTo>
                    <a:pt x="508622" y="132245"/>
                  </a:lnTo>
                  <a:lnTo>
                    <a:pt x="481533" y="94996"/>
                  </a:lnTo>
                  <a:lnTo>
                    <a:pt x="449376" y="63525"/>
                  </a:lnTo>
                  <a:lnTo>
                    <a:pt x="448691" y="62852"/>
                  </a:lnTo>
                  <a:lnTo>
                    <a:pt x="437134" y="54825"/>
                  </a:lnTo>
                  <a:lnTo>
                    <a:pt x="410832" y="36537"/>
                  </a:lnTo>
                  <a:lnTo>
                    <a:pt x="391096" y="27305"/>
                  </a:lnTo>
                  <a:lnTo>
                    <a:pt x="368706" y="16814"/>
                  </a:lnTo>
                  <a:lnTo>
                    <a:pt x="323037" y="4394"/>
                  </a:lnTo>
                  <a:lnTo>
                    <a:pt x="274561" y="12"/>
                  </a:lnTo>
                  <a:lnTo>
                    <a:pt x="273329" y="0"/>
                  </a:lnTo>
                  <a:lnTo>
                    <a:pt x="224980" y="4356"/>
                  </a:lnTo>
                  <a:lnTo>
                    <a:pt x="179438" y="16725"/>
                  </a:lnTo>
                  <a:lnTo>
                    <a:pt x="137401" y="36372"/>
                  </a:lnTo>
                  <a:lnTo>
                    <a:pt x="120650" y="47980"/>
                  </a:lnTo>
                  <a:lnTo>
                    <a:pt x="99618" y="62560"/>
                  </a:lnTo>
                  <a:lnTo>
                    <a:pt x="66814" y="94576"/>
                  </a:lnTo>
                  <a:lnTo>
                    <a:pt x="39687" y="131686"/>
                  </a:lnTo>
                  <a:lnTo>
                    <a:pt x="19037" y="173139"/>
                  </a:lnTo>
                  <a:lnTo>
                    <a:pt x="5562" y="218211"/>
                  </a:lnTo>
                  <a:lnTo>
                    <a:pt x="0" y="266192"/>
                  </a:lnTo>
                  <a:lnTo>
                    <a:pt x="47713" y="262178"/>
                  </a:lnTo>
                  <a:lnTo>
                    <a:pt x="92227" y="250520"/>
                  </a:lnTo>
                  <a:lnTo>
                    <a:pt x="133464" y="231927"/>
                  </a:lnTo>
                  <a:lnTo>
                    <a:pt x="155803" y="217004"/>
                  </a:lnTo>
                  <a:lnTo>
                    <a:pt x="170738" y="207048"/>
                  </a:lnTo>
                  <a:lnTo>
                    <a:pt x="203365" y="176593"/>
                  </a:lnTo>
                  <a:lnTo>
                    <a:pt x="230670" y="141211"/>
                  </a:lnTo>
                  <a:lnTo>
                    <a:pt x="251993" y="101600"/>
                  </a:lnTo>
                  <a:lnTo>
                    <a:pt x="266661" y="58407"/>
                  </a:lnTo>
                  <a:lnTo>
                    <a:pt x="273989" y="12319"/>
                  </a:lnTo>
                  <a:lnTo>
                    <a:pt x="281165" y="58585"/>
                  </a:lnTo>
                  <a:lnTo>
                    <a:pt x="295719" y="101942"/>
                  </a:lnTo>
                  <a:lnTo>
                    <a:pt x="316979" y="141744"/>
                  </a:lnTo>
                  <a:lnTo>
                    <a:pt x="344271" y="177279"/>
                  </a:lnTo>
                  <a:lnTo>
                    <a:pt x="376923" y="207873"/>
                  </a:lnTo>
                  <a:lnTo>
                    <a:pt x="414235" y="232867"/>
                  </a:lnTo>
                  <a:lnTo>
                    <a:pt x="455549" y="251548"/>
                  </a:lnTo>
                  <a:lnTo>
                    <a:pt x="500164" y="263258"/>
                  </a:lnTo>
                  <a:lnTo>
                    <a:pt x="548081" y="267322"/>
                  </a:lnTo>
                  <a:close/>
                </a:path>
              </a:pathLst>
            </a:custGeom>
            <a:solidFill>
              <a:srgbClr val="2DB7EA"/>
            </a:solidFill>
          </p:spPr>
          <p:txBody>
            <a:bodyPr wrap="square" lIns="0" tIns="0" rIns="0" bIns="0" rtlCol="0"/>
            <a:lstStyle/>
            <a:p>
              <a:endParaRPr dirty="0"/>
            </a:p>
          </p:txBody>
        </p:sp>
        <p:pic>
          <p:nvPicPr>
            <p:cNvPr id="223" name="object 74">
              <a:extLst>
                <a:ext uri="{FF2B5EF4-FFF2-40B4-BE49-F238E27FC236}">
                  <a16:creationId xmlns:a16="http://schemas.microsoft.com/office/drawing/2014/main" id="{EEB81C7D-BC6F-F52E-B7C5-1F8C8E3084E0}"/>
                </a:ext>
              </a:extLst>
            </p:cNvPr>
            <p:cNvPicPr/>
            <p:nvPr/>
          </p:nvPicPr>
          <p:blipFill>
            <a:blip r:embed="rId16" cstate="print"/>
            <a:stretch>
              <a:fillRect/>
            </a:stretch>
          </p:blipFill>
          <p:spPr>
            <a:xfrm>
              <a:off x="8096998" y="5626898"/>
              <a:ext cx="106445" cy="107156"/>
            </a:xfrm>
            <a:prstGeom prst="rect">
              <a:avLst/>
            </a:prstGeom>
          </p:spPr>
        </p:pic>
        <p:sp>
          <p:nvSpPr>
            <p:cNvPr id="224" name="object 75">
              <a:extLst>
                <a:ext uri="{FF2B5EF4-FFF2-40B4-BE49-F238E27FC236}">
                  <a16:creationId xmlns:a16="http://schemas.microsoft.com/office/drawing/2014/main" id="{B8077437-EB63-3902-D9E7-10828C8D04D1}"/>
                </a:ext>
              </a:extLst>
            </p:cNvPr>
            <p:cNvSpPr/>
            <p:nvPr/>
          </p:nvSpPr>
          <p:spPr>
            <a:xfrm>
              <a:off x="7983731" y="5825360"/>
              <a:ext cx="332700" cy="477101"/>
            </a:xfrm>
            <a:custGeom>
              <a:avLst/>
              <a:gdLst/>
              <a:ahLst/>
              <a:cxnLst/>
              <a:rect l="l" t="t" r="r" b="b"/>
              <a:pathLst>
                <a:path w="548640" h="786765">
                  <a:moveTo>
                    <a:pt x="548068" y="786396"/>
                  </a:moveTo>
                  <a:lnTo>
                    <a:pt x="542632" y="738238"/>
                  </a:lnTo>
                  <a:lnTo>
                    <a:pt x="529234" y="692975"/>
                  </a:lnTo>
                  <a:lnTo>
                    <a:pt x="508609" y="651344"/>
                  </a:lnTo>
                  <a:lnTo>
                    <a:pt x="481520" y="614095"/>
                  </a:lnTo>
                  <a:lnTo>
                    <a:pt x="448678" y="581939"/>
                  </a:lnTo>
                  <a:lnTo>
                    <a:pt x="410819" y="555637"/>
                  </a:lnTo>
                  <a:lnTo>
                    <a:pt x="368693" y="535901"/>
                  </a:lnTo>
                  <a:lnTo>
                    <a:pt x="323024" y="523481"/>
                  </a:lnTo>
                  <a:lnTo>
                    <a:pt x="274548" y="519099"/>
                  </a:lnTo>
                  <a:lnTo>
                    <a:pt x="273329" y="519099"/>
                  </a:lnTo>
                  <a:lnTo>
                    <a:pt x="224980" y="523455"/>
                  </a:lnTo>
                  <a:lnTo>
                    <a:pt x="179438" y="535825"/>
                  </a:lnTo>
                  <a:lnTo>
                    <a:pt x="137401" y="555472"/>
                  </a:lnTo>
                  <a:lnTo>
                    <a:pt x="99618" y="581660"/>
                  </a:lnTo>
                  <a:lnTo>
                    <a:pt x="66814" y="613676"/>
                  </a:lnTo>
                  <a:lnTo>
                    <a:pt x="39725" y="650773"/>
                  </a:lnTo>
                  <a:lnTo>
                    <a:pt x="19075" y="692238"/>
                  </a:lnTo>
                  <a:lnTo>
                    <a:pt x="5600" y="737323"/>
                  </a:lnTo>
                  <a:lnTo>
                    <a:pt x="38" y="785304"/>
                  </a:lnTo>
                  <a:lnTo>
                    <a:pt x="47713" y="781278"/>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72"/>
                  </a:lnTo>
                  <a:lnTo>
                    <a:pt x="295719" y="621042"/>
                  </a:lnTo>
                  <a:lnTo>
                    <a:pt x="316979" y="660831"/>
                  </a:lnTo>
                  <a:lnTo>
                    <a:pt x="344271" y="696366"/>
                  </a:lnTo>
                  <a:lnTo>
                    <a:pt x="376923" y="726973"/>
                  </a:lnTo>
                  <a:lnTo>
                    <a:pt x="414235" y="751954"/>
                  </a:lnTo>
                  <a:lnTo>
                    <a:pt x="455536" y="770636"/>
                  </a:lnTo>
                  <a:lnTo>
                    <a:pt x="500164" y="782345"/>
                  </a:lnTo>
                  <a:lnTo>
                    <a:pt x="548068" y="786396"/>
                  </a:lnTo>
                  <a:close/>
                </a:path>
                <a:path w="548640" h="786765">
                  <a:moveTo>
                    <a:pt x="548068" y="520865"/>
                  </a:moveTo>
                  <a:lnTo>
                    <a:pt x="542632" y="472706"/>
                  </a:lnTo>
                  <a:lnTo>
                    <a:pt x="529234" y="427443"/>
                  </a:lnTo>
                  <a:lnTo>
                    <a:pt x="508609" y="385813"/>
                  </a:lnTo>
                  <a:lnTo>
                    <a:pt x="481520" y="348564"/>
                  </a:lnTo>
                  <a:lnTo>
                    <a:pt x="448678" y="316407"/>
                  </a:lnTo>
                  <a:lnTo>
                    <a:pt x="410819" y="290093"/>
                  </a:lnTo>
                  <a:lnTo>
                    <a:pt x="368693" y="270370"/>
                  </a:lnTo>
                  <a:lnTo>
                    <a:pt x="323024" y="257937"/>
                  </a:lnTo>
                  <a:lnTo>
                    <a:pt x="274548" y="253555"/>
                  </a:lnTo>
                  <a:lnTo>
                    <a:pt x="273329" y="253555"/>
                  </a:lnTo>
                  <a:lnTo>
                    <a:pt x="224980" y="257924"/>
                  </a:lnTo>
                  <a:lnTo>
                    <a:pt x="179438" y="270294"/>
                  </a:lnTo>
                  <a:lnTo>
                    <a:pt x="137401" y="289928"/>
                  </a:lnTo>
                  <a:lnTo>
                    <a:pt x="99618" y="316128"/>
                  </a:lnTo>
                  <a:lnTo>
                    <a:pt x="66814" y="348145"/>
                  </a:lnTo>
                  <a:lnTo>
                    <a:pt x="39725" y="385241"/>
                  </a:lnTo>
                  <a:lnTo>
                    <a:pt x="19075" y="426694"/>
                  </a:lnTo>
                  <a:lnTo>
                    <a:pt x="5600" y="471792"/>
                  </a:lnTo>
                  <a:lnTo>
                    <a:pt x="38" y="519772"/>
                  </a:lnTo>
                  <a:lnTo>
                    <a:pt x="47713" y="515734"/>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40"/>
                  </a:lnTo>
                  <a:lnTo>
                    <a:pt x="295719" y="355511"/>
                  </a:lnTo>
                  <a:lnTo>
                    <a:pt x="316979" y="395300"/>
                  </a:lnTo>
                  <a:lnTo>
                    <a:pt x="344271" y="430834"/>
                  </a:lnTo>
                  <a:lnTo>
                    <a:pt x="376923" y="461441"/>
                  </a:lnTo>
                  <a:lnTo>
                    <a:pt x="414235" y="486410"/>
                  </a:lnTo>
                  <a:lnTo>
                    <a:pt x="455536" y="505104"/>
                  </a:lnTo>
                  <a:lnTo>
                    <a:pt x="500164" y="516813"/>
                  </a:lnTo>
                  <a:lnTo>
                    <a:pt x="548068" y="520865"/>
                  </a:lnTo>
                  <a:close/>
                </a:path>
                <a:path w="548640" h="786765">
                  <a:moveTo>
                    <a:pt x="548081" y="267322"/>
                  </a:moveTo>
                  <a:lnTo>
                    <a:pt x="543242" y="224586"/>
                  </a:lnTo>
                  <a:lnTo>
                    <a:pt x="542632" y="219151"/>
                  </a:lnTo>
                  <a:lnTo>
                    <a:pt x="529234" y="173888"/>
                  </a:lnTo>
                  <a:lnTo>
                    <a:pt x="508622" y="132257"/>
                  </a:lnTo>
                  <a:lnTo>
                    <a:pt x="481533" y="94996"/>
                  </a:lnTo>
                  <a:lnTo>
                    <a:pt x="448691" y="62852"/>
                  </a:lnTo>
                  <a:lnTo>
                    <a:pt x="422376" y="44577"/>
                  </a:lnTo>
                  <a:lnTo>
                    <a:pt x="410832" y="36550"/>
                  </a:lnTo>
                  <a:lnTo>
                    <a:pt x="368706" y="16814"/>
                  </a:lnTo>
                  <a:lnTo>
                    <a:pt x="323037" y="4394"/>
                  </a:lnTo>
                  <a:lnTo>
                    <a:pt x="274548" y="0"/>
                  </a:lnTo>
                  <a:lnTo>
                    <a:pt x="273329" y="0"/>
                  </a:lnTo>
                  <a:lnTo>
                    <a:pt x="224980" y="4356"/>
                  </a:lnTo>
                  <a:lnTo>
                    <a:pt x="179438" y="16725"/>
                  </a:lnTo>
                  <a:lnTo>
                    <a:pt x="137401" y="36372"/>
                  </a:lnTo>
                  <a:lnTo>
                    <a:pt x="120675" y="47967"/>
                  </a:lnTo>
                  <a:lnTo>
                    <a:pt x="99618" y="62572"/>
                  </a:lnTo>
                  <a:lnTo>
                    <a:pt x="66814" y="94576"/>
                  </a:lnTo>
                  <a:lnTo>
                    <a:pt x="39687" y="131686"/>
                  </a:lnTo>
                  <a:lnTo>
                    <a:pt x="19037" y="173139"/>
                  </a:lnTo>
                  <a:lnTo>
                    <a:pt x="5562" y="218224"/>
                  </a:lnTo>
                  <a:lnTo>
                    <a:pt x="0" y="266192"/>
                  </a:lnTo>
                  <a:lnTo>
                    <a:pt x="47713" y="262178"/>
                  </a:lnTo>
                  <a:lnTo>
                    <a:pt x="92227" y="250532"/>
                  </a:lnTo>
                  <a:lnTo>
                    <a:pt x="133464" y="231927"/>
                  </a:lnTo>
                  <a:lnTo>
                    <a:pt x="170726" y="207060"/>
                  </a:lnTo>
                  <a:lnTo>
                    <a:pt x="172897" y="205041"/>
                  </a:lnTo>
                  <a:lnTo>
                    <a:pt x="203365" y="176593"/>
                  </a:lnTo>
                  <a:lnTo>
                    <a:pt x="230670" y="141224"/>
                  </a:lnTo>
                  <a:lnTo>
                    <a:pt x="251993" y="101600"/>
                  </a:lnTo>
                  <a:lnTo>
                    <a:pt x="266661" y="58407"/>
                  </a:lnTo>
                  <a:lnTo>
                    <a:pt x="273989" y="12331"/>
                  </a:lnTo>
                  <a:lnTo>
                    <a:pt x="281165" y="58585"/>
                  </a:lnTo>
                  <a:lnTo>
                    <a:pt x="295719" y="101955"/>
                  </a:lnTo>
                  <a:lnTo>
                    <a:pt x="316979" y="141744"/>
                  </a:lnTo>
                  <a:lnTo>
                    <a:pt x="344271" y="177279"/>
                  </a:lnTo>
                  <a:lnTo>
                    <a:pt x="360070" y="192087"/>
                  </a:lnTo>
                  <a:lnTo>
                    <a:pt x="376923" y="207886"/>
                  </a:lnTo>
                  <a:lnTo>
                    <a:pt x="414235" y="232867"/>
                  </a:lnTo>
                  <a:lnTo>
                    <a:pt x="455549" y="251561"/>
                  </a:lnTo>
                  <a:lnTo>
                    <a:pt x="500164" y="263271"/>
                  </a:lnTo>
                  <a:lnTo>
                    <a:pt x="548081" y="267322"/>
                  </a:lnTo>
                  <a:close/>
                </a:path>
              </a:pathLst>
            </a:custGeom>
            <a:solidFill>
              <a:srgbClr val="7ED3F1"/>
            </a:solidFill>
          </p:spPr>
          <p:txBody>
            <a:bodyPr wrap="square" lIns="0" tIns="0" rIns="0" bIns="0" rtlCol="0"/>
            <a:lstStyle/>
            <a:p>
              <a:endParaRPr dirty="0"/>
            </a:p>
          </p:txBody>
        </p:sp>
        <p:pic>
          <p:nvPicPr>
            <p:cNvPr id="225" name="object 76">
              <a:extLst>
                <a:ext uri="{FF2B5EF4-FFF2-40B4-BE49-F238E27FC236}">
                  <a16:creationId xmlns:a16="http://schemas.microsoft.com/office/drawing/2014/main" id="{EF08942A-0895-9C1F-1BE4-BB20DE68911F}"/>
                </a:ext>
              </a:extLst>
            </p:cNvPr>
            <p:cNvPicPr/>
            <p:nvPr/>
          </p:nvPicPr>
          <p:blipFill>
            <a:blip r:embed="rId17" cstate="print"/>
            <a:stretch>
              <a:fillRect/>
            </a:stretch>
          </p:blipFill>
          <p:spPr>
            <a:xfrm>
              <a:off x="8096998" y="6281064"/>
              <a:ext cx="106445" cy="107156"/>
            </a:xfrm>
            <a:prstGeom prst="rect">
              <a:avLst/>
            </a:prstGeom>
          </p:spPr>
        </p:pic>
        <p:sp>
          <p:nvSpPr>
            <p:cNvPr id="226" name="object 77">
              <a:extLst>
                <a:ext uri="{FF2B5EF4-FFF2-40B4-BE49-F238E27FC236}">
                  <a16:creationId xmlns:a16="http://schemas.microsoft.com/office/drawing/2014/main" id="{D086BB91-004F-6EF3-F085-48E676884AD7}"/>
                </a:ext>
              </a:extLst>
            </p:cNvPr>
            <p:cNvSpPr/>
            <p:nvPr/>
          </p:nvSpPr>
          <p:spPr>
            <a:xfrm>
              <a:off x="9138939" y="6037749"/>
              <a:ext cx="332700" cy="477101"/>
            </a:xfrm>
            <a:custGeom>
              <a:avLst/>
              <a:gdLst/>
              <a:ahLst/>
              <a:cxnLst/>
              <a:rect l="l" t="t" r="r" b="b"/>
              <a:pathLst>
                <a:path w="548640" h="786765">
                  <a:moveTo>
                    <a:pt x="548081" y="520179"/>
                  </a:moveTo>
                  <a:lnTo>
                    <a:pt x="500367" y="524217"/>
                  </a:lnTo>
                  <a:lnTo>
                    <a:pt x="455841" y="535876"/>
                  </a:lnTo>
                  <a:lnTo>
                    <a:pt x="414616" y="554469"/>
                  </a:lnTo>
                  <a:lnTo>
                    <a:pt x="402221" y="562749"/>
                  </a:lnTo>
                  <a:lnTo>
                    <a:pt x="377355" y="579348"/>
                  </a:lnTo>
                  <a:lnTo>
                    <a:pt x="344728" y="609803"/>
                  </a:lnTo>
                  <a:lnTo>
                    <a:pt x="317411" y="645172"/>
                  </a:lnTo>
                  <a:lnTo>
                    <a:pt x="296087" y="684796"/>
                  </a:lnTo>
                  <a:lnTo>
                    <a:pt x="281419" y="727989"/>
                  </a:lnTo>
                  <a:lnTo>
                    <a:pt x="274078" y="774039"/>
                  </a:lnTo>
                  <a:lnTo>
                    <a:pt x="268224" y="736307"/>
                  </a:lnTo>
                  <a:lnTo>
                    <a:pt x="266915" y="727824"/>
                  </a:lnTo>
                  <a:lnTo>
                    <a:pt x="252361" y="684453"/>
                  </a:lnTo>
                  <a:lnTo>
                    <a:pt x="244944" y="670598"/>
                  </a:lnTo>
                  <a:lnTo>
                    <a:pt x="231101"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38"/>
                  </a:lnTo>
                  <a:lnTo>
                    <a:pt x="66548" y="691400"/>
                  </a:lnTo>
                  <a:lnTo>
                    <a:pt x="99390" y="723544"/>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5">
                  <a:moveTo>
                    <a:pt x="548081" y="266611"/>
                  </a:moveTo>
                  <a:lnTo>
                    <a:pt x="500367" y="270649"/>
                  </a:lnTo>
                  <a:lnTo>
                    <a:pt x="455841" y="282308"/>
                  </a:lnTo>
                  <a:lnTo>
                    <a:pt x="414616" y="300901"/>
                  </a:lnTo>
                  <a:lnTo>
                    <a:pt x="377355" y="325780"/>
                  </a:lnTo>
                  <a:lnTo>
                    <a:pt x="344728" y="356235"/>
                  </a:lnTo>
                  <a:lnTo>
                    <a:pt x="317411" y="391629"/>
                  </a:lnTo>
                  <a:lnTo>
                    <a:pt x="296087" y="431253"/>
                  </a:lnTo>
                  <a:lnTo>
                    <a:pt x="281419" y="474446"/>
                  </a:lnTo>
                  <a:lnTo>
                    <a:pt x="274091" y="520534"/>
                  </a:lnTo>
                  <a:lnTo>
                    <a:pt x="266915" y="474256"/>
                  </a:lnTo>
                  <a:lnTo>
                    <a:pt x="252361" y="430885"/>
                  </a:lnTo>
                  <a:lnTo>
                    <a:pt x="231101" y="391096"/>
                  </a:lnTo>
                  <a:lnTo>
                    <a:pt x="203796" y="355561"/>
                  </a:lnTo>
                  <a:lnTo>
                    <a:pt x="171157" y="324954"/>
                  </a:lnTo>
                  <a:lnTo>
                    <a:pt x="133845" y="299986"/>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87" y="516026"/>
                  </a:lnTo>
                  <a:lnTo>
                    <a:pt x="225056" y="528459"/>
                  </a:lnTo>
                  <a:lnTo>
                    <a:pt x="273532" y="532841"/>
                  </a:lnTo>
                  <a:lnTo>
                    <a:pt x="274751" y="532841"/>
                  </a:lnTo>
                  <a:lnTo>
                    <a:pt x="323088" y="528472"/>
                  </a:lnTo>
                  <a:lnTo>
                    <a:pt x="368642" y="516102"/>
                  </a:lnTo>
                  <a:lnTo>
                    <a:pt x="410679" y="496468"/>
                  </a:lnTo>
                  <a:lnTo>
                    <a:pt x="448475" y="470268"/>
                  </a:lnTo>
                  <a:lnTo>
                    <a:pt x="481279" y="438251"/>
                  </a:lnTo>
                  <a:lnTo>
                    <a:pt x="508368" y="401154"/>
                  </a:lnTo>
                  <a:lnTo>
                    <a:pt x="529031" y="359689"/>
                  </a:lnTo>
                  <a:lnTo>
                    <a:pt x="542505" y="314604"/>
                  </a:lnTo>
                  <a:lnTo>
                    <a:pt x="548081" y="266611"/>
                  </a:lnTo>
                  <a:close/>
                </a:path>
                <a:path w="548640" h="786765">
                  <a:moveTo>
                    <a:pt x="548081" y="1092"/>
                  </a:moveTo>
                  <a:lnTo>
                    <a:pt x="500367" y="5130"/>
                  </a:lnTo>
                  <a:lnTo>
                    <a:pt x="455841" y="16789"/>
                  </a:lnTo>
                  <a:lnTo>
                    <a:pt x="414616" y="35382"/>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87" y="250507"/>
                  </a:lnTo>
                  <a:lnTo>
                    <a:pt x="225056" y="262928"/>
                  </a:lnTo>
                  <a:lnTo>
                    <a:pt x="273532" y="267309"/>
                  </a:lnTo>
                  <a:lnTo>
                    <a:pt x="274751" y="267309"/>
                  </a:lnTo>
                  <a:lnTo>
                    <a:pt x="323088" y="262953"/>
                  </a:lnTo>
                  <a:lnTo>
                    <a:pt x="368642" y="250583"/>
                  </a:lnTo>
                  <a:lnTo>
                    <a:pt x="410679" y="230936"/>
                  </a:lnTo>
                  <a:lnTo>
                    <a:pt x="448475" y="204749"/>
                  </a:lnTo>
                  <a:lnTo>
                    <a:pt x="481279" y="172732"/>
                  </a:lnTo>
                  <a:lnTo>
                    <a:pt x="508368" y="135623"/>
                  </a:lnTo>
                  <a:lnTo>
                    <a:pt x="529031" y="94170"/>
                  </a:lnTo>
                  <a:lnTo>
                    <a:pt x="542505" y="49085"/>
                  </a:lnTo>
                  <a:lnTo>
                    <a:pt x="548081" y="1092"/>
                  </a:lnTo>
                  <a:close/>
                </a:path>
              </a:pathLst>
            </a:custGeom>
            <a:solidFill>
              <a:srgbClr val="2DB7EA"/>
            </a:solidFill>
          </p:spPr>
          <p:txBody>
            <a:bodyPr wrap="square" lIns="0" tIns="0" rIns="0" bIns="0" rtlCol="0"/>
            <a:lstStyle/>
            <a:p>
              <a:endParaRPr dirty="0"/>
            </a:p>
          </p:txBody>
        </p:sp>
        <p:pic>
          <p:nvPicPr>
            <p:cNvPr id="227" name="object 78">
              <a:extLst>
                <a:ext uri="{FF2B5EF4-FFF2-40B4-BE49-F238E27FC236}">
                  <a16:creationId xmlns:a16="http://schemas.microsoft.com/office/drawing/2014/main" id="{AF652349-38FA-4A05-B153-4CCA5C6E1D06}"/>
                </a:ext>
              </a:extLst>
            </p:cNvPr>
            <p:cNvPicPr/>
            <p:nvPr/>
          </p:nvPicPr>
          <p:blipFill>
            <a:blip r:embed="rId10" cstate="print"/>
            <a:stretch>
              <a:fillRect/>
            </a:stretch>
          </p:blipFill>
          <p:spPr>
            <a:xfrm>
              <a:off x="9251594" y="5951762"/>
              <a:ext cx="106445" cy="107156"/>
            </a:xfrm>
            <a:prstGeom prst="rect">
              <a:avLst/>
            </a:prstGeom>
          </p:spPr>
        </p:pic>
        <p:sp>
          <p:nvSpPr>
            <p:cNvPr id="228" name="object 79">
              <a:extLst>
                <a:ext uri="{FF2B5EF4-FFF2-40B4-BE49-F238E27FC236}">
                  <a16:creationId xmlns:a16="http://schemas.microsoft.com/office/drawing/2014/main" id="{45EF1FE0-EA2A-B43D-E9B4-D0491029E4B9}"/>
                </a:ext>
              </a:extLst>
            </p:cNvPr>
            <p:cNvSpPr/>
            <p:nvPr/>
          </p:nvSpPr>
          <p:spPr>
            <a:xfrm>
              <a:off x="9138939" y="5383587"/>
              <a:ext cx="332700" cy="477101"/>
            </a:xfrm>
            <a:custGeom>
              <a:avLst/>
              <a:gdLst/>
              <a:ahLst/>
              <a:cxnLst/>
              <a:rect l="l" t="t" r="r" b="b"/>
              <a:pathLst>
                <a:path w="548640" h="786765">
                  <a:moveTo>
                    <a:pt x="548081" y="520179"/>
                  </a:moveTo>
                  <a:lnTo>
                    <a:pt x="500367" y="524217"/>
                  </a:lnTo>
                  <a:lnTo>
                    <a:pt x="455841" y="535876"/>
                  </a:lnTo>
                  <a:lnTo>
                    <a:pt x="414616" y="554469"/>
                  </a:lnTo>
                  <a:lnTo>
                    <a:pt x="402209" y="562749"/>
                  </a:lnTo>
                  <a:lnTo>
                    <a:pt x="377355" y="579335"/>
                  </a:lnTo>
                  <a:lnTo>
                    <a:pt x="344716" y="609790"/>
                  </a:lnTo>
                  <a:lnTo>
                    <a:pt x="317411" y="645172"/>
                  </a:lnTo>
                  <a:lnTo>
                    <a:pt x="296087" y="684796"/>
                  </a:lnTo>
                  <a:lnTo>
                    <a:pt x="281419" y="727976"/>
                  </a:lnTo>
                  <a:lnTo>
                    <a:pt x="274078" y="774039"/>
                  </a:lnTo>
                  <a:lnTo>
                    <a:pt x="266915" y="727811"/>
                  </a:lnTo>
                  <a:lnTo>
                    <a:pt x="252361" y="684441"/>
                  </a:lnTo>
                  <a:lnTo>
                    <a:pt x="231101" y="644652"/>
                  </a:lnTo>
                  <a:lnTo>
                    <a:pt x="203796" y="609117"/>
                  </a:lnTo>
                  <a:lnTo>
                    <a:pt x="171157" y="578523"/>
                  </a:lnTo>
                  <a:lnTo>
                    <a:pt x="133845" y="553542"/>
                  </a:lnTo>
                  <a:lnTo>
                    <a:pt x="92532" y="534847"/>
                  </a:lnTo>
                  <a:lnTo>
                    <a:pt x="47917" y="523125"/>
                  </a:lnTo>
                  <a:lnTo>
                    <a:pt x="0" y="519061"/>
                  </a:lnTo>
                  <a:lnTo>
                    <a:pt x="5448" y="567258"/>
                  </a:lnTo>
                  <a:lnTo>
                    <a:pt x="18846" y="612508"/>
                  </a:lnTo>
                  <a:lnTo>
                    <a:pt x="39458" y="654138"/>
                  </a:lnTo>
                  <a:lnTo>
                    <a:pt x="66548" y="691388"/>
                  </a:lnTo>
                  <a:lnTo>
                    <a:pt x="67246" y="692073"/>
                  </a:lnTo>
                  <a:lnTo>
                    <a:pt x="99390" y="723544"/>
                  </a:lnTo>
                  <a:lnTo>
                    <a:pt x="137248" y="749858"/>
                  </a:lnTo>
                  <a:lnTo>
                    <a:pt x="179387" y="769594"/>
                  </a:lnTo>
                  <a:lnTo>
                    <a:pt x="225056" y="782015"/>
                  </a:lnTo>
                  <a:lnTo>
                    <a:pt x="273532" y="786396"/>
                  </a:lnTo>
                  <a:lnTo>
                    <a:pt x="274751" y="786396"/>
                  </a:lnTo>
                  <a:lnTo>
                    <a:pt x="323088" y="782027"/>
                  </a:lnTo>
                  <a:lnTo>
                    <a:pt x="368642" y="769670"/>
                  </a:lnTo>
                  <a:lnTo>
                    <a:pt x="410679" y="750023"/>
                  </a:lnTo>
                  <a:lnTo>
                    <a:pt x="448475" y="723823"/>
                  </a:lnTo>
                  <a:lnTo>
                    <a:pt x="481279" y="691819"/>
                  </a:lnTo>
                  <a:lnTo>
                    <a:pt x="488492" y="681939"/>
                  </a:lnTo>
                  <a:lnTo>
                    <a:pt x="508393" y="654697"/>
                  </a:lnTo>
                  <a:lnTo>
                    <a:pt x="529031" y="613257"/>
                  </a:lnTo>
                  <a:lnTo>
                    <a:pt x="542518" y="568172"/>
                  </a:lnTo>
                  <a:lnTo>
                    <a:pt x="548068" y="520204"/>
                  </a:lnTo>
                  <a:close/>
                </a:path>
                <a:path w="548640" h="786765">
                  <a:moveTo>
                    <a:pt x="548081" y="266623"/>
                  </a:moveTo>
                  <a:lnTo>
                    <a:pt x="500367" y="270649"/>
                  </a:lnTo>
                  <a:lnTo>
                    <a:pt x="455841" y="282308"/>
                  </a:lnTo>
                  <a:lnTo>
                    <a:pt x="414616" y="300913"/>
                  </a:lnTo>
                  <a:lnTo>
                    <a:pt x="377355" y="325780"/>
                  </a:lnTo>
                  <a:lnTo>
                    <a:pt x="344728" y="356235"/>
                  </a:lnTo>
                  <a:lnTo>
                    <a:pt x="317411" y="391617"/>
                  </a:lnTo>
                  <a:lnTo>
                    <a:pt x="296087" y="431241"/>
                  </a:lnTo>
                  <a:lnTo>
                    <a:pt x="281419" y="474446"/>
                  </a:lnTo>
                  <a:lnTo>
                    <a:pt x="274091" y="520522"/>
                  </a:lnTo>
                  <a:lnTo>
                    <a:pt x="266915" y="474256"/>
                  </a:lnTo>
                  <a:lnTo>
                    <a:pt x="252361" y="430885"/>
                  </a:lnTo>
                  <a:lnTo>
                    <a:pt x="231101"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76"/>
                  </a:lnTo>
                  <a:lnTo>
                    <a:pt x="137248" y="496290"/>
                  </a:lnTo>
                  <a:lnTo>
                    <a:pt x="179387" y="516026"/>
                  </a:lnTo>
                  <a:lnTo>
                    <a:pt x="225056" y="528447"/>
                  </a:lnTo>
                  <a:lnTo>
                    <a:pt x="273532" y="532828"/>
                  </a:lnTo>
                  <a:lnTo>
                    <a:pt x="274751" y="532828"/>
                  </a:lnTo>
                  <a:lnTo>
                    <a:pt x="323088" y="528472"/>
                  </a:lnTo>
                  <a:lnTo>
                    <a:pt x="368642" y="516102"/>
                  </a:lnTo>
                  <a:lnTo>
                    <a:pt x="410679" y="496455"/>
                  </a:lnTo>
                  <a:lnTo>
                    <a:pt x="448475" y="470268"/>
                  </a:lnTo>
                  <a:lnTo>
                    <a:pt x="481279" y="438251"/>
                  </a:lnTo>
                  <a:lnTo>
                    <a:pt x="508368" y="401154"/>
                  </a:lnTo>
                  <a:lnTo>
                    <a:pt x="529031" y="359689"/>
                  </a:lnTo>
                  <a:lnTo>
                    <a:pt x="542505" y="314604"/>
                  </a:lnTo>
                  <a:lnTo>
                    <a:pt x="548081" y="266623"/>
                  </a:lnTo>
                  <a:close/>
                </a:path>
                <a:path w="548640" h="786765">
                  <a:moveTo>
                    <a:pt x="548081" y="1079"/>
                  </a:moveTo>
                  <a:lnTo>
                    <a:pt x="500367" y="5118"/>
                  </a:lnTo>
                  <a:lnTo>
                    <a:pt x="455841" y="16764"/>
                  </a:lnTo>
                  <a:lnTo>
                    <a:pt x="414616" y="35369"/>
                  </a:lnTo>
                  <a:lnTo>
                    <a:pt x="377355" y="60236"/>
                  </a:lnTo>
                  <a:lnTo>
                    <a:pt x="344728" y="90703"/>
                  </a:lnTo>
                  <a:lnTo>
                    <a:pt x="317411" y="126085"/>
                  </a:lnTo>
                  <a:lnTo>
                    <a:pt x="296087" y="165722"/>
                  </a:lnTo>
                  <a:lnTo>
                    <a:pt x="281419" y="208915"/>
                  </a:lnTo>
                  <a:lnTo>
                    <a:pt x="274091" y="255003"/>
                  </a:lnTo>
                  <a:lnTo>
                    <a:pt x="266915" y="208724"/>
                  </a:lnTo>
                  <a:lnTo>
                    <a:pt x="252361" y="165354"/>
                  </a:lnTo>
                  <a:lnTo>
                    <a:pt x="231101"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36"/>
                  </a:lnTo>
                  <a:lnTo>
                    <a:pt x="481279" y="172720"/>
                  </a:lnTo>
                  <a:lnTo>
                    <a:pt x="508368" y="135623"/>
                  </a:lnTo>
                  <a:lnTo>
                    <a:pt x="529031" y="94157"/>
                  </a:lnTo>
                  <a:lnTo>
                    <a:pt x="542505" y="49072"/>
                  </a:lnTo>
                  <a:lnTo>
                    <a:pt x="548081" y="1079"/>
                  </a:lnTo>
                  <a:close/>
                </a:path>
              </a:pathLst>
            </a:custGeom>
            <a:solidFill>
              <a:srgbClr val="7ED3F1"/>
            </a:solidFill>
          </p:spPr>
          <p:txBody>
            <a:bodyPr wrap="square" lIns="0" tIns="0" rIns="0" bIns="0" rtlCol="0"/>
            <a:lstStyle/>
            <a:p>
              <a:endParaRPr dirty="0"/>
            </a:p>
          </p:txBody>
        </p:sp>
        <p:pic>
          <p:nvPicPr>
            <p:cNvPr id="229" name="object 80">
              <a:extLst>
                <a:ext uri="{FF2B5EF4-FFF2-40B4-BE49-F238E27FC236}">
                  <a16:creationId xmlns:a16="http://schemas.microsoft.com/office/drawing/2014/main" id="{659BCAAF-18D8-BABF-16CA-01F4C3F84388}"/>
                </a:ext>
              </a:extLst>
            </p:cNvPr>
            <p:cNvPicPr/>
            <p:nvPr/>
          </p:nvPicPr>
          <p:blipFill>
            <a:blip r:embed="rId11" cstate="print"/>
            <a:stretch>
              <a:fillRect/>
            </a:stretch>
          </p:blipFill>
          <p:spPr>
            <a:xfrm>
              <a:off x="9251594" y="5297596"/>
              <a:ext cx="106445" cy="107156"/>
            </a:xfrm>
            <a:prstGeom prst="rect">
              <a:avLst/>
            </a:prstGeom>
          </p:spPr>
        </p:pic>
        <p:sp>
          <p:nvSpPr>
            <p:cNvPr id="230" name="object 81">
              <a:extLst>
                <a:ext uri="{FF2B5EF4-FFF2-40B4-BE49-F238E27FC236}">
                  <a16:creationId xmlns:a16="http://schemas.microsoft.com/office/drawing/2014/main" id="{9EBAABCF-6495-7AFB-6F3A-147E1AEE1A8E}"/>
                </a:ext>
              </a:extLst>
            </p:cNvPr>
            <p:cNvSpPr/>
            <p:nvPr/>
          </p:nvSpPr>
          <p:spPr>
            <a:xfrm>
              <a:off x="9138939" y="6691912"/>
              <a:ext cx="332700" cy="165965"/>
            </a:xfrm>
            <a:custGeom>
              <a:avLst/>
              <a:gdLst/>
              <a:ahLst/>
              <a:cxnLst/>
              <a:rect l="l" t="t" r="r" b="b"/>
              <a:pathLst>
                <a:path w="548640" h="273684">
                  <a:moveTo>
                    <a:pt x="62572" y="273431"/>
                  </a:moveTo>
                  <a:lnTo>
                    <a:pt x="47917" y="269595"/>
                  </a:lnTo>
                  <a:lnTo>
                    <a:pt x="0" y="265544"/>
                  </a:lnTo>
                  <a:lnTo>
                    <a:pt x="901" y="273431"/>
                  </a:lnTo>
                  <a:lnTo>
                    <a:pt x="62572" y="273431"/>
                  </a:lnTo>
                  <a:close/>
                </a:path>
                <a:path w="548640" h="273684">
                  <a:moveTo>
                    <a:pt x="548081" y="266623"/>
                  </a:moveTo>
                  <a:lnTo>
                    <a:pt x="500367" y="270649"/>
                  </a:lnTo>
                  <a:lnTo>
                    <a:pt x="489737" y="273431"/>
                  </a:lnTo>
                  <a:lnTo>
                    <a:pt x="547293" y="273431"/>
                  </a:lnTo>
                  <a:lnTo>
                    <a:pt x="548081" y="266623"/>
                  </a:lnTo>
                  <a:close/>
                </a:path>
                <a:path w="548640" h="273684">
                  <a:moveTo>
                    <a:pt x="548081" y="1079"/>
                  </a:moveTo>
                  <a:lnTo>
                    <a:pt x="500367" y="5118"/>
                  </a:lnTo>
                  <a:lnTo>
                    <a:pt x="455841" y="16776"/>
                  </a:lnTo>
                  <a:lnTo>
                    <a:pt x="414616" y="35382"/>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73"/>
                  </a:lnTo>
                  <a:lnTo>
                    <a:pt x="47917" y="4064"/>
                  </a:lnTo>
                  <a:lnTo>
                    <a:pt x="0" y="0"/>
                  </a:lnTo>
                  <a:lnTo>
                    <a:pt x="5448" y="48171"/>
                  </a:lnTo>
                  <a:lnTo>
                    <a:pt x="18846" y="93421"/>
                  </a:lnTo>
                  <a:lnTo>
                    <a:pt x="39458" y="135051"/>
                  </a:lnTo>
                  <a:lnTo>
                    <a:pt x="66560" y="172313"/>
                  </a:lnTo>
                  <a:lnTo>
                    <a:pt x="99402" y="204457"/>
                  </a:lnTo>
                  <a:lnTo>
                    <a:pt x="137248" y="230771"/>
                  </a:lnTo>
                  <a:lnTo>
                    <a:pt x="179387" y="250507"/>
                  </a:lnTo>
                  <a:lnTo>
                    <a:pt x="225056" y="262928"/>
                  </a:lnTo>
                  <a:lnTo>
                    <a:pt x="273532" y="267309"/>
                  </a:lnTo>
                  <a:lnTo>
                    <a:pt x="274751" y="267309"/>
                  </a:lnTo>
                  <a:lnTo>
                    <a:pt x="323088" y="262940"/>
                  </a:lnTo>
                  <a:lnTo>
                    <a:pt x="368642" y="250583"/>
                  </a:lnTo>
                  <a:lnTo>
                    <a:pt x="410679" y="230936"/>
                  </a:lnTo>
                  <a:lnTo>
                    <a:pt x="448475" y="204736"/>
                  </a:lnTo>
                  <a:lnTo>
                    <a:pt x="481279" y="172720"/>
                  </a:lnTo>
                  <a:lnTo>
                    <a:pt x="508368" y="135623"/>
                  </a:lnTo>
                  <a:lnTo>
                    <a:pt x="529031" y="94157"/>
                  </a:lnTo>
                  <a:lnTo>
                    <a:pt x="542505" y="49072"/>
                  </a:lnTo>
                  <a:lnTo>
                    <a:pt x="548081" y="1079"/>
                  </a:lnTo>
                  <a:close/>
                </a:path>
              </a:pathLst>
            </a:custGeom>
            <a:solidFill>
              <a:srgbClr val="7ED3F1"/>
            </a:solidFill>
          </p:spPr>
          <p:txBody>
            <a:bodyPr wrap="square" lIns="0" tIns="0" rIns="0" bIns="0" rtlCol="0"/>
            <a:lstStyle/>
            <a:p>
              <a:endParaRPr dirty="0"/>
            </a:p>
          </p:txBody>
        </p:sp>
        <p:pic>
          <p:nvPicPr>
            <p:cNvPr id="231" name="object 82">
              <a:extLst>
                <a:ext uri="{FF2B5EF4-FFF2-40B4-BE49-F238E27FC236}">
                  <a16:creationId xmlns:a16="http://schemas.microsoft.com/office/drawing/2014/main" id="{B61740D3-7CFB-7B2C-FFFA-46569C8402C0}"/>
                </a:ext>
              </a:extLst>
            </p:cNvPr>
            <p:cNvPicPr/>
            <p:nvPr/>
          </p:nvPicPr>
          <p:blipFill>
            <a:blip r:embed="rId11" cstate="print"/>
            <a:stretch>
              <a:fillRect/>
            </a:stretch>
          </p:blipFill>
          <p:spPr>
            <a:xfrm>
              <a:off x="9251594" y="6605926"/>
              <a:ext cx="106445" cy="107156"/>
            </a:xfrm>
            <a:prstGeom prst="rect">
              <a:avLst/>
            </a:prstGeom>
          </p:spPr>
        </p:pic>
        <p:sp>
          <p:nvSpPr>
            <p:cNvPr id="232" name="object 83">
              <a:extLst>
                <a:ext uri="{FF2B5EF4-FFF2-40B4-BE49-F238E27FC236}">
                  <a16:creationId xmlns:a16="http://schemas.microsoft.com/office/drawing/2014/main" id="{4EBC3772-3F4C-65A3-C6BD-55E0D7D2B0C6}"/>
                </a:ext>
              </a:extLst>
            </p:cNvPr>
            <p:cNvSpPr/>
            <p:nvPr/>
          </p:nvSpPr>
          <p:spPr>
            <a:xfrm>
              <a:off x="8753854" y="6479532"/>
              <a:ext cx="332700" cy="316141"/>
            </a:xfrm>
            <a:custGeom>
              <a:avLst/>
              <a:gdLst/>
              <a:ahLst/>
              <a:cxnLst/>
              <a:rect l="l" t="t" r="r" b="b"/>
              <a:pathLst>
                <a:path w="548640" h="521334">
                  <a:moveTo>
                    <a:pt x="548081" y="520852"/>
                  </a:moveTo>
                  <a:lnTo>
                    <a:pt x="542645" y="472694"/>
                  </a:lnTo>
                  <a:lnTo>
                    <a:pt x="529247" y="427431"/>
                  </a:lnTo>
                  <a:lnTo>
                    <a:pt x="508622" y="385800"/>
                  </a:lnTo>
                  <a:lnTo>
                    <a:pt x="481533" y="348551"/>
                  </a:lnTo>
                  <a:lnTo>
                    <a:pt x="448691" y="316395"/>
                  </a:lnTo>
                  <a:lnTo>
                    <a:pt x="410832" y="290093"/>
                  </a:lnTo>
                  <a:lnTo>
                    <a:pt x="368706" y="270357"/>
                  </a:lnTo>
                  <a:lnTo>
                    <a:pt x="323037" y="257924"/>
                  </a:lnTo>
                  <a:lnTo>
                    <a:pt x="274561" y="253555"/>
                  </a:lnTo>
                  <a:lnTo>
                    <a:pt x="273342" y="253555"/>
                  </a:lnTo>
                  <a:lnTo>
                    <a:pt x="224993" y="257911"/>
                  </a:lnTo>
                  <a:lnTo>
                    <a:pt x="179438" y="270281"/>
                  </a:lnTo>
                  <a:lnTo>
                    <a:pt x="137414" y="289915"/>
                  </a:lnTo>
                  <a:lnTo>
                    <a:pt x="99618" y="316115"/>
                  </a:lnTo>
                  <a:lnTo>
                    <a:pt x="66827" y="348132"/>
                  </a:lnTo>
                  <a:lnTo>
                    <a:pt x="39738" y="385229"/>
                  </a:lnTo>
                  <a:lnTo>
                    <a:pt x="19088" y="426694"/>
                  </a:lnTo>
                  <a:lnTo>
                    <a:pt x="5613" y="471792"/>
                  </a:lnTo>
                  <a:lnTo>
                    <a:pt x="50" y="519772"/>
                  </a:lnTo>
                  <a:lnTo>
                    <a:pt x="47713" y="515747"/>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27"/>
                  </a:lnTo>
                  <a:lnTo>
                    <a:pt x="295732" y="355498"/>
                  </a:lnTo>
                  <a:lnTo>
                    <a:pt x="316992" y="395300"/>
                  </a:lnTo>
                  <a:lnTo>
                    <a:pt x="344284" y="430834"/>
                  </a:lnTo>
                  <a:lnTo>
                    <a:pt x="376936" y="461429"/>
                  </a:lnTo>
                  <a:lnTo>
                    <a:pt x="414248" y="486410"/>
                  </a:lnTo>
                  <a:lnTo>
                    <a:pt x="455549" y="505091"/>
                  </a:lnTo>
                  <a:lnTo>
                    <a:pt x="500176" y="516801"/>
                  </a:lnTo>
                  <a:lnTo>
                    <a:pt x="548081" y="520852"/>
                  </a:lnTo>
                  <a:close/>
                </a:path>
                <a:path w="548640" h="521334">
                  <a:moveTo>
                    <a:pt x="548093" y="267322"/>
                  </a:moveTo>
                  <a:lnTo>
                    <a:pt x="542645" y="219138"/>
                  </a:lnTo>
                  <a:lnTo>
                    <a:pt x="529247" y="173875"/>
                  </a:lnTo>
                  <a:lnTo>
                    <a:pt x="508635" y="132245"/>
                  </a:lnTo>
                  <a:lnTo>
                    <a:pt x="481533" y="94996"/>
                  </a:lnTo>
                  <a:lnTo>
                    <a:pt x="448691" y="62839"/>
                  </a:lnTo>
                  <a:lnTo>
                    <a:pt x="410845" y="36537"/>
                  </a:lnTo>
                  <a:lnTo>
                    <a:pt x="368719" y="16814"/>
                  </a:lnTo>
                  <a:lnTo>
                    <a:pt x="323037" y="4368"/>
                  </a:lnTo>
                  <a:lnTo>
                    <a:pt x="274574" y="12"/>
                  </a:lnTo>
                  <a:lnTo>
                    <a:pt x="273342" y="0"/>
                  </a:lnTo>
                  <a:lnTo>
                    <a:pt x="224993" y="4356"/>
                  </a:lnTo>
                  <a:lnTo>
                    <a:pt x="179438" y="16713"/>
                  </a:lnTo>
                  <a:lnTo>
                    <a:pt x="137414" y="36360"/>
                  </a:lnTo>
                  <a:lnTo>
                    <a:pt x="99618" y="62560"/>
                  </a:lnTo>
                  <a:lnTo>
                    <a:pt x="98806" y="63347"/>
                  </a:lnTo>
                  <a:lnTo>
                    <a:pt x="66827" y="94576"/>
                  </a:lnTo>
                  <a:lnTo>
                    <a:pt x="39700" y="131686"/>
                  </a:lnTo>
                  <a:lnTo>
                    <a:pt x="19050" y="173139"/>
                  </a:lnTo>
                  <a:lnTo>
                    <a:pt x="5575" y="218211"/>
                  </a:lnTo>
                  <a:lnTo>
                    <a:pt x="0" y="266192"/>
                  </a:lnTo>
                  <a:lnTo>
                    <a:pt x="47713" y="262178"/>
                  </a:lnTo>
                  <a:lnTo>
                    <a:pt x="92240" y="250520"/>
                  </a:lnTo>
                  <a:lnTo>
                    <a:pt x="133477" y="231914"/>
                  </a:lnTo>
                  <a:lnTo>
                    <a:pt x="170751" y="207048"/>
                  </a:lnTo>
                  <a:lnTo>
                    <a:pt x="203377" y="176593"/>
                  </a:lnTo>
                  <a:lnTo>
                    <a:pt x="230682" y="141211"/>
                  </a:lnTo>
                  <a:lnTo>
                    <a:pt x="252006" y="101600"/>
                  </a:lnTo>
                  <a:lnTo>
                    <a:pt x="266674" y="58407"/>
                  </a:lnTo>
                  <a:lnTo>
                    <a:pt x="274002" y="12319"/>
                  </a:lnTo>
                  <a:lnTo>
                    <a:pt x="281178" y="58572"/>
                  </a:lnTo>
                  <a:lnTo>
                    <a:pt x="295732" y="101942"/>
                  </a:lnTo>
                  <a:lnTo>
                    <a:pt x="316992" y="141744"/>
                  </a:lnTo>
                  <a:lnTo>
                    <a:pt x="344284" y="177279"/>
                  </a:lnTo>
                  <a:lnTo>
                    <a:pt x="376936" y="207873"/>
                  </a:lnTo>
                  <a:lnTo>
                    <a:pt x="414248" y="232854"/>
                  </a:lnTo>
                  <a:lnTo>
                    <a:pt x="455561"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233" name="object 84">
              <a:extLst>
                <a:ext uri="{FF2B5EF4-FFF2-40B4-BE49-F238E27FC236}">
                  <a16:creationId xmlns:a16="http://schemas.microsoft.com/office/drawing/2014/main" id="{E31A9735-41F8-4F30-E647-D76DAC8663D5}"/>
                </a:ext>
              </a:extLst>
            </p:cNvPr>
            <p:cNvPicPr/>
            <p:nvPr/>
          </p:nvPicPr>
          <p:blipFill>
            <a:blip r:embed="rId7" cstate="print"/>
            <a:stretch>
              <a:fillRect/>
            </a:stretch>
          </p:blipFill>
          <p:spPr>
            <a:xfrm>
              <a:off x="8789951" y="6794307"/>
              <a:ext cx="260137" cy="63416"/>
            </a:xfrm>
            <a:prstGeom prst="rect">
              <a:avLst/>
            </a:prstGeom>
          </p:spPr>
        </p:pic>
        <p:sp>
          <p:nvSpPr>
            <p:cNvPr id="234" name="object 85">
              <a:extLst>
                <a:ext uri="{FF2B5EF4-FFF2-40B4-BE49-F238E27FC236}">
                  <a16:creationId xmlns:a16="http://schemas.microsoft.com/office/drawing/2014/main" id="{EAE85224-CBDE-D426-5F29-8577A3AB8FB1}"/>
                </a:ext>
              </a:extLst>
            </p:cNvPr>
            <p:cNvSpPr/>
            <p:nvPr/>
          </p:nvSpPr>
          <p:spPr>
            <a:xfrm>
              <a:off x="8753854" y="5171198"/>
              <a:ext cx="332700" cy="477101"/>
            </a:xfrm>
            <a:custGeom>
              <a:avLst/>
              <a:gdLst/>
              <a:ahLst/>
              <a:cxnLst/>
              <a:rect l="l" t="t" r="r" b="b"/>
              <a:pathLst>
                <a:path w="548640" h="786765">
                  <a:moveTo>
                    <a:pt x="548081" y="786396"/>
                  </a:moveTo>
                  <a:lnTo>
                    <a:pt x="542645" y="738225"/>
                  </a:lnTo>
                  <a:lnTo>
                    <a:pt x="529247" y="692975"/>
                  </a:lnTo>
                  <a:lnTo>
                    <a:pt x="508622" y="651344"/>
                  </a:lnTo>
                  <a:lnTo>
                    <a:pt x="481533" y="614083"/>
                  </a:lnTo>
                  <a:lnTo>
                    <a:pt x="448691" y="581939"/>
                  </a:lnTo>
                  <a:lnTo>
                    <a:pt x="410832" y="555625"/>
                  </a:lnTo>
                  <a:lnTo>
                    <a:pt x="368706" y="535889"/>
                  </a:lnTo>
                  <a:lnTo>
                    <a:pt x="323037" y="523468"/>
                  </a:lnTo>
                  <a:lnTo>
                    <a:pt x="274561" y="519087"/>
                  </a:lnTo>
                  <a:lnTo>
                    <a:pt x="273342" y="519087"/>
                  </a:lnTo>
                  <a:lnTo>
                    <a:pt x="224993" y="523455"/>
                  </a:lnTo>
                  <a:lnTo>
                    <a:pt x="179438" y="535813"/>
                  </a:lnTo>
                  <a:lnTo>
                    <a:pt x="137414" y="555459"/>
                  </a:lnTo>
                  <a:lnTo>
                    <a:pt x="99618" y="581660"/>
                  </a:lnTo>
                  <a:lnTo>
                    <a:pt x="66827" y="613676"/>
                  </a:lnTo>
                  <a:lnTo>
                    <a:pt x="39738" y="650773"/>
                  </a:lnTo>
                  <a:lnTo>
                    <a:pt x="19088" y="692238"/>
                  </a:lnTo>
                  <a:lnTo>
                    <a:pt x="5613" y="737323"/>
                  </a:lnTo>
                  <a:lnTo>
                    <a:pt x="50" y="785317"/>
                  </a:lnTo>
                  <a:lnTo>
                    <a:pt x="47713" y="781278"/>
                  </a:lnTo>
                  <a:lnTo>
                    <a:pt x="92240" y="769620"/>
                  </a:lnTo>
                  <a:lnTo>
                    <a:pt x="133477" y="751027"/>
                  </a:lnTo>
                  <a:lnTo>
                    <a:pt x="170738" y="726147"/>
                  </a:lnTo>
                  <a:lnTo>
                    <a:pt x="203365" y="695680"/>
                  </a:lnTo>
                  <a:lnTo>
                    <a:pt x="230682" y="660298"/>
                  </a:lnTo>
                  <a:lnTo>
                    <a:pt x="252006" y="620674"/>
                  </a:lnTo>
                  <a:lnTo>
                    <a:pt x="266661" y="577481"/>
                  </a:lnTo>
                  <a:lnTo>
                    <a:pt x="274002" y="531393"/>
                  </a:lnTo>
                  <a:lnTo>
                    <a:pt x="281178" y="577672"/>
                  </a:lnTo>
                  <a:lnTo>
                    <a:pt x="295732" y="621042"/>
                  </a:lnTo>
                  <a:lnTo>
                    <a:pt x="316992" y="660831"/>
                  </a:lnTo>
                  <a:lnTo>
                    <a:pt x="344284" y="696366"/>
                  </a:lnTo>
                  <a:lnTo>
                    <a:pt x="376936" y="726960"/>
                  </a:lnTo>
                  <a:lnTo>
                    <a:pt x="414248" y="751941"/>
                  </a:lnTo>
                  <a:lnTo>
                    <a:pt x="455549" y="770623"/>
                  </a:lnTo>
                  <a:lnTo>
                    <a:pt x="500176" y="782332"/>
                  </a:lnTo>
                  <a:lnTo>
                    <a:pt x="548081" y="786396"/>
                  </a:lnTo>
                  <a:close/>
                </a:path>
                <a:path w="548640" h="786765">
                  <a:moveTo>
                    <a:pt x="548081" y="520865"/>
                  </a:moveTo>
                  <a:lnTo>
                    <a:pt x="542645" y="472706"/>
                  </a:lnTo>
                  <a:lnTo>
                    <a:pt x="529247" y="427443"/>
                  </a:lnTo>
                  <a:lnTo>
                    <a:pt x="508622" y="385813"/>
                  </a:lnTo>
                  <a:lnTo>
                    <a:pt x="481533" y="348551"/>
                  </a:lnTo>
                  <a:lnTo>
                    <a:pt x="448691" y="316407"/>
                  </a:lnTo>
                  <a:lnTo>
                    <a:pt x="410832" y="290093"/>
                  </a:lnTo>
                  <a:lnTo>
                    <a:pt x="368706" y="270357"/>
                  </a:lnTo>
                  <a:lnTo>
                    <a:pt x="323037" y="257937"/>
                  </a:lnTo>
                  <a:lnTo>
                    <a:pt x="274561" y="253568"/>
                  </a:lnTo>
                  <a:lnTo>
                    <a:pt x="273342" y="253568"/>
                  </a:lnTo>
                  <a:lnTo>
                    <a:pt x="224993" y="257924"/>
                  </a:lnTo>
                  <a:lnTo>
                    <a:pt x="179438" y="270281"/>
                  </a:lnTo>
                  <a:lnTo>
                    <a:pt x="137414" y="289928"/>
                  </a:lnTo>
                  <a:lnTo>
                    <a:pt x="99618" y="316128"/>
                  </a:lnTo>
                  <a:lnTo>
                    <a:pt x="66827" y="348132"/>
                  </a:lnTo>
                  <a:lnTo>
                    <a:pt x="39738" y="385241"/>
                  </a:lnTo>
                  <a:lnTo>
                    <a:pt x="19088" y="426694"/>
                  </a:lnTo>
                  <a:lnTo>
                    <a:pt x="5613" y="471792"/>
                  </a:lnTo>
                  <a:lnTo>
                    <a:pt x="50" y="519772"/>
                  </a:lnTo>
                  <a:lnTo>
                    <a:pt x="47713" y="515734"/>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40"/>
                  </a:lnTo>
                  <a:lnTo>
                    <a:pt x="295732" y="355511"/>
                  </a:lnTo>
                  <a:lnTo>
                    <a:pt x="316992" y="395300"/>
                  </a:lnTo>
                  <a:lnTo>
                    <a:pt x="344284" y="430834"/>
                  </a:lnTo>
                  <a:lnTo>
                    <a:pt x="376936" y="461441"/>
                  </a:lnTo>
                  <a:lnTo>
                    <a:pt x="414248" y="486410"/>
                  </a:lnTo>
                  <a:lnTo>
                    <a:pt x="455549" y="505104"/>
                  </a:lnTo>
                  <a:lnTo>
                    <a:pt x="500176" y="516813"/>
                  </a:lnTo>
                  <a:lnTo>
                    <a:pt x="548081" y="520865"/>
                  </a:lnTo>
                  <a:close/>
                </a:path>
                <a:path w="548640" h="786765">
                  <a:moveTo>
                    <a:pt x="548093" y="267322"/>
                  </a:moveTo>
                  <a:lnTo>
                    <a:pt x="543331" y="225285"/>
                  </a:lnTo>
                  <a:lnTo>
                    <a:pt x="542645" y="219151"/>
                  </a:lnTo>
                  <a:lnTo>
                    <a:pt x="529247" y="173875"/>
                  </a:lnTo>
                  <a:lnTo>
                    <a:pt x="508635" y="132245"/>
                  </a:lnTo>
                  <a:lnTo>
                    <a:pt x="481533" y="94996"/>
                  </a:lnTo>
                  <a:lnTo>
                    <a:pt x="448691" y="62852"/>
                  </a:lnTo>
                  <a:lnTo>
                    <a:pt x="426351" y="47332"/>
                  </a:lnTo>
                  <a:lnTo>
                    <a:pt x="410845" y="36537"/>
                  </a:lnTo>
                  <a:lnTo>
                    <a:pt x="391109" y="27305"/>
                  </a:lnTo>
                  <a:lnTo>
                    <a:pt x="368719" y="16814"/>
                  </a:lnTo>
                  <a:lnTo>
                    <a:pt x="323049" y="4394"/>
                  </a:lnTo>
                  <a:lnTo>
                    <a:pt x="274574" y="12"/>
                  </a:lnTo>
                  <a:lnTo>
                    <a:pt x="273342" y="0"/>
                  </a:lnTo>
                  <a:lnTo>
                    <a:pt x="224993" y="4356"/>
                  </a:lnTo>
                  <a:lnTo>
                    <a:pt x="179438" y="16725"/>
                  </a:lnTo>
                  <a:lnTo>
                    <a:pt x="137414" y="36372"/>
                  </a:lnTo>
                  <a:lnTo>
                    <a:pt x="99618" y="62560"/>
                  </a:lnTo>
                  <a:lnTo>
                    <a:pt x="98806" y="63347"/>
                  </a:lnTo>
                  <a:lnTo>
                    <a:pt x="66827" y="94576"/>
                  </a:lnTo>
                  <a:lnTo>
                    <a:pt x="39700" y="131686"/>
                  </a:lnTo>
                  <a:lnTo>
                    <a:pt x="19050" y="173139"/>
                  </a:lnTo>
                  <a:lnTo>
                    <a:pt x="5575" y="218211"/>
                  </a:lnTo>
                  <a:lnTo>
                    <a:pt x="0" y="266192"/>
                  </a:lnTo>
                  <a:lnTo>
                    <a:pt x="47713" y="262178"/>
                  </a:lnTo>
                  <a:lnTo>
                    <a:pt x="92240" y="250520"/>
                  </a:lnTo>
                  <a:lnTo>
                    <a:pt x="133477" y="231927"/>
                  </a:lnTo>
                  <a:lnTo>
                    <a:pt x="155816" y="217004"/>
                  </a:lnTo>
                  <a:lnTo>
                    <a:pt x="170751" y="207048"/>
                  </a:lnTo>
                  <a:lnTo>
                    <a:pt x="203377" y="176593"/>
                  </a:lnTo>
                  <a:lnTo>
                    <a:pt x="230682" y="141211"/>
                  </a:lnTo>
                  <a:lnTo>
                    <a:pt x="252006" y="101600"/>
                  </a:lnTo>
                  <a:lnTo>
                    <a:pt x="266674" y="58407"/>
                  </a:lnTo>
                  <a:lnTo>
                    <a:pt x="274002" y="12319"/>
                  </a:lnTo>
                  <a:lnTo>
                    <a:pt x="281178" y="58585"/>
                  </a:lnTo>
                  <a:lnTo>
                    <a:pt x="295732" y="101942"/>
                  </a:lnTo>
                  <a:lnTo>
                    <a:pt x="316992" y="141744"/>
                  </a:lnTo>
                  <a:lnTo>
                    <a:pt x="344284" y="177279"/>
                  </a:lnTo>
                  <a:lnTo>
                    <a:pt x="376936" y="207873"/>
                  </a:lnTo>
                  <a:lnTo>
                    <a:pt x="414248" y="232867"/>
                  </a:lnTo>
                  <a:lnTo>
                    <a:pt x="455561"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235" name="object 86">
              <a:extLst>
                <a:ext uri="{FF2B5EF4-FFF2-40B4-BE49-F238E27FC236}">
                  <a16:creationId xmlns:a16="http://schemas.microsoft.com/office/drawing/2014/main" id="{C32089F9-CBBE-935A-EB76-0677B935F8D7}"/>
                </a:ext>
              </a:extLst>
            </p:cNvPr>
            <p:cNvPicPr/>
            <p:nvPr/>
          </p:nvPicPr>
          <p:blipFill>
            <a:blip r:embed="rId13" cstate="print"/>
            <a:stretch>
              <a:fillRect/>
            </a:stretch>
          </p:blipFill>
          <p:spPr>
            <a:xfrm>
              <a:off x="8867131" y="5626898"/>
              <a:ext cx="106445" cy="107156"/>
            </a:xfrm>
            <a:prstGeom prst="rect">
              <a:avLst/>
            </a:prstGeom>
          </p:spPr>
        </p:pic>
        <p:sp>
          <p:nvSpPr>
            <p:cNvPr id="236" name="object 87">
              <a:extLst>
                <a:ext uri="{FF2B5EF4-FFF2-40B4-BE49-F238E27FC236}">
                  <a16:creationId xmlns:a16="http://schemas.microsoft.com/office/drawing/2014/main" id="{31A9CA72-6FCB-8CCC-05B8-CA3A14D0BE29}"/>
                </a:ext>
              </a:extLst>
            </p:cNvPr>
            <p:cNvSpPr/>
            <p:nvPr/>
          </p:nvSpPr>
          <p:spPr>
            <a:xfrm>
              <a:off x="8753854" y="5825360"/>
              <a:ext cx="332700" cy="477101"/>
            </a:xfrm>
            <a:custGeom>
              <a:avLst/>
              <a:gdLst/>
              <a:ahLst/>
              <a:cxnLst/>
              <a:rect l="l" t="t" r="r" b="b"/>
              <a:pathLst>
                <a:path w="548640" h="786765">
                  <a:moveTo>
                    <a:pt x="548081" y="786396"/>
                  </a:moveTo>
                  <a:lnTo>
                    <a:pt x="542645" y="738238"/>
                  </a:lnTo>
                  <a:lnTo>
                    <a:pt x="529247" y="692975"/>
                  </a:lnTo>
                  <a:lnTo>
                    <a:pt x="508622" y="651344"/>
                  </a:lnTo>
                  <a:lnTo>
                    <a:pt x="481533" y="614095"/>
                  </a:lnTo>
                  <a:lnTo>
                    <a:pt x="448691" y="581939"/>
                  </a:lnTo>
                  <a:lnTo>
                    <a:pt x="410832" y="555637"/>
                  </a:lnTo>
                  <a:lnTo>
                    <a:pt x="368706" y="535901"/>
                  </a:lnTo>
                  <a:lnTo>
                    <a:pt x="323037" y="523481"/>
                  </a:lnTo>
                  <a:lnTo>
                    <a:pt x="274561" y="519099"/>
                  </a:lnTo>
                  <a:lnTo>
                    <a:pt x="273342" y="519099"/>
                  </a:lnTo>
                  <a:lnTo>
                    <a:pt x="224993" y="523455"/>
                  </a:lnTo>
                  <a:lnTo>
                    <a:pt x="179438" y="535825"/>
                  </a:lnTo>
                  <a:lnTo>
                    <a:pt x="137414" y="555472"/>
                  </a:lnTo>
                  <a:lnTo>
                    <a:pt x="99618" y="581660"/>
                  </a:lnTo>
                  <a:lnTo>
                    <a:pt x="66827" y="613676"/>
                  </a:lnTo>
                  <a:lnTo>
                    <a:pt x="39738" y="650773"/>
                  </a:lnTo>
                  <a:lnTo>
                    <a:pt x="19088" y="692238"/>
                  </a:lnTo>
                  <a:lnTo>
                    <a:pt x="5613" y="737323"/>
                  </a:lnTo>
                  <a:lnTo>
                    <a:pt x="50" y="785304"/>
                  </a:lnTo>
                  <a:lnTo>
                    <a:pt x="47713" y="781278"/>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72"/>
                  </a:lnTo>
                  <a:lnTo>
                    <a:pt x="295732" y="621042"/>
                  </a:lnTo>
                  <a:lnTo>
                    <a:pt x="316992" y="660831"/>
                  </a:lnTo>
                  <a:lnTo>
                    <a:pt x="344284" y="696366"/>
                  </a:lnTo>
                  <a:lnTo>
                    <a:pt x="376936" y="726973"/>
                  </a:lnTo>
                  <a:lnTo>
                    <a:pt x="414248" y="751954"/>
                  </a:lnTo>
                  <a:lnTo>
                    <a:pt x="455549" y="770636"/>
                  </a:lnTo>
                  <a:lnTo>
                    <a:pt x="500176" y="782345"/>
                  </a:lnTo>
                  <a:lnTo>
                    <a:pt x="548081" y="786396"/>
                  </a:lnTo>
                  <a:close/>
                </a:path>
                <a:path w="548640" h="786765">
                  <a:moveTo>
                    <a:pt x="548081" y="520865"/>
                  </a:moveTo>
                  <a:lnTo>
                    <a:pt x="542645" y="472706"/>
                  </a:lnTo>
                  <a:lnTo>
                    <a:pt x="529247" y="427443"/>
                  </a:lnTo>
                  <a:lnTo>
                    <a:pt x="508622" y="385813"/>
                  </a:lnTo>
                  <a:lnTo>
                    <a:pt x="481533" y="348564"/>
                  </a:lnTo>
                  <a:lnTo>
                    <a:pt x="448691" y="316407"/>
                  </a:lnTo>
                  <a:lnTo>
                    <a:pt x="410832" y="290093"/>
                  </a:lnTo>
                  <a:lnTo>
                    <a:pt x="368706" y="270370"/>
                  </a:lnTo>
                  <a:lnTo>
                    <a:pt x="323037" y="257937"/>
                  </a:lnTo>
                  <a:lnTo>
                    <a:pt x="274561" y="253555"/>
                  </a:lnTo>
                  <a:lnTo>
                    <a:pt x="273342" y="253555"/>
                  </a:lnTo>
                  <a:lnTo>
                    <a:pt x="224993" y="257924"/>
                  </a:lnTo>
                  <a:lnTo>
                    <a:pt x="179438" y="270294"/>
                  </a:lnTo>
                  <a:lnTo>
                    <a:pt x="137414" y="289928"/>
                  </a:lnTo>
                  <a:lnTo>
                    <a:pt x="99618" y="316128"/>
                  </a:lnTo>
                  <a:lnTo>
                    <a:pt x="66827" y="348145"/>
                  </a:lnTo>
                  <a:lnTo>
                    <a:pt x="39738" y="385241"/>
                  </a:lnTo>
                  <a:lnTo>
                    <a:pt x="19088" y="426694"/>
                  </a:lnTo>
                  <a:lnTo>
                    <a:pt x="5613" y="471792"/>
                  </a:lnTo>
                  <a:lnTo>
                    <a:pt x="50" y="519772"/>
                  </a:lnTo>
                  <a:lnTo>
                    <a:pt x="47713" y="515734"/>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40"/>
                  </a:lnTo>
                  <a:lnTo>
                    <a:pt x="295732" y="355511"/>
                  </a:lnTo>
                  <a:lnTo>
                    <a:pt x="316992" y="395300"/>
                  </a:lnTo>
                  <a:lnTo>
                    <a:pt x="344284" y="430834"/>
                  </a:lnTo>
                  <a:lnTo>
                    <a:pt x="376936" y="461441"/>
                  </a:lnTo>
                  <a:lnTo>
                    <a:pt x="414248" y="486410"/>
                  </a:lnTo>
                  <a:lnTo>
                    <a:pt x="455549" y="505104"/>
                  </a:lnTo>
                  <a:lnTo>
                    <a:pt x="500176" y="516813"/>
                  </a:lnTo>
                  <a:lnTo>
                    <a:pt x="548081" y="520865"/>
                  </a:lnTo>
                  <a:close/>
                </a:path>
                <a:path w="548640" h="786765">
                  <a:moveTo>
                    <a:pt x="548093" y="267322"/>
                  </a:moveTo>
                  <a:lnTo>
                    <a:pt x="543255" y="224586"/>
                  </a:lnTo>
                  <a:lnTo>
                    <a:pt x="542645" y="219151"/>
                  </a:lnTo>
                  <a:lnTo>
                    <a:pt x="529247" y="173888"/>
                  </a:lnTo>
                  <a:lnTo>
                    <a:pt x="508635" y="132257"/>
                  </a:lnTo>
                  <a:lnTo>
                    <a:pt x="481533" y="94996"/>
                  </a:lnTo>
                  <a:lnTo>
                    <a:pt x="448691" y="62852"/>
                  </a:lnTo>
                  <a:lnTo>
                    <a:pt x="410845" y="36550"/>
                  </a:lnTo>
                  <a:lnTo>
                    <a:pt x="368719" y="16814"/>
                  </a:lnTo>
                  <a:lnTo>
                    <a:pt x="323049" y="4394"/>
                  </a:lnTo>
                  <a:lnTo>
                    <a:pt x="274561" y="0"/>
                  </a:lnTo>
                  <a:lnTo>
                    <a:pt x="273342" y="0"/>
                  </a:lnTo>
                  <a:lnTo>
                    <a:pt x="224993" y="4356"/>
                  </a:lnTo>
                  <a:lnTo>
                    <a:pt x="179438" y="16725"/>
                  </a:lnTo>
                  <a:lnTo>
                    <a:pt x="137414" y="36372"/>
                  </a:lnTo>
                  <a:lnTo>
                    <a:pt x="99618" y="62572"/>
                  </a:lnTo>
                  <a:lnTo>
                    <a:pt x="98793" y="63373"/>
                  </a:lnTo>
                  <a:lnTo>
                    <a:pt x="66827" y="94576"/>
                  </a:lnTo>
                  <a:lnTo>
                    <a:pt x="39700" y="131686"/>
                  </a:lnTo>
                  <a:lnTo>
                    <a:pt x="19050" y="173139"/>
                  </a:lnTo>
                  <a:lnTo>
                    <a:pt x="5575" y="218224"/>
                  </a:lnTo>
                  <a:lnTo>
                    <a:pt x="0" y="266192"/>
                  </a:lnTo>
                  <a:lnTo>
                    <a:pt x="47713" y="262178"/>
                  </a:lnTo>
                  <a:lnTo>
                    <a:pt x="92240" y="250532"/>
                  </a:lnTo>
                  <a:lnTo>
                    <a:pt x="133477" y="231927"/>
                  </a:lnTo>
                  <a:lnTo>
                    <a:pt x="170738" y="207060"/>
                  </a:lnTo>
                  <a:lnTo>
                    <a:pt x="172910" y="205041"/>
                  </a:lnTo>
                  <a:lnTo>
                    <a:pt x="203377" y="176593"/>
                  </a:lnTo>
                  <a:lnTo>
                    <a:pt x="230682" y="141224"/>
                  </a:lnTo>
                  <a:lnTo>
                    <a:pt x="252006" y="101600"/>
                  </a:lnTo>
                  <a:lnTo>
                    <a:pt x="266674" y="58407"/>
                  </a:lnTo>
                  <a:lnTo>
                    <a:pt x="274002" y="12331"/>
                  </a:lnTo>
                  <a:lnTo>
                    <a:pt x="281178" y="58585"/>
                  </a:lnTo>
                  <a:lnTo>
                    <a:pt x="295732" y="101955"/>
                  </a:lnTo>
                  <a:lnTo>
                    <a:pt x="316992" y="141744"/>
                  </a:lnTo>
                  <a:lnTo>
                    <a:pt x="344284" y="177279"/>
                  </a:lnTo>
                  <a:lnTo>
                    <a:pt x="360083" y="192087"/>
                  </a:lnTo>
                  <a:lnTo>
                    <a:pt x="376936" y="207886"/>
                  </a:lnTo>
                  <a:lnTo>
                    <a:pt x="414248" y="232867"/>
                  </a:lnTo>
                  <a:lnTo>
                    <a:pt x="455561"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237" name="object 88">
              <a:extLst>
                <a:ext uri="{FF2B5EF4-FFF2-40B4-BE49-F238E27FC236}">
                  <a16:creationId xmlns:a16="http://schemas.microsoft.com/office/drawing/2014/main" id="{F02D2547-1224-4349-4660-33D8C960E42A}"/>
                </a:ext>
              </a:extLst>
            </p:cNvPr>
            <p:cNvPicPr/>
            <p:nvPr/>
          </p:nvPicPr>
          <p:blipFill>
            <a:blip r:embed="rId14" cstate="print"/>
            <a:stretch>
              <a:fillRect/>
            </a:stretch>
          </p:blipFill>
          <p:spPr>
            <a:xfrm>
              <a:off x="8867131" y="6281064"/>
              <a:ext cx="106445" cy="107156"/>
            </a:xfrm>
            <a:prstGeom prst="rect">
              <a:avLst/>
            </a:prstGeom>
          </p:spPr>
        </p:pic>
        <p:sp>
          <p:nvSpPr>
            <p:cNvPr id="238" name="object 89">
              <a:extLst>
                <a:ext uri="{FF2B5EF4-FFF2-40B4-BE49-F238E27FC236}">
                  <a16:creationId xmlns:a16="http://schemas.microsoft.com/office/drawing/2014/main" id="{98065C6B-4309-A6F6-E1C3-E448863DF407}"/>
                </a:ext>
              </a:extLst>
            </p:cNvPr>
            <p:cNvSpPr/>
            <p:nvPr/>
          </p:nvSpPr>
          <p:spPr>
            <a:xfrm>
              <a:off x="9909070" y="6037749"/>
              <a:ext cx="332700" cy="477101"/>
            </a:xfrm>
            <a:custGeom>
              <a:avLst/>
              <a:gdLst/>
              <a:ahLst/>
              <a:cxnLst/>
              <a:rect l="l" t="t" r="r" b="b"/>
              <a:pathLst>
                <a:path w="548640" h="786765">
                  <a:moveTo>
                    <a:pt x="548093" y="520179"/>
                  </a:moveTo>
                  <a:lnTo>
                    <a:pt x="500380" y="524217"/>
                  </a:lnTo>
                  <a:lnTo>
                    <a:pt x="455853" y="535876"/>
                  </a:lnTo>
                  <a:lnTo>
                    <a:pt x="414616" y="554469"/>
                  </a:lnTo>
                  <a:lnTo>
                    <a:pt x="392264" y="569404"/>
                  </a:lnTo>
                  <a:lnTo>
                    <a:pt x="377355" y="579348"/>
                  </a:lnTo>
                  <a:lnTo>
                    <a:pt x="344728" y="609803"/>
                  </a:lnTo>
                  <a:lnTo>
                    <a:pt x="317411" y="645172"/>
                  </a:lnTo>
                  <a:lnTo>
                    <a:pt x="296087" y="684796"/>
                  </a:lnTo>
                  <a:lnTo>
                    <a:pt x="281419" y="727989"/>
                  </a:lnTo>
                  <a:lnTo>
                    <a:pt x="274091" y="774065"/>
                  </a:lnTo>
                  <a:lnTo>
                    <a:pt x="272161" y="761669"/>
                  </a:lnTo>
                  <a:lnTo>
                    <a:pt x="266928" y="727824"/>
                  </a:lnTo>
                  <a:lnTo>
                    <a:pt x="257238" y="699008"/>
                  </a:lnTo>
                  <a:lnTo>
                    <a:pt x="252361" y="684453"/>
                  </a:lnTo>
                  <a:lnTo>
                    <a:pt x="231101" y="644652"/>
                  </a:lnTo>
                  <a:lnTo>
                    <a:pt x="203809" y="609117"/>
                  </a:lnTo>
                  <a:lnTo>
                    <a:pt x="187998" y="594321"/>
                  </a:lnTo>
                  <a:lnTo>
                    <a:pt x="171157" y="578523"/>
                  </a:lnTo>
                  <a:lnTo>
                    <a:pt x="133845" y="553542"/>
                  </a:lnTo>
                  <a:lnTo>
                    <a:pt x="92532" y="534835"/>
                  </a:lnTo>
                  <a:lnTo>
                    <a:pt x="47917" y="523125"/>
                  </a:lnTo>
                  <a:lnTo>
                    <a:pt x="0" y="519074"/>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81" y="654723"/>
                  </a:lnTo>
                  <a:lnTo>
                    <a:pt x="529043" y="613257"/>
                  </a:lnTo>
                  <a:lnTo>
                    <a:pt x="542518" y="568172"/>
                  </a:lnTo>
                  <a:lnTo>
                    <a:pt x="548081" y="520217"/>
                  </a:lnTo>
                  <a:close/>
                </a:path>
                <a:path w="548640" h="786765">
                  <a:moveTo>
                    <a:pt x="548093" y="266611"/>
                  </a:moveTo>
                  <a:lnTo>
                    <a:pt x="500380" y="270649"/>
                  </a:lnTo>
                  <a:lnTo>
                    <a:pt x="455853" y="282308"/>
                  </a:lnTo>
                  <a:lnTo>
                    <a:pt x="414616" y="300901"/>
                  </a:lnTo>
                  <a:lnTo>
                    <a:pt x="377355" y="325780"/>
                  </a:lnTo>
                  <a:lnTo>
                    <a:pt x="344728" y="356235"/>
                  </a:lnTo>
                  <a:lnTo>
                    <a:pt x="317423" y="391629"/>
                  </a:lnTo>
                  <a:lnTo>
                    <a:pt x="296087" y="431253"/>
                  </a:lnTo>
                  <a:lnTo>
                    <a:pt x="281432" y="474446"/>
                  </a:lnTo>
                  <a:lnTo>
                    <a:pt x="274091" y="520534"/>
                  </a:lnTo>
                  <a:lnTo>
                    <a:pt x="266928" y="474256"/>
                  </a:lnTo>
                  <a:lnTo>
                    <a:pt x="252361" y="430885"/>
                  </a:lnTo>
                  <a:lnTo>
                    <a:pt x="231101" y="391096"/>
                  </a:lnTo>
                  <a:lnTo>
                    <a:pt x="203809" y="355561"/>
                  </a:lnTo>
                  <a:lnTo>
                    <a:pt x="171157" y="324954"/>
                  </a:lnTo>
                  <a:lnTo>
                    <a:pt x="133845" y="299986"/>
                  </a:lnTo>
                  <a:lnTo>
                    <a:pt x="92544" y="281292"/>
                  </a:lnTo>
                  <a:lnTo>
                    <a:pt x="47917" y="269582"/>
                  </a:lnTo>
                  <a:lnTo>
                    <a:pt x="12" y="265531"/>
                  </a:lnTo>
                  <a:lnTo>
                    <a:pt x="5461" y="313690"/>
                  </a:lnTo>
                  <a:lnTo>
                    <a:pt x="18859" y="358952"/>
                  </a:lnTo>
                  <a:lnTo>
                    <a:pt x="39471" y="400583"/>
                  </a:lnTo>
                  <a:lnTo>
                    <a:pt x="66560" y="437832"/>
                  </a:lnTo>
                  <a:lnTo>
                    <a:pt x="99402" y="469988"/>
                  </a:lnTo>
                  <a:lnTo>
                    <a:pt x="137261" y="496303"/>
                  </a:lnTo>
                  <a:lnTo>
                    <a:pt x="179387" y="516026"/>
                  </a:lnTo>
                  <a:lnTo>
                    <a:pt x="225056" y="528459"/>
                  </a:lnTo>
                  <a:lnTo>
                    <a:pt x="273532" y="532841"/>
                  </a:lnTo>
                  <a:lnTo>
                    <a:pt x="274751" y="532841"/>
                  </a:lnTo>
                  <a:lnTo>
                    <a:pt x="323100" y="528472"/>
                  </a:lnTo>
                  <a:lnTo>
                    <a:pt x="368655" y="516102"/>
                  </a:lnTo>
                  <a:lnTo>
                    <a:pt x="410692" y="496468"/>
                  </a:lnTo>
                  <a:lnTo>
                    <a:pt x="448475" y="470268"/>
                  </a:lnTo>
                  <a:lnTo>
                    <a:pt x="481279" y="438251"/>
                  </a:lnTo>
                  <a:lnTo>
                    <a:pt x="508381" y="401154"/>
                  </a:lnTo>
                  <a:lnTo>
                    <a:pt x="529031" y="359689"/>
                  </a:lnTo>
                  <a:lnTo>
                    <a:pt x="542505" y="314604"/>
                  </a:lnTo>
                  <a:lnTo>
                    <a:pt x="548093" y="266611"/>
                  </a:lnTo>
                  <a:close/>
                </a:path>
                <a:path w="548640" h="786765">
                  <a:moveTo>
                    <a:pt x="548093" y="1092"/>
                  </a:moveTo>
                  <a:lnTo>
                    <a:pt x="500380" y="5130"/>
                  </a:lnTo>
                  <a:lnTo>
                    <a:pt x="455853" y="16789"/>
                  </a:lnTo>
                  <a:lnTo>
                    <a:pt x="414616" y="35382"/>
                  </a:lnTo>
                  <a:lnTo>
                    <a:pt x="377355" y="60248"/>
                  </a:lnTo>
                  <a:lnTo>
                    <a:pt x="344728" y="90716"/>
                  </a:lnTo>
                  <a:lnTo>
                    <a:pt x="317423" y="126098"/>
                  </a:lnTo>
                  <a:lnTo>
                    <a:pt x="296087" y="165722"/>
                  </a:lnTo>
                  <a:lnTo>
                    <a:pt x="281432" y="208915"/>
                  </a:lnTo>
                  <a:lnTo>
                    <a:pt x="274091" y="255003"/>
                  </a:lnTo>
                  <a:lnTo>
                    <a:pt x="266928" y="208724"/>
                  </a:lnTo>
                  <a:lnTo>
                    <a:pt x="252361" y="165354"/>
                  </a:lnTo>
                  <a:lnTo>
                    <a:pt x="231101" y="125564"/>
                  </a:lnTo>
                  <a:lnTo>
                    <a:pt x="203809" y="90030"/>
                  </a:lnTo>
                  <a:lnTo>
                    <a:pt x="171157" y="59436"/>
                  </a:lnTo>
                  <a:lnTo>
                    <a:pt x="133845" y="34455"/>
                  </a:lnTo>
                  <a:lnTo>
                    <a:pt x="92544" y="15773"/>
                  </a:lnTo>
                  <a:lnTo>
                    <a:pt x="47917" y="4064"/>
                  </a:lnTo>
                  <a:lnTo>
                    <a:pt x="12" y="0"/>
                  </a:lnTo>
                  <a:lnTo>
                    <a:pt x="5461" y="48171"/>
                  </a:lnTo>
                  <a:lnTo>
                    <a:pt x="18859"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92" y="230936"/>
                  </a:lnTo>
                  <a:lnTo>
                    <a:pt x="448475" y="204749"/>
                  </a:lnTo>
                  <a:lnTo>
                    <a:pt x="481279" y="172732"/>
                  </a:lnTo>
                  <a:lnTo>
                    <a:pt x="508381" y="135623"/>
                  </a:lnTo>
                  <a:lnTo>
                    <a:pt x="529031" y="94170"/>
                  </a:lnTo>
                  <a:lnTo>
                    <a:pt x="542505" y="49085"/>
                  </a:lnTo>
                  <a:lnTo>
                    <a:pt x="548093" y="1092"/>
                  </a:lnTo>
                  <a:close/>
                </a:path>
              </a:pathLst>
            </a:custGeom>
            <a:solidFill>
              <a:srgbClr val="2DB7EA"/>
            </a:solidFill>
          </p:spPr>
          <p:txBody>
            <a:bodyPr wrap="square" lIns="0" tIns="0" rIns="0" bIns="0" rtlCol="0"/>
            <a:lstStyle/>
            <a:p>
              <a:endParaRPr dirty="0"/>
            </a:p>
          </p:txBody>
        </p:sp>
        <p:pic>
          <p:nvPicPr>
            <p:cNvPr id="239" name="object 90">
              <a:extLst>
                <a:ext uri="{FF2B5EF4-FFF2-40B4-BE49-F238E27FC236}">
                  <a16:creationId xmlns:a16="http://schemas.microsoft.com/office/drawing/2014/main" id="{45CD36ED-99C2-BC8F-C281-9D124EC6E702}"/>
                </a:ext>
              </a:extLst>
            </p:cNvPr>
            <p:cNvPicPr/>
            <p:nvPr/>
          </p:nvPicPr>
          <p:blipFill>
            <a:blip r:embed="rId5" cstate="print"/>
            <a:stretch>
              <a:fillRect/>
            </a:stretch>
          </p:blipFill>
          <p:spPr>
            <a:xfrm>
              <a:off x="10021726" y="5951762"/>
              <a:ext cx="106445" cy="107156"/>
            </a:xfrm>
            <a:prstGeom prst="rect">
              <a:avLst/>
            </a:prstGeom>
          </p:spPr>
        </p:pic>
        <p:sp>
          <p:nvSpPr>
            <p:cNvPr id="240" name="object 91">
              <a:extLst>
                <a:ext uri="{FF2B5EF4-FFF2-40B4-BE49-F238E27FC236}">
                  <a16:creationId xmlns:a16="http://schemas.microsoft.com/office/drawing/2014/main" id="{73F1D1E9-D179-D211-BD49-D1B78E024324}"/>
                </a:ext>
              </a:extLst>
            </p:cNvPr>
            <p:cNvSpPr/>
            <p:nvPr/>
          </p:nvSpPr>
          <p:spPr>
            <a:xfrm>
              <a:off x="9909070" y="5383587"/>
              <a:ext cx="332700" cy="477101"/>
            </a:xfrm>
            <a:custGeom>
              <a:avLst/>
              <a:gdLst/>
              <a:ahLst/>
              <a:cxnLst/>
              <a:rect l="l" t="t" r="r" b="b"/>
              <a:pathLst>
                <a:path w="548640" h="786765">
                  <a:moveTo>
                    <a:pt x="548093" y="520179"/>
                  </a:moveTo>
                  <a:lnTo>
                    <a:pt x="500380" y="524217"/>
                  </a:lnTo>
                  <a:lnTo>
                    <a:pt x="465074" y="533463"/>
                  </a:lnTo>
                  <a:lnTo>
                    <a:pt x="455853" y="535876"/>
                  </a:lnTo>
                  <a:lnTo>
                    <a:pt x="443026" y="541667"/>
                  </a:lnTo>
                  <a:lnTo>
                    <a:pt x="414616" y="554469"/>
                  </a:lnTo>
                  <a:lnTo>
                    <a:pt x="392252" y="569391"/>
                  </a:lnTo>
                  <a:lnTo>
                    <a:pt x="377355" y="579335"/>
                  </a:lnTo>
                  <a:lnTo>
                    <a:pt x="344716" y="609790"/>
                  </a:lnTo>
                  <a:lnTo>
                    <a:pt x="317411" y="645172"/>
                  </a:lnTo>
                  <a:lnTo>
                    <a:pt x="296087" y="684796"/>
                  </a:lnTo>
                  <a:lnTo>
                    <a:pt x="281419" y="727976"/>
                  </a:lnTo>
                  <a:lnTo>
                    <a:pt x="274091" y="774065"/>
                  </a:lnTo>
                  <a:lnTo>
                    <a:pt x="272389" y="763143"/>
                  </a:lnTo>
                  <a:lnTo>
                    <a:pt x="266928" y="727811"/>
                  </a:lnTo>
                  <a:lnTo>
                    <a:pt x="252361" y="684441"/>
                  </a:lnTo>
                  <a:lnTo>
                    <a:pt x="231101" y="644652"/>
                  </a:lnTo>
                  <a:lnTo>
                    <a:pt x="203809" y="609117"/>
                  </a:lnTo>
                  <a:lnTo>
                    <a:pt x="187998" y="594321"/>
                  </a:lnTo>
                  <a:lnTo>
                    <a:pt x="171157" y="578523"/>
                  </a:lnTo>
                  <a:lnTo>
                    <a:pt x="133845" y="553542"/>
                  </a:lnTo>
                  <a:lnTo>
                    <a:pt x="92544" y="534847"/>
                  </a:lnTo>
                  <a:lnTo>
                    <a:pt x="47917" y="523125"/>
                  </a:lnTo>
                  <a:lnTo>
                    <a:pt x="0" y="519061"/>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27"/>
                  </a:lnTo>
                  <a:lnTo>
                    <a:pt x="368655" y="769670"/>
                  </a:lnTo>
                  <a:lnTo>
                    <a:pt x="410692" y="750023"/>
                  </a:lnTo>
                  <a:lnTo>
                    <a:pt x="448475" y="723823"/>
                  </a:lnTo>
                  <a:lnTo>
                    <a:pt x="481279" y="691819"/>
                  </a:lnTo>
                  <a:lnTo>
                    <a:pt x="498386" y="668401"/>
                  </a:lnTo>
                  <a:lnTo>
                    <a:pt x="508381" y="654710"/>
                  </a:lnTo>
                  <a:lnTo>
                    <a:pt x="529031" y="613257"/>
                  </a:lnTo>
                  <a:lnTo>
                    <a:pt x="542518" y="568172"/>
                  </a:lnTo>
                  <a:lnTo>
                    <a:pt x="548081" y="520204"/>
                  </a:lnTo>
                  <a:close/>
                </a:path>
                <a:path w="548640" h="786765">
                  <a:moveTo>
                    <a:pt x="548093" y="266623"/>
                  </a:moveTo>
                  <a:lnTo>
                    <a:pt x="500380" y="270649"/>
                  </a:lnTo>
                  <a:lnTo>
                    <a:pt x="455853" y="282308"/>
                  </a:lnTo>
                  <a:lnTo>
                    <a:pt x="414616" y="300913"/>
                  </a:lnTo>
                  <a:lnTo>
                    <a:pt x="377355" y="325780"/>
                  </a:lnTo>
                  <a:lnTo>
                    <a:pt x="344728" y="356235"/>
                  </a:lnTo>
                  <a:lnTo>
                    <a:pt x="317423" y="391617"/>
                  </a:lnTo>
                  <a:lnTo>
                    <a:pt x="296087" y="431241"/>
                  </a:lnTo>
                  <a:lnTo>
                    <a:pt x="281432" y="474446"/>
                  </a:lnTo>
                  <a:lnTo>
                    <a:pt x="274091" y="520522"/>
                  </a:lnTo>
                  <a:lnTo>
                    <a:pt x="266928"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59" y="358952"/>
                  </a:lnTo>
                  <a:lnTo>
                    <a:pt x="39471" y="400583"/>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92" y="496455"/>
                  </a:lnTo>
                  <a:lnTo>
                    <a:pt x="448475" y="470268"/>
                  </a:lnTo>
                  <a:lnTo>
                    <a:pt x="481279" y="438251"/>
                  </a:lnTo>
                  <a:lnTo>
                    <a:pt x="508381" y="401154"/>
                  </a:lnTo>
                  <a:lnTo>
                    <a:pt x="529031" y="359689"/>
                  </a:lnTo>
                  <a:lnTo>
                    <a:pt x="542505" y="314604"/>
                  </a:lnTo>
                  <a:lnTo>
                    <a:pt x="548093" y="266623"/>
                  </a:lnTo>
                  <a:close/>
                </a:path>
                <a:path w="548640" h="786765">
                  <a:moveTo>
                    <a:pt x="548093" y="1079"/>
                  </a:moveTo>
                  <a:lnTo>
                    <a:pt x="500380" y="5118"/>
                  </a:lnTo>
                  <a:lnTo>
                    <a:pt x="455853" y="16764"/>
                  </a:lnTo>
                  <a:lnTo>
                    <a:pt x="414616" y="35369"/>
                  </a:lnTo>
                  <a:lnTo>
                    <a:pt x="377355" y="60236"/>
                  </a:lnTo>
                  <a:lnTo>
                    <a:pt x="344728" y="90703"/>
                  </a:lnTo>
                  <a:lnTo>
                    <a:pt x="317423" y="126085"/>
                  </a:lnTo>
                  <a:lnTo>
                    <a:pt x="296087" y="165722"/>
                  </a:lnTo>
                  <a:lnTo>
                    <a:pt x="281432" y="208915"/>
                  </a:lnTo>
                  <a:lnTo>
                    <a:pt x="274091" y="255003"/>
                  </a:lnTo>
                  <a:lnTo>
                    <a:pt x="266928" y="208724"/>
                  </a:lnTo>
                  <a:lnTo>
                    <a:pt x="252361" y="165354"/>
                  </a:lnTo>
                  <a:lnTo>
                    <a:pt x="231101" y="125564"/>
                  </a:lnTo>
                  <a:lnTo>
                    <a:pt x="203809" y="90030"/>
                  </a:lnTo>
                  <a:lnTo>
                    <a:pt x="171157" y="59423"/>
                  </a:lnTo>
                  <a:lnTo>
                    <a:pt x="133845" y="34442"/>
                  </a:lnTo>
                  <a:lnTo>
                    <a:pt x="92544" y="15760"/>
                  </a:lnTo>
                  <a:lnTo>
                    <a:pt x="47917" y="4051"/>
                  </a:lnTo>
                  <a:lnTo>
                    <a:pt x="12" y="0"/>
                  </a:lnTo>
                  <a:lnTo>
                    <a:pt x="5461" y="48158"/>
                  </a:lnTo>
                  <a:lnTo>
                    <a:pt x="18859"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36"/>
                  </a:lnTo>
                  <a:lnTo>
                    <a:pt x="481279" y="172720"/>
                  </a:lnTo>
                  <a:lnTo>
                    <a:pt x="508381" y="135623"/>
                  </a:lnTo>
                  <a:lnTo>
                    <a:pt x="529031" y="94157"/>
                  </a:lnTo>
                  <a:lnTo>
                    <a:pt x="542505" y="49072"/>
                  </a:lnTo>
                  <a:lnTo>
                    <a:pt x="548093" y="1079"/>
                  </a:lnTo>
                  <a:close/>
                </a:path>
              </a:pathLst>
            </a:custGeom>
            <a:solidFill>
              <a:srgbClr val="7ED3F1"/>
            </a:solidFill>
          </p:spPr>
          <p:txBody>
            <a:bodyPr wrap="square" lIns="0" tIns="0" rIns="0" bIns="0" rtlCol="0"/>
            <a:lstStyle/>
            <a:p>
              <a:endParaRPr dirty="0"/>
            </a:p>
          </p:txBody>
        </p:sp>
        <p:pic>
          <p:nvPicPr>
            <p:cNvPr id="241" name="object 92">
              <a:extLst>
                <a:ext uri="{FF2B5EF4-FFF2-40B4-BE49-F238E27FC236}">
                  <a16:creationId xmlns:a16="http://schemas.microsoft.com/office/drawing/2014/main" id="{352D0A50-D960-00E7-EECA-E48FA429C83C}"/>
                </a:ext>
              </a:extLst>
            </p:cNvPr>
            <p:cNvPicPr/>
            <p:nvPr/>
          </p:nvPicPr>
          <p:blipFill>
            <a:blip r:embed="rId6" cstate="print"/>
            <a:stretch>
              <a:fillRect/>
            </a:stretch>
          </p:blipFill>
          <p:spPr>
            <a:xfrm>
              <a:off x="10021726" y="5297596"/>
              <a:ext cx="106445" cy="107156"/>
            </a:xfrm>
            <a:prstGeom prst="rect">
              <a:avLst/>
            </a:prstGeom>
          </p:spPr>
        </p:pic>
        <p:sp>
          <p:nvSpPr>
            <p:cNvPr id="242" name="object 93">
              <a:extLst>
                <a:ext uri="{FF2B5EF4-FFF2-40B4-BE49-F238E27FC236}">
                  <a16:creationId xmlns:a16="http://schemas.microsoft.com/office/drawing/2014/main" id="{301D0BE5-9A8E-AA18-32A2-DBC105BE469D}"/>
                </a:ext>
              </a:extLst>
            </p:cNvPr>
            <p:cNvSpPr/>
            <p:nvPr/>
          </p:nvSpPr>
          <p:spPr>
            <a:xfrm>
              <a:off x="9909078" y="6691912"/>
              <a:ext cx="332700" cy="165965"/>
            </a:xfrm>
            <a:custGeom>
              <a:avLst/>
              <a:gdLst/>
              <a:ahLst/>
              <a:cxnLst/>
              <a:rect l="l" t="t" r="r" b="b"/>
              <a:pathLst>
                <a:path w="548640" h="273684">
                  <a:moveTo>
                    <a:pt x="62560" y="273431"/>
                  </a:moveTo>
                  <a:lnTo>
                    <a:pt x="47904" y="269595"/>
                  </a:lnTo>
                  <a:lnTo>
                    <a:pt x="0" y="265544"/>
                  </a:lnTo>
                  <a:lnTo>
                    <a:pt x="889" y="273431"/>
                  </a:lnTo>
                  <a:lnTo>
                    <a:pt x="62560" y="273431"/>
                  </a:lnTo>
                  <a:close/>
                </a:path>
                <a:path w="548640" h="273684">
                  <a:moveTo>
                    <a:pt x="548081" y="266623"/>
                  </a:moveTo>
                  <a:lnTo>
                    <a:pt x="500367" y="270649"/>
                  </a:lnTo>
                  <a:lnTo>
                    <a:pt x="489724" y="273431"/>
                  </a:lnTo>
                  <a:lnTo>
                    <a:pt x="547281" y="273431"/>
                  </a:lnTo>
                  <a:lnTo>
                    <a:pt x="548081" y="266623"/>
                  </a:lnTo>
                  <a:close/>
                </a:path>
                <a:path w="548640" h="273684">
                  <a:moveTo>
                    <a:pt x="548081" y="1079"/>
                  </a:moveTo>
                  <a:lnTo>
                    <a:pt x="500367" y="5118"/>
                  </a:lnTo>
                  <a:lnTo>
                    <a:pt x="455841" y="16776"/>
                  </a:lnTo>
                  <a:lnTo>
                    <a:pt x="414604" y="35382"/>
                  </a:lnTo>
                  <a:lnTo>
                    <a:pt x="377342" y="60248"/>
                  </a:lnTo>
                  <a:lnTo>
                    <a:pt x="344716" y="90716"/>
                  </a:lnTo>
                  <a:lnTo>
                    <a:pt x="317411" y="126098"/>
                  </a:lnTo>
                  <a:lnTo>
                    <a:pt x="296075" y="165722"/>
                  </a:lnTo>
                  <a:lnTo>
                    <a:pt x="281419" y="208915"/>
                  </a:lnTo>
                  <a:lnTo>
                    <a:pt x="274078" y="255003"/>
                  </a:lnTo>
                  <a:lnTo>
                    <a:pt x="266915" y="208724"/>
                  </a:lnTo>
                  <a:lnTo>
                    <a:pt x="252349" y="165354"/>
                  </a:lnTo>
                  <a:lnTo>
                    <a:pt x="231089" y="125564"/>
                  </a:lnTo>
                  <a:lnTo>
                    <a:pt x="203796" y="90030"/>
                  </a:lnTo>
                  <a:lnTo>
                    <a:pt x="171145" y="59436"/>
                  </a:lnTo>
                  <a:lnTo>
                    <a:pt x="133832" y="34455"/>
                  </a:lnTo>
                  <a:lnTo>
                    <a:pt x="92532" y="15773"/>
                  </a:lnTo>
                  <a:lnTo>
                    <a:pt x="47904" y="4064"/>
                  </a:lnTo>
                  <a:lnTo>
                    <a:pt x="0" y="0"/>
                  </a:lnTo>
                  <a:lnTo>
                    <a:pt x="5448" y="48171"/>
                  </a:lnTo>
                  <a:lnTo>
                    <a:pt x="18846" y="93421"/>
                  </a:lnTo>
                  <a:lnTo>
                    <a:pt x="39458" y="135051"/>
                  </a:lnTo>
                  <a:lnTo>
                    <a:pt x="66548" y="172313"/>
                  </a:lnTo>
                  <a:lnTo>
                    <a:pt x="99390" y="204457"/>
                  </a:lnTo>
                  <a:lnTo>
                    <a:pt x="137248" y="230771"/>
                  </a:lnTo>
                  <a:lnTo>
                    <a:pt x="179374" y="250507"/>
                  </a:lnTo>
                  <a:lnTo>
                    <a:pt x="225044" y="262928"/>
                  </a:lnTo>
                  <a:lnTo>
                    <a:pt x="273519" y="267309"/>
                  </a:lnTo>
                  <a:lnTo>
                    <a:pt x="274739" y="267309"/>
                  </a:lnTo>
                  <a:lnTo>
                    <a:pt x="323088" y="262940"/>
                  </a:lnTo>
                  <a:lnTo>
                    <a:pt x="368642" y="250583"/>
                  </a:lnTo>
                  <a:lnTo>
                    <a:pt x="410679" y="230936"/>
                  </a:lnTo>
                  <a:lnTo>
                    <a:pt x="448462" y="204736"/>
                  </a:lnTo>
                  <a:lnTo>
                    <a:pt x="481266" y="172720"/>
                  </a:lnTo>
                  <a:lnTo>
                    <a:pt x="508368" y="135623"/>
                  </a:lnTo>
                  <a:lnTo>
                    <a:pt x="529018" y="94157"/>
                  </a:lnTo>
                  <a:lnTo>
                    <a:pt x="542493" y="49072"/>
                  </a:lnTo>
                  <a:lnTo>
                    <a:pt x="548081" y="1079"/>
                  </a:lnTo>
                  <a:close/>
                </a:path>
              </a:pathLst>
            </a:custGeom>
            <a:solidFill>
              <a:srgbClr val="7ED3F1"/>
            </a:solidFill>
          </p:spPr>
          <p:txBody>
            <a:bodyPr wrap="square" lIns="0" tIns="0" rIns="0" bIns="0" rtlCol="0"/>
            <a:lstStyle/>
            <a:p>
              <a:endParaRPr dirty="0"/>
            </a:p>
          </p:txBody>
        </p:sp>
        <p:pic>
          <p:nvPicPr>
            <p:cNvPr id="383" name="object 94">
              <a:extLst>
                <a:ext uri="{FF2B5EF4-FFF2-40B4-BE49-F238E27FC236}">
                  <a16:creationId xmlns:a16="http://schemas.microsoft.com/office/drawing/2014/main" id="{FACC3936-EEE4-52EF-A3F9-6427CB350C65}"/>
                </a:ext>
              </a:extLst>
            </p:cNvPr>
            <p:cNvPicPr/>
            <p:nvPr/>
          </p:nvPicPr>
          <p:blipFill>
            <a:blip r:embed="rId6" cstate="print"/>
            <a:stretch>
              <a:fillRect/>
            </a:stretch>
          </p:blipFill>
          <p:spPr>
            <a:xfrm>
              <a:off x="10021726" y="6605926"/>
              <a:ext cx="106445" cy="107156"/>
            </a:xfrm>
            <a:prstGeom prst="rect">
              <a:avLst/>
            </a:prstGeom>
          </p:spPr>
        </p:pic>
        <p:sp>
          <p:nvSpPr>
            <p:cNvPr id="384" name="object 95">
              <a:extLst>
                <a:ext uri="{FF2B5EF4-FFF2-40B4-BE49-F238E27FC236}">
                  <a16:creationId xmlns:a16="http://schemas.microsoft.com/office/drawing/2014/main" id="{1F234912-3105-060E-9A86-1B0384CA67B6}"/>
                </a:ext>
              </a:extLst>
            </p:cNvPr>
            <p:cNvSpPr/>
            <p:nvPr/>
          </p:nvSpPr>
          <p:spPr>
            <a:xfrm>
              <a:off x="9523993" y="6479532"/>
              <a:ext cx="332700" cy="316141"/>
            </a:xfrm>
            <a:custGeom>
              <a:avLst/>
              <a:gdLst/>
              <a:ahLst/>
              <a:cxnLst/>
              <a:rect l="l" t="t" r="r" b="b"/>
              <a:pathLst>
                <a:path w="548640" h="521334">
                  <a:moveTo>
                    <a:pt x="548081" y="520852"/>
                  </a:moveTo>
                  <a:lnTo>
                    <a:pt x="542632" y="472694"/>
                  </a:lnTo>
                  <a:lnTo>
                    <a:pt x="529234" y="427431"/>
                  </a:lnTo>
                  <a:lnTo>
                    <a:pt x="508622" y="385800"/>
                  </a:lnTo>
                  <a:lnTo>
                    <a:pt x="481520" y="348551"/>
                  </a:lnTo>
                  <a:lnTo>
                    <a:pt x="448678" y="316395"/>
                  </a:lnTo>
                  <a:lnTo>
                    <a:pt x="410832" y="290093"/>
                  </a:lnTo>
                  <a:lnTo>
                    <a:pt x="368693" y="270357"/>
                  </a:lnTo>
                  <a:lnTo>
                    <a:pt x="323024" y="257924"/>
                  </a:lnTo>
                  <a:lnTo>
                    <a:pt x="274561" y="253555"/>
                  </a:lnTo>
                  <a:lnTo>
                    <a:pt x="273329" y="253555"/>
                  </a:lnTo>
                  <a:lnTo>
                    <a:pt x="224993" y="257911"/>
                  </a:lnTo>
                  <a:lnTo>
                    <a:pt x="179438" y="270281"/>
                  </a:lnTo>
                  <a:lnTo>
                    <a:pt x="137401" y="289915"/>
                  </a:lnTo>
                  <a:lnTo>
                    <a:pt x="99606" y="316115"/>
                  </a:lnTo>
                  <a:lnTo>
                    <a:pt x="66802" y="348132"/>
                  </a:lnTo>
                  <a:lnTo>
                    <a:pt x="39712" y="385229"/>
                  </a:lnTo>
                  <a:lnTo>
                    <a:pt x="19062" y="426694"/>
                  </a:lnTo>
                  <a:lnTo>
                    <a:pt x="5575" y="471792"/>
                  </a:lnTo>
                  <a:lnTo>
                    <a:pt x="0" y="519772"/>
                  </a:lnTo>
                  <a:lnTo>
                    <a:pt x="47713" y="515747"/>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27"/>
                  </a:lnTo>
                  <a:lnTo>
                    <a:pt x="295719" y="355498"/>
                  </a:lnTo>
                  <a:lnTo>
                    <a:pt x="316992" y="395300"/>
                  </a:lnTo>
                  <a:lnTo>
                    <a:pt x="344284" y="430834"/>
                  </a:lnTo>
                  <a:lnTo>
                    <a:pt x="376923" y="461429"/>
                  </a:lnTo>
                  <a:lnTo>
                    <a:pt x="414235" y="486410"/>
                  </a:lnTo>
                  <a:lnTo>
                    <a:pt x="455549" y="505091"/>
                  </a:lnTo>
                  <a:lnTo>
                    <a:pt x="500164" y="516801"/>
                  </a:lnTo>
                  <a:lnTo>
                    <a:pt x="548081" y="520852"/>
                  </a:lnTo>
                  <a:close/>
                </a:path>
                <a:path w="548640" h="521334">
                  <a:moveTo>
                    <a:pt x="548081" y="267322"/>
                  </a:moveTo>
                  <a:lnTo>
                    <a:pt x="542632" y="219138"/>
                  </a:lnTo>
                  <a:lnTo>
                    <a:pt x="529234" y="173875"/>
                  </a:lnTo>
                  <a:lnTo>
                    <a:pt x="508622" y="132245"/>
                  </a:lnTo>
                  <a:lnTo>
                    <a:pt x="481533" y="94996"/>
                  </a:lnTo>
                  <a:lnTo>
                    <a:pt x="448691" y="62839"/>
                  </a:lnTo>
                  <a:lnTo>
                    <a:pt x="433158" y="52057"/>
                  </a:lnTo>
                  <a:lnTo>
                    <a:pt x="410832" y="36537"/>
                  </a:lnTo>
                  <a:lnTo>
                    <a:pt x="368706" y="16814"/>
                  </a:lnTo>
                  <a:lnTo>
                    <a:pt x="323024" y="4368"/>
                  </a:lnTo>
                  <a:lnTo>
                    <a:pt x="274561" y="12"/>
                  </a:lnTo>
                  <a:lnTo>
                    <a:pt x="273329" y="0"/>
                  </a:lnTo>
                  <a:lnTo>
                    <a:pt x="224993" y="4356"/>
                  </a:lnTo>
                  <a:lnTo>
                    <a:pt x="179438" y="16713"/>
                  </a:lnTo>
                  <a:lnTo>
                    <a:pt x="137401" y="36360"/>
                  </a:lnTo>
                  <a:lnTo>
                    <a:pt x="99606" y="62560"/>
                  </a:lnTo>
                  <a:lnTo>
                    <a:pt x="66802" y="94576"/>
                  </a:lnTo>
                  <a:lnTo>
                    <a:pt x="39687" y="131686"/>
                  </a:lnTo>
                  <a:lnTo>
                    <a:pt x="19037" y="173139"/>
                  </a:lnTo>
                  <a:lnTo>
                    <a:pt x="5562" y="218211"/>
                  </a:lnTo>
                  <a:lnTo>
                    <a:pt x="0" y="266192"/>
                  </a:lnTo>
                  <a:lnTo>
                    <a:pt x="47713" y="262178"/>
                  </a:lnTo>
                  <a:lnTo>
                    <a:pt x="92240" y="250520"/>
                  </a:lnTo>
                  <a:lnTo>
                    <a:pt x="133464" y="231914"/>
                  </a:lnTo>
                  <a:lnTo>
                    <a:pt x="170738" y="207048"/>
                  </a:lnTo>
                  <a:lnTo>
                    <a:pt x="203365" y="176593"/>
                  </a:lnTo>
                  <a:lnTo>
                    <a:pt x="230670" y="141211"/>
                  </a:lnTo>
                  <a:lnTo>
                    <a:pt x="252006" y="101600"/>
                  </a:lnTo>
                  <a:lnTo>
                    <a:pt x="266661" y="58407"/>
                  </a:lnTo>
                  <a:lnTo>
                    <a:pt x="273989" y="12357"/>
                  </a:lnTo>
                  <a:lnTo>
                    <a:pt x="281165" y="58572"/>
                  </a:lnTo>
                  <a:lnTo>
                    <a:pt x="295719" y="101942"/>
                  </a:lnTo>
                  <a:lnTo>
                    <a:pt x="316992" y="141744"/>
                  </a:lnTo>
                  <a:lnTo>
                    <a:pt x="344284" y="177279"/>
                  </a:lnTo>
                  <a:lnTo>
                    <a:pt x="376923" y="207873"/>
                  </a:lnTo>
                  <a:lnTo>
                    <a:pt x="414235" y="232854"/>
                  </a:lnTo>
                  <a:lnTo>
                    <a:pt x="455549" y="251548"/>
                  </a:lnTo>
                  <a:lnTo>
                    <a:pt x="500176" y="263258"/>
                  </a:lnTo>
                  <a:lnTo>
                    <a:pt x="548081" y="267322"/>
                  </a:lnTo>
                  <a:close/>
                </a:path>
              </a:pathLst>
            </a:custGeom>
            <a:solidFill>
              <a:srgbClr val="2DB7EA"/>
            </a:solidFill>
          </p:spPr>
          <p:txBody>
            <a:bodyPr wrap="square" lIns="0" tIns="0" rIns="0" bIns="0" rtlCol="0"/>
            <a:lstStyle/>
            <a:p>
              <a:endParaRPr dirty="0"/>
            </a:p>
          </p:txBody>
        </p:sp>
        <p:pic>
          <p:nvPicPr>
            <p:cNvPr id="385" name="object 96">
              <a:extLst>
                <a:ext uri="{FF2B5EF4-FFF2-40B4-BE49-F238E27FC236}">
                  <a16:creationId xmlns:a16="http://schemas.microsoft.com/office/drawing/2014/main" id="{FB191C3E-9D36-3762-588D-713E487ABB8D}"/>
                </a:ext>
              </a:extLst>
            </p:cNvPr>
            <p:cNvPicPr/>
            <p:nvPr/>
          </p:nvPicPr>
          <p:blipFill>
            <a:blip r:embed="rId19" cstate="print"/>
            <a:stretch>
              <a:fillRect/>
            </a:stretch>
          </p:blipFill>
          <p:spPr>
            <a:xfrm>
              <a:off x="9560079" y="6794307"/>
              <a:ext cx="260142" cy="63416"/>
            </a:xfrm>
            <a:prstGeom prst="rect">
              <a:avLst/>
            </a:prstGeom>
          </p:spPr>
        </p:pic>
        <p:sp>
          <p:nvSpPr>
            <p:cNvPr id="386" name="object 97">
              <a:extLst>
                <a:ext uri="{FF2B5EF4-FFF2-40B4-BE49-F238E27FC236}">
                  <a16:creationId xmlns:a16="http://schemas.microsoft.com/office/drawing/2014/main" id="{A06DA323-5BDA-940A-98D8-91157A814D0B}"/>
                </a:ext>
              </a:extLst>
            </p:cNvPr>
            <p:cNvSpPr/>
            <p:nvPr/>
          </p:nvSpPr>
          <p:spPr>
            <a:xfrm>
              <a:off x="9523993" y="5171198"/>
              <a:ext cx="332700" cy="477101"/>
            </a:xfrm>
            <a:custGeom>
              <a:avLst/>
              <a:gdLst/>
              <a:ahLst/>
              <a:cxnLst/>
              <a:rect l="l" t="t" r="r" b="b"/>
              <a:pathLst>
                <a:path w="548640" h="786765">
                  <a:moveTo>
                    <a:pt x="548081" y="786396"/>
                  </a:moveTo>
                  <a:lnTo>
                    <a:pt x="542632" y="738225"/>
                  </a:lnTo>
                  <a:lnTo>
                    <a:pt x="529234" y="692975"/>
                  </a:lnTo>
                  <a:lnTo>
                    <a:pt x="508622" y="651344"/>
                  </a:lnTo>
                  <a:lnTo>
                    <a:pt x="481520" y="614083"/>
                  </a:lnTo>
                  <a:lnTo>
                    <a:pt x="448678" y="581939"/>
                  </a:lnTo>
                  <a:lnTo>
                    <a:pt x="410832" y="555625"/>
                  </a:lnTo>
                  <a:lnTo>
                    <a:pt x="368693" y="535889"/>
                  </a:lnTo>
                  <a:lnTo>
                    <a:pt x="323024" y="523468"/>
                  </a:lnTo>
                  <a:lnTo>
                    <a:pt x="274561" y="519087"/>
                  </a:lnTo>
                  <a:lnTo>
                    <a:pt x="273329" y="519087"/>
                  </a:lnTo>
                  <a:lnTo>
                    <a:pt x="224993" y="523455"/>
                  </a:lnTo>
                  <a:lnTo>
                    <a:pt x="179438" y="535813"/>
                  </a:lnTo>
                  <a:lnTo>
                    <a:pt x="137401" y="555459"/>
                  </a:lnTo>
                  <a:lnTo>
                    <a:pt x="99606" y="581660"/>
                  </a:lnTo>
                  <a:lnTo>
                    <a:pt x="66802" y="613676"/>
                  </a:lnTo>
                  <a:lnTo>
                    <a:pt x="39712" y="650773"/>
                  </a:lnTo>
                  <a:lnTo>
                    <a:pt x="19062" y="692238"/>
                  </a:lnTo>
                  <a:lnTo>
                    <a:pt x="5575" y="737323"/>
                  </a:lnTo>
                  <a:lnTo>
                    <a:pt x="0" y="785317"/>
                  </a:lnTo>
                  <a:lnTo>
                    <a:pt x="47713" y="781278"/>
                  </a:lnTo>
                  <a:lnTo>
                    <a:pt x="92240" y="769620"/>
                  </a:lnTo>
                  <a:lnTo>
                    <a:pt x="133464" y="751027"/>
                  </a:lnTo>
                  <a:lnTo>
                    <a:pt x="170738" y="726147"/>
                  </a:lnTo>
                  <a:lnTo>
                    <a:pt x="203352"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35" y="751941"/>
                  </a:lnTo>
                  <a:lnTo>
                    <a:pt x="455549" y="770623"/>
                  </a:lnTo>
                  <a:lnTo>
                    <a:pt x="500164" y="782332"/>
                  </a:lnTo>
                  <a:lnTo>
                    <a:pt x="548081" y="786396"/>
                  </a:lnTo>
                  <a:close/>
                </a:path>
                <a:path w="548640" h="786765">
                  <a:moveTo>
                    <a:pt x="548081" y="520865"/>
                  </a:moveTo>
                  <a:lnTo>
                    <a:pt x="542632" y="472706"/>
                  </a:lnTo>
                  <a:lnTo>
                    <a:pt x="529234" y="427443"/>
                  </a:lnTo>
                  <a:lnTo>
                    <a:pt x="508622" y="385813"/>
                  </a:lnTo>
                  <a:lnTo>
                    <a:pt x="481520" y="348551"/>
                  </a:lnTo>
                  <a:lnTo>
                    <a:pt x="448678" y="316407"/>
                  </a:lnTo>
                  <a:lnTo>
                    <a:pt x="410832" y="290093"/>
                  </a:lnTo>
                  <a:lnTo>
                    <a:pt x="368693" y="270357"/>
                  </a:lnTo>
                  <a:lnTo>
                    <a:pt x="323024" y="257937"/>
                  </a:lnTo>
                  <a:lnTo>
                    <a:pt x="274561" y="253568"/>
                  </a:lnTo>
                  <a:lnTo>
                    <a:pt x="273329" y="253568"/>
                  </a:lnTo>
                  <a:lnTo>
                    <a:pt x="224993" y="257924"/>
                  </a:lnTo>
                  <a:lnTo>
                    <a:pt x="179438" y="270281"/>
                  </a:lnTo>
                  <a:lnTo>
                    <a:pt x="137401" y="289928"/>
                  </a:lnTo>
                  <a:lnTo>
                    <a:pt x="99606" y="316128"/>
                  </a:lnTo>
                  <a:lnTo>
                    <a:pt x="66802" y="348132"/>
                  </a:lnTo>
                  <a:lnTo>
                    <a:pt x="39712" y="385241"/>
                  </a:lnTo>
                  <a:lnTo>
                    <a:pt x="19062" y="426694"/>
                  </a:lnTo>
                  <a:lnTo>
                    <a:pt x="5575" y="471792"/>
                  </a:lnTo>
                  <a:lnTo>
                    <a:pt x="0" y="519772"/>
                  </a:lnTo>
                  <a:lnTo>
                    <a:pt x="47713" y="515734"/>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5">
                  <a:moveTo>
                    <a:pt x="548081" y="267322"/>
                  </a:moveTo>
                  <a:lnTo>
                    <a:pt x="542632" y="219151"/>
                  </a:lnTo>
                  <a:lnTo>
                    <a:pt x="529234" y="173875"/>
                  </a:lnTo>
                  <a:lnTo>
                    <a:pt x="508622" y="132245"/>
                  </a:lnTo>
                  <a:lnTo>
                    <a:pt x="481533" y="94996"/>
                  </a:lnTo>
                  <a:lnTo>
                    <a:pt x="449376" y="63525"/>
                  </a:lnTo>
                  <a:lnTo>
                    <a:pt x="448691" y="62852"/>
                  </a:lnTo>
                  <a:lnTo>
                    <a:pt x="410832" y="36537"/>
                  </a:lnTo>
                  <a:lnTo>
                    <a:pt x="368706" y="16814"/>
                  </a:lnTo>
                  <a:lnTo>
                    <a:pt x="323037" y="4394"/>
                  </a:lnTo>
                  <a:lnTo>
                    <a:pt x="274561" y="12"/>
                  </a:lnTo>
                  <a:lnTo>
                    <a:pt x="273329" y="0"/>
                  </a:lnTo>
                  <a:lnTo>
                    <a:pt x="224993" y="4356"/>
                  </a:lnTo>
                  <a:lnTo>
                    <a:pt x="179438" y="16725"/>
                  </a:lnTo>
                  <a:lnTo>
                    <a:pt x="137401" y="36372"/>
                  </a:lnTo>
                  <a:lnTo>
                    <a:pt x="99606" y="62560"/>
                  </a:lnTo>
                  <a:lnTo>
                    <a:pt x="66802" y="94576"/>
                  </a:lnTo>
                  <a:lnTo>
                    <a:pt x="39687" y="131686"/>
                  </a:lnTo>
                  <a:lnTo>
                    <a:pt x="19037" y="173139"/>
                  </a:lnTo>
                  <a:lnTo>
                    <a:pt x="5562" y="218211"/>
                  </a:lnTo>
                  <a:lnTo>
                    <a:pt x="0" y="266192"/>
                  </a:lnTo>
                  <a:lnTo>
                    <a:pt x="47713" y="262178"/>
                  </a:lnTo>
                  <a:lnTo>
                    <a:pt x="92240" y="250520"/>
                  </a:lnTo>
                  <a:lnTo>
                    <a:pt x="133464" y="231927"/>
                  </a:lnTo>
                  <a:lnTo>
                    <a:pt x="170738" y="207048"/>
                  </a:lnTo>
                  <a:lnTo>
                    <a:pt x="203365" y="176593"/>
                  </a:lnTo>
                  <a:lnTo>
                    <a:pt x="230670" y="141211"/>
                  </a:lnTo>
                  <a:lnTo>
                    <a:pt x="252006" y="101600"/>
                  </a:lnTo>
                  <a:lnTo>
                    <a:pt x="266661" y="58407"/>
                  </a:lnTo>
                  <a:lnTo>
                    <a:pt x="273989" y="12357"/>
                  </a:lnTo>
                  <a:lnTo>
                    <a:pt x="280047" y="51409"/>
                  </a:lnTo>
                  <a:lnTo>
                    <a:pt x="295719" y="101942"/>
                  </a:lnTo>
                  <a:lnTo>
                    <a:pt x="316992" y="141744"/>
                  </a:lnTo>
                  <a:lnTo>
                    <a:pt x="344284" y="177279"/>
                  </a:lnTo>
                  <a:lnTo>
                    <a:pt x="376923" y="207873"/>
                  </a:lnTo>
                  <a:lnTo>
                    <a:pt x="414248" y="232867"/>
                  </a:lnTo>
                  <a:lnTo>
                    <a:pt x="455549" y="251548"/>
                  </a:lnTo>
                  <a:lnTo>
                    <a:pt x="500176" y="263258"/>
                  </a:lnTo>
                  <a:lnTo>
                    <a:pt x="548081" y="267322"/>
                  </a:lnTo>
                  <a:close/>
                </a:path>
              </a:pathLst>
            </a:custGeom>
            <a:solidFill>
              <a:srgbClr val="2DB7EA"/>
            </a:solidFill>
          </p:spPr>
          <p:txBody>
            <a:bodyPr wrap="square" lIns="0" tIns="0" rIns="0" bIns="0" rtlCol="0"/>
            <a:lstStyle/>
            <a:p>
              <a:endParaRPr dirty="0"/>
            </a:p>
          </p:txBody>
        </p:sp>
        <p:pic>
          <p:nvPicPr>
            <p:cNvPr id="387" name="object 98">
              <a:extLst>
                <a:ext uri="{FF2B5EF4-FFF2-40B4-BE49-F238E27FC236}">
                  <a16:creationId xmlns:a16="http://schemas.microsoft.com/office/drawing/2014/main" id="{800F5177-538C-05F6-B438-B8E44654B7B6}"/>
                </a:ext>
              </a:extLst>
            </p:cNvPr>
            <p:cNvPicPr/>
            <p:nvPr/>
          </p:nvPicPr>
          <p:blipFill>
            <a:blip r:embed="rId8" cstate="print"/>
            <a:stretch>
              <a:fillRect/>
            </a:stretch>
          </p:blipFill>
          <p:spPr>
            <a:xfrm>
              <a:off x="9637261" y="5626898"/>
              <a:ext cx="106445" cy="107156"/>
            </a:xfrm>
            <a:prstGeom prst="rect">
              <a:avLst/>
            </a:prstGeom>
          </p:spPr>
        </p:pic>
        <p:sp>
          <p:nvSpPr>
            <p:cNvPr id="388" name="object 99">
              <a:extLst>
                <a:ext uri="{FF2B5EF4-FFF2-40B4-BE49-F238E27FC236}">
                  <a16:creationId xmlns:a16="http://schemas.microsoft.com/office/drawing/2014/main" id="{F87D6D64-B8AD-D727-95AB-0156F8E8F41C}"/>
                </a:ext>
              </a:extLst>
            </p:cNvPr>
            <p:cNvSpPr/>
            <p:nvPr/>
          </p:nvSpPr>
          <p:spPr>
            <a:xfrm>
              <a:off x="9523993" y="5825360"/>
              <a:ext cx="332700" cy="477101"/>
            </a:xfrm>
            <a:custGeom>
              <a:avLst/>
              <a:gdLst/>
              <a:ahLst/>
              <a:cxnLst/>
              <a:rect l="l" t="t" r="r" b="b"/>
              <a:pathLst>
                <a:path w="548640" h="786765">
                  <a:moveTo>
                    <a:pt x="548081" y="786396"/>
                  </a:moveTo>
                  <a:lnTo>
                    <a:pt x="542632" y="738238"/>
                  </a:lnTo>
                  <a:lnTo>
                    <a:pt x="529234" y="692975"/>
                  </a:lnTo>
                  <a:lnTo>
                    <a:pt x="508622" y="651344"/>
                  </a:lnTo>
                  <a:lnTo>
                    <a:pt x="481520" y="614095"/>
                  </a:lnTo>
                  <a:lnTo>
                    <a:pt x="448678" y="581939"/>
                  </a:lnTo>
                  <a:lnTo>
                    <a:pt x="410832" y="555637"/>
                  </a:lnTo>
                  <a:lnTo>
                    <a:pt x="368693" y="535901"/>
                  </a:lnTo>
                  <a:lnTo>
                    <a:pt x="323024" y="523481"/>
                  </a:lnTo>
                  <a:lnTo>
                    <a:pt x="274561" y="519099"/>
                  </a:lnTo>
                  <a:lnTo>
                    <a:pt x="273329" y="519099"/>
                  </a:lnTo>
                  <a:lnTo>
                    <a:pt x="224993" y="523455"/>
                  </a:lnTo>
                  <a:lnTo>
                    <a:pt x="179438" y="535825"/>
                  </a:lnTo>
                  <a:lnTo>
                    <a:pt x="137401" y="555472"/>
                  </a:lnTo>
                  <a:lnTo>
                    <a:pt x="99606" y="581660"/>
                  </a:lnTo>
                  <a:lnTo>
                    <a:pt x="66802" y="613676"/>
                  </a:lnTo>
                  <a:lnTo>
                    <a:pt x="39712" y="650773"/>
                  </a:lnTo>
                  <a:lnTo>
                    <a:pt x="19062" y="692238"/>
                  </a:lnTo>
                  <a:lnTo>
                    <a:pt x="5575" y="737323"/>
                  </a:lnTo>
                  <a:lnTo>
                    <a:pt x="0" y="785304"/>
                  </a:lnTo>
                  <a:lnTo>
                    <a:pt x="47713" y="781278"/>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35"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78" y="316407"/>
                  </a:lnTo>
                  <a:lnTo>
                    <a:pt x="410832" y="290093"/>
                  </a:lnTo>
                  <a:lnTo>
                    <a:pt x="368693" y="270370"/>
                  </a:lnTo>
                  <a:lnTo>
                    <a:pt x="323024" y="257937"/>
                  </a:lnTo>
                  <a:lnTo>
                    <a:pt x="274561" y="253555"/>
                  </a:lnTo>
                  <a:lnTo>
                    <a:pt x="273329" y="253555"/>
                  </a:lnTo>
                  <a:lnTo>
                    <a:pt x="224993" y="257924"/>
                  </a:lnTo>
                  <a:lnTo>
                    <a:pt x="179438" y="270294"/>
                  </a:lnTo>
                  <a:lnTo>
                    <a:pt x="137401" y="289928"/>
                  </a:lnTo>
                  <a:lnTo>
                    <a:pt x="99606" y="316128"/>
                  </a:lnTo>
                  <a:lnTo>
                    <a:pt x="66802" y="348145"/>
                  </a:lnTo>
                  <a:lnTo>
                    <a:pt x="39712" y="385241"/>
                  </a:lnTo>
                  <a:lnTo>
                    <a:pt x="19062" y="426694"/>
                  </a:lnTo>
                  <a:lnTo>
                    <a:pt x="5575" y="471792"/>
                  </a:lnTo>
                  <a:lnTo>
                    <a:pt x="0" y="519772"/>
                  </a:lnTo>
                  <a:lnTo>
                    <a:pt x="47713" y="515734"/>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5">
                  <a:moveTo>
                    <a:pt x="548081" y="267322"/>
                  </a:moveTo>
                  <a:lnTo>
                    <a:pt x="542632" y="219151"/>
                  </a:lnTo>
                  <a:lnTo>
                    <a:pt x="529234" y="173888"/>
                  </a:lnTo>
                  <a:lnTo>
                    <a:pt x="508622" y="132257"/>
                  </a:lnTo>
                  <a:lnTo>
                    <a:pt x="481533" y="94996"/>
                  </a:lnTo>
                  <a:lnTo>
                    <a:pt x="448691" y="62852"/>
                  </a:lnTo>
                  <a:lnTo>
                    <a:pt x="433158" y="52070"/>
                  </a:lnTo>
                  <a:lnTo>
                    <a:pt x="410832" y="36550"/>
                  </a:lnTo>
                  <a:lnTo>
                    <a:pt x="368706" y="16814"/>
                  </a:lnTo>
                  <a:lnTo>
                    <a:pt x="323037" y="4394"/>
                  </a:lnTo>
                  <a:lnTo>
                    <a:pt x="274561" y="0"/>
                  </a:lnTo>
                  <a:lnTo>
                    <a:pt x="273329" y="0"/>
                  </a:lnTo>
                  <a:lnTo>
                    <a:pt x="224993" y="4356"/>
                  </a:lnTo>
                  <a:lnTo>
                    <a:pt x="179438" y="16725"/>
                  </a:lnTo>
                  <a:lnTo>
                    <a:pt x="137401" y="36372"/>
                  </a:lnTo>
                  <a:lnTo>
                    <a:pt x="99606" y="62572"/>
                  </a:lnTo>
                  <a:lnTo>
                    <a:pt x="66802" y="94576"/>
                  </a:lnTo>
                  <a:lnTo>
                    <a:pt x="39687" y="131686"/>
                  </a:lnTo>
                  <a:lnTo>
                    <a:pt x="19037" y="173139"/>
                  </a:lnTo>
                  <a:lnTo>
                    <a:pt x="5562" y="218224"/>
                  </a:lnTo>
                  <a:lnTo>
                    <a:pt x="0" y="266192"/>
                  </a:lnTo>
                  <a:lnTo>
                    <a:pt x="47713" y="262178"/>
                  </a:lnTo>
                  <a:lnTo>
                    <a:pt x="92240" y="250532"/>
                  </a:lnTo>
                  <a:lnTo>
                    <a:pt x="133464" y="231927"/>
                  </a:lnTo>
                  <a:lnTo>
                    <a:pt x="170738" y="207060"/>
                  </a:lnTo>
                  <a:lnTo>
                    <a:pt x="187604" y="191312"/>
                  </a:lnTo>
                  <a:lnTo>
                    <a:pt x="203365" y="176593"/>
                  </a:lnTo>
                  <a:lnTo>
                    <a:pt x="230670" y="141224"/>
                  </a:lnTo>
                  <a:lnTo>
                    <a:pt x="252006" y="101600"/>
                  </a:lnTo>
                  <a:lnTo>
                    <a:pt x="266661" y="58407"/>
                  </a:lnTo>
                  <a:lnTo>
                    <a:pt x="273989" y="12369"/>
                  </a:lnTo>
                  <a:lnTo>
                    <a:pt x="281165" y="58585"/>
                  </a:lnTo>
                  <a:lnTo>
                    <a:pt x="295719" y="101955"/>
                  </a:lnTo>
                  <a:lnTo>
                    <a:pt x="316992" y="141744"/>
                  </a:lnTo>
                  <a:lnTo>
                    <a:pt x="344284" y="177279"/>
                  </a:lnTo>
                  <a:lnTo>
                    <a:pt x="376923" y="207886"/>
                  </a:lnTo>
                  <a:lnTo>
                    <a:pt x="414248" y="232867"/>
                  </a:lnTo>
                  <a:lnTo>
                    <a:pt x="455549" y="251561"/>
                  </a:lnTo>
                  <a:lnTo>
                    <a:pt x="500176" y="263271"/>
                  </a:lnTo>
                  <a:lnTo>
                    <a:pt x="548081" y="267322"/>
                  </a:lnTo>
                  <a:close/>
                </a:path>
              </a:pathLst>
            </a:custGeom>
            <a:solidFill>
              <a:srgbClr val="7ED3F1"/>
            </a:solidFill>
          </p:spPr>
          <p:txBody>
            <a:bodyPr wrap="square" lIns="0" tIns="0" rIns="0" bIns="0" rtlCol="0"/>
            <a:lstStyle/>
            <a:p>
              <a:endParaRPr dirty="0"/>
            </a:p>
          </p:txBody>
        </p:sp>
        <p:pic>
          <p:nvPicPr>
            <p:cNvPr id="389" name="object 100">
              <a:extLst>
                <a:ext uri="{FF2B5EF4-FFF2-40B4-BE49-F238E27FC236}">
                  <a16:creationId xmlns:a16="http://schemas.microsoft.com/office/drawing/2014/main" id="{F031F881-9109-420B-8478-4D26A4B32A75}"/>
                </a:ext>
              </a:extLst>
            </p:cNvPr>
            <p:cNvPicPr/>
            <p:nvPr/>
          </p:nvPicPr>
          <p:blipFill>
            <a:blip r:embed="rId9" cstate="print"/>
            <a:stretch>
              <a:fillRect/>
            </a:stretch>
          </p:blipFill>
          <p:spPr>
            <a:xfrm>
              <a:off x="9637261" y="6281064"/>
              <a:ext cx="106445" cy="107156"/>
            </a:xfrm>
            <a:prstGeom prst="rect">
              <a:avLst/>
            </a:prstGeom>
          </p:spPr>
        </p:pic>
        <p:sp>
          <p:nvSpPr>
            <p:cNvPr id="390" name="object 101">
              <a:extLst>
                <a:ext uri="{FF2B5EF4-FFF2-40B4-BE49-F238E27FC236}">
                  <a16:creationId xmlns:a16="http://schemas.microsoft.com/office/drawing/2014/main" id="{473C5EE8-D242-3354-9739-BA725E9EB0C2}"/>
                </a:ext>
              </a:extLst>
            </p:cNvPr>
            <p:cNvSpPr/>
            <p:nvPr/>
          </p:nvSpPr>
          <p:spPr>
            <a:xfrm>
              <a:off x="10679200" y="804428"/>
              <a:ext cx="332700" cy="477101"/>
            </a:xfrm>
            <a:custGeom>
              <a:avLst/>
              <a:gdLst/>
              <a:ahLst/>
              <a:cxnLst/>
              <a:rect l="l" t="t" r="r" b="b"/>
              <a:pathLst>
                <a:path w="548640" h="786764">
                  <a:moveTo>
                    <a:pt x="548043" y="266598"/>
                  </a:moveTo>
                  <a:lnTo>
                    <a:pt x="500380" y="270637"/>
                  </a:lnTo>
                  <a:lnTo>
                    <a:pt x="455853" y="282295"/>
                  </a:lnTo>
                  <a:lnTo>
                    <a:pt x="414616" y="300901"/>
                  </a:lnTo>
                  <a:lnTo>
                    <a:pt x="377355" y="325767"/>
                  </a:lnTo>
                  <a:lnTo>
                    <a:pt x="344728" y="356235"/>
                  </a:lnTo>
                  <a:lnTo>
                    <a:pt x="317411" y="391617"/>
                  </a:lnTo>
                  <a:lnTo>
                    <a:pt x="296087" y="431241"/>
                  </a:lnTo>
                  <a:lnTo>
                    <a:pt x="281432" y="474433"/>
                  </a:lnTo>
                  <a:lnTo>
                    <a:pt x="274091" y="520522"/>
                  </a:lnTo>
                  <a:lnTo>
                    <a:pt x="266915" y="474256"/>
                  </a:lnTo>
                  <a:lnTo>
                    <a:pt x="252361" y="430872"/>
                  </a:lnTo>
                  <a:lnTo>
                    <a:pt x="231101" y="391083"/>
                  </a:lnTo>
                  <a:lnTo>
                    <a:pt x="203809" y="355549"/>
                  </a:lnTo>
                  <a:lnTo>
                    <a:pt x="171157" y="324954"/>
                  </a:lnTo>
                  <a:lnTo>
                    <a:pt x="133845" y="299974"/>
                  </a:lnTo>
                  <a:lnTo>
                    <a:pt x="92544" y="281292"/>
                  </a:lnTo>
                  <a:lnTo>
                    <a:pt x="47917" y="269582"/>
                  </a:lnTo>
                  <a:lnTo>
                    <a:pt x="12" y="265531"/>
                  </a:lnTo>
                  <a:lnTo>
                    <a:pt x="5461" y="313690"/>
                  </a:lnTo>
                  <a:lnTo>
                    <a:pt x="18846" y="358952"/>
                  </a:lnTo>
                  <a:lnTo>
                    <a:pt x="39471" y="400570"/>
                  </a:lnTo>
                  <a:lnTo>
                    <a:pt x="66560" y="437832"/>
                  </a:lnTo>
                  <a:lnTo>
                    <a:pt x="99402" y="469988"/>
                  </a:lnTo>
                  <a:lnTo>
                    <a:pt x="137261" y="496290"/>
                  </a:lnTo>
                  <a:lnTo>
                    <a:pt x="179387" y="516026"/>
                  </a:lnTo>
                  <a:lnTo>
                    <a:pt x="225056" y="528447"/>
                  </a:lnTo>
                  <a:lnTo>
                    <a:pt x="273532" y="532828"/>
                  </a:lnTo>
                  <a:lnTo>
                    <a:pt x="274751" y="532828"/>
                  </a:lnTo>
                  <a:lnTo>
                    <a:pt x="323100" y="528472"/>
                  </a:lnTo>
                  <a:lnTo>
                    <a:pt x="368655" y="516102"/>
                  </a:lnTo>
                  <a:lnTo>
                    <a:pt x="410679" y="496455"/>
                  </a:lnTo>
                  <a:lnTo>
                    <a:pt x="448475" y="470268"/>
                  </a:lnTo>
                  <a:lnTo>
                    <a:pt x="481266" y="438251"/>
                  </a:lnTo>
                  <a:lnTo>
                    <a:pt x="508368" y="401142"/>
                  </a:lnTo>
                  <a:lnTo>
                    <a:pt x="529005" y="359689"/>
                  </a:lnTo>
                  <a:lnTo>
                    <a:pt x="542480" y="314591"/>
                  </a:lnTo>
                  <a:lnTo>
                    <a:pt x="548043" y="266598"/>
                  </a:lnTo>
                  <a:close/>
                </a:path>
                <a:path w="548640" h="786764">
                  <a:moveTo>
                    <a:pt x="548043" y="1079"/>
                  </a:moveTo>
                  <a:lnTo>
                    <a:pt x="500380" y="5105"/>
                  </a:lnTo>
                  <a:lnTo>
                    <a:pt x="455853" y="16764"/>
                  </a:lnTo>
                  <a:lnTo>
                    <a:pt x="414616" y="35369"/>
                  </a:lnTo>
                  <a:lnTo>
                    <a:pt x="377355" y="60236"/>
                  </a:lnTo>
                  <a:lnTo>
                    <a:pt x="344728" y="90703"/>
                  </a:lnTo>
                  <a:lnTo>
                    <a:pt x="317411" y="126085"/>
                  </a:lnTo>
                  <a:lnTo>
                    <a:pt x="296087" y="165709"/>
                  </a:lnTo>
                  <a:lnTo>
                    <a:pt x="281432" y="208902"/>
                  </a:lnTo>
                  <a:lnTo>
                    <a:pt x="274091" y="254990"/>
                  </a:lnTo>
                  <a:lnTo>
                    <a:pt x="266915"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46"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36"/>
                  </a:lnTo>
                  <a:lnTo>
                    <a:pt x="481266" y="172720"/>
                  </a:lnTo>
                  <a:lnTo>
                    <a:pt x="508368" y="135623"/>
                  </a:lnTo>
                  <a:lnTo>
                    <a:pt x="529005" y="94157"/>
                  </a:lnTo>
                  <a:lnTo>
                    <a:pt x="542480" y="49060"/>
                  </a:lnTo>
                  <a:lnTo>
                    <a:pt x="548043" y="1079"/>
                  </a:lnTo>
                  <a:close/>
                </a:path>
                <a:path w="548640" h="786764">
                  <a:moveTo>
                    <a:pt x="548093" y="520192"/>
                  </a:moveTo>
                  <a:lnTo>
                    <a:pt x="500380" y="524205"/>
                  </a:lnTo>
                  <a:lnTo>
                    <a:pt x="455853" y="535851"/>
                  </a:lnTo>
                  <a:lnTo>
                    <a:pt x="414616" y="554456"/>
                  </a:lnTo>
                  <a:lnTo>
                    <a:pt x="377355" y="579323"/>
                  </a:lnTo>
                  <a:lnTo>
                    <a:pt x="344728" y="609790"/>
                  </a:lnTo>
                  <a:lnTo>
                    <a:pt x="317411" y="645160"/>
                  </a:lnTo>
                  <a:lnTo>
                    <a:pt x="296087" y="684784"/>
                  </a:lnTo>
                  <a:lnTo>
                    <a:pt x="281419" y="727976"/>
                  </a:lnTo>
                  <a:lnTo>
                    <a:pt x="274091" y="774065"/>
                  </a:lnTo>
                  <a:lnTo>
                    <a:pt x="266915" y="727811"/>
                  </a:lnTo>
                  <a:lnTo>
                    <a:pt x="252361" y="684441"/>
                  </a:lnTo>
                  <a:lnTo>
                    <a:pt x="231101" y="644652"/>
                  </a:lnTo>
                  <a:lnTo>
                    <a:pt x="203809" y="609117"/>
                  </a:lnTo>
                  <a:lnTo>
                    <a:pt x="171157" y="578510"/>
                  </a:lnTo>
                  <a:lnTo>
                    <a:pt x="133845" y="553529"/>
                  </a:lnTo>
                  <a:lnTo>
                    <a:pt x="92544" y="534847"/>
                  </a:lnTo>
                  <a:lnTo>
                    <a:pt x="47917" y="523113"/>
                  </a:lnTo>
                  <a:lnTo>
                    <a:pt x="0" y="519061"/>
                  </a:lnTo>
                  <a:lnTo>
                    <a:pt x="5448" y="567232"/>
                  </a:lnTo>
                  <a:lnTo>
                    <a:pt x="18846" y="612508"/>
                  </a:lnTo>
                  <a:lnTo>
                    <a:pt x="39458" y="654126"/>
                  </a:lnTo>
                  <a:lnTo>
                    <a:pt x="66560" y="691388"/>
                  </a:lnTo>
                  <a:lnTo>
                    <a:pt x="99402" y="723544"/>
                  </a:lnTo>
                  <a:lnTo>
                    <a:pt x="137261" y="749858"/>
                  </a:lnTo>
                  <a:lnTo>
                    <a:pt x="179387" y="769594"/>
                  </a:lnTo>
                  <a:lnTo>
                    <a:pt x="225056" y="782015"/>
                  </a:lnTo>
                  <a:lnTo>
                    <a:pt x="273532" y="786384"/>
                  </a:lnTo>
                  <a:lnTo>
                    <a:pt x="274751" y="786384"/>
                  </a:lnTo>
                  <a:lnTo>
                    <a:pt x="323100" y="782027"/>
                  </a:lnTo>
                  <a:lnTo>
                    <a:pt x="368655" y="769670"/>
                  </a:lnTo>
                  <a:lnTo>
                    <a:pt x="410679" y="750023"/>
                  </a:lnTo>
                  <a:lnTo>
                    <a:pt x="448475" y="723823"/>
                  </a:lnTo>
                  <a:lnTo>
                    <a:pt x="448881" y="723430"/>
                  </a:lnTo>
                  <a:lnTo>
                    <a:pt x="481304" y="691794"/>
                  </a:lnTo>
                  <a:lnTo>
                    <a:pt x="508393" y="654697"/>
                  </a:lnTo>
                  <a:lnTo>
                    <a:pt x="529056"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391" name="object 102">
              <a:extLst>
                <a:ext uri="{FF2B5EF4-FFF2-40B4-BE49-F238E27FC236}">
                  <a16:creationId xmlns:a16="http://schemas.microsoft.com/office/drawing/2014/main" id="{7151EB7E-1139-3A9B-50D9-B78AA4B82737}"/>
                </a:ext>
              </a:extLst>
            </p:cNvPr>
            <p:cNvPicPr/>
            <p:nvPr/>
          </p:nvPicPr>
          <p:blipFill>
            <a:blip r:embed="rId5" cstate="print"/>
            <a:stretch>
              <a:fillRect/>
            </a:stretch>
          </p:blipFill>
          <p:spPr>
            <a:xfrm>
              <a:off x="10791857" y="718433"/>
              <a:ext cx="106445" cy="107156"/>
            </a:xfrm>
            <a:prstGeom prst="rect">
              <a:avLst/>
            </a:prstGeom>
          </p:spPr>
        </p:pic>
        <p:sp>
          <p:nvSpPr>
            <p:cNvPr id="392" name="object 103">
              <a:extLst>
                <a:ext uri="{FF2B5EF4-FFF2-40B4-BE49-F238E27FC236}">
                  <a16:creationId xmlns:a16="http://schemas.microsoft.com/office/drawing/2014/main" id="{3311A04B-FFF4-BB1E-9E85-59C37BA63C3A}"/>
                </a:ext>
              </a:extLst>
            </p:cNvPr>
            <p:cNvSpPr/>
            <p:nvPr/>
          </p:nvSpPr>
          <p:spPr>
            <a:xfrm>
              <a:off x="10679200" y="150257"/>
              <a:ext cx="332700" cy="477101"/>
            </a:xfrm>
            <a:custGeom>
              <a:avLst/>
              <a:gdLst/>
              <a:ahLst/>
              <a:cxnLst/>
              <a:rect l="l" t="t" r="r" b="b"/>
              <a:pathLst>
                <a:path w="548640" h="786765">
                  <a:moveTo>
                    <a:pt x="548043" y="266611"/>
                  </a:moveTo>
                  <a:lnTo>
                    <a:pt x="500380" y="270649"/>
                  </a:lnTo>
                  <a:lnTo>
                    <a:pt x="455853" y="282308"/>
                  </a:lnTo>
                  <a:lnTo>
                    <a:pt x="414616" y="300901"/>
                  </a:lnTo>
                  <a:lnTo>
                    <a:pt x="377355" y="325767"/>
                  </a:lnTo>
                  <a:lnTo>
                    <a:pt x="344728" y="356235"/>
                  </a:lnTo>
                  <a:lnTo>
                    <a:pt x="317411" y="391617"/>
                  </a:lnTo>
                  <a:lnTo>
                    <a:pt x="296087" y="431253"/>
                  </a:lnTo>
                  <a:lnTo>
                    <a:pt x="281432" y="474446"/>
                  </a:lnTo>
                  <a:lnTo>
                    <a:pt x="274091" y="520534"/>
                  </a:lnTo>
                  <a:lnTo>
                    <a:pt x="266915" y="474256"/>
                  </a:lnTo>
                  <a:lnTo>
                    <a:pt x="252361" y="430885"/>
                  </a:lnTo>
                  <a:lnTo>
                    <a:pt x="231101" y="391096"/>
                  </a:lnTo>
                  <a:lnTo>
                    <a:pt x="203809" y="355561"/>
                  </a:lnTo>
                  <a:lnTo>
                    <a:pt x="171157" y="324954"/>
                  </a:lnTo>
                  <a:lnTo>
                    <a:pt x="133845" y="299974"/>
                  </a:lnTo>
                  <a:lnTo>
                    <a:pt x="92544" y="281292"/>
                  </a:lnTo>
                  <a:lnTo>
                    <a:pt x="47917" y="269582"/>
                  </a:lnTo>
                  <a:lnTo>
                    <a:pt x="12" y="265531"/>
                  </a:lnTo>
                  <a:lnTo>
                    <a:pt x="5461" y="313690"/>
                  </a:lnTo>
                  <a:lnTo>
                    <a:pt x="18846" y="358952"/>
                  </a:lnTo>
                  <a:lnTo>
                    <a:pt x="39471" y="400583"/>
                  </a:lnTo>
                  <a:lnTo>
                    <a:pt x="66560" y="437832"/>
                  </a:lnTo>
                  <a:lnTo>
                    <a:pt x="99402" y="469988"/>
                  </a:lnTo>
                  <a:lnTo>
                    <a:pt x="137261" y="496303"/>
                  </a:lnTo>
                  <a:lnTo>
                    <a:pt x="179387" y="516039"/>
                  </a:lnTo>
                  <a:lnTo>
                    <a:pt x="225056" y="528459"/>
                  </a:lnTo>
                  <a:lnTo>
                    <a:pt x="273532" y="532828"/>
                  </a:lnTo>
                  <a:lnTo>
                    <a:pt x="274751" y="532828"/>
                  </a:lnTo>
                  <a:lnTo>
                    <a:pt x="323100" y="528472"/>
                  </a:lnTo>
                  <a:lnTo>
                    <a:pt x="368655" y="516115"/>
                  </a:lnTo>
                  <a:lnTo>
                    <a:pt x="410679" y="496468"/>
                  </a:lnTo>
                  <a:lnTo>
                    <a:pt x="448475" y="470268"/>
                  </a:lnTo>
                  <a:lnTo>
                    <a:pt x="481266" y="438251"/>
                  </a:lnTo>
                  <a:lnTo>
                    <a:pt x="508368" y="401154"/>
                  </a:lnTo>
                  <a:lnTo>
                    <a:pt x="529005" y="359689"/>
                  </a:lnTo>
                  <a:lnTo>
                    <a:pt x="542480" y="314604"/>
                  </a:lnTo>
                  <a:lnTo>
                    <a:pt x="548043" y="266611"/>
                  </a:lnTo>
                  <a:close/>
                </a:path>
                <a:path w="548640" h="786765">
                  <a:moveTo>
                    <a:pt x="548043" y="1079"/>
                  </a:moveTo>
                  <a:lnTo>
                    <a:pt x="500380" y="5118"/>
                  </a:lnTo>
                  <a:lnTo>
                    <a:pt x="455853" y="16776"/>
                  </a:lnTo>
                  <a:lnTo>
                    <a:pt x="414616" y="35369"/>
                  </a:lnTo>
                  <a:lnTo>
                    <a:pt x="377355" y="60248"/>
                  </a:lnTo>
                  <a:lnTo>
                    <a:pt x="344728" y="90716"/>
                  </a:lnTo>
                  <a:lnTo>
                    <a:pt x="317411" y="126098"/>
                  </a:lnTo>
                  <a:lnTo>
                    <a:pt x="296087" y="165722"/>
                  </a:lnTo>
                  <a:lnTo>
                    <a:pt x="281432" y="208915"/>
                  </a:lnTo>
                  <a:lnTo>
                    <a:pt x="274091" y="255003"/>
                  </a:lnTo>
                  <a:lnTo>
                    <a:pt x="266915" y="208724"/>
                  </a:lnTo>
                  <a:lnTo>
                    <a:pt x="252361" y="165354"/>
                  </a:lnTo>
                  <a:lnTo>
                    <a:pt x="231101" y="125564"/>
                  </a:lnTo>
                  <a:lnTo>
                    <a:pt x="203809" y="90030"/>
                  </a:lnTo>
                  <a:lnTo>
                    <a:pt x="171157" y="59436"/>
                  </a:lnTo>
                  <a:lnTo>
                    <a:pt x="133845" y="34455"/>
                  </a:lnTo>
                  <a:lnTo>
                    <a:pt x="92544" y="15760"/>
                  </a:lnTo>
                  <a:lnTo>
                    <a:pt x="47917" y="4064"/>
                  </a:lnTo>
                  <a:lnTo>
                    <a:pt x="12" y="0"/>
                  </a:lnTo>
                  <a:lnTo>
                    <a:pt x="5461" y="48171"/>
                  </a:lnTo>
                  <a:lnTo>
                    <a:pt x="18846"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79" y="230936"/>
                  </a:lnTo>
                  <a:lnTo>
                    <a:pt x="448475" y="204736"/>
                  </a:lnTo>
                  <a:lnTo>
                    <a:pt x="481266" y="172732"/>
                  </a:lnTo>
                  <a:lnTo>
                    <a:pt x="508368" y="135623"/>
                  </a:lnTo>
                  <a:lnTo>
                    <a:pt x="529005" y="94157"/>
                  </a:lnTo>
                  <a:lnTo>
                    <a:pt x="542480" y="49072"/>
                  </a:lnTo>
                  <a:lnTo>
                    <a:pt x="548043" y="1079"/>
                  </a:lnTo>
                  <a:close/>
                </a:path>
                <a:path w="548640" h="786765">
                  <a:moveTo>
                    <a:pt x="548093" y="520204"/>
                  </a:moveTo>
                  <a:lnTo>
                    <a:pt x="500380" y="524205"/>
                  </a:lnTo>
                  <a:lnTo>
                    <a:pt x="455853" y="535863"/>
                  </a:lnTo>
                  <a:lnTo>
                    <a:pt x="414616" y="554469"/>
                  </a:lnTo>
                  <a:lnTo>
                    <a:pt x="377355" y="579335"/>
                  </a:lnTo>
                  <a:lnTo>
                    <a:pt x="344728" y="609803"/>
                  </a:lnTo>
                  <a:lnTo>
                    <a:pt x="317411" y="645172"/>
                  </a:lnTo>
                  <a:lnTo>
                    <a:pt x="296087" y="684796"/>
                  </a:lnTo>
                  <a:lnTo>
                    <a:pt x="281419" y="727976"/>
                  </a:lnTo>
                  <a:lnTo>
                    <a:pt x="274091" y="774065"/>
                  </a:lnTo>
                  <a:lnTo>
                    <a:pt x="266915" y="727824"/>
                  </a:lnTo>
                  <a:lnTo>
                    <a:pt x="252361" y="684453"/>
                  </a:lnTo>
                  <a:lnTo>
                    <a:pt x="231101" y="644652"/>
                  </a:lnTo>
                  <a:lnTo>
                    <a:pt x="203809" y="609117"/>
                  </a:lnTo>
                  <a:lnTo>
                    <a:pt x="171157" y="578523"/>
                  </a:lnTo>
                  <a:lnTo>
                    <a:pt x="133845" y="553542"/>
                  </a:lnTo>
                  <a:lnTo>
                    <a:pt x="92544" y="534835"/>
                  </a:lnTo>
                  <a:lnTo>
                    <a:pt x="47917" y="523125"/>
                  </a:lnTo>
                  <a:lnTo>
                    <a:pt x="0" y="519074"/>
                  </a:lnTo>
                  <a:lnTo>
                    <a:pt x="5448" y="567245"/>
                  </a:lnTo>
                  <a:lnTo>
                    <a:pt x="14871" y="599122"/>
                  </a:lnTo>
                  <a:lnTo>
                    <a:pt x="18846" y="612521"/>
                  </a:lnTo>
                  <a:lnTo>
                    <a:pt x="29057" y="633133"/>
                  </a:lnTo>
                  <a:lnTo>
                    <a:pt x="39458" y="654138"/>
                  </a:lnTo>
                  <a:lnTo>
                    <a:pt x="46850" y="66429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393" name="object 104">
              <a:extLst>
                <a:ext uri="{FF2B5EF4-FFF2-40B4-BE49-F238E27FC236}">
                  <a16:creationId xmlns:a16="http://schemas.microsoft.com/office/drawing/2014/main" id="{D6C97AE0-FDC4-657F-81C5-D5B1F01CA567}"/>
                </a:ext>
              </a:extLst>
            </p:cNvPr>
            <p:cNvPicPr/>
            <p:nvPr/>
          </p:nvPicPr>
          <p:blipFill>
            <a:blip r:embed="rId6" cstate="print"/>
            <a:stretch>
              <a:fillRect/>
            </a:stretch>
          </p:blipFill>
          <p:spPr>
            <a:xfrm>
              <a:off x="10791857" y="64269"/>
              <a:ext cx="106445" cy="107156"/>
            </a:xfrm>
            <a:prstGeom prst="rect">
              <a:avLst/>
            </a:prstGeom>
          </p:spPr>
        </p:pic>
        <p:sp>
          <p:nvSpPr>
            <p:cNvPr id="394" name="object 105">
              <a:extLst>
                <a:ext uri="{FF2B5EF4-FFF2-40B4-BE49-F238E27FC236}">
                  <a16:creationId xmlns:a16="http://schemas.microsoft.com/office/drawing/2014/main" id="{147AF820-5292-5669-D959-E65B8F7131A7}"/>
                </a:ext>
              </a:extLst>
            </p:cNvPr>
            <p:cNvSpPr/>
            <p:nvPr/>
          </p:nvSpPr>
          <p:spPr>
            <a:xfrm>
              <a:off x="10679200" y="2112754"/>
              <a:ext cx="332700" cy="477101"/>
            </a:xfrm>
            <a:custGeom>
              <a:avLst/>
              <a:gdLst/>
              <a:ahLst/>
              <a:cxnLst/>
              <a:rect l="l" t="t" r="r" b="b"/>
              <a:pathLst>
                <a:path w="548640" h="786764">
                  <a:moveTo>
                    <a:pt x="548043" y="266611"/>
                  </a:moveTo>
                  <a:lnTo>
                    <a:pt x="500380" y="270649"/>
                  </a:lnTo>
                  <a:lnTo>
                    <a:pt x="455853" y="282308"/>
                  </a:lnTo>
                  <a:lnTo>
                    <a:pt x="414616" y="300901"/>
                  </a:lnTo>
                  <a:lnTo>
                    <a:pt x="377355" y="325780"/>
                  </a:lnTo>
                  <a:lnTo>
                    <a:pt x="344728" y="356247"/>
                  </a:lnTo>
                  <a:lnTo>
                    <a:pt x="317411" y="391629"/>
                  </a:lnTo>
                  <a:lnTo>
                    <a:pt x="296087" y="431253"/>
                  </a:lnTo>
                  <a:lnTo>
                    <a:pt x="281432" y="474446"/>
                  </a:lnTo>
                  <a:lnTo>
                    <a:pt x="274091" y="520534"/>
                  </a:lnTo>
                  <a:lnTo>
                    <a:pt x="266915" y="474256"/>
                  </a:lnTo>
                  <a:lnTo>
                    <a:pt x="252361" y="430885"/>
                  </a:lnTo>
                  <a:lnTo>
                    <a:pt x="231101" y="391096"/>
                  </a:lnTo>
                  <a:lnTo>
                    <a:pt x="203809" y="355561"/>
                  </a:lnTo>
                  <a:lnTo>
                    <a:pt x="171157" y="324967"/>
                  </a:lnTo>
                  <a:lnTo>
                    <a:pt x="133845" y="299986"/>
                  </a:lnTo>
                  <a:lnTo>
                    <a:pt x="92544" y="281292"/>
                  </a:lnTo>
                  <a:lnTo>
                    <a:pt x="47917" y="269582"/>
                  </a:lnTo>
                  <a:lnTo>
                    <a:pt x="12" y="265531"/>
                  </a:lnTo>
                  <a:lnTo>
                    <a:pt x="5461" y="313702"/>
                  </a:lnTo>
                  <a:lnTo>
                    <a:pt x="18846" y="358952"/>
                  </a:lnTo>
                  <a:lnTo>
                    <a:pt x="39471" y="400583"/>
                  </a:lnTo>
                  <a:lnTo>
                    <a:pt x="66560" y="437845"/>
                  </a:lnTo>
                  <a:lnTo>
                    <a:pt x="99402" y="469988"/>
                  </a:lnTo>
                  <a:lnTo>
                    <a:pt x="137261" y="496303"/>
                  </a:lnTo>
                  <a:lnTo>
                    <a:pt x="179387" y="516039"/>
                  </a:lnTo>
                  <a:lnTo>
                    <a:pt x="225056" y="528459"/>
                  </a:lnTo>
                  <a:lnTo>
                    <a:pt x="273532" y="532841"/>
                  </a:lnTo>
                  <a:lnTo>
                    <a:pt x="274751" y="532841"/>
                  </a:lnTo>
                  <a:lnTo>
                    <a:pt x="323100" y="528485"/>
                  </a:lnTo>
                  <a:lnTo>
                    <a:pt x="368655" y="516115"/>
                  </a:lnTo>
                  <a:lnTo>
                    <a:pt x="410679" y="496468"/>
                  </a:lnTo>
                  <a:lnTo>
                    <a:pt x="448475" y="470268"/>
                  </a:lnTo>
                  <a:lnTo>
                    <a:pt x="481266" y="438264"/>
                  </a:lnTo>
                  <a:lnTo>
                    <a:pt x="508368" y="401154"/>
                  </a:lnTo>
                  <a:lnTo>
                    <a:pt x="529005" y="359689"/>
                  </a:lnTo>
                  <a:lnTo>
                    <a:pt x="542480" y="314604"/>
                  </a:lnTo>
                  <a:lnTo>
                    <a:pt x="548043" y="266611"/>
                  </a:lnTo>
                  <a:close/>
                </a:path>
                <a:path w="548640" h="786764">
                  <a:moveTo>
                    <a:pt x="548043" y="1079"/>
                  </a:moveTo>
                  <a:lnTo>
                    <a:pt x="500380" y="5118"/>
                  </a:lnTo>
                  <a:lnTo>
                    <a:pt x="455853" y="16776"/>
                  </a:lnTo>
                  <a:lnTo>
                    <a:pt x="414616" y="35369"/>
                  </a:lnTo>
                  <a:lnTo>
                    <a:pt x="377355" y="60248"/>
                  </a:lnTo>
                  <a:lnTo>
                    <a:pt x="344728" y="90703"/>
                  </a:lnTo>
                  <a:lnTo>
                    <a:pt x="317411" y="126085"/>
                  </a:lnTo>
                  <a:lnTo>
                    <a:pt x="296087" y="165722"/>
                  </a:lnTo>
                  <a:lnTo>
                    <a:pt x="281432" y="208915"/>
                  </a:lnTo>
                  <a:lnTo>
                    <a:pt x="274091" y="255003"/>
                  </a:lnTo>
                  <a:lnTo>
                    <a:pt x="266915" y="208724"/>
                  </a:lnTo>
                  <a:lnTo>
                    <a:pt x="252361" y="165354"/>
                  </a:lnTo>
                  <a:lnTo>
                    <a:pt x="231101" y="125564"/>
                  </a:lnTo>
                  <a:lnTo>
                    <a:pt x="203809" y="90030"/>
                  </a:lnTo>
                  <a:lnTo>
                    <a:pt x="171157" y="59423"/>
                  </a:lnTo>
                  <a:lnTo>
                    <a:pt x="133845" y="34442"/>
                  </a:lnTo>
                  <a:lnTo>
                    <a:pt x="92544" y="15760"/>
                  </a:lnTo>
                  <a:lnTo>
                    <a:pt x="47917" y="4051"/>
                  </a:lnTo>
                  <a:lnTo>
                    <a:pt x="12" y="0"/>
                  </a:lnTo>
                  <a:lnTo>
                    <a:pt x="5461" y="48158"/>
                  </a:lnTo>
                  <a:lnTo>
                    <a:pt x="18846" y="93421"/>
                  </a:lnTo>
                  <a:lnTo>
                    <a:pt x="39471" y="135051"/>
                  </a:lnTo>
                  <a:lnTo>
                    <a:pt x="66560" y="172313"/>
                  </a:lnTo>
                  <a:lnTo>
                    <a:pt x="99402" y="204457"/>
                  </a:lnTo>
                  <a:lnTo>
                    <a:pt x="137261" y="230771"/>
                  </a:lnTo>
                  <a:lnTo>
                    <a:pt x="179387" y="250507"/>
                  </a:lnTo>
                  <a:lnTo>
                    <a:pt x="225056" y="262928"/>
                  </a:lnTo>
                  <a:lnTo>
                    <a:pt x="273532" y="267296"/>
                  </a:lnTo>
                  <a:lnTo>
                    <a:pt x="274751" y="267296"/>
                  </a:lnTo>
                  <a:lnTo>
                    <a:pt x="323100" y="262940"/>
                  </a:lnTo>
                  <a:lnTo>
                    <a:pt x="368655" y="250583"/>
                  </a:lnTo>
                  <a:lnTo>
                    <a:pt x="410679" y="230936"/>
                  </a:lnTo>
                  <a:lnTo>
                    <a:pt x="448475" y="204736"/>
                  </a:lnTo>
                  <a:lnTo>
                    <a:pt x="481266" y="172720"/>
                  </a:lnTo>
                  <a:lnTo>
                    <a:pt x="508368" y="135623"/>
                  </a:lnTo>
                  <a:lnTo>
                    <a:pt x="529005" y="94157"/>
                  </a:lnTo>
                  <a:lnTo>
                    <a:pt x="542480" y="49072"/>
                  </a:lnTo>
                  <a:lnTo>
                    <a:pt x="548043" y="1079"/>
                  </a:lnTo>
                  <a:close/>
                </a:path>
                <a:path w="548640" h="786764">
                  <a:moveTo>
                    <a:pt x="548093" y="520204"/>
                  </a:moveTo>
                  <a:lnTo>
                    <a:pt x="500380" y="524205"/>
                  </a:lnTo>
                  <a:lnTo>
                    <a:pt x="455853" y="535863"/>
                  </a:lnTo>
                  <a:lnTo>
                    <a:pt x="414616" y="554456"/>
                  </a:lnTo>
                  <a:lnTo>
                    <a:pt x="377355" y="579335"/>
                  </a:lnTo>
                  <a:lnTo>
                    <a:pt x="344728" y="609803"/>
                  </a:lnTo>
                  <a:lnTo>
                    <a:pt x="317411" y="645172"/>
                  </a:lnTo>
                  <a:lnTo>
                    <a:pt x="296087" y="684796"/>
                  </a:lnTo>
                  <a:lnTo>
                    <a:pt x="281419" y="727989"/>
                  </a:lnTo>
                  <a:lnTo>
                    <a:pt x="274091" y="774065"/>
                  </a:lnTo>
                  <a:lnTo>
                    <a:pt x="266915" y="727811"/>
                  </a:lnTo>
                  <a:lnTo>
                    <a:pt x="252361" y="684441"/>
                  </a:lnTo>
                  <a:lnTo>
                    <a:pt x="231101" y="644652"/>
                  </a:lnTo>
                  <a:lnTo>
                    <a:pt x="203809" y="609117"/>
                  </a:lnTo>
                  <a:lnTo>
                    <a:pt x="171157" y="578523"/>
                  </a:lnTo>
                  <a:lnTo>
                    <a:pt x="133845" y="553542"/>
                  </a:lnTo>
                  <a:lnTo>
                    <a:pt x="92544" y="534860"/>
                  </a:lnTo>
                  <a:lnTo>
                    <a:pt x="47917" y="523125"/>
                  </a:lnTo>
                  <a:lnTo>
                    <a:pt x="12" y="519087"/>
                  </a:lnTo>
                  <a:lnTo>
                    <a:pt x="5448" y="567245"/>
                  </a:lnTo>
                  <a:lnTo>
                    <a:pt x="18846" y="612521"/>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2DB7EA"/>
            </a:solidFill>
          </p:spPr>
          <p:txBody>
            <a:bodyPr wrap="square" lIns="0" tIns="0" rIns="0" bIns="0" rtlCol="0"/>
            <a:lstStyle/>
            <a:p>
              <a:endParaRPr dirty="0"/>
            </a:p>
          </p:txBody>
        </p:sp>
        <p:pic>
          <p:nvPicPr>
            <p:cNvPr id="395" name="object 106">
              <a:extLst>
                <a:ext uri="{FF2B5EF4-FFF2-40B4-BE49-F238E27FC236}">
                  <a16:creationId xmlns:a16="http://schemas.microsoft.com/office/drawing/2014/main" id="{15C96C86-FDE6-78F4-1C71-8EA2C9450C86}"/>
                </a:ext>
              </a:extLst>
            </p:cNvPr>
            <p:cNvPicPr/>
            <p:nvPr/>
          </p:nvPicPr>
          <p:blipFill>
            <a:blip r:embed="rId5" cstate="print"/>
            <a:stretch>
              <a:fillRect/>
            </a:stretch>
          </p:blipFill>
          <p:spPr>
            <a:xfrm>
              <a:off x="10791857" y="2026765"/>
              <a:ext cx="106445" cy="107156"/>
            </a:xfrm>
            <a:prstGeom prst="rect">
              <a:avLst/>
            </a:prstGeom>
          </p:spPr>
        </p:pic>
        <p:sp>
          <p:nvSpPr>
            <p:cNvPr id="396" name="object 107">
              <a:extLst>
                <a:ext uri="{FF2B5EF4-FFF2-40B4-BE49-F238E27FC236}">
                  <a16:creationId xmlns:a16="http://schemas.microsoft.com/office/drawing/2014/main" id="{3CAFD291-5BA7-1E90-25ED-ED6DDD9B30DE}"/>
                </a:ext>
              </a:extLst>
            </p:cNvPr>
            <p:cNvSpPr/>
            <p:nvPr/>
          </p:nvSpPr>
          <p:spPr>
            <a:xfrm>
              <a:off x="10679200" y="1458591"/>
              <a:ext cx="332700" cy="477101"/>
            </a:xfrm>
            <a:custGeom>
              <a:avLst/>
              <a:gdLst/>
              <a:ahLst/>
              <a:cxnLst/>
              <a:rect l="l" t="t" r="r" b="b"/>
              <a:pathLst>
                <a:path w="548640" h="786764">
                  <a:moveTo>
                    <a:pt x="548043" y="266611"/>
                  </a:moveTo>
                  <a:lnTo>
                    <a:pt x="500380" y="270649"/>
                  </a:lnTo>
                  <a:lnTo>
                    <a:pt x="455853" y="282295"/>
                  </a:lnTo>
                  <a:lnTo>
                    <a:pt x="414616" y="300901"/>
                  </a:lnTo>
                  <a:lnTo>
                    <a:pt x="377355" y="325767"/>
                  </a:lnTo>
                  <a:lnTo>
                    <a:pt x="344728" y="356235"/>
                  </a:lnTo>
                  <a:lnTo>
                    <a:pt x="317411" y="391617"/>
                  </a:lnTo>
                  <a:lnTo>
                    <a:pt x="296087" y="431241"/>
                  </a:lnTo>
                  <a:lnTo>
                    <a:pt x="281432" y="474446"/>
                  </a:lnTo>
                  <a:lnTo>
                    <a:pt x="274091" y="520522"/>
                  </a:lnTo>
                  <a:lnTo>
                    <a:pt x="266915"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46" y="358952"/>
                  </a:lnTo>
                  <a:lnTo>
                    <a:pt x="39471" y="400583"/>
                  </a:lnTo>
                  <a:lnTo>
                    <a:pt x="66560" y="437832"/>
                  </a:lnTo>
                  <a:lnTo>
                    <a:pt x="99402" y="469988"/>
                  </a:lnTo>
                  <a:lnTo>
                    <a:pt x="137261" y="496303"/>
                  </a:lnTo>
                  <a:lnTo>
                    <a:pt x="179387" y="516026"/>
                  </a:lnTo>
                  <a:lnTo>
                    <a:pt x="225056" y="528459"/>
                  </a:lnTo>
                  <a:lnTo>
                    <a:pt x="273532" y="532828"/>
                  </a:lnTo>
                  <a:lnTo>
                    <a:pt x="274751" y="532828"/>
                  </a:lnTo>
                  <a:lnTo>
                    <a:pt x="323100" y="528472"/>
                  </a:lnTo>
                  <a:lnTo>
                    <a:pt x="368655" y="516102"/>
                  </a:lnTo>
                  <a:lnTo>
                    <a:pt x="410679" y="496468"/>
                  </a:lnTo>
                  <a:lnTo>
                    <a:pt x="448475" y="470268"/>
                  </a:lnTo>
                  <a:lnTo>
                    <a:pt x="481266" y="438251"/>
                  </a:lnTo>
                  <a:lnTo>
                    <a:pt x="508368" y="401154"/>
                  </a:lnTo>
                  <a:lnTo>
                    <a:pt x="529005" y="359689"/>
                  </a:lnTo>
                  <a:lnTo>
                    <a:pt x="542480" y="314604"/>
                  </a:lnTo>
                  <a:lnTo>
                    <a:pt x="548043" y="266611"/>
                  </a:lnTo>
                  <a:close/>
                </a:path>
                <a:path w="548640" h="786764">
                  <a:moveTo>
                    <a:pt x="548043" y="1079"/>
                  </a:moveTo>
                  <a:lnTo>
                    <a:pt x="500380" y="5105"/>
                  </a:lnTo>
                  <a:lnTo>
                    <a:pt x="455853" y="16764"/>
                  </a:lnTo>
                  <a:lnTo>
                    <a:pt x="414616" y="35369"/>
                  </a:lnTo>
                  <a:lnTo>
                    <a:pt x="377355" y="60236"/>
                  </a:lnTo>
                  <a:lnTo>
                    <a:pt x="344728" y="90703"/>
                  </a:lnTo>
                  <a:lnTo>
                    <a:pt x="317411" y="126085"/>
                  </a:lnTo>
                  <a:lnTo>
                    <a:pt x="296087" y="165709"/>
                  </a:lnTo>
                  <a:lnTo>
                    <a:pt x="281432" y="208902"/>
                  </a:lnTo>
                  <a:lnTo>
                    <a:pt x="274091" y="254990"/>
                  </a:lnTo>
                  <a:lnTo>
                    <a:pt x="266915"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46"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36"/>
                  </a:lnTo>
                  <a:lnTo>
                    <a:pt x="481266" y="172720"/>
                  </a:lnTo>
                  <a:lnTo>
                    <a:pt x="508368" y="135623"/>
                  </a:lnTo>
                  <a:lnTo>
                    <a:pt x="529005" y="94157"/>
                  </a:lnTo>
                  <a:lnTo>
                    <a:pt x="542480" y="49060"/>
                  </a:lnTo>
                  <a:lnTo>
                    <a:pt x="548043" y="1079"/>
                  </a:lnTo>
                  <a:close/>
                </a:path>
                <a:path w="548640" h="786764">
                  <a:moveTo>
                    <a:pt x="548093" y="520192"/>
                  </a:moveTo>
                  <a:lnTo>
                    <a:pt x="500380" y="524205"/>
                  </a:lnTo>
                  <a:lnTo>
                    <a:pt x="455853" y="535863"/>
                  </a:lnTo>
                  <a:lnTo>
                    <a:pt x="414616" y="554456"/>
                  </a:lnTo>
                  <a:lnTo>
                    <a:pt x="377355" y="579335"/>
                  </a:lnTo>
                  <a:lnTo>
                    <a:pt x="344728" y="609790"/>
                  </a:lnTo>
                  <a:lnTo>
                    <a:pt x="317411" y="645172"/>
                  </a:lnTo>
                  <a:lnTo>
                    <a:pt x="296087" y="684784"/>
                  </a:lnTo>
                  <a:lnTo>
                    <a:pt x="281419" y="727976"/>
                  </a:lnTo>
                  <a:lnTo>
                    <a:pt x="274091" y="774065"/>
                  </a:lnTo>
                  <a:lnTo>
                    <a:pt x="266915" y="727811"/>
                  </a:lnTo>
                  <a:lnTo>
                    <a:pt x="252361" y="684441"/>
                  </a:lnTo>
                  <a:lnTo>
                    <a:pt x="231101" y="644652"/>
                  </a:lnTo>
                  <a:lnTo>
                    <a:pt x="203809" y="609117"/>
                  </a:lnTo>
                  <a:lnTo>
                    <a:pt x="171157" y="578510"/>
                  </a:lnTo>
                  <a:lnTo>
                    <a:pt x="133845" y="553529"/>
                  </a:lnTo>
                  <a:lnTo>
                    <a:pt x="92544" y="534847"/>
                  </a:lnTo>
                  <a:lnTo>
                    <a:pt x="47917" y="523138"/>
                  </a:lnTo>
                  <a:lnTo>
                    <a:pt x="0" y="519061"/>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84"/>
                  </a:lnTo>
                  <a:lnTo>
                    <a:pt x="274751" y="786384"/>
                  </a:lnTo>
                  <a:lnTo>
                    <a:pt x="323100" y="782027"/>
                  </a:lnTo>
                  <a:lnTo>
                    <a:pt x="368655" y="769670"/>
                  </a:lnTo>
                  <a:lnTo>
                    <a:pt x="410679" y="750023"/>
                  </a:lnTo>
                  <a:lnTo>
                    <a:pt x="448475" y="723823"/>
                  </a:lnTo>
                  <a:lnTo>
                    <a:pt x="448881" y="723430"/>
                  </a:lnTo>
                  <a:lnTo>
                    <a:pt x="481304" y="691794"/>
                  </a:lnTo>
                  <a:lnTo>
                    <a:pt x="508393" y="654697"/>
                  </a:lnTo>
                  <a:lnTo>
                    <a:pt x="529056" y="613244"/>
                  </a:lnTo>
                  <a:lnTo>
                    <a:pt x="542531" y="568172"/>
                  </a:lnTo>
                  <a:lnTo>
                    <a:pt x="548093" y="520192"/>
                  </a:lnTo>
                  <a:close/>
                </a:path>
              </a:pathLst>
            </a:custGeom>
            <a:solidFill>
              <a:srgbClr val="7ED3F1"/>
            </a:solidFill>
          </p:spPr>
          <p:txBody>
            <a:bodyPr wrap="square" lIns="0" tIns="0" rIns="0" bIns="0" rtlCol="0"/>
            <a:lstStyle/>
            <a:p>
              <a:endParaRPr dirty="0"/>
            </a:p>
          </p:txBody>
        </p:sp>
        <p:pic>
          <p:nvPicPr>
            <p:cNvPr id="397" name="object 108">
              <a:extLst>
                <a:ext uri="{FF2B5EF4-FFF2-40B4-BE49-F238E27FC236}">
                  <a16:creationId xmlns:a16="http://schemas.microsoft.com/office/drawing/2014/main" id="{BD07E167-931A-292D-DB2B-49A2101ED658}"/>
                </a:ext>
              </a:extLst>
            </p:cNvPr>
            <p:cNvPicPr/>
            <p:nvPr/>
          </p:nvPicPr>
          <p:blipFill>
            <a:blip r:embed="rId6" cstate="print"/>
            <a:stretch>
              <a:fillRect/>
            </a:stretch>
          </p:blipFill>
          <p:spPr>
            <a:xfrm>
              <a:off x="10791857" y="1372599"/>
              <a:ext cx="106445" cy="107156"/>
            </a:xfrm>
            <a:prstGeom prst="rect">
              <a:avLst/>
            </a:prstGeom>
          </p:spPr>
        </p:pic>
        <p:sp>
          <p:nvSpPr>
            <p:cNvPr id="398" name="object 109">
              <a:extLst>
                <a:ext uri="{FF2B5EF4-FFF2-40B4-BE49-F238E27FC236}">
                  <a16:creationId xmlns:a16="http://schemas.microsoft.com/office/drawing/2014/main" id="{8991FF15-634B-F6EF-0226-E1D1E6F03490}"/>
                </a:ext>
              </a:extLst>
            </p:cNvPr>
            <p:cNvSpPr/>
            <p:nvPr/>
          </p:nvSpPr>
          <p:spPr>
            <a:xfrm>
              <a:off x="10679200" y="3421088"/>
              <a:ext cx="332700" cy="477101"/>
            </a:xfrm>
            <a:custGeom>
              <a:avLst/>
              <a:gdLst/>
              <a:ahLst/>
              <a:cxnLst/>
              <a:rect l="l" t="t" r="r" b="b"/>
              <a:pathLst>
                <a:path w="548640" h="786764">
                  <a:moveTo>
                    <a:pt x="548043" y="266611"/>
                  </a:moveTo>
                  <a:lnTo>
                    <a:pt x="500380" y="270637"/>
                  </a:lnTo>
                  <a:lnTo>
                    <a:pt x="455853" y="282295"/>
                  </a:lnTo>
                  <a:lnTo>
                    <a:pt x="414616" y="300901"/>
                  </a:lnTo>
                  <a:lnTo>
                    <a:pt x="377355" y="325767"/>
                  </a:lnTo>
                  <a:lnTo>
                    <a:pt x="344728" y="356235"/>
                  </a:lnTo>
                  <a:lnTo>
                    <a:pt x="317411" y="391617"/>
                  </a:lnTo>
                  <a:lnTo>
                    <a:pt x="296087" y="431241"/>
                  </a:lnTo>
                  <a:lnTo>
                    <a:pt x="281432" y="474433"/>
                  </a:lnTo>
                  <a:lnTo>
                    <a:pt x="274091" y="520522"/>
                  </a:lnTo>
                  <a:lnTo>
                    <a:pt x="266915"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46" y="358952"/>
                  </a:lnTo>
                  <a:lnTo>
                    <a:pt x="39471" y="400570"/>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79" y="496455"/>
                  </a:lnTo>
                  <a:lnTo>
                    <a:pt x="448475" y="470255"/>
                  </a:lnTo>
                  <a:lnTo>
                    <a:pt x="481266" y="438251"/>
                  </a:lnTo>
                  <a:lnTo>
                    <a:pt x="508368" y="401142"/>
                  </a:lnTo>
                  <a:lnTo>
                    <a:pt x="529005" y="359689"/>
                  </a:lnTo>
                  <a:lnTo>
                    <a:pt x="542480" y="314591"/>
                  </a:lnTo>
                  <a:lnTo>
                    <a:pt x="548043" y="266611"/>
                  </a:lnTo>
                  <a:close/>
                </a:path>
                <a:path w="548640" h="786764">
                  <a:moveTo>
                    <a:pt x="548043" y="1079"/>
                  </a:moveTo>
                  <a:lnTo>
                    <a:pt x="500380" y="5118"/>
                  </a:lnTo>
                  <a:lnTo>
                    <a:pt x="455853" y="16764"/>
                  </a:lnTo>
                  <a:lnTo>
                    <a:pt x="414616" y="35369"/>
                  </a:lnTo>
                  <a:lnTo>
                    <a:pt x="377355" y="60236"/>
                  </a:lnTo>
                  <a:lnTo>
                    <a:pt x="344728" y="90703"/>
                  </a:lnTo>
                  <a:lnTo>
                    <a:pt x="317411" y="126085"/>
                  </a:lnTo>
                  <a:lnTo>
                    <a:pt x="296087" y="165709"/>
                  </a:lnTo>
                  <a:lnTo>
                    <a:pt x="281432" y="208915"/>
                  </a:lnTo>
                  <a:lnTo>
                    <a:pt x="274091" y="254990"/>
                  </a:lnTo>
                  <a:lnTo>
                    <a:pt x="266915"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46"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36"/>
                  </a:lnTo>
                  <a:lnTo>
                    <a:pt x="481266" y="172720"/>
                  </a:lnTo>
                  <a:lnTo>
                    <a:pt x="508368" y="135623"/>
                  </a:lnTo>
                  <a:lnTo>
                    <a:pt x="529005" y="94157"/>
                  </a:lnTo>
                  <a:lnTo>
                    <a:pt x="542480" y="49072"/>
                  </a:lnTo>
                  <a:lnTo>
                    <a:pt x="548043" y="1079"/>
                  </a:lnTo>
                  <a:close/>
                </a:path>
                <a:path w="548640" h="786764">
                  <a:moveTo>
                    <a:pt x="548093" y="520192"/>
                  </a:moveTo>
                  <a:lnTo>
                    <a:pt x="500380" y="524217"/>
                  </a:lnTo>
                  <a:lnTo>
                    <a:pt x="455853" y="535863"/>
                  </a:lnTo>
                  <a:lnTo>
                    <a:pt x="414616" y="554469"/>
                  </a:lnTo>
                  <a:lnTo>
                    <a:pt x="377355" y="579335"/>
                  </a:lnTo>
                  <a:lnTo>
                    <a:pt x="344728" y="609790"/>
                  </a:lnTo>
                  <a:lnTo>
                    <a:pt x="317411" y="645172"/>
                  </a:lnTo>
                  <a:lnTo>
                    <a:pt x="296087" y="684784"/>
                  </a:lnTo>
                  <a:lnTo>
                    <a:pt x="281419" y="727976"/>
                  </a:lnTo>
                  <a:lnTo>
                    <a:pt x="274091" y="774065"/>
                  </a:lnTo>
                  <a:lnTo>
                    <a:pt x="266915" y="727811"/>
                  </a:lnTo>
                  <a:lnTo>
                    <a:pt x="252361" y="684441"/>
                  </a:lnTo>
                  <a:lnTo>
                    <a:pt x="231101" y="644652"/>
                  </a:lnTo>
                  <a:lnTo>
                    <a:pt x="203809" y="609117"/>
                  </a:lnTo>
                  <a:lnTo>
                    <a:pt x="171157" y="578510"/>
                  </a:lnTo>
                  <a:lnTo>
                    <a:pt x="133845" y="553529"/>
                  </a:lnTo>
                  <a:lnTo>
                    <a:pt x="92544" y="534847"/>
                  </a:lnTo>
                  <a:lnTo>
                    <a:pt x="47917" y="523138"/>
                  </a:lnTo>
                  <a:lnTo>
                    <a:pt x="0" y="519061"/>
                  </a:lnTo>
                  <a:lnTo>
                    <a:pt x="5448" y="567232"/>
                  </a:lnTo>
                  <a:lnTo>
                    <a:pt x="18846" y="612508"/>
                  </a:lnTo>
                  <a:lnTo>
                    <a:pt x="39458" y="654138"/>
                  </a:lnTo>
                  <a:lnTo>
                    <a:pt x="66560" y="691400"/>
                  </a:lnTo>
                  <a:lnTo>
                    <a:pt x="99402" y="723544"/>
                  </a:lnTo>
                  <a:lnTo>
                    <a:pt x="137261" y="749858"/>
                  </a:lnTo>
                  <a:lnTo>
                    <a:pt x="179387" y="769594"/>
                  </a:lnTo>
                  <a:lnTo>
                    <a:pt x="225056" y="782015"/>
                  </a:lnTo>
                  <a:lnTo>
                    <a:pt x="273532" y="786384"/>
                  </a:lnTo>
                  <a:lnTo>
                    <a:pt x="274751" y="786384"/>
                  </a:lnTo>
                  <a:lnTo>
                    <a:pt x="323100" y="782027"/>
                  </a:lnTo>
                  <a:lnTo>
                    <a:pt x="368655" y="769670"/>
                  </a:lnTo>
                  <a:lnTo>
                    <a:pt x="410679" y="750023"/>
                  </a:lnTo>
                  <a:lnTo>
                    <a:pt x="448475" y="723823"/>
                  </a:lnTo>
                  <a:lnTo>
                    <a:pt x="449313" y="723011"/>
                  </a:lnTo>
                  <a:lnTo>
                    <a:pt x="481266" y="691819"/>
                  </a:lnTo>
                  <a:lnTo>
                    <a:pt x="508393" y="654697"/>
                  </a:lnTo>
                  <a:lnTo>
                    <a:pt x="529056"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399" name="object 110">
              <a:extLst>
                <a:ext uri="{FF2B5EF4-FFF2-40B4-BE49-F238E27FC236}">
                  <a16:creationId xmlns:a16="http://schemas.microsoft.com/office/drawing/2014/main" id="{62583807-2EBB-B94C-1C3B-37A9F2C69228}"/>
                </a:ext>
              </a:extLst>
            </p:cNvPr>
            <p:cNvPicPr/>
            <p:nvPr/>
          </p:nvPicPr>
          <p:blipFill>
            <a:blip r:embed="rId5" cstate="print"/>
            <a:stretch>
              <a:fillRect/>
            </a:stretch>
          </p:blipFill>
          <p:spPr>
            <a:xfrm>
              <a:off x="10791857" y="3335097"/>
              <a:ext cx="106445" cy="107156"/>
            </a:xfrm>
            <a:prstGeom prst="rect">
              <a:avLst/>
            </a:prstGeom>
          </p:spPr>
        </p:pic>
        <p:sp>
          <p:nvSpPr>
            <p:cNvPr id="401" name="object 111">
              <a:extLst>
                <a:ext uri="{FF2B5EF4-FFF2-40B4-BE49-F238E27FC236}">
                  <a16:creationId xmlns:a16="http://schemas.microsoft.com/office/drawing/2014/main" id="{3E13FE04-CA80-0AED-38A4-2DE527C5DB8B}"/>
                </a:ext>
              </a:extLst>
            </p:cNvPr>
            <p:cNvSpPr/>
            <p:nvPr/>
          </p:nvSpPr>
          <p:spPr>
            <a:xfrm>
              <a:off x="10679200" y="2766918"/>
              <a:ext cx="332700" cy="477101"/>
            </a:xfrm>
            <a:custGeom>
              <a:avLst/>
              <a:gdLst/>
              <a:ahLst/>
              <a:cxnLst/>
              <a:rect l="l" t="t" r="r" b="b"/>
              <a:pathLst>
                <a:path w="548640" h="786764">
                  <a:moveTo>
                    <a:pt x="548043" y="266611"/>
                  </a:moveTo>
                  <a:lnTo>
                    <a:pt x="500380" y="270649"/>
                  </a:lnTo>
                  <a:lnTo>
                    <a:pt x="455853" y="282308"/>
                  </a:lnTo>
                  <a:lnTo>
                    <a:pt x="414616" y="300901"/>
                  </a:lnTo>
                  <a:lnTo>
                    <a:pt x="377355" y="325780"/>
                  </a:lnTo>
                  <a:lnTo>
                    <a:pt x="344728" y="356247"/>
                  </a:lnTo>
                  <a:lnTo>
                    <a:pt x="317411" y="391629"/>
                  </a:lnTo>
                  <a:lnTo>
                    <a:pt x="296087" y="431253"/>
                  </a:lnTo>
                  <a:lnTo>
                    <a:pt x="281432" y="474446"/>
                  </a:lnTo>
                  <a:lnTo>
                    <a:pt x="274091" y="520534"/>
                  </a:lnTo>
                  <a:lnTo>
                    <a:pt x="266915" y="474256"/>
                  </a:lnTo>
                  <a:lnTo>
                    <a:pt x="252361" y="430885"/>
                  </a:lnTo>
                  <a:lnTo>
                    <a:pt x="231101" y="391096"/>
                  </a:lnTo>
                  <a:lnTo>
                    <a:pt x="203809" y="355561"/>
                  </a:lnTo>
                  <a:lnTo>
                    <a:pt x="171157" y="324967"/>
                  </a:lnTo>
                  <a:lnTo>
                    <a:pt x="133845" y="299986"/>
                  </a:lnTo>
                  <a:lnTo>
                    <a:pt x="92544" y="281292"/>
                  </a:lnTo>
                  <a:lnTo>
                    <a:pt x="47917" y="269582"/>
                  </a:lnTo>
                  <a:lnTo>
                    <a:pt x="12" y="265531"/>
                  </a:lnTo>
                  <a:lnTo>
                    <a:pt x="5461" y="313702"/>
                  </a:lnTo>
                  <a:lnTo>
                    <a:pt x="18846" y="358952"/>
                  </a:lnTo>
                  <a:lnTo>
                    <a:pt x="39471" y="400583"/>
                  </a:lnTo>
                  <a:lnTo>
                    <a:pt x="66560" y="437845"/>
                  </a:lnTo>
                  <a:lnTo>
                    <a:pt x="99402" y="469988"/>
                  </a:lnTo>
                  <a:lnTo>
                    <a:pt x="137261" y="496303"/>
                  </a:lnTo>
                  <a:lnTo>
                    <a:pt x="179387" y="516039"/>
                  </a:lnTo>
                  <a:lnTo>
                    <a:pt x="225056" y="528459"/>
                  </a:lnTo>
                  <a:lnTo>
                    <a:pt x="273532" y="532841"/>
                  </a:lnTo>
                  <a:lnTo>
                    <a:pt x="274751" y="532841"/>
                  </a:lnTo>
                  <a:lnTo>
                    <a:pt x="323100" y="528485"/>
                  </a:lnTo>
                  <a:lnTo>
                    <a:pt x="368655" y="516115"/>
                  </a:lnTo>
                  <a:lnTo>
                    <a:pt x="410679" y="496468"/>
                  </a:lnTo>
                  <a:lnTo>
                    <a:pt x="448475" y="470268"/>
                  </a:lnTo>
                  <a:lnTo>
                    <a:pt x="481266" y="438264"/>
                  </a:lnTo>
                  <a:lnTo>
                    <a:pt x="508368" y="401154"/>
                  </a:lnTo>
                  <a:lnTo>
                    <a:pt x="529005" y="359689"/>
                  </a:lnTo>
                  <a:lnTo>
                    <a:pt x="542480" y="314604"/>
                  </a:lnTo>
                  <a:lnTo>
                    <a:pt x="548043" y="266611"/>
                  </a:lnTo>
                  <a:close/>
                </a:path>
                <a:path w="548640" h="786764">
                  <a:moveTo>
                    <a:pt x="548043" y="1079"/>
                  </a:moveTo>
                  <a:lnTo>
                    <a:pt x="500380" y="5118"/>
                  </a:lnTo>
                  <a:lnTo>
                    <a:pt x="455853" y="16776"/>
                  </a:lnTo>
                  <a:lnTo>
                    <a:pt x="414616" y="35369"/>
                  </a:lnTo>
                  <a:lnTo>
                    <a:pt x="377355" y="60248"/>
                  </a:lnTo>
                  <a:lnTo>
                    <a:pt x="344728" y="90716"/>
                  </a:lnTo>
                  <a:lnTo>
                    <a:pt x="317411" y="126098"/>
                  </a:lnTo>
                  <a:lnTo>
                    <a:pt x="296087" y="165722"/>
                  </a:lnTo>
                  <a:lnTo>
                    <a:pt x="281432" y="208915"/>
                  </a:lnTo>
                  <a:lnTo>
                    <a:pt x="274091" y="255003"/>
                  </a:lnTo>
                  <a:lnTo>
                    <a:pt x="266915" y="208724"/>
                  </a:lnTo>
                  <a:lnTo>
                    <a:pt x="252361" y="165354"/>
                  </a:lnTo>
                  <a:lnTo>
                    <a:pt x="231101" y="125564"/>
                  </a:lnTo>
                  <a:lnTo>
                    <a:pt x="203809" y="90030"/>
                  </a:lnTo>
                  <a:lnTo>
                    <a:pt x="171157" y="59436"/>
                  </a:lnTo>
                  <a:lnTo>
                    <a:pt x="133845" y="34455"/>
                  </a:lnTo>
                  <a:lnTo>
                    <a:pt x="92544" y="15773"/>
                  </a:lnTo>
                  <a:lnTo>
                    <a:pt x="47917" y="4064"/>
                  </a:lnTo>
                  <a:lnTo>
                    <a:pt x="12" y="0"/>
                  </a:lnTo>
                  <a:lnTo>
                    <a:pt x="5461" y="48171"/>
                  </a:lnTo>
                  <a:lnTo>
                    <a:pt x="18846"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79" y="230936"/>
                  </a:lnTo>
                  <a:lnTo>
                    <a:pt x="448475" y="204749"/>
                  </a:lnTo>
                  <a:lnTo>
                    <a:pt x="481266" y="172732"/>
                  </a:lnTo>
                  <a:lnTo>
                    <a:pt x="508368" y="135623"/>
                  </a:lnTo>
                  <a:lnTo>
                    <a:pt x="529005" y="94157"/>
                  </a:lnTo>
                  <a:lnTo>
                    <a:pt x="542480" y="49072"/>
                  </a:lnTo>
                  <a:lnTo>
                    <a:pt x="548043" y="1079"/>
                  </a:lnTo>
                  <a:close/>
                </a:path>
                <a:path w="548640" h="786764">
                  <a:moveTo>
                    <a:pt x="548093" y="520204"/>
                  </a:moveTo>
                  <a:lnTo>
                    <a:pt x="500380" y="524205"/>
                  </a:lnTo>
                  <a:lnTo>
                    <a:pt x="455853" y="535863"/>
                  </a:lnTo>
                  <a:lnTo>
                    <a:pt x="414616" y="554469"/>
                  </a:lnTo>
                  <a:lnTo>
                    <a:pt x="377355" y="579335"/>
                  </a:lnTo>
                  <a:lnTo>
                    <a:pt x="344728" y="609803"/>
                  </a:lnTo>
                  <a:lnTo>
                    <a:pt x="317411" y="645172"/>
                  </a:lnTo>
                  <a:lnTo>
                    <a:pt x="296087" y="684796"/>
                  </a:lnTo>
                  <a:lnTo>
                    <a:pt x="281419" y="727989"/>
                  </a:lnTo>
                  <a:lnTo>
                    <a:pt x="274091" y="774065"/>
                  </a:lnTo>
                  <a:lnTo>
                    <a:pt x="266915" y="727824"/>
                  </a:lnTo>
                  <a:lnTo>
                    <a:pt x="252361" y="684453"/>
                  </a:lnTo>
                  <a:lnTo>
                    <a:pt x="231101" y="644652"/>
                  </a:lnTo>
                  <a:lnTo>
                    <a:pt x="203809" y="609117"/>
                  </a:lnTo>
                  <a:lnTo>
                    <a:pt x="171157" y="578523"/>
                  </a:lnTo>
                  <a:lnTo>
                    <a:pt x="133845" y="553542"/>
                  </a:lnTo>
                  <a:lnTo>
                    <a:pt x="92544" y="534835"/>
                  </a:lnTo>
                  <a:lnTo>
                    <a:pt x="47917" y="523125"/>
                  </a:lnTo>
                  <a:lnTo>
                    <a:pt x="0" y="519074"/>
                  </a:lnTo>
                  <a:lnTo>
                    <a:pt x="5448" y="567245"/>
                  </a:lnTo>
                  <a:lnTo>
                    <a:pt x="14871" y="599122"/>
                  </a:lnTo>
                  <a:lnTo>
                    <a:pt x="18846" y="612521"/>
                  </a:lnTo>
                  <a:lnTo>
                    <a:pt x="29057" y="633133"/>
                  </a:lnTo>
                  <a:lnTo>
                    <a:pt x="39458" y="65413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402" name="object 112">
              <a:extLst>
                <a:ext uri="{FF2B5EF4-FFF2-40B4-BE49-F238E27FC236}">
                  <a16:creationId xmlns:a16="http://schemas.microsoft.com/office/drawing/2014/main" id="{C8A076EE-0DCA-4288-78F2-0DC42CFC8449}"/>
                </a:ext>
              </a:extLst>
            </p:cNvPr>
            <p:cNvPicPr/>
            <p:nvPr/>
          </p:nvPicPr>
          <p:blipFill>
            <a:blip r:embed="rId6" cstate="print"/>
            <a:stretch>
              <a:fillRect/>
            </a:stretch>
          </p:blipFill>
          <p:spPr>
            <a:xfrm>
              <a:off x="10791857" y="2680931"/>
              <a:ext cx="106445" cy="107156"/>
            </a:xfrm>
            <a:prstGeom prst="rect">
              <a:avLst/>
            </a:prstGeom>
          </p:spPr>
        </p:pic>
        <p:sp>
          <p:nvSpPr>
            <p:cNvPr id="403" name="object 113">
              <a:extLst>
                <a:ext uri="{FF2B5EF4-FFF2-40B4-BE49-F238E27FC236}">
                  <a16:creationId xmlns:a16="http://schemas.microsoft.com/office/drawing/2014/main" id="{019C82E9-8421-53D1-10A9-32DC3737DD47}"/>
                </a:ext>
              </a:extLst>
            </p:cNvPr>
            <p:cNvSpPr/>
            <p:nvPr/>
          </p:nvSpPr>
          <p:spPr>
            <a:xfrm>
              <a:off x="10679200" y="4729423"/>
              <a:ext cx="332700" cy="477101"/>
            </a:xfrm>
            <a:custGeom>
              <a:avLst/>
              <a:gdLst/>
              <a:ahLst/>
              <a:cxnLst/>
              <a:rect l="l" t="t" r="r" b="b"/>
              <a:pathLst>
                <a:path w="548640" h="786765">
                  <a:moveTo>
                    <a:pt x="548043" y="266611"/>
                  </a:moveTo>
                  <a:lnTo>
                    <a:pt x="500380" y="270649"/>
                  </a:lnTo>
                  <a:lnTo>
                    <a:pt x="455853" y="282308"/>
                  </a:lnTo>
                  <a:lnTo>
                    <a:pt x="414616" y="300901"/>
                  </a:lnTo>
                  <a:lnTo>
                    <a:pt x="377355" y="325767"/>
                  </a:lnTo>
                  <a:lnTo>
                    <a:pt x="344728" y="356235"/>
                  </a:lnTo>
                  <a:lnTo>
                    <a:pt x="317411" y="391617"/>
                  </a:lnTo>
                  <a:lnTo>
                    <a:pt x="296087" y="431241"/>
                  </a:lnTo>
                  <a:lnTo>
                    <a:pt x="281432" y="474433"/>
                  </a:lnTo>
                  <a:lnTo>
                    <a:pt x="274091" y="520522"/>
                  </a:lnTo>
                  <a:lnTo>
                    <a:pt x="266915" y="474243"/>
                  </a:lnTo>
                  <a:lnTo>
                    <a:pt x="252361" y="430872"/>
                  </a:lnTo>
                  <a:lnTo>
                    <a:pt x="231101" y="391083"/>
                  </a:lnTo>
                  <a:lnTo>
                    <a:pt x="203809" y="355549"/>
                  </a:lnTo>
                  <a:lnTo>
                    <a:pt x="171157" y="324954"/>
                  </a:lnTo>
                  <a:lnTo>
                    <a:pt x="133845" y="299974"/>
                  </a:lnTo>
                  <a:lnTo>
                    <a:pt x="92544" y="281292"/>
                  </a:lnTo>
                  <a:lnTo>
                    <a:pt x="47917" y="269582"/>
                  </a:lnTo>
                  <a:lnTo>
                    <a:pt x="12" y="265518"/>
                  </a:lnTo>
                  <a:lnTo>
                    <a:pt x="5461" y="313690"/>
                  </a:lnTo>
                  <a:lnTo>
                    <a:pt x="18846" y="358952"/>
                  </a:lnTo>
                  <a:lnTo>
                    <a:pt x="39471" y="400570"/>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79" y="496455"/>
                  </a:lnTo>
                  <a:lnTo>
                    <a:pt x="448475" y="470268"/>
                  </a:lnTo>
                  <a:lnTo>
                    <a:pt x="481266" y="438251"/>
                  </a:lnTo>
                  <a:lnTo>
                    <a:pt x="508368" y="401154"/>
                  </a:lnTo>
                  <a:lnTo>
                    <a:pt x="529005" y="359689"/>
                  </a:lnTo>
                  <a:lnTo>
                    <a:pt x="542480" y="314604"/>
                  </a:lnTo>
                  <a:lnTo>
                    <a:pt x="548043" y="266611"/>
                  </a:lnTo>
                  <a:close/>
                </a:path>
                <a:path w="548640" h="786765">
                  <a:moveTo>
                    <a:pt x="548043" y="1079"/>
                  </a:moveTo>
                  <a:lnTo>
                    <a:pt x="500380" y="5105"/>
                  </a:lnTo>
                  <a:lnTo>
                    <a:pt x="455853" y="16764"/>
                  </a:lnTo>
                  <a:lnTo>
                    <a:pt x="414616" y="35369"/>
                  </a:lnTo>
                  <a:lnTo>
                    <a:pt x="377355" y="60236"/>
                  </a:lnTo>
                  <a:lnTo>
                    <a:pt x="344728" y="90703"/>
                  </a:lnTo>
                  <a:lnTo>
                    <a:pt x="317411" y="126085"/>
                  </a:lnTo>
                  <a:lnTo>
                    <a:pt x="296087" y="165709"/>
                  </a:lnTo>
                  <a:lnTo>
                    <a:pt x="281432" y="208902"/>
                  </a:lnTo>
                  <a:lnTo>
                    <a:pt x="274091" y="254990"/>
                  </a:lnTo>
                  <a:lnTo>
                    <a:pt x="266915"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46" y="93421"/>
                  </a:lnTo>
                  <a:lnTo>
                    <a:pt x="39471" y="135039"/>
                  </a:lnTo>
                  <a:lnTo>
                    <a:pt x="66560" y="172300"/>
                  </a:lnTo>
                  <a:lnTo>
                    <a:pt x="99402" y="204444"/>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24"/>
                  </a:lnTo>
                  <a:lnTo>
                    <a:pt x="481266" y="172720"/>
                  </a:lnTo>
                  <a:lnTo>
                    <a:pt x="508368" y="135610"/>
                  </a:lnTo>
                  <a:lnTo>
                    <a:pt x="529005" y="94157"/>
                  </a:lnTo>
                  <a:lnTo>
                    <a:pt x="542480" y="49060"/>
                  </a:lnTo>
                  <a:lnTo>
                    <a:pt x="548043" y="1079"/>
                  </a:lnTo>
                  <a:close/>
                </a:path>
                <a:path w="548640" h="786765">
                  <a:moveTo>
                    <a:pt x="548093" y="520192"/>
                  </a:moveTo>
                  <a:lnTo>
                    <a:pt x="500380" y="524205"/>
                  </a:lnTo>
                  <a:lnTo>
                    <a:pt x="455853" y="535863"/>
                  </a:lnTo>
                  <a:lnTo>
                    <a:pt x="414616" y="554469"/>
                  </a:lnTo>
                  <a:lnTo>
                    <a:pt x="377355" y="579335"/>
                  </a:lnTo>
                  <a:lnTo>
                    <a:pt x="344728" y="609790"/>
                  </a:lnTo>
                  <a:lnTo>
                    <a:pt x="317411" y="645160"/>
                  </a:lnTo>
                  <a:lnTo>
                    <a:pt x="296087" y="684784"/>
                  </a:lnTo>
                  <a:lnTo>
                    <a:pt x="281419" y="727976"/>
                  </a:lnTo>
                  <a:lnTo>
                    <a:pt x="274091" y="774065"/>
                  </a:lnTo>
                  <a:lnTo>
                    <a:pt x="266915" y="727811"/>
                  </a:lnTo>
                  <a:lnTo>
                    <a:pt x="252361" y="684441"/>
                  </a:lnTo>
                  <a:lnTo>
                    <a:pt x="231101" y="644639"/>
                  </a:lnTo>
                  <a:lnTo>
                    <a:pt x="203809" y="609104"/>
                  </a:lnTo>
                  <a:lnTo>
                    <a:pt x="171157" y="578510"/>
                  </a:lnTo>
                  <a:lnTo>
                    <a:pt x="133845" y="553529"/>
                  </a:lnTo>
                  <a:lnTo>
                    <a:pt x="92544" y="534847"/>
                  </a:lnTo>
                  <a:lnTo>
                    <a:pt x="47917" y="523113"/>
                  </a:lnTo>
                  <a:lnTo>
                    <a:pt x="0" y="519061"/>
                  </a:lnTo>
                  <a:lnTo>
                    <a:pt x="5448" y="567232"/>
                  </a:lnTo>
                  <a:lnTo>
                    <a:pt x="18846" y="612508"/>
                  </a:lnTo>
                  <a:lnTo>
                    <a:pt x="39458" y="654126"/>
                  </a:lnTo>
                  <a:lnTo>
                    <a:pt x="66560" y="691388"/>
                  </a:lnTo>
                  <a:lnTo>
                    <a:pt x="99402" y="723544"/>
                  </a:lnTo>
                  <a:lnTo>
                    <a:pt x="137261" y="749858"/>
                  </a:lnTo>
                  <a:lnTo>
                    <a:pt x="179387" y="769581"/>
                  </a:lnTo>
                  <a:lnTo>
                    <a:pt x="225056" y="782015"/>
                  </a:lnTo>
                  <a:lnTo>
                    <a:pt x="273532" y="786384"/>
                  </a:lnTo>
                  <a:lnTo>
                    <a:pt x="274751" y="786384"/>
                  </a:lnTo>
                  <a:lnTo>
                    <a:pt x="323100" y="782027"/>
                  </a:lnTo>
                  <a:lnTo>
                    <a:pt x="368655" y="769670"/>
                  </a:lnTo>
                  <a:lnTo>
                    <a:pt x="410679" y="750023"/>
                  </a:lnTo>
                  <a:lnTo>
                    <a:pt x="448475" y="723823"/>
                  </a:lnTo>
                  <a:lnTo>
                    <a:pt x="448881" y="723430"/>
                  </a:lnTo>
                  <a:lnTo>
                    <a:pt x="481304" y="691794"/>
                  </a:lnTo>
                  <a:lnTo>
                    <a:pt x="508393" y="654697"/>
                  </a:lnTo>
                  <a:lnTo>
                    <a:pt x="529056"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404" name="object 114">
              <a:extLst>
                <a:ext uri="{FF2B5EF4-FFF2-40B4-BE49-F238E27FC236}">
                  <a16:creationId xmlns:a16="http://schemas.microsoft.com/office/drawing/2014/main" id="{8B11D604-24D8-0AD3-23C2-E1769F526D4E}"/>
                </a:ext>
              </a:extLst>
            </p:cNvPr>
            <p:cNvPicPr/>
            <p:nvPr/>
          </p:nvPicPr>
          <p:blipFill>
            <a:blip r:embed="rId5" cstate="print"/>
            <a:stretch>
              <a:fillRect/>
            </a:stretch>
          </p:blipFill>
          <p:spPr>
            <a:xfrm>
              <a:off x="10791857" y="4643430"/>
              <a:ext cx="106445" cy="107156"/>
            </a:xfrm>
            <a:prstGeom prst="rect">
              <a:avLst/>
            </a:prstGeom>
          </p:spPr>
        </p:pic>
        <p:sp>
          <p:nvSpPr>
            <p:cNvPr id="405" name="object 115">
              <a:extLst>
                <a:ext uri="{FF2B5EF4-FFF2-40B4-BE49-F238E27FC236}">
                  <a16:creationId xmlns:a16="http://schemas.microsoft.com/office/drawing/2014/main" id="{A389B4CC-C2D6-8BB6-0D14-8E86C7FF6128}"/>
                </a:ext>
              </a:extLst>
            </p:cNvPr>
            <p:cNvSpPr/>
            <p:nvPr/>
          </p:nvSpPr>
          <p:spPr>
            <a:xfrm>
              <a:off x="10679200" y="4075252"/>
              <a:ext cx="332700" cy="477101"/>
            </a:xfrm>
            <a:custGeom>
              <a:avLst/>
              <a:gdLst/>
              <a:ahLst/>
              <a:cxnLst/>
              <a:rect l="l" t="t" r="r" b="b"/>
              <a:pathLst>
                <a:path w="548640" h="786765">
                  <a:moveTo>
                    <a:pt x="548043" y="266623"/>
                  </a:moveTo>
                  <a:lnTo>
                    <a:pt x="500380" y="270662"/>
                  </a:lnTo>
                  <a:lnTo>
                    <a:pt x="455853" y="282308"/>
                  </a:lnTo>
                  <a:lnTo>
                    <a:pt x="414616" y="300913"/>
                  </a:lnTo>
                  <a:lnTo>
                    <a:pt x="377355" y="325780"/>
                  </a:lnTo>
                  <a:lnTo>
                    <a:pt x="344728" y="356247"/>
                  </a:lnTo>
                  <a:lnTo>
                    <a:pt x="317411" y="391629"/>
                  </a:lnTo>
                  <a:lnTo>
                    <a:pt x="296087" y="431253"/>
                  </a:lnTo>
                  <a:lnTo>
                    <a:pt x="281432" y="474446"/>
                  </a:lnTo>
                  <a:lnTo>
                    <a:pt x="274091" y="520534"/>
                  </a:lnTo>
                  <a:lnTo>
                    <a:pt x="266915" y="474256"/>
                  </a:lnTo>
                  <a:lnTo>
                    <a:pt x="252361" y="430885"/>
                  </a:lnTo>
                  <a:lnTo>
                    <a:pt x="231101" y="391096"/>
                  </a:lnTo>
                  <a:lnTo>
                    <a:pt x="203809" y="355561"/>
                  </a:lnTo>
                  <a:lnTo>
                    <a:pt x="171157" y="324954"/>
                  </a:lnTo>
                  <a:lnTo>
                    <a:pt x="133845" y="299974"/>
                  </a:lnTo>
                  <a:lnTo>
                    <a:pt x="92544" y="281292"/>
                  </a:lnTo>
                  <a:lnTo>
                    <a:pt x="47917" y="269582"/>
                  </a:lnTo>
                  <a:lnTo>
                    <a:pt x="12" y="265531"/>
                  </a:lnTo>
                  <a:lnTo>
                    <a:pt x="5461" y="313690"/>
                  </a:lnTo>
                  <a:lnTo>
                    <a:pt x="18846" y="358952"/>
                  </a:lnTo>
                  <a:lnTo>
                    <a:pt x="39471" y="400583"/>
                  </a:lnTo>
                  <a:lnTo>
                    <a:pt x="66560" y="437832"/>
                  </a:lnTo>
                  <a:lnTo>
                    <a:pt x="99402" y="469988"/>
                  </a:lnTo>
                  <a:lnTo>
                    <a:pt x="137261" y="496303"/>
                  </a:lnTo>
                  <a:lnTo>
                    <a:pt x="179387" y="516039"/>
                  </a:lnTo>
                  <a:lnTo>
                    <a:pt x="225056" y="528459"/>
                  </a:lnTo>
                  <a:lnTo>
                    <a:pt x="273532" y="532828"/>
                  </a:lnTo>
                  <a:lnTo>
                    <a:pt x="274751" y="532828"/>
                  </a:lnTo>
                  <a:lnTo>
                    <a:pt x="323100" y="528472"/>
                  </a:lnTo>
                  <a:lnTo>
                    <a:pt x="368655" y="516115"/>
                  </a:lnTo>
                  <a:lnTo>
                    <a:pt x="410679" y="496468"/>
                  </a:lnTo>
                  <a:lnTo>
                    <a:pt x="448475" y="470268"/>
                  </a:lnTo>
                  <a:lnTo>
                    <a:pt x="481266" y="438264"/>
                  </a:lnTo>
                  <a:lnTo>
                    <a:pt x="508368" y="401154"/>
                  </a:lnTo>
                  <a:lnTo>
                    <a:pt x="529005" y="359702"/>
                  </a:lnTo>
                  <a:lnTo>
                    <a:pt x="542480" y="314604"/>
                  </a:lnTo>
                  <a:lnTo>
                    <a:pt x="548043" y="266623"/>
                  </a:lnTo>
                  <a:close/>
                </a:path>
                <a:path w="548640" h="786765">
                  <a:moveTo>
                    <a:pt x="548043" y="1092"/>
                  </a:moveTo>
                  <a:lnTo>
                    <a:pt x="500380" y="5130"/>
                  </a:lnTo>
                  <a:lnTo>
                    <a:pt x="455853" y="16776"/>
                  </a:lnTo>
                  <a:lnTo>
                    <a:pt x="414616" y="35382"/>
                  </a:lnTo>
                  <a:lnTo>
                    <a:pt x="377355" y="60248"/>
                  </a:lnTo>
                  <a:lnTo>
                    <a:pt x="344728" y="90716"/>
                  </a:lnTo>
                  <a:lnTo>
                    <a:pt x="317411" y="126098"/>
                  </a:lnTo>
                  <a:lnTo>
                    <a:pt x="296087" y="165722"/>
                  </a:lnTo>
                  <a:lnTo>
                    <a:pt x="281432" y="208915"/>
                  </a:lnTo>
                  <a:lnTo>
                    <a:pt x="274091" y="255003"/>
                  </a:lnTo>
                  <a:lnTo>
                    <a:pt x="266915" y="208724"/>
                  </a:lnTo>
                  <a:lnTo>
                    <a:pt x="252361" y="165354"/>
                  </a:lnTo>
                  <a:lnTo>
                    <a:pt x="231101" y="125564"/>
                  </a:lnTo>
                  <a:lnTo>
                    <a:pt x="203809" y="90030"/>
                  </a:lnTo>
                  <a:lnTo>
                    <a:pt x="171157" y="59436"/>
                  </a:lnTo>
                  <a:lnTo>
                    <a:pt x="133845" y="34455"/>
                  </a:lnTo>
                  <a:lnTo>
                    <a:pt x="92544" y="15760"/>
                  </a:lnTo>
                  <a:lnTo>
                    <a:pt x="47917" y="4051"/>
                  </a:lnTo>
                  <a:lnTo>
                    <a:pt x="12" y="0"/>
                  </a:lnTo>
                  <a:lnTo>
                    <a:pt x="5461" y="48158"/>
                  </a:lnTo>
                  <a:lnTo>
                    <a:pt x="18846" y="93421"/>
                  </a:lnTo>
                  <a:lnTo>
                    <a:pt x="39471" y="135051"/>
                  </a:lnTo>
                  <a:lnTo>
                    <a:pt x="66560" y="172300"/>
                  </a:lnTo>
                  <a:lnTo>
                    <a:pt x="99402" y="204457"/>
                  </a:lnTo>
                  <a:lnTo>
                    <a:pt x="137261" y="230771"/>
                  </a:lnTo>
                  <a:lnTo>
                    <a:pt x="179387" y="250494"/>
                  </a:lnTo>
                  <a:lnTo>
                    <a:pt x="225056" y="262928"/>
                  </a:lnTo>
                  <a:lnTo>
                    <a:pt x="273532" y="267309"/>
                  </a:lnTo>
                  <a:lnTo>
                    <a:pt x="274751" y="267309"/>
                  </a:lnTo>
                  <a:lnTo>
                    <a:pt x="323100" y="262940"/>
                  </a:lnTo>
                  <a:lnTo>
                    <a:pt x="368655" y="250583"/>
                  </a:lnTo>
                  <a:lnTo>
                    <a:pt x="410679" y="230936"/>
                  </a:lnTo>
                  <a:lnTo>
                    <a:pt x="448475" y="204736"/>
                  </a:lnTo>
                  <a:lnTo>
                    <a:pt x="481266" y="172720"/>
                  </a:lnTo>
                  <a:lnTo>
                    <a:pt x="508368" y="135623"/>
                  </a:lnTo>
                  <a:lnTo>
                    <a:pt x="529005" y="94170"/>
                  </a:lnTo>
                  <a:lnTo>
                    <a:pt x="542480" y="49072"/>
                  </a:lnTo>
                  <a:lnTo>
                    <a:pt x="548043" y="1092"/>
                  </a:lnTo>
                  <a:close/>
                </a:path>
                <a:path w="548640" h="786765">
                  <a:moveTo>
                    <a:pt x="548093" y="520204"/>
                  </a:moveTo>
                  <a:lnTo>
                    <a:pt x="500380" y="524217"/>
                  </a:lnTo>
                  <a:lnTo>
                    <a:pt x="455853" y="535876"/>
                  </a:lnTo>
                  <a:lnTo>
                    <a:pt x="414616" y="554469"/>
                  </a:lnTo>
                  <a:lnTo>
                    <a:pt x="377355" y="579335"/>
                  </a:lnTo>
                  <a:lnTo>
                    <a:pt x="344728" y="609803"/>
                  </a:lnTo>
                  <a:lnTo>
                    <a:pt x="317411" y="645172"/>
                  </a:lnTo>
                  <a:lnTo>
                    <a:pt x="296087" y="684796"/>
                  </a:lnTo>
                  <a:lnTo>
                    <a:pt x="281419" y="727976"/>
                  </a:lnTo>
                  <a:lnTo>
                    <a:pt x="274091" y="774065"/>
                  </a:lnTo>
                  <a:lnTo>
                    <a:pt x="266915" y="727824"/>
                  </a:lnTo>
                  <a:lnTo>
                    <a:pt x="252361" y="684441"/>
                  </a:lnTo>
                  <a:lnTo>
                    <a:pt x="231101" y="644652"/>
                  </a:lnTo>
                  <a:lnTo>
                    <a:pt x="203809" y="609117"/>
                  </a:lnTo>
                  <a:lnTo>
                    <a:pt x="171157" y="578523"/>
                  </a:lnTo>
                  <a:lnTo>
                    <a:pt x="133845" y="553542"/>
                  </a:lnTo>
                  <a:lnTo>
                    <a:pt x="92544" y="534835"/>
                  </a:lnTo>
                  <a:lnTo>
                    <a:pt x="47917" y="523125"/>
                  </a:lnTo>
                  <a:lnTo>
                    <a:pt x="0" y="519074"/>
                  </a:lnTo>
                  <a:lnTo>
                    <a:pt x="5448" y="567245"/>
                  </a:lnTo>
                  <a:lnTo>
                    <a:pt x="18846" y="612521"/>
                  </a:lnTo>
                  <a:lnTo>
                    <a:pt x="39458" y="65413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406" name="object 116">
              <a:extLst>
                <a:ext uri="{FF2B5EF4-FFF2-40B4-BE49-F238E27FC236}">
                  <a16:creationId xmlns:a16="http://schemas.microsoft.com/office/drawing/2014/main" id="{2818BDDA-ABF4-EDDA-C8D7-A689B4154DCE}"/>
                </a:ext>
              </a:extLst>
            </p:cNvPr>
            <p:cNvPicPr/>
            <p:nvPr/>
          </p:nvPicPr>
          <p:blipFill>
            <a:blip r:embed="rId6" cstate="print"/>
            <a:stretch>
              <a:fillRect/>
            </a:stretch>
          </p:blipFill>
          <p:spPr>
            <a:xfrm>
              <a:off x="10791857" y="3989263"/>
              <a:ext cx="106445" cy="107156"/>
            </a:xfrm>
            <a:prstGeom prst="rect">
              <a:avLst/>
            </a:prstGeom>
          </p:spPr>
        </p:pic>
        <p:sp>
          <p:nvSpPr>
            <p:cNvPr id="407" name="object 117">
              <a:extLst>
                <a:ext uri="{FF2B5EF4-FFF2-40B4-BE49-F238E27FC236}">
                  <a16:creationId xmlns:a16="http://schemas.microsoft.com/office/drawing/2014/main" id="{0AB6CD03-09E1-84BE-BA57-F44E46C32313}"/>
                </a:ext>
              </a:extLst>
            </p:cNvPr>
            <p:cNvSpPr/>
            <p:nvPr/>
          </p:nvSpPr>
          <p:spPr>
            <a:xfrm>
              <a:off x="10294123" y="3862863"/>
              <a:ext cx="332700" cy="477101"/>
            </a:xfrm>
            <a:custGeom>
              <a:avLst/>
              <a:gdLst/>
              <a:ahLst/>
              <a:cxnLst/>
              <a:rect l="l" t="t" r="r" b="b"/>
              <a:pathLst>
                <a:path w="548640" h="786765">
                  <a:moveTo>
                    <a:pt x="548081" y="786396"/>
                  </a:moveTo>
                  <a:lnTo>
                    <a:pt x="542632" y="738238"/>
                  </a:lnTo>
                  <a:lnTo>
                    <a:pt x="529234" y="692975"/>
                  </a:lnTo>
                  <a:lnTo>
                    <a:pt x="508622" y="651344"/>
                  </a:lnTo>
                  <a:lnTo>
                    <a:pt x="481520" y="614083"/>
                  </a:lnTo>
                  <a:lnTo>
                    <a:pt x="448691" y="581939"/>
                  </a:lnTo>
                  <a:lnTo>
                    <a:pt x="410832" y="555625"/>
                  </a:lnTo>
                  <a:lnTo>
                    <a:pt x="368706" y="535889"/>
                  </a:lnTo>
                  <a:lnTo>
                    <a:pt x="323037" y="523468"/>
                  </a:lnTo>
                  <a:lnTo>
                    <a:pt x="274561" y="519099"/>
                  </a:lnTo>
                  <a:lnTo>
                    <a:pt x="273329" y="519099"/>
                  </a:lnTo>
                  <a:lnTo>
                    <a:pt x="224993" y="523455"/>
                  </a:lnTo>
                  <a:lnTo>
                    <a:pt x="179438" y="535813"/>
                  </a:lnTo>
                  <a:lnTo>
                    <a:pt x="137401" y="555459"/>
                  </a:lnTo>
                  <a:lnTo>
                    <a:pt x="99618" y="581660"/>
                  </a:lnTo>
                  <a:lnTo>
                    <a:pt x="66814" y="613664"/>
                  </a:lnTo>
                  <a:lnTo>
                    <a:pt x="39725" y="650773"/>
                  </a:lnTo>
                  <a:lnTo>
                    <a:pt x="19075" y="692226"/>
                  </a:lnTo>
                  <a:lnTo>
                    <a:pt x="5613" y="737323"/>
                  </a:lnTo>
                  <a:lnTo>
                    <a:pt x="50" y="785304"/>
                  </a:lnTo>
                  <a:lnTo>
                    <a:pt x="47713" y="781265"/>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48"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91" y="316407"/>
                  </a:lnTo>
                  <a:lnTo>
                    <a:pt x="410832" y="290106"/>
                  </a:lnTo>
                  <a:lnTo>
                    <a:pt x="368706" y="270370"/>
                  </a:lnTo>
                  <a:lnTo>
                    <a:pt x="323037" y="257949"/>
                  </a:lnTo>
                  <a:lnTo>
                    <a:pt x="274561" y="253568"/>
                  </a:lnTo>
                  <a:lnTo>
                    <a:pt x="273329" y="253568"/>
                  </a:lnTo>
                  <a:lnTo>
                    <a:pt x="224993" y="257924"/>
                  </a:lnTo>
                  <a:lnTo>
                    <a:pt x="179438" y="270294"/>
                  </a:lnTo>
                  <a:lnTo>
                    <a:pt x="137401" y="289941"/>
                  </a:lnTo>
                  <a:lnTo>
                    <a:pt x="99618" y="316128"/>
                  </a:lnTo>
                  <a:lnTo>
                    <a:pt x="66814" y="348145"/>
                  </a:lnTo>
                  <a:lnTo>
                    <a:pt x="39725" y="385241"/>
                  </a:lnTo>
                  <a:lnTo>
                    <a:pt x="19075" y="426707"/>
                  </a:lnTo>
                  <a:lnTo>
                    <a:pt x="5613" y="471792"/>
                  </a:lnTo>
                  <a:lnTo>
                    <a:pt x="50" y="519785"/>
                  </a:lnTo>
                  <a:lnTo>
                    <a:pt x="47713" y="515747"/>
                  </a:lnTo>
                  <a:lnTo>
                    <a:pt x="92240" y="504101"/>
                  </a:lnTo>
                  <a:lnTo>
                    <a:pt x="133477" y="485495"/>
                  </a:lnTo>
                  <a:lnTo>
                    <a:pt x="170738" y="460629"/>
                  </a:lnTo>
                  <a:lnTo>
                    <a:pt x="203365" y="430161"/>
                  </a:lnTo>
                  <a:lnTo>
                    <a:pt x="230670" y="394779"/>
                  </a:lnTo>
                  <a:lnTo>
                    <a:pt x="251993" y="355142"/>
                  </a:lnTo>
                  <a:lnTo>
                    <a:pt x="266661" y="311950"/>
                  </a:lnTo>
                  <a:lnTo>
                    <a:pt x="273989" y="265874"/>
                  </a:lnTo>
                  <a:lnTo>
                    <a:pt x="281165" y="312140"/>
                  </a:lnTo>
                  <a:lnTo>
                    <a:pt x="295719" y="355511"/>
                  </a:lnTo>
                  <a:lnTo>
                    <a:pt x="316992" y="395300"/>
                  </a:lnTo>
                  <a:lnTo>
                    <a:pt x="344284" y="430847"/>
                  </a:lnTo>
                  <a:lnTo>
                    <a:pt x="376923" y="461441"/>
                  </a:lnTo>
                  <a:lnTo>
                    <a:pt x="414248" y="486422"/>
                  </a:lnTo>
                  <a:lnTo>
                    <a:pt x="455549" y="505104"/>
                  </a:lnTo>
                  <a:lnTo>
                    <a:pt x="500164" y="516813"/>
                  </a:lnTo>
                  <a:lnTo>
                    <a:pt x="548081" y="520865"/>
                  </a:lnTo>
                  <a:close/>
                </a:path>
                <a:path w="548640" h="786765">
                  <a:moveTo>
                    <a:pt x="548093" y="267322"/>
                  </a:moveTo>
                  <a:lnTo>
                    <a:pt x="542645" y="219151"/>
                  </a:lnTo>
                  <a:lnTo>
                    <a:pt x="529247" y="173888"/>
                  </a:lnTo>
                  <a:lnTo>
                    <a:pt x="508635" y="132257"/>
                  </a:lnTo>
                  <a:lnTo>
                    <a:pt x="481533" y="95008"/>
                  </a:lnTo>
                  <a:lnTo>
                    <a:pt x="448691" y="62852"/>
                  </a:lnTo>
                  <a:lnTo>
                    <a:pt x="410845" y="36550"/>
                  </a:lnTo>
                  <a:lnTo>
                    <a:pt x="368706" y="16802"/>
                  </a:lnTo>
                  <a:lnTo>
                    <a:pt x="323037" y="4381"/>
                  </a:lnTo>
                  <a:lnTo>
                    <a:pt x="274561" y="0"/>
                  </a:lnTo>
                  <a:lnTo>
                    <a:pt x="273329" y="0"/>
                  </a:lnTo>
                  <a:lnTo>
                    <a:pt x="224993" y="4356"/>
                  </a:lnTo>
                  <a:lnTo>
                    <a:pt x="179438" y="16725"/>
                  </a:lnTo>
                  <a:lnTo>
                    <a:pt x="137401" y="36372"/>
                  </a:lnTo>
                  <a:lnTo>
                    <a:pt x="99618" y="62560"/>
                  </a:lnTo>
                  <a:lnTo>
                    <a:pt x="66814" y="94576"/>
                  </a:lnTo>
                  <a:lnTo>
                    <a:pt x="39700" y="131686"/>
                  </a:lnTo>
                  <a:lnTo>
                    <a:pt x="19037" y="173139"/>
                  </a:lnTo>
                  <a:lnTo>
                    <a:pt x="5562" y="218224"/>
                  </a:lnTo>
                  <a:lnTo>
                    <a:pt x="0" y="266192"/>
                  </a:lnTo>
                  <a:lnTo>
                    <a:pt x="47713" y="262178"/>
                  </a:lnTo>
                  <a:lnTo>
                    <a:pt x="92240" y="250520"/>
                  </a:lnTo>
                  <a:lnTo>
                    <a:pt x="133477" y="231927"/>
                  </a:lnTo>
                  <a:lnTo>
                    <a:pt x="170738" y="207060"/>
                  </a:lnTo>
                  <a:lnTo>
                    <a:pt x="203365" y="176593"/>
                  </a:lnTo>
                  <a:lnTo>
                    <a:pt x="230682" y="141224"/>
                  </a:lnTo>
                  <a:lnTo>
                    <a:pt x="252006" y="101600"/>
                  </a:lnTo>
                  <a:lnTo>
                    <a:pt x="266674" y="58420"/>
                  </a:lnTo>
                  <a:lnTo>
                    <a:pt x="273989" y="12369"/>
                  </a:lnTo>
                  <a:lnTo>
                    <a:pt x="279844" y="50101"/>
                  </a:lnTo>
                  <a:lnTo>
                    <a:pt x="281165" y="58585"/>
                  </a:lnTo>
                  <a:lnTo>
                    <a:pt x="284822" y="69481"/>
                  </a:lnTo>
                  <a:lnTo>
                    <a:pt x="295719" y="101955"/>
                  </a:lnTo>
                  <a:lnTo>
                    <a:pt x="316992" y="141744"/>
                  </a:lnTo>
                  <a:lnTo>
                    <a:pt x="344284" y="177279"/>
                  </a:lnTo>
                  <a:lnTo>
                    <a:pt x="376936" y="207886"/>
                  </a:lnTo>
                  <a:lnTo>
                    <a:pt x="414248" y="232867"/>
                  </a:lnTo>
                  <a:lnTo>
                    <a:pt x="455549" y="251561"/>
                  </a:lnTo>
                  <a:lnTo>
                    <a:pt x="500176" y="263271"/>
                  </a:lnTo>
                  <a:lnTo>
                    <a:pt x="548093" y="267322"/>
                  </a:lnTo>
                  <a:close/>
                </a:path>
              </a:pathLst>
            </a:custGeom>
            <a:solidFill>
              <a:srgbClr val="2DB7EA"/>
            </a:solidFill>
          </p:spPr>
          <p:txBody>
            <a:bodyPr wrap="square" lIns="0" tIns="0" rIns="0" bIns="0" rtlCol="0"/>
            <a:lstStyle/>
            <a:p>
              <a:endParaRPr dirty="0"/>
            </a:p>
          </p:txBody>
        </p:sp>
        <p:pic>
          <p:nvPicPr>
            <p:cNvPr id="408" name="object 118">
              <a:extLst>
                <a:ext uri="{FF2B5EF4-FFF2-40B4-BE49-F238E27FC236}">
                  <a16:creationId xmlns:a16="http://schemas.microsoft.com/office/drawing/2014/main" id="{55A9086C-919B-54FB-C137-FD177627AB97}"/>
                </a:ext>
              </a:extLst>
            </p:cNvPr>
            <p:cNvPicPr/>
            <p:nvPr/>
          </p:nvPicPr>
          <p:blipFill>
            <a:blip r:embed="rId8" cstate="print"/>
            <a:stretch>
              <a:fillRect/>
            </a:stretch>
          </p:blipFill>
          <p:spPr>
            <a:xfrm>
              <a:off x="10407394" y="4318566"/>
              <a:ext cx="106445" cy="107156"/>
            </a:xfrm>
            <a:prstGeom prst="rect">
              <a:avLst/>
            </a:prstGeom>
          </p:spPr>
        </p:pic>
        <p:sp>
          <p:nvSpPr>
            <p:cNvPr id="409" name="object 119">
              <a:extLst>
                <a:ext uri="{FF2B5EF4-FFF2-40B4-BE49-F238E27FC236}">
                  <a16:creationId xmlns:a16="http://schemas.microsoft.com/office/drawing/2014/main" id="{2003D03E-4411-DDF9-5908-D7689551C401}"/>
                </a:ext>
              </a:extLst>
            </p:cNvPr>
            <p:cNvSpPr/>
            <p:nvPr/>
          </p:nvSpPr>
          <p:spPr>
            <a:xfrm>
              <a:off x="10294123" y="4517034"/>
              <a:ext cx="332700" cy="477101"/>
            </a:xfrm>
            <a:custGeom>
              <a:avLst/>
              <a:gdLst/>
              <a:ahLst/>
              <a:cxnLst/>
              <a:rect l="l" t="t" r="r" b="b"/>
              <a:pathLst>
                <a:path w="548640" h="786765">
                  <a:moveTo>
                    <a:pt x="548081" y="786384"/>
                  </a:moveTo>
                  <a:lnTo>
                    <a:pt x="542632" y="738225"/>
                  </a:lnTo>
                  <a:lnTo>
                    <a:pt x="529234" y="692962"/>
                  </a:lnTo>
                  <a:lnTo>
                    <a:pt x="508622" y="651332"/>
                  </a:lnTo>
                  <a:lnTo>
                    <a:pt x="481520" y="614083"/>
                  </a:lnTo>
                  <a:lnTo>
                    <a:pt x="448691"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50" y="785304"/>
                  </a:lnTo>
                  <a:lnTo>
                    <a:pt x="47713" y="781265"/>
                  </a:lnTo>
                  <a:lnTo>
                    <a:pt x="92240" y="769620"/>
                  </a:lnTo>
                  <a:lnTo>
                    <a:pt x="133477" y="751014"/>
                  </a:lnTo>
                  <a:lnTo>
                    <a:pt x="170738" y="726147"/>
                  </a:lnTo>
                  <a:lnTo>
                    <a:pt x="203365" y="695680"/>
                  </a:lnTo>
                  <a:lnTo>
                    <a:pt x="230670" y="660298"/>
                  </a:lnTo>
                  <a:lnTo>
                    <a:pt x="251993" y="620674"/>
                  </a:lnTo>
                  <a:lnTo>
                    <a:pt x="266661" y="577469"/>
                  </a:lnTo>
                  <a:lnTo>
                    <a:pt x="273989" y="531393"/>
                  </a:lnTo>
                  <a:lnTo>
                    <a:pt x="281165" y="577659"/>
                  </a:lnTo>
                  <a:lnTo>
                    <a:pt x="295719" y="621030"/>
                  </a:lnTo>
                  <a:lnTo>
                    <a:pt x="316992" y="660831"/>
                  </a:lnTo>
                  <a:lnTo>
                    <a:pt x="344284" y="696366"/>
                  </a:lnTo>
                  <a:lnTo>
                    <a:pt x="376923" y="726960"/>
                  </a:lnTo>
                  <a:lnTo>
                    <a:pt x="414248" y="751941"/>
                  </a:lnTo>
                  <a:lnTo>
                    <a:pt x="455549" y="770623"/>
                  </a:lnTo>
                  <a:lnTo>
                    <a:pt x="500164" y="782332"/>
                  </a:lnTo>
                  <a:lnTo>
                    <a:pt x="548081" y="786384"/>
                  </a:lnTo>
                  <a:close/>
                </a:path>
                <a:path w="548640" h="786765">
                  <a:moveTo>
                    <a:pt x="548081" y="520852"/>
                  </a:moveTo>
                  <a:lnTo>
                    <a:pt x="542632" y="472694"/>
                  </a:lnTo>
                  <a:lnTo>
                    <a:pt x="529234" y="427431"/>
                  </a:lnTo>
                  <a:lnTo>
                    <a:pt x="508622" y="385813"/>
                  </a:lnTo>
                  <a:lnTo>
                    <a:pt x="481520" y="348551"/>
                  </a:lnTo>
                  <a:lnTo>
                    <a:pt x="448691" y="316407"/>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28"/>
                  </a:lnTo>
                  <a:lnTo>
                    <a:pt x="66814" y="348132"/>
                  </a:lnTo>
                  <a:lnTo>
                    <a:pt x="39725" y="385241"/>
                  </a:lnTo>
                  <a:lnTo>
                    <a:pt x="19075" y="426694"/>
                  </a:lnTo>
                  <a:lnTo>
                    <a:pt x="5613" y="471779"/>
                  </a:lnTo>
                  <a:lnTo>
                    <a:pt x="50" y="519772"/>
                  </a:lnTo>
                  <a:lnTo>
                    <a:pt x="47713" y="515734"/>
                  </a:lnTo>
                  <a:lnTo>
                    <a:pt x="92240" y="504075"/>
                  </a:lnTo>
                  <a:lnTo>
                    <a:pt x="133477" y="485482"/>
                  </a:lnTo>
                  <a:lnTo>
                    <a:pt x="170738" y="460616"/>
                  </a:lnTo>
                  <a:lnTo>
                    <a:pt x="203365"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48" y="486410"/>
                  </a:lnTo>
                  <a:lnTo>
                    <a:pt x="455549" y="505091"/>
                  </a:lnTo>
                  <a:lnTo>
                    <a:pt x="500164" y="516801"/>
                  </a:lnTo>
                  <a:lnTo>
                    <a:pt x="548081" y="520852"/>
                  </a:lnTo>
                  <a:close/>
                </a:path>
                <a:path w="548640" h="786765">
                  <a:moveTo>
                    <a:pt x="548093" y="267322"/>
                  </a:moveTo>
                  <a:lnTo>
                    <a:pt x="542645" y="219151"/>
                  </a:lnTo>
                  <a:lnTo>
                    <a:pt x="529247" y="173875"/>
                  </a:lnTo>
                  <a:lnTo>
                    <a:pt x="508635" y="132245"/>
                  </a:lnTo>
                  <a:lnTo>
                    <a:pt x="481533" y="94996"/>
                  </a:lnTo>
                  <a:lnTo>
                    <a:pt x="465277" y="79095"/>
                  </a:lnTo>
                  <a:lnTo>
                    <a:pt x="448691" y="62852"/>
                  </a:lnTo>
                  <a:lnTo>
                    <a:pt x="426351" y="47332"/>
                  </a:lnTo>
                  <a:lnTo>
                    <a:pt x="410845" y="36537"/>
                  </a:lnTo>
                  <a:lnTo>
                    <a:pt x="397395" y="30251"/>
                  </a:lnTo>
                  <a:lnTo>
                    <a:pt x="368706" y="16814"/>
                  </a:lnTo>
                  <a:lnTo>
                    <a:pt x="323037" y="4368"/>
                  </a:lnTo>
                  <a:lnTo>
                    <a:pt x="274561" y="0"/>
                  </a:lnTo>
                  <a:lnTo>
                    <a:pt x="273329" y="0"/>
                  </a:lnTo>
                  <a:lnTo>
                    <a:pt x="224993" y="4356"/>
                  </a:lnTo>
                  <a:lnTo>
                    <a:pt x="179438" y="16725"/>
                  </a:lnTo>
                  <a:lnTo>
                    <a:pt x="137401" y="36372"/>
                  </a:lnTo>
                  <a:lnTo>
                    <a:pt x="99618" y="62560"/>
                  </a:lnTo>
                  <a:lnTo>
                    <a:pt x="98793" y="63360"/>
                  </a:lnTo>
                  <a:lnTo>
                    <a:pt x="66814" y="94576"/>
                  </a:lnTo>
                  <a:lnTo>
                    <a:pt x="39700" y="131686"/>
                  </a:lnTo>
                  <a:lnTo>
                    <a:pt x="19037" y="173139"/>
                  </a:lnTo>
                  <a:lnTo>
                    <a:pt x="5562" y="218211"/>
                  </a:lnTo>
                  <a:lnTo>
                    <a:pt x="0" y="266192"/>
                  </a:lnTo>
                  <a:lnTo>
                    <a:pt x="47713" y="262166"/>
                  </a:lnTo>
                  <a:lnTo>
                    <a:pt x="92240" y="250520"/>
                  </a:lnTo>
                  <a:lnTo>
                    <a:pt x="133477" y="231914"/>
                  </a:lnTo>
                  <a:lnTo>
                    <a:pt x="170738" y="207048"/>
                  </a:lnTo>
                  <a:lnTo>
                    <a:pt x="203365" y="176593"/>
                  </a:lnTo>
                  <a:lnTo>
                    <a:pt x="230682" y="141211"/>
                  </a:lnTo>
                  <a:lnTo>
                    <a:pt x="252006" y="101600"/>
                  </a:lnTo>
                  <a:lnTo>
                    <a:pt x="266674" y="58407"/>
                  </a:lnTo>
                  <a:lnTo>
                    <a:pt x="273989" y="12357"/>
                  </a:lnTo>
                  <a:lnTo>
                    <a:pt x="279844" y="50101"/>
                  </a:lnTo>
                  <a:lnTo>
                    <a:pt x="295719" y="101942"/>
                  </a:lnTo>
                  <a:lnTo>
                    <a:pt x="316992" y="141732"/>
                  </a:lnTo>
                  <a:lnTo>
                    <a:pt x="344284" y="177279"/>
                  </a:lnTo>
                  <a:lnTo>
                    <a:pt x="376923" y="207873"/>
                  </a:lnTo>
                  <a:lnTo>
                    <a:pt x="414248" y="232867"/>
                  </a:lnTo>
                  <a:lnTo>
                    <a:pt x="455549"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410" name="object 120">
              <a:extLst>
                <a:ext uri="{FF2B5EF4-FFF2-40B4-BE49-F238E27FC236}">
                  <a16:creationId xmlns:a16="http://schemas.microsoft.com/office/drawing/2014/main" id="{24BE3417-37E4-8902-75CB-8F608D4AEF80}"/>
                </a:ext>
              </a:extLst>
            </p:cNvPr>
            <p:cNvPicPr/>
            <p:nvPr/>
          </p:nvPicPr>
          <p:blipFill>
            <a:blip r:embed="rId9" cstate="print"/>
            <a:stretch>
              <a:fillRect/>
            </a:stretch>
          </p:blipFill>
          <p:spPr>
            <a:xfrm>
              <a:off x="10407394" y="4972731"/>
              <a:ext cx="106445" cy="107156"/>
            </a:xfrm>
            <a:prstGeom prst="rect">
              <a:avLst/>
            </a:prstGeom>
          </p:spPr>
        </p:pic>
        <p:sp>
          <p:nvSpPr>
            <p:cNvPr id="411" name="object 121">
              <a:extLst>
                <a:ext uri="{FF2B5EF4-FFF2-40B4-BE49-F238E27FC236}">
                  <a16:creationId xmlns:a16="http://schemas.microsoft.com/office/drawing/2014/main" id="{4601C583-0E30-31C4-737B-6537527449C6}"/>
                </a:ext>
              </a:extLst>
            </p:cNvPr>
            <p:cNvSpPr/>
            <p:nvPr/>
          </p:nvSpPr>
          <p:spPr>
            <a:xfrm>
              <a:off x="10294123" y="2554529"/>
              <a:ext cx="332700" cy="477101"/>
            </a:xfrm>
            <a:custGeom>
              <a:avLst/>
              <a:gdLst/>
              <a:ahLst/>
              <a:cxnLst/>
              <a:rect l="l" t="t" r="r" b="b"/>
              <a:pathLst>
                <a:path w="548640" h="786764">
                  <a:moveTo>
                    <a:pt x="548081" y="786396"/>
                  </a:moveTo>
                  <a:lnTo>
                    <a:pt x="542632" y="738238"/>
                  </a:lnTo>
                  <a:lnTo>
                    <a:pt x="529234" y="692975"/>
                  </a:lnTo>
                  <a:lnTo>
                    <a:pt x="508622" y="651344"/>
                  </a:lnTo>
                  <a:lnTo>
                    <a:pt x="481520" y="614095"/>
                  </a:lnTo>
                  <a:lnTo>
                    <a:pt x="448691" y="581939"/>
                  </a:lnTo>
                  <a:lnTo>
                    <a:pt x="410832" y="555625"/>
                  </a:lnTo>
                  <a:lnTo>
                    <a:pt x="368706" y="535901"/>
                  </a:lnTo>
                  <a:lnTo>
                    <a:pt x="323037" y="523468"/>
                  </a:lnTo>
                  <a:lnTo>
                    <a:pt x="274561" y="519099"/>
                  </a:lnTo>
                  <a:lnTo>
                    <a:pt x="273329" y="519099"/>
                  </a:lnTo>
                  <a:lnTo>
                    <a:pt x="224993" y="523455"/>
                  </a:lnTo>
                  <a:lnTo>
                    <a:pt x="179438" y="535813"/>
                  </a:lnTo>
                  <a:lnTo>
                    <a:pt x="137401" y="555459"/>
                  </a:lnTo>
                  <a:lnTo>
                    <a:pt x="99618" y="581660"/>
                  </a:lnTo>
                  <a:lnTo>
                    <a:pt x="66814" y="613676"/>
                  </a:lnTo>
                  <a:lnTo>
                    <a:pt x="39725" y="650773"/>
                  </a:lnTo>
                  <a:lnTo>
                    <a:pt x="19075" y="692238"/>
                  </a:lnTo>
                  <a:lnTo>
                    <a:pt x="5613" y="737323"/>
                  </a:lnTo>
                  <a:lnTo>
                    <a:pt x="50" y="785317"/>
                  </a:lnTo>
                  <a:lnTo>
                    <a:pt x="47713" y="781278"/>
                  </a:lnTo>
                  <a:lnTo>
                    <a:pt x="92240" y="769632"/>
                  </a:lnTo>
                  <a:lnTo>
                    <a:pt x="133477" y="751027"/>
                  </a:lnTo>
                  <a:lnTo>
                    <a:pt x="170738" y="726160"/>
                  </a:lnTo>
                  <a:lnTo>
                    <a:pt x="203365" y="695693"/>
                  </a:lnTo>
                  <a:lnTo>
                    <a:pt x="230670" y="660311"/>
                  </a:lnTo>
                  <a:lnTo>
                    <a:pt x="251993" y="620687"/>
                  </a:lnTo>
                  <a:lnTo>
                    <a:pt x="266661" y="577481"/>
                  </a:lnTo>
                  <a:lnTo>
                    <a:pt x="273989" y="531406"/>
                  </a:lnTo>
                  <a:lnTo>
                    <a:pt x="281165" y="577672"/>
                  </a:lnTo>
                  <a:lnTo>
                    <a:pt x="295719" y="621042"/>
                  </a:lnTo>
                  <a:lnTo>
                    <a:pt x="316992" y="660844"/>
                  </a:lnTo>
                  <a:lnTo>
                    <a:pt x="344284" y="696379"/>
                  </a:lnTo>
                  <a:lnTo>
                    <a:pt x="376923" y="726973"/>
                  </a:lnTo>
                  <a:lnTo>
                    <a:pt x="414248" y="751954"/>
                  </a:lnTo>
                  <a:lnTo>
                    <a:pt x="455549" y="770636"/>
                  </a:lnTo>
                  <a:lnTo>
                    <a:pt x="500164" y="782345"/>
                  </a:lnTo>
                  <a:lnTo>
                    <a:pt x="548081" y="786396"/>
                  </a:lnTo>
                  <a:close/>
                </a:path>
                <a:path w="548640" h="786764">
                  <a:moveTo>
                    <a:pt x="548081" y="520865"/>
                  </a:moveTo>
                  <a:lnTo>
                    <a:pt x="542632" y="472706"/>
                  </a:lnTo>
                  <a:lnTo>
                    <a:pt x="529234" y="427443"/>
                  </a:lnTo>
                  <a:lnTo>
                    <a:pt x="508622" y="385813"/>
                  </a:lnTo>
                  <a:lnTo>
                    <a:pt x="481520" y="348564"/>
                  </a:lnTo>
                  <a:lnTo>
                    <a:pt x="448691" y="316407"/>
                  </a:lnTo>
                  <a:lnTo>
                    <a:pt x="410832" y="290106"/>
                  </a:lnTo>
                  <a:lnTo>
                    <a:pt x="368706" y="270370"/>
                  </a:lnTo>
                  <a:lnTo>
                    <a:pt x="323037" y="257949"/>
                  </a:lnTo>
                  <a:lnTo>
                    <a:pt x="274561" y="253568"/>
                  </a:lnTo>
                  <a:lnTo>
                    <a:pt x="273329" y="253568"/>
                  </a:lnTo>
                  <a:lnTo>
                    <a:pt x="224993" y="257924"/>
                  </a:lnTo>
                  <a:lnTo>
                    <a:pt x="179438" y="270294"/>
                  </a:lnTo>
                  <a:lnTo>
                    <a:pt x="137401" y="289941"/>
                  </a:lnTo>
                  <a:lnTo>
                    <a:pt x="99618" y="316128"/>
                  </a:lnTo>
                  <a:lnTo>
                    <a:pt x="66814" y="348145"/>
                  </a:lnTo>
                  <a:lnTo>
                    <a:pt x="39725" y="385254"/>
                  </a:lnTo>
                  <a:lnTo>
                    <a:pt x="19075" y="426707"/>
                  </a:lnTo>
                  <a:lnTo>
                    <a:pt x="5613" y="471805"/>
                  </a:lnTo>
                  <a:lnTo>
                    <a:pt x="50" y="519785"/>
                  </a:lnTo>
                  <a:lnTo>
                    <a:pt x="47713" y="515759"/>
                  </a:lnTo>
                  <a:lnTo>
                    <a:pt x="92240" y="504101"/>
                  </a:lnTo>
                  <a:lnTo>
                    <a:pt x="133477" y="485495"/>
                  </a:lnTo>
                  <a:lnTo>
                    <a:pt x="170738" y="460629"/>
                  </a:lnTo>
                  <a:lnTo>
                    <a:pt x="203365" y="430161"/>
                  </a:lnTo>
                  <a:lnTo>
                    <a:pt x="230670" y="394779"/>
                  </a:lnTo>
                  <a:lnTo>
                    <a:pt x="251993" y="355155"/>
                  </a:lnTo>
                  <a:lnTo>
                    <a:pt x="266661" y="311962"/>
                  </a:lnTo>
                  <a:lnTo>
                    <a:pt x="273989" y="265874"/>
                  </a:lnTo>
                  <a:lnTo>
                    <a:pt x="281165" y="312140"/>
                  </a:lnTo>
                  <a:lnTo>
                    <a:pt x="295719" y="355511"/>
                  </a:lnTo>
                  <a:lnTo>
                    <a:pt x="316992" y="395312"/>
                  </a:lnTo>
                  <a:lnTo>
                    <a:pt x="344284" y="430847"/>
                  </a:lnTo>
                  <a:lnTo>
                    <a:pt x="376923" y="461441"/>
                  </a:lnTo>
                  <a:lnTo>
                    <a:pt x="414248" y="486422"/>
                  </a:lnTo>
                  <a:lnTo>
                    <a:pt x="455549" y="505104"/>
                  </a:lnTo>
                  <a:lnTo>
                    <a:pt x="500164" y="516813"/>
                  </a:lnTo>
                  <a:lnTo>
                    <a:pt x="548081" y="520865"/>
                  </a:lnTo>
                  <a:close/>
                </a:path>
                <a:path w="548640" h="786764">
                  <a:moveTo>
                    <a:pt x="548093" y="267335"/>
                  </a:moveTo>
                  <a:lnTo>
                    <a:pt x="542645" y="219163"/>
                  </a:lnTo>
                  <a:lnTo>
                    <a:pt x="529247" y="173888"/>
                  </a:lnTo>
                  <a:lnTo>
                    <a:pt x="508635" y="132257"/>
                  </a:lnTo>
                  <a:lnTo>
                    <a:pt x="481533" y="95008"/>
                  </a:lnTo>
                  <a:lnTo>
                    <a:pt x="448691" y="62865"/>
                  </a:lnTo>
                  <a:lnTo>
                    <a:pt x="410845" y="36563"/>
                  </a:lnTo>
                  <a:lnTo>
                    <a:pt x="368706" y="16802"/>
                  </a:lnTo>
                  <a:lnTo>
                    <a:pt x="323037" y="4381"/>
                  </a:lnTo>
                  <a:lnTo>
                    <a:pt x="274561" y="0"/>
                  </a:lnTo>
                  <a:lnTo>
                    <a:pt x="273329" y="0"/>
                  </a:lnTo>
                  <a:lnTo>
                    <a:pt x="224993" y="4356"/>
                  </a:lnTo>
                  <a:lnTo>
                    <a:pt x="179438" y="16725"/>
                  </a:lnTo>
                  <a:lnTo>
                    <a:pt x="137401" y="36372"/>
                  </a:lnTo>
                  <a:lnTo>
                    <a:pt x="99618" y="62572"/>
                  </a:lnTo>
                  <a:lnTo>
                    <a:pt x="66814" y="94576"/>
                  </a:lnTo>
                  <a:lnTo>
                    <a:pt x="39700" y="131699"/>
                  </a:lnTo>
                  <a:lnTo>
                    <a:pt x="19037" y="173151"/>
                  </a:lnTo>
                  <a:lnTo>
                    <a:pt x="5562" y="218224"/>
                  </a:lnTo>
                  <a:lnTo>
                    <a:pt x="0" y="266204"/>
                  </a:lnTo>
                  <a:lnTo>
                    <a:pt x="47713" y="262191"/>
                  </a:lnTo>
                  <a:lnTo>
                    <a:pt x="92240" y="250532"/>
                  </a:lnTo>
                  <a:lnTo>
                    <a:pt x="133477" y="231940"/>
                  </a:lnTo>
                  <a:lnTo>
                    <a:pt x="170738" y="207060"/>
                  </a:lnTo>
                  <a:lnTo>
                    <a:pt x="203365" y="176606"/>
                  </a:lnTo>
                  <a:lnTo>
                    <a:pt x="230682" y="141224"/>
                  </a:lnTo>
                  <a:lnTo>
                    <a:pt x="252006" y="101612"/>
                  </a:lnTo>
                  <a:lnTo>
                    <a:pt x="266674" y="58420"/>
                  </a:lnTo>
                  <a:lnTo>
                    <a:pt x="273989" y="12369"/>
                  </a:lnTo>
                  <a:lnTo>
                    <a:pt x="279844" y="50114"/>
                  </a:lnTo>
                  <a:lnTo>
                    <a:pt x="295719" y="101955"/>
                  </a:lnTo>
                  <a:lnTo>
                    <a:pt x="316992" y="141744"/>
                  </a:lnTo>
                  <a:lnTo>
                    <a:pt x="344284" y="177279"/>
                  </a:lnTo>
                  <a:lnTo>
                    <a:pt x="376936" y="207886"/>
                  </a:lnTo>
                  <a:lnTo>
                    <a:pt x="414248" y="232867"/>
                  </a:lnTo>
                  <a:lnTo>
                    <a:pt x="455549" y="251561"/>
                  </a:lnTo>
                  <a:lnTo>
                    <a:pt x="500176" y="263271"/>
                  </a:lnTo>
                  <a:lnTo>
                    <a:pt x="548093" y="267335"/>
                  </a:lnTo>
                  <a:close/>
                </a:path>
              </a:pathLst>
            </a:custGeom>
            <a:solidFill>
              <a:srgbClr val="2DB7EA"/>
            </a:solidFill>
          </p:spPr>
          <p:txBody>
            <a:bodyPr wrap="square" lIns="0" tIns="0" rIns="0" bIns="0" rtlCol="0"/>
            <a:lstStyle/>
            <a:p>
              <a:endParaRPr dirty="0"/>
            </a:p>
          </p:txBody>
        </p:sp>
        <p:pic>
          <p:nvPicPr>
            <p:cNvPr id="412" name="object 122">
              <a:extLst>
                <a:ext uri="{FF2B5EF4-FFF2-40B4-BE49-F238E27FC236}">
                  <a16:creationId xmlns:a16="http://schemas.microsoft.com/office/drawing/2014/main" id="{C91B7C2D-D50B-62FB-7A4D-201A22D782B8}"/>
                </a:ext>
              </a:extLst>
            </p:cNvPr>
            <p:cNvPicPr/>
            <p:nvPr/>
          </p:nvPicPr>
          <p:blipFill>
            <a:blip r:embed="rId8" cstate="print"/>
            <a:stretch>
              <a:fillRect/>
            </a:stretch>
          </p:blipFill>
          <p:spPr>
            <a:xfrm>
              <a:off x="10407394" y="3010234"/>
              <a:ext cx="106445" cy="107156"/>
            </a:xfrm>
            <a:prstGeom prst="rect">
              <a:avLst/>
            </a:prstGeom>
          </p:spPr>
        </p:pic>
        <p:sp>
          <p:nvSpPr>
            <p:cNvPr id="413" name="object 123">
              <a:extLst>
                <a:ext uri="{FF2B5EF4-FFF2-40B4-BE49-F238E27FC236}">
                  <a16:creationId xmlns:a16="http://schemas.microsoft.com/office/drawing/2014/main" id="{E872908B-E092-6D54-DF83-4F26122E9E1C}"/>
                </a:ext>
              </a:extLst>
            </p:cNvPr>
            <p:cNvSpPr/>
            <p:nvPr/>
          </p:nvSpPr>
          <p:spPr>
            <a:xfrm>
              <a:off x="10294123" y="3208700"/>
              <a:ext cx="332700" cy="477101"/>
            </a:xfrm>
            <a:custGeom>
              <a:avLst/>
              <a:gdLst/>
              <a:ahLst/>
              <a:cxnLst/>
              <a:rect l="l" t="t" r="r" b="b"/>
              <a:pathLst>
                <a:path w="548640" h="786764">
                  <a:moveTo>
                    <a:pt x="548081" y="786384"/>
                  </a:moveTo>
                  <a:lnTo>
                    <a:pt x="542632" y="738225"/>
                  </a:lnTo>
                  <a:lnTo>
                    <a:pt x="529234" y="692962"/>
                  </a:lnTo>
                  <a:lnTo>
                    <a:pt x="508622" y="651344"/>
                  </a:lnTo>
                  <a:lnTo>
                    <a:pt x="481520" y="614083"/>
                  </a:lnTo>
                  <a:lnTo>
                    <a:pt x="448691"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73"/>
                  </a:lnTo>
                  <a:lnTo>
                    <a:pt x="19075" y="692226"/>
                  </a:lnTo>
                  <a:lnTo>
                    <a:pt x="5613" y="737323"/>
                  </a:lnTo>
                  <a:lnTo>
                    <a:pt x="50" y="785317"/>
                  </a:lnTo>
                  <a:lnTo>
                    <a:pt x="47713" y="781278"/>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59"/>
                  </a:lnTo>
                  <a:lnTo>
                    <a:pt x="295719" y="621042"/>
                  </a:lnTo>
                  <a:lnTo>
                    <a:pt x="316992" y="660831"/>
                  </a:lnTo>
                  <a:lnTo>
                    <a:pt x="344284" y="696366"/>
                  </a:lnTo>
                  <a:lnTo>
                    <a:pt x="376923" y="726960"/>
                  </a:lnTo>
                  <a:lnTo>
                    <a:pt x="414248" y="751941"/>
                  </a:lnTo>
                  <a:lnTo>
                    <a:pt x="455549" y="770623"/>
                  </a:lnTo>
                  <a:lnTo>
                    <a:pt x="500164" y="782332"/>
                  </a:lnTo>
                  <a:lnTo>
                    <a:pt x="548081" y="786384"/>
                  </a:lnTo>
                  <a:close/>
                </a:path>
                <a:path w="548640" h="786764">
                  <a:moveTo>
                    <a:pt x="548081" y="520865"/>
                  </a:moveTo>
                  <a:lnTo>
                    <a:pt x="542632" y="472694"/>
                  </a:lnTo>
                  <a:lnTo>
                    <a:pt x="529234" y="427431"/>
                  </a:lnTo>
                  <a:lnTo>
                    <a:pt x="508622" y="385813"/>
                  </a:lnTo>
                  <a:lnTo>
                    <a:pt x="481520" y="348551"/>
                  </a:lnTo>
                  <a:lnTo>
                    <a:pt x="448691" y="316407"/>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15"/>
                  </a:lnTo>
                  <a:lnTo>
                    <a:pt x="66814" y="348132"/>
                  </a:lnTo>
                  <a:lnTo>
                    <a:pt x="39725" y="385241"/>
                  </a:lnTo>
                  <a:lnTo>
                    <a:pt x="19075" y="426694"/>
                  </a:lnTo>
                  <a:lnTo>
                    <a:pt x="5613" y="471792"/>
                  </a:lnTo>
                  <a:lnTo>
                    <a:pt x="50" y="519785"/>
                  </a:lnTo>
                  <a:lnTo>
                    <a:pt x="47713" y="515747"/>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29"/>
                  </a:lnTo>
                  <a:lnTo>
                    <a:pt x="414248" y="486410"/>
                  </a:lnTo>
                  <a:lnTo>
                    <a:pt x="455549" y="505091"/>
                  </a:lnTo>
                  <a:lnTo>
                    <a:pt x="500164" y="516801"/>
                  </a:lnTo>
                  <a:lnTo>
                    <a:pt x="548081" y="520865"/>
                  </a:lnTo>
                  <a:close/>
                </a:path>
                <a:path w="548640" h="786764">
                  <a:moveTo>
                    <a:pt x="548093" y="267322"/>
                  </a:moveTo>
                  <a:lnTo>
                    <a:pt x="542645" y="219151"/>
                  </a:lnTo>
                  <a:lnTo>
                    <a:pt x="529247" y="173888"/>
                  </a:lnTo>
                  <a:lnTo>
                    <a:pt x="508635" y="132257"/>
                  </a:lnTo>
                  <a:lnTo>
                    <a:pt x="481533" y="94996"/>
                  </a:lnTo>
                  <a:lnTo>
                    <a:pt x="465277" y="79095"/>
                  </a:lnTo>
                  <a:lnTo>
                    <a:pt x="448691" y="62852"/>
                  </a:lnTo>
                  <a:lnTo>
                    <a:pt x="410845" y="36550"/>
                  </a:lnTo>
                  <a:lnTo>
                    <a:pt x="368706" y="16814"/>
                  </a:lnTo>
                  <a:lnTo>
                    <a:pt x="323037" y="4368"/>
                  </a:lnTo>
                  <a:lnTo>
                    <a:pt x="274561" y="0"/>
                  </a:lnTo>
                  <a:lnTo>
                    <a:pt x="273329" y="0"/>
                  </a:lnTo>
                  <a:lnTo>
                    <a:pt x="224993" y="4356"/>
                  </a:lnTo>
                  <a:lnTo>
                    <a:pt x="179438" y="16725"/>
                  </a:lnTo>
                  <a:lnTo>
                    <a:pt x="137401" y="36360"/>
                  </a:lnTo>
                  <a:lnTo>
                    <a:pt x="99618" y="62560"/>
                  </a:lnTo>
                  <a:lnTo>
                    <a:pt x="66814" y="94576"/>
                  </a:lnTo>
                  <a:lnTo>
                    <a:pt x="39700" y="131686"/>
                  </a:lnTo>
                  <a:lnTo>
                    <a:pt x="19037" y="173139"/>
                  </a:lnTo>
                  <a:lnTo>
                    <a:pt x="5562" y="218224"/>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3989" y="12369"/>
                  </a:lnTo>
                  <a:lnTo>
                    <a:pt x="279844" y="50101"/>
                  </a:lnTo>
                  <a:lnTo>
                    <a:pt x="295719" y="101942"/>
                  </a:lnTo>
                  <a:lnTo>
                    <a:pt x="316992" y="141744"/>
                  </a:lnTo>
                  <a:lnTo>
                    <a:pt x="344284" y="177279"/>
                  </a:lnTo>
                  <a:lnTo>
                    <a:pt x="376923" y="207873"/>
                  </a:lnTo>
                  <a:lnTo>
                    <a:pt x="414248" y="232867"/>
                  </a:lnTo>
                  <a:lnTo>
                    <a:pt x="455549" y="251548"/>
                  </a:lnTo>
                  <a:lnTo>
                    <a:pt x="500176" y="263271"/>
                  </a:lnTo>
                  <a:lnTo>
                    <a:pt x="548093" y="267322"/>
                  </a:lnTo>
                  <a:close/>
                </a:path>
              </a:pathLst>
            </a:custGeom>
            <a:solidFill>
              <a:srgbClr val="7ED3F1"/>
            </a:solidFill>
          </p:spPr>
          <p:txBody>
            <a:bodyPr wrap="square" lIns="0" tIns="0" rIns="0" bIns="0" rtlCol="0"/>
            <a:lstStyle/>
            <a:p>
              <a:endParaRPr dirty="0"/>
            </a:p>
          </p:txBody>
        </p:sp>
        <p:pic>
          <p:nvPicPr>
            <p:cNvPr id="414" name="object 124">
              <a:extLst>
                <a:ext uri="{FF2B5EF4-FFF2-40B4-BE49-F238E27FC236}">
                  <a16:creationId xmlns:a16="http://schemas.microsoft.com/office/drawing/2014/main" id="{D13DD198-9607-5551-1D5C-58E77FA577C5}"/>
                </a:ext>
              </a:extLst>
            </p:cNvPr>
            <p:cNvPicPr/>
            <p:nvPr/>
          </p:nvPicPr>
          <p:blipFill>
            <a:blip r:embed="rId9" cstate="print"/>
            <a:stretch>
              <a:fillRect/>
            </a:stretch>
          </p:blipFill>
          <p:spPr>
            <a:xfrm>
              <a:off x="10407394" y="3664400"/>
              <a:ext cx="106445" cy="107156"/>
            </a:xfrm>
            <a:prstGeom prst="rect">
              <a:avLst/>
            </a:prstGeom>
          </p:spPr>
        </p:pic>
        <p:sp>
          <p:nvSpPr>
            <p:cNvPr id="415" name="object 125">
              <a:extLst>
                <a:ext uri="{FF2B5EF4-FFF2-40B4-BE49-F238E27FC236}">
                  <a16:creationId xmlns:a16="http://schemas.microsoft.com/office/drawing/2014/main" id="{383A777A-9070-422F-B916-ED3E8DB64EB5}"/>
                </a:ext>
              </a:extLst>
            </p:cNvPr>
            <p:cNvSpPr/>
            <p:nvPr/>
          </p:nvSpPr>
          <p:spPr>
            <a:xfrm>
              <a:off x="10294123" y="1246203"/>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91"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50" y="785304"/>
                  </a:lnTo>
                  <a:lnTo>
                    <a:pt x="47713" y="781278"/>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48" y="751941"/>
                  </a:lnTo>
                  <a:lnTo>
                    <a:pt x="455549" y="770623"/>
                  </a:lnTo>
                  <a:lnTo>
                    <a:pt x="500164" y="782332"/>
                  </a:lnTo>
                  <a:lnTo>
                    <a:pt x="548081" y="786384"/>
                  </a:lnTo>
                  <a:close/>
                </a:path>
                <a:path w="548640" h="786764">
                  <a:moveTo>
                    <a:pt x="548081" y="520852"/>
                  </a:moveTo>
                  <a:lnTo>
                    <a:pt x="542632" y="472694"/>
                  </a:lnTo>
                  <a:lnTo>
                    <a:pt x="529234" y="427431"/>
                  </a:lnTo>
                  <a:lnTo>
                    <a:pt x="508622" y="385813"/>
                  </a:lnTo>
                  <a:lnTo>
                    <a:pt x="481520" y="348551"/>
                  </a:lnTo>
                  <a:lnTo>
                    <a:pt x="448691" y="316395"/>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15"/>
                  </a:lnTo>
                  <a:lnTo>
                    <a:pt x="66814" y="348132"/>
                  </a:lnTo>
                  <a:lnTo>
                    <a:pt x="39725" y="385241"/>
                  </a:lnTo>
                  <a:lnTo>
                    <a:pt x="19075" y="426694"/>
                  </a:lnTo>
                  <a:lnTo>
                    <a:pt x="5613" y="471792"/>
                  </a:lnTo>
                  <a:lnTo>
                    <a:pt x="50" y="519785"/>
                  </a:lnTo>
                  <a:lnTo>
                    <a:pt x="47713" y="515747"/>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48" y="486410"/>
                  </a:lnTo>
                  <a:lnTo>
                    <a:pt x="455549" y="505091"/>
                  </a:lnTo>
                  <a:lnTo>
                    <a:pt x="500164" y="516801"/>
                  </a:lnTo>
                  <a:lnTo>
                    <a:pt x="548081" y="520852"/>
                  </a:lnTo>
                  <a:close/>
                </a:path>
                <a:path w="548640" h="786764">
                  <a:moveTo>
                    <a:pt x="548093" y="267322"/>
                  </a:moveTo>
                  <a:lnTo>
                    <a:pt x="542645" y="219151"/>
                  </a:lnTo>
                  <a:lnTo>
                    <a:pt x="529247" y="173875"/>
                  </a:lnTo>
                  <a:lnTo>
                    <a:pt x="508635" y="132257"/>
                  </a:lnTo>
                  <a:lnTo>
                    <a:pt x="481533" y="94996"/>
                  </a:lnTo>
                  <a:lnTo>
                    <a:pt x="465277" y="79095"/>
                  </a:lnTo>
                  <a:lnTo>
                    <a:pt x="448691" y="62852"/>
                  </a:lnTo>
                  <a:lnTo>
                    <a:pt x="410845" y="36550"/>
                  </a:lnTo>
                  <a:lnTo>
                    <a:pt x="368706" y="16789"/>
                  </a:lnTo>
                  <a:lnTo>
                    <a:pt x="323037" y="4368"/>
                  </a:lnTo>
                  <a:lnTo>
                    <a:pt x="274561" y="0"/>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3989" y="12357"/>
                  </a:lnTo>
                  <a:lnTo>
                    <a:pt x="279844" y="50101"/>
                  </a:lnTo>
                  <a:lnTo>
                    <a:pt x="295719" y="101942"/>
                  </a:lnTo>
                  <a:lnTo>
                    <a:pt x="316992" y="141744"/>
                  </a:lnTo>
                  <a:lnTo>
                    <a:pt x="344284" y="177279"/>
                  </a:lnTo>
                  <a:lnTo>
                    <a:pt x="376923" y="207873"/>
                  </a:lnTo>
                  <a:lnTo>
                    <a:pt x="414248" y="232867"/>
                  </a:lnTo>
                  <a:lnTo>
                    <a:pt x="455549" y="251548"/>
                  </a:lnTo>
                  <a:lnTo>
                    <a:pt x="500176" y="263271"/>
                  </a:lnTo>
                  <a:lnTo>
                    <a:pt x="548093" y="267322"/>
                  </a:lnTo>
                  <a:close/>
                </a:path>
              </a:pathLst>
            </a:custGeom>
            <a:solidFill>
              <a:srgbClr val="2DB7EA"/>
            </a:solidFill>
          </p:spPr>
          <p:txBody>
            <a:bodyPr wrap="square" lIns="0" tIns="0" rIns="0" bIns="0" rtlCol="0"/>
            <a:lstStyle/>
            <a:p>
              <a:endParaRPr dirty="0"/>
            </a:p>
          </p:txBody>
        </p:sp>
        <p:pic>
          <p:nvPicPr>
            <p:cNvPr id="416" name="object 126">
              <a:extLst>
                <a:ext uri="{FF2B5EF4-FFF2-40B4-BE49-F238E27FC236}">
                  <a16:creationId xmlns:a16="http://schemas.microsoft.com/office/drawing/2014/main" id="{8D139528-263B-3669-EA59-C4685B915923}"/>
                </a:ext>
              </a:extLst>
            </p:cNvPr>
            <p:cNvPicPr/>
            <p:nvPr/>
          </p:nvPicPr>
          <p:blipFill>
            <a:blip r:embed="rId8" cstate="print"/>
            <a:stretch>
              <a:fillRect/>
            </a:stretch>
          </p:blipFill>
          <p:spPr>
            <a:xfrm>
              <a:off x="10407394" y="1701903"/>
              <a:ext cx="106445" cy="107156"/>
            </a:xfrm>
            <a:prstGeom prst="rect">
              <a:avLst/>
            </a:prstGeom>
          </p:spPr>
        </p:pic>
        <p:sp>
          <p:nvSpPr>
            <p:cNvPr id="417" name="object 127">
              <a:extLst>
                <a:ext uri="{FF2B5EF4-FFF2-40B4-BE49-F238E27FC236}">
                  <a16:creationId xmlns:a16="http://schemas.microsoft.com/office/drawing/2014/main" id="{70FF57C4-1975-E99E-41C5-40CC017E64C4}"/>
                </a:ext>
              </a:extLst>
            </p:cNvPr>
            <p:cNvSpPr/>
            <p:nvPr/>
          </p:nvSpPr>
          <p:spPr>
            <a:xfrm>
              <a:off x="10294123" y="1900365"/>
              <a:ext cx="332700" cy="477101"/>
            </a:xfrm>
            <a:custGeom>
              <a:avLst/>
              <a:gdLst/>
              <a:ahLst/>
              <a:cxnLst/>
              <a:rect l="l" t="t" r="r" b="b"/>
              <a:pathLst>
                <a:path w="548640" h="786764">
                  <a:moveTo>
                    <a:pt x="548081" y="786396"/>
                  </a:moveTo>
                  <a:lnTo>
                    <a:pt x="542632" y="738225"/>
                  </a:lnTo>
                  <a:lnTo>
                    <a:pt x="529234" y="692962"/>
                  </a:lnTo>
                  <a:lnTo>
                    <a:pt x="508622" y="651344"/>
                  </a:lnTo>
                  <a:lnTo>
                    <a:pt x="481520" y="614083"/>
                  </a:lnTo>
                  <a:lnTo>
                    <a:pt x="448691" y="581939"/>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60"/>
                  </a:lnTo>
                  <a:lnTo>
                    <a:pt x="66814" y="613664"/>
                  </a:lnTo>
                  <a:lnTo>
                    <a:pt x="39725" y="650773"/>
                  </a:lnTo>
                  <a:lnTo>
                    <a:pt x="19075" y="692238"/>
                  </a:lnTo>
                  <a:lnTo>
                    <a:pt x="5613" y="737323"/>
                  </a:lnTo>
                  <a:lnTo>
                    <a:pt x="50" y="785317"/>
                  </a:lnTo>
                  <a:lnTo>
                    <a:pt x="47713" y="781278"/>
                  </a:lnTo>
                  <a:lnTo>
                    <a:pt x="92240" y="769620"/>
                  </a:lnTo>
                  <a:lnTo>
                    <a:pt x="133477" y="751027"/>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48" y="751941"/>
                  </a:lnTo>
                  <a:lnTo>
                    <a:pt x="455549" y="770636"/>
                  </a:lnTo>
                  <a:lnTo>
                    <a:pt x="500164" y="782332"/>
                  </a:lnTo>
                  <a:lnTo>
                    <a:pt x="548081" y="786396"/>
                  </a:lnTo>
                  <a:close/>
                </a:path>
                <a:path w="548640" h="786764">
                  <a:moveTo>
                    <a:pt x="548081" y="520865"/>
                  </a:moveTo>
                  <a:lnTo>
                    <a:pt x="542632" y="472706"/>
                  </a:lnTo>
                  <a:lnTo>
                    <a:pt x="529234" y="427443"/>
                  </a:lnTo>
                  <a:lnTo>
                    <a:pt x="508622" y="385813"/>
                  </a:lnTo>
                  <a:lnTo>
                    <a:pt x="481520" y="348551"/>
                  </a:lnTo>
                  <a:lnTo>
                    <a:pt x="448691" y="316407"/>
                  </a:lnTo>
                  <a:lnTo>
                    <a:pt x="410832" y="290093"/>
                  </a:lnTo>
                  <a:lnTo>
                    <a:pt x="368706" y="270357"/>
                  </a:lnTo>
                  <a:lnTo>
                    <a:pt x="323037" y="257937"/>
                  </a:lnTo>
                  <a:lnTo>
                    <a:pt x="274561" y="253555"/>
                  </a:lnTo>
                  <a:lnTo>
                    <a:pt x="273329" y="253555"/>
                  </a:lnTo>
                  <a:lnTo>
                    <a:pt x="224993" y="257924"/>
                  </a:lnTo>
                  <a:lnTo>
                    <a:pt x="179438" y="270281"/>
                  </a:lnTo>
                  <a:lnTo>
                    <a:pt x="137401" y="289928"/>
                  </a:lnTo>
                  <a:lnTo>
                    <a:pt x="99618" y="316128"/>
                  </a:lnTo>
                  <a:lnTo>
                    <a:pt x="66814" y="348132"/>
                  </a:lnTo>
                  <a:lnTo>
                    <a:pt x="39725" y="385241"/>
                  </a:lnTo>
                  <a:lnTo>
                    <a:pt x="19075" y="426707"/>
                  </a:lnTo>
                  <a:lnTo>
                    <a:pt x="5613" y="471792"/>
                  </a:lnTo>
                  <a:lnTo>
                    <a:pt x="50" y="519785"/>
                  </a:lnTo>
                  <a:lnTo>
                    <a:pt x="47713" y="515747"/>
                  </a:lnTo>
                  <a:lnTo>
                    <a:pt x="92240" y="504088"/>
                  </a:lnTo>
                  <a:lnTo>
                    <a:pt x="133477" y="485495"/>
                  </a:lnTo>
                  <a:lnTo>
                    <a:pt x="170738" y="460616"/>
                  </a:lnTo>
                  <a:lnTo>
                    <a:pt x="203365" y="430161"/>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48" y="486410"/>
                  </a:lnTo>
                  <a:lnTo>
                    <a:pt x="455549" y="505104"/>
                  </a:lnTo>
                  <a:lnTo>
                    <a:pt x="500164" y="516813"/>
                  </a:lnTo>
                  <a:lnTo>
                    <a:pt x="548081" y="520865"/>
                  </a:lnTo>
                  <a:close/>
                </a:path>
                <a:path w="548640" h="786764">
                  <a:moveTo>
                    <a:pt x="548093" y="267322"/>
                  </a:moveTo>
                  <a:lnTo>
                    <a:pt x="542645" y="219151"/>
                  </a:lnTo>
                  <a:lnTo>
                    <a:pt x="529247" y="173888"/>
                  </a:lnTo>
                  <a:lnTo>
                    <a:pt x="508635" y="132257"/>
                  </a:lnTo>
                  <a:lnTo>
                    <a:pt x="481533" y="95008"/>
                  </a:lnTo>
                  <a:lnTo>
                    <a:pt x="448691" y="62852"/>
                  </a:lnTo>
                  <a:lnTo>
                    <a:pt x="410845" y="36550"/>
                  </a:lnTo>
                  <a:lnTo>
                    <a:pt x="368706" y="16814"/>
                  </a:lnTo>
                  <a:lnTo>
                    <a:pt x="323037" y="4381"/>
                  </a:lnTo>
                  <a:lnTo>
                    <a:pt x="274561" y="0"/>
                  </a:lnTo>
                  <a:lnTo>
                    <a:pt x="273329" y="0"/>
                  </a:lnTo>
                  <a:lnTo>
                    <a:pt x="224993" y="4356"/>
                  </a:lnTo>
                  <a:lnTo>
                    <a:pt x="179438" y="16725"/>
                  </a:lnTo>
                  <a:lnTo>
                    <a:pt x="137401" y="36372"/>
                  </a:lnTo>
                  <a:lnTo>
                    <a:pt x="99618" y="62560"/>
                  </a:lnTo>
                  <a:lnTo>
                    <a:pt x="66814" y="94576"/>
                  </a:lnTo>
                  <a:lnTo>
                    <a:pt x="39700" y="131686"/>
                  </a:lnTo>
                  <a:lnTo>
                    <a:pt x="19037" y="173139"/>
                  </a:lnTo>
                  <a:lnTo>
                    <a:pt x="5562" y="218224"/>
                  </a:lnTo>
                  <a:lnTo>
                    <a:pt x="0" y="266192"/>
                  </a:lnTo>
                  <a:lnTo>
                    <a:pt x="47713" y="262191"/>
                  </a:lnTo>
                  <a:lnTo>
                    <a:pt x="92240" y="250532"/>
                  </a:lnTo>
                  <a:lnTo>
                    <a:pt x="133477" y="231927"/>
                  </a:lnTo>
                  <a:lnTo>
                    <a:pt x="170738" y="207060"/>
                  </a:lnTo>
                  <a:lnTo>
                    <a:pt x="203365" y="176593"/>
                  </a:lnTo>
                  <a:lnTo>
                    <a:pt x="230682" y="141224"/>
                  </a:lnTo>
                  <a:lnTo>
                    <a:pt x="252006" y="101600"/>
                  </a:lnTo>
                  <a:lnTo>
                    <a:pt x="266674" y="58420"/>
                  </a:lnTo>
                  <a:lnTo>
                    <a:pt x="273989" y="12369"/>
                  </a:lnTo>
                  <a:lnTo>
                    <a:pt x="279844" y="50101"/>
                  </a:lnTo>
                  <a:lnTo>
                    <a:pt x="295719" y="101942"/>
                  </a:lnTo>
                  <a:lnTo>
                    <a:pt x="316992" y="141744"/>
                  </a:lnTo>
                  <a:lnTo>
                    <a:pt x="344284" y="177279"/>
                  </a:lnTo>
                  <a:lnTo>
                    <a:pt x="376936" y="207886"/>
                  </a:lnTo>
                  <a:lnTo>
                    <a:pt x="414248" y="232867"/>
                  </a:lnTo>
                  <a:lnTo>
                    <a:pt x="455549"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418" name="object 128">
              <a:extLst>
                <a:ext uri="{FF2B5EF4-FFF2-40B4-BE49-F238E27FC236}">
                  <a16:creationId xmlns:a16="http://schemas.microsoft.com/office/drawing/2014/main" id="{4A4E28D0-A70E-E666-DDAA-12B6ED7C5FD8}"/>
                </a:ext>
              </a:extLst>
            </p:cNvPr>
            <p:cNvPicPr/>
            <p:nvPr/>
          </p:nvPicPr>
          <p:blipFill>
            <a:blip r:embed="rId9" cstate="print"/>
            <a:stretch>
              <a:fillRect/>
            </a:stretch>
          </p:blipFill>
          <p:spPr>
            <a:xfrm>
              <a:off x="10407394" y="2356067"/>
              <a:ext cx="106445" cy="107156"/>
            </a:xfrm>
            <a:prstGeom prst="rect">
              <a:avLst/>
            </a:prstGeom>
          </p:spPr>
        </p:pic>
        <p:sp>
          <p:nvSpPr>
            <p:cNvPr id="419" name="object 129">
              <a:extLst>
                <a:ext uri="{FF2B5EF4-FFF2-40B4-BE49-F238E27FC236}">
                  <a16:creationId xmlns:a16="http://schemas.microsoft.com/office/drawing/2014/main" id="{0CC84443-8C17-4053-C72C-45FD1AB2E1A2}"/>
                </a:ext>
              </a:extLst>
            </p:cNvPr>
            <p:cNvSpPr/>
            <p:nvPr/>
          </p:nvSpPr>
          <p:spPr>
            <a:xfrm>
              <a:off x="10294127"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420" name="object 130">
              <a:extLst>
                <a:ext uri="{FF2B5EF4-FFF2-40B4-BE49-F238E27FC236}">
                  <a16:creationId xmlns:a16="http://schemas.microsoft.com/office/drawing/2014/main" id="{10A2542F-9B2E-9C93-D8AE-2FB605017A71}"/>
                </a:ext>
              </a:extLst>
            </p:cNvPr>
            <p:cNvPicPr/>
            <p:nvPr/>
          </p:nvPicPr>
          <p:blipFill>
            <a:blip r:embed="rId20" cstate="print"/>
            <a:stretch>
              <a:fillRect/>
            </a:stretch>
          </p:blipFill>
          <p:spPr>
            <a:xfrm>
              <a:off x="10294154" y="123"/>
              <a:ext cx="152433" cy="99184"/>
            </a:xfrm>
            <a:prstGeom prst="rect">
              <a:avLst/>
            </a:prstGeom>
          </p:spPr>
        </p:pic>
        <p:pic>
          <p:nvPicPr>
            <p:cNvPr id="421" name="object 131">
              <a:extLst>
                <a:ext uri="{FF2B5EF4-FFF2-40B4-BE49-F238E27FC236}">
                  <a16:creationId xmlns:a16="http://schemas.microsoft.com/office/drawing/2014/main" id="{20C4AAF1-9D0A-E4FD-4D97-3CDB83C3DD84}"/>
                </a:ext>
              </a:extLst>
            </p:cNvPr>
            <p:cNvPicPr/>
            <p:nvPr/>
          </p:nvPicPr>
          <p:blipFill>
            <a:blip r:embed="rId21" cstate="print"/>
            <a:stretch>
              <a:fillRect/>
            </a:stretch>
          </p:blipFill>
          <p:spPr>
            <a:xfrm>
              <a:off x="10473688" y="123"/>
              <a:ext cx="152798" cy="99837"/>
            </a:xfrm>
            <a:prstGeom prst="rect">
              <a:avLst/>
            </a:prstGeom>
          </p:spPr>
        </p:pic>
        <p:sp>
          <p:nvSpPr>
            <p:cNvPr id="422" name="object 132">
              <a:extLst>
                <a:ext uri="{FF2B5EF4-FFF2-40B4-BE49-F238E27FC236}">
                  <a16:creationId xmlns:a16="http://schemas.microsoft.com/office/drawing/2014/main" id="{6853EE99-9278-DB8A-F507-2D37C2D09BC7}"/>
                </a:ext>
              </a:extLst>
            </p:cNvPr>
            <p:cNvSpPr/>
            <p:nvPr/>
          </p:nvSpPr>
          <p:spPr>
            <a:xfrm>
              <a:off x="10294154" y="91626"/>
              <a:ext cx="332700" cy="323458"/>
            </a:xfrm>
            <a:custGeom>
              <a:avLst/>
              <a:gdLst/>
              <a:ahLst/>
              <a:cxnLst/>
              <a:rect l="l" t="t" r="r" b="b"/>
              <a:pathLst>
                <a:path w="548640" h="533400">
                  <a:moveTo>
                    <a:pt x="548030" y="532841"/>
                  </a:moveTo>
                  <a:lnTo>
                    <a:pt x="542582" y="484682"/>
                  </a:lnTo>
                  <a:lnTo>
                    <a:pt x="529183" y="439420"/>
                  </a:lnTo>
                  <a:lnTo>
                    <a:pt x="508571" y="397789"/>
                  </a:lnTo>
                  <a:lnTo>
                    <a:pt x="481469" y="360527"/>
                  </a:lnTo>
                  <a:lnTo>
                    <a:pt x="448640" y="328383"/>
                  </a:lnTo>
                  <a:lnTo>
                    <a:pt x="410781" y="302069"/>
                  </a:lnTo>
                  <a:lnTo>
                    <a:pt x="368655" y="282333"/>
                  </a:lnTo>
                  <a:lnTo>
                    <a:pt x="322986" y="269913"/>
                  </a:lnTo>
                  <a:lnTo>
                    <a:pt x="274510" y="265544"/>
                  </a:lnTo>
                  <a:lnTo>
                    <a:pt x="273278" y="265544"/>
                  </a:lnTo>
                  <a:lnTo>
                    <a:pt x="224942" y="269900"/>
                  </a:lnTo>
                  <a:lnTo>
                    <a:pt x="179387" y="282257"/>
                  </a:lnTo>
                  <a:lnTo>
                    <a:pt x="137350" y="301904"/>
                  </a:lnTo>
                  <a:lnTo>
                    <a:pt x="99568" y="328104"/>
                  </a:lnTo>
                  <a:lnTo>
                    <a:pt x="66763" y="360121"/>
                  </a:lnTo>
                  <a:lnTo>
                    <a:pt x="39674" y="397217"/>
                  </a:lnTo>
                  <a:lnTo>
                    <a:pt x="19024" y="438683"/>
                  </a:lnTo>
                  <a:lnTo>
                    <a:pt x="5562" y="483768"/>
                  </a:lnTo>
                  <a:lnTo>
                    <a:pt x="0" y="531761"/>
                  </a:lnTo>
                  <a:lnTo>
                    <a:pt x="47663" y="527723"/>
                  </a:lnTo>
                  <a:lnTo>
                    <a:pt x="92189" y="516064"/>
                  </a:lnTo>
                  <a:lnTo>
                    <a:pt x="133426" y="497471"/>
                  </a:lnTo>
                  <a:lnTo>
                    <a:pt x="170688" y="472592"/>
                  </a:lnTo>
                  <a:lnTo>
                    <a:pt x="203314" y="442137"/>
                  </a:lnTo>
                  <a:lnTo>
                    <a:pt x="230619" y="406755"/>
                  </a:lnTo>
                  <a:lnTo>
                    <a:pt x="251942" y="367118"/>
                  </a:lnTo>
                  <a:lnTo>
                    <a:pt x="266611" y="323926"/>
                  </a:lnTo>
                  <a:lnTo>
                    <a:pt x="273939" y="277837"/>
                  </a:lnTo>
                  <a:lnTo>
                    <a:pt x="281114" y="324116"/>
                  </a:lnTo>
                  <a:lnTo>
                    <a:pt x="295668" y="367487"/>
                  </a:lnTo>
                  <a:lnTo>
                    <a:pt x="316941" y="407276"/>
                  </a:lnTo>
                  <a:lnTo>
                    <a:pt x="344233" y="442810"/>
                  </a:lnTo>
                  <a:lnTo>
                    <a:pt x="376872" y="473417"/>
                  </a:lnTo>
                  <a:lnTo>
                    <a:pt x="414197" y="498398"/>
                  </a:lnTo>
                  <a:lnTo>
                    <a:pt x="455498" y="517080"/>
                  </a:lnTo>
                  <a:lnTo>
                    <a:pt x="500113" y="528789"/>
                  </a:lnTo>
                  <a:lnTo>
                    <a:pt x="548030" y="532841"/>
                  </a:lnTo>
                  <a:close/>
                </a:path>
                <a:path w="548640" h="533400">
                  <a:moveTo>
                    <a:pt x="548030" y="267309"/>
                  </a:moveTo>
                  <a:lnTo>
                    <a:pt x="542582" y="219138"/>
                  </a:lnTo>
                  <a:lnTo>
                    <a:pt x="529183" y="173888"/>
                  </a:lnTo>
                  <a:lnTo>
                    <a:pt x="508571" y="132257"/>
                  </a:lnTo>
                  <a:lnTo>
                    <a:pt x="481469" y="94996"/>
                  </a:lnTo>
                  <a:lnTo>
                    <a:pt x="448640" y="62852"/>
                  </a:lnTo>
                  <a:lnTo>
                    <a:pt x="410781" y="36537"/>
                  </a:lnTo>
                  <a:lnTo>
                    <a:pt x="368655" y="16802"/>
                  </a:lnTo>
                  <a:lnTo>
                    <a:pt x="322986" y="4381"/>
                  </a:lnTo>
                  <a:lnTo>
                    <a:pt x="274510" y="0"/>
                  </a:lnTo>
                  <a:lnTo>
                    <a:pt x="273278" y="0"/>
                  </a:lnTo>
                  <a:lnTo>
                    <a:pt x="224942" y="4356"/>
                  </a:lnTo>
                  <a:lnTo>
                    <a:pt x="179387" y="16725"/>
                  </a:lnTo>
                  <a:lnTo>
                    <a:pt x="137350" y="36372"/>
                  </a:lnTo>
                  <a:lnTo>
                    <a:pt x="99568" y="62572"/>
                  </a:lnTo>
                  <a:lnTo>
                    <a:pt x="66763" y="94576"/>
                  </a:lnTo>
                  <a:lnTo>
                    <a:pt x="39674" y="131686"/>
                  </a:lnTo>
                  <a:lnTo>
                    <a:pt x="19024" y="173151"/>
                  </a:lnTo>
                  <a:lnTo>
                    <a:pt x="5562" y="218236"/>
                  </a:lnTo>
                  <a:lnTo>
                    <a:pt x="0" y="266230"/>
                  </a:lnTo>
                  <a:lnTo>
                    <a:pt x="47663" y="262191"/>
                  </a:lnTo>
                  <a:lnTo>
                    <a:pt x="92189" y="250532"/>
                  </a:lnTo>
                  <a:lnTo>
                    <a:pt x="133426" y="231940"/>
                  </a:lnTo>
                  <a:lnTo>
                    <a:pt x="170688" y="207060"/>
                  </a:lnTo>
                  <a:lnTo>
                    <a:pt x="203314" y="176593"/>
                  </a:lnTo>
                  <a:lnTo>
                    <a:pt x="230619" y="141211"/>
                  </a:lnTo>
                  <a:lnTo>
                    <a:pt x="251942" y="101587"/>
                  </a:lnTo>
                  <a:lnTo>
                    <a:pt x="266611" y="58394"/>
                  </a:lnTo>
                  <a:lnTo>
                    <a:pt x="273939" y="12306"/>
                  </a:lnTo>
                  <a:lnTo>
                    <a:pt x="281114" y="58585"/>
                  </a:lnTo>
                  <a:lnTo>
                    <a:pt x="295668" y="101955"/>
                  </a:lnTo>
                  <a:lnTo>
                    <a:pt x="316941" y="141744"/>
                  </a:lnTo>
                  <a:lnTo>
                    <a:pt x="344233" y="177279"/>
                  </a:lnTo>
                  <a:lnTo>
                    <a:pt x="376872" y="207873"/>
                  </a:lnTo>
                  <a:lnTo>
                    <a:pt x="414197" y="232854"/>
                  </a:lnTo>
                  <a:lnTo>
                    <a:pt x="455498" y="251548"/>
                  </a:lnTo>
                  <a:lnTo>
                    <a:pt x="500113" y="263258"/>
                  </a:lnTo>
                  <a:lnTo>
                    <a:pt x="548030" y="267309"/>
                  </a:lnTo>
                  <a:close/>
                </a:path>
              </a:pathLst>
            </a:custGeom>
            <a:solidFill>
              <a:srgbClr val="2DB7EA"/>
            </a:solidFill>
          </p:spPr>
          <p:txBody>
            <a:bodyPr wrap="square" lIns="0" tIns="0" rIns="0" bIns="0" rtlCol="0"/>
            <a:lstStyle/>
            <a:p>
              <a:endParaRPr dirty="0"/>
            </a:p>
          </p:txBody>
        </p:sp>
        <p:pic>
          <p:nvPicPr>
            <p:cNvPr id="423" name="object 133">
              <a:extLst>
                <a:ext uri="{FF2B5EF4-FFF2-40B4-BE49-F238E27FC236}">
                  <a16:creationId xmlns:a16="http://schemas.microsoft.com/office/drawing/2014/main" id="{569653BE-F64B-5EB8-1680-19889779900D}"/>
                </a:ext>
              </a:extLst>
            </p:cNvPr>
            <p:cNvPicPr/>
            <p:nvPr/>
          </p:nvPicPr>
          <p:blipFill>
            <a:blip r:embed="rId8" cstate="print"/>
            <a:stretch>
              <a:fillRect/>
            </a:stretch>
          </p:blipFill>
          <p:spPr>
            <a:xfrm>
              <a:off x="10407394" y="393572"/>
              <a:ext cx="106445" cy="107156"/>
            </a:xfrm>
            <a:prstGeom prst="rect">
              <a:avLst/>
            </a:prstGeom>
          </p:spPr>
        </p:pic>
        <p:sp>
          <p:nvSpPr>
            <p:cNvPr id="424" name="object 134">
              <a:extLst>
                <a:ext uri="{FF2B5EF4-FFF2-40B4-BE49-F238E27FC236}">
                  <a16:creationId xmlns:a16="http://schemas.microsoft.com/office/drawing/2014/main" id="{3A1942DC-6EAD-20BD-AF57-4A6BB1A8A470}"/>
                </a:ext>
              </a:extLst>
            </p:cNvPr>
            <p:cNvSpPr/>
            <p:nvPr/>
          </p:nvSpPr>
          <p:spPr>
            <a:xfrm>
              <a:off x="10294123" y="592039"/>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91"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50" y="785304"/>
                  </a:lnTo>
                  <a:lnTo>
                    <a:pt x="47713" y="781278"/>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48" y="751941"/>
                  </a:lnTo>
                  <a:lnTo>
                    <a:pt x="455549" y="770623"/>
                  </a:lnTo>
                  <a:lnTo>
                    <a:pt x="500164" y="782332"/>
                  </a:lnTo>
                  <a:lnTo>
                    <a:pt x="548081" y="786384"/>
                  </a:lnTo>
                  <a:close/>
                </a:path>
                <a:path w="548640" h="786764">
                  <a:moveTo>
                    <a:pt x="548081" y="520852"/>
                  </a:moveTo>
                  <a:lnTo>
                    <a:pt x="542632" y="472694"/>
                  </a:lnTo>
                  <a:lnTo>
                    <a:pt x="529234" y="427431"/>
                  </a:lnTo>
                  <a:lnTo>
                    <a:pt x="508622" y="385800"/>
                  </a:lnTo>
                  <a:lnTo>
                    <a:pt x="481520" y="348551"/>
                  </a:lnTo>
                  <a:lnTo>
                    <a:pt x="448691" y="316395"/>
                  </a:lnTo>
                  <a:lnTo>
                    <a:pt x="410832" y="290080"/>
                  </a:lnTo>
                  <a:lnTo>
                    <a:pt x="368706" y="270357"/>
                  </a:lnTo>
                  <a:lnTo>
                    <a:pt x="323037" y="257924"/>
                  </a:lnTo>
                  <a:lnTo>
                    <a:pt x="274561" y="253555"/>
                  </a:lnTo>
                  <a:lnTo>
                    <a:pt x="273329" y="253555"/>
                  </a:lnTo>
                  <a:lnTo>
                    <a:pt x="224993" y="257911"/>
                  </a:lnTo>
                  <a:lnTo>
                    <a:pt x="179438" y="270281"/>
                  </a:lnTo>
                  <a:lnTo>
                    <a:pt x="137401" y="289915"/>
                  </a:lnTo>
                  <a:lnTo>
                    <a:pt x="99618" y="316115"/>
                  </a:lnTo>
                  <a:lnTo>
                    <a:pt x="66814" y="348132"/>
                  </a:lnTo>
                  <a:lnTo>
                    <a:pt x="39725" y="385229"/>
                  </a:lnTo>
                  <a:lnTo>
                    <a:pt x="19075" y="426694"/>
                  </a:lnTo>
                  <a:lnTo>
                    <a:pt x="5613" y="471779"/>
                  </a:lnTo>
                  <a:lnTo>
                    <a:pt x="50" y="519772"/>
                  </a:lnTo>
                  <a:lnTo>
                    <a:pt x="47713" y="515734"/>
                  </a:lnTo>
                  <a:lnTo>
                    <a:pt x="92240" y="504088"/>
                  </a:lnTo>
                  <a:lnTo>
                    <a:pt x="133477" y="485482"/>
                  </a:lnTo>
                  <a:lnTo>
                    <a:pt x="170738" y="460616"/>
                  </a:lnTo>
                  <a:lnTo>
                    <a:pt x="203365" y="430149"/>
                  </a:lnTo>
                  <a:lnTo>
                    <a:pt x="230670" y="394766"/>
                  </a:lnTo>
                  <a:lnTo>
                    <a:pt x="251993" y="355142"/>
                  </a:lnTo>
                  <a:lnTo>
                    <a:pt x="266661" y="311937"/>
                  </a:lnTo>
                  <a:lnTo>
                    <a:pt x="273989" y="265861"/>
                  </a:lnTo>
                  <a:lnTo>
                    <a:pt x="281165" y="312127"/>
                  </a:lnTo>
                  <a:lnTo>
                    <a:pt x="295719" y="355498"/>
                  </a:lnTo>
                  <a:lnTo>
                    <a:pt x="316992" y="395300"/>
                  </a:lnTo>
                  <a:lnTo>
                    <a:pt x="344284" y="430834"/>
                  </a:lnTo>
                  <a:lnTo>
                    <a:pt x="376923" y="461429"/>
                  </a:lnTo>
                  <a:lnTo>
                    <a:pt x="414248" y="486410"/>
                  </a:lnTo>
                  <a:lnTo>
                    <a:pt x="455549" y="505091"/>
                  </a:lnTo>
                  <a:lnTo>
                    <a:pt x="500164" y="516801"/>
                  </a:lnTo>
                  <a:lnTo>
                    <a:pt x="548081" y="520852"/>
                  </a:lnTo>
                  <a:close/>
                </a:path>
                <a:path w="548640" h="786764">
                  <a:moveTo>
                    <a:pt x="548093" y="267322"/>
                  </a:moveTo>
                  <a:lnTo>
                    <a:pt x="542645" y="219138"/>
                  </a:lnTo>
                  <a:lnTo>
                    <a:pt x="529247" y="173875"/>
                  </a:lnTo>
                  <a:lnTo>
                    <a:pt x="508635" y="132245"/>
                  </a:lnTo>
                  <a:lnTo>
                    <a:pt x="481533" y="94996"/>
                  </a:lnTo>
                  <a:lnTo>
                    <a:pt x="448691" y="62839"/>
                  </a:lnTo>
                  <a:lnTo>
                    <a:pt x="410845" y="36537"/>
                  </a:lnTo>
                  <a:lnTo>
                    <a:pt x="368706" y="16789"/>
                  </a:lnTo>
                  <a:lnTo>
                    <a:pt x="323037" y="4368"/>
                  </a:lnTo>
                  <a:lnTo>
                    <a:pt x="274561" y="12"/>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77" y="231927"/>
                  </a:lnTo>
                  <a:lnTo>
                    <a:pt x="170738" y="207048"/>
                  </a:lnTo>
                  <a:lnTo>
                    <a:pt x="203365" y="176593"/>
                  </a:lnTo>
                  <a:lnTo>
                    <a:pt x="230682" y="141211"/>
                  </a:lnTo>
                  <a:lnTo>
                    <a:pt x="252006" y="101587"/>
                  </a:lnTo>
                  <a:lnTo>
                    <a:pt x="266674" y="58407"/>
                  </a:lnTo>
                  <a:lnTo>
                    <a:pt x="273989" y="12357"/>
                  </a:lnTo>
                  <a:lnTo>
                    <a:pt x="281165" y="58572"/>
                  </a:lnTo>
                  <a:lnTo>
                    <a:pt x="295719" y="101942"/>
                  </a:lnTo>
                  <a:lnTo>
                    <a:pt x="316992" y="141732"/>
                  </a:lnTo>
                  <a:lnTo>
                    <a:pt x="344284" y="177266"/>
                  </a:lnTo>
                  <a:lnTo>
                    <a:pt x="376923" y="207873"/>
                  </a:lnTo>
                  <a:lnTo>
                    <a:pt x="414248" y="232854"/>
                  </a:lnTo>
                  <a:lnTo>
                    <a:pt x="455549"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425" name="object 135">
              <a:extLst>
                <a:ext uri="{FF2B5EF4-FFF2-40B4-BE49-F238E27FC236}">
                  <a16:creationId xmlns:a16="http://schemas.microsoft.com/office/drawing/2014/main" id="{FBC44F36-841F-2308-BE95-03F6059601C9}"/>
                </a:ext>
              </a:extLst>
            </p:cNvPr>
            <p:cNvPicPr/>
            <p:nvPr/>
          </p:nvPicPr>
          <p:blipFill>
            <a:blip r:embed="rId9" cstate="print"/>
            <a:stretch>
              <a:fillRect/>
            </a:stretch>
          </p:blipFill>
          <p:spPr>
            <a:xfrm>
              <a:off x="10407394" y="1047738"/>
              <a:ext cx="106445" cy="107156"/>
            </a:xfrm>
            <a:prstGeom prst="rect">
              <a:avLst/>
            </a:prstGeom>
          </p:spPr>
        </p:pic>
        <p:sp>
          <p:nvSpPr>
            <p:cNvPr id="426" name="object 136">
              <a:extLst>
                <a:ext uri="{FF2B5EF4-FFF2-40B4-BE49-F238E27FC236}">
                  <a16:creationId xmlns:a16="http://schemas.microsoft.com/office/drawing/2014/main" id="{5446F6BF-5A11-1ACD-0A69-A8EC4BEA4FB4}"/>
                </a:ext>
              </a:extLst>
            </p:cNvPr>
            <p:cNvSpPr/>
            <p:nvPr/>
          </p:nvSpPr>
          <p:spPr>
            <a:xfrm>
              <a:off x="11449331" y="804428"/>
              <a:ext cx="332700" cy="477101"/>
            </a:xfrm>
            <a:custGeom>
              <a:avLst/>
              <a:gdLst/>
              <a:ahLst/>
              <a:cxnLst/>
              <a:rect l="l" t="t" r="r" b="b"/>
              <a:pathLst>
                <a:path w="548640" h="786764">
                  <a:moveTo>
                    <a:pt x="548055" y="266598"/>
                  </a:moveTo>
                  <a:lnTo>
                    <a:pt x="500380" y="270637"/>
                  </a:lnTo>
                  <a:lnTo>
                    <a:pt x="455853" y="282295"/>
                  </a:lnTo>
                  <a:lnTo>
                    <a:pt x="414616" y="300901"/>
                  </a:lnTo>
                  <a:lnTo>
                    <a:pt x="377355" y="325767"/>
                  </a:lnTo>
                  <a:lnTo>
                    <a:pt x="344728" y="356235"/>
                  </a:lnTo>
                  <a:lnTo>
                    <a:pt x="317423" y="391617"/>
                  </a:lnTo>
                  <a:lnTo>
                    <a:pt x="296100" y="431241"/>
                  </a:lnTo>
                  <a:lnTo>
                    <a:pt x="281432" y="474433"/>
                  </a:lnTo>
                  <a:lnTo>
                    <a:pt x="274104" y="520522"/>
                  </a:lnTo>
                  <a:lnTo>
                    <a:pt x="266928" y="474256"/>
                  </a:lnTo>
                  <a:lnTo>
                    <a:pt x="252374" y="430872"/>
                  </a:lnTo>
                  <a:lnTo>
                    <a:pt x="231101" y="391083"/>
                  </a:lnTo>
                  <a:lnTo>
                    <a:pt x="203809" y="355549"/>
                  </a:lnTo>
                  <a:lnTo>
                    <a:pt x="171170" y="324954"/>
                  </a:lnTo>
                  <a:lnTo>
                    <a:pt x="133858" y="299974"/>
                  </a:lnTo>
                  <a:lnTo>
                    <a:pt x="92544" y="281292"/>
                  </a:lnTo>
                  <a:lnTo>
                    <a:pt x="47929" y="269582"/>
                  </a:lnTo>
                  <a:lnTo>
                    <a:pt x="12" y="265531"/>
                  </a:lnTo>
                  <a:lnTo>
                    <a:pt x="5461" y="313690"/>
                  </a:lnTo>
                  <a:lnTo>
                    <a:pt x="18859" y="358952"/>
                  </a:lnTo>
                  <a:lnTo>
                    <a:pt x="39471" y="400570"/>
                  </a:lnTo>
                  <a:lnTo>
                    <a:pt x="66573" y="437832"/>
                  </a:lnTo>
                  <a:lnTo>
                    <a:pt x="99415" y="469988"/>
                  </a:lnTo>
                  <a:lnTo>
                    <a:pt x="137261" y="496290"/>
                  </a:lnTo>
                  <a:lnTo>
                    <a:pt x="179387" y="516026"/>
                  </a:lnTo>
                  <a:lnTo>
                    <a:pt x="225056" y="528447"/>
                  </a:lnTo>
                  <a:lnTo>
                    <a:pt x="273532" y="532828"/>
                  </a:lnTo>
                  <a:lnTo>
                    <a:pt x="274764" y="532828"/>
                  </a:lnTo>
                  <a:lnTo>
                    <a:pt x="323100" y="528472"/>
                  </a:lnTo>
                  <a:lnTo>
                    <a:pt x="368655" y="516102"/>
                  </a:lnTo>
                  <a:lnTo>
                    <a:pt x="410692" y="496455"/>
                  </a:lnTo>
                  <a:lnTo>
                    <a:pt x="448475" y="470268"/>
                  </a:lnTo>
                  <a:lnTo>
                    <a:pt x="481279" y="438251"/>
                  </a:lnTo>
                  <a:lnTo>
                    <a:pt x="508368" y="401142"/>
                  </a:lnTo>
                  <a:lnTo>
                    <a:pt x="529018" y="359689"/>
                  </a:lnTo>
                  <a:lnTo>
                    <a:pt x="542480" y="314591"/>
                  </a:lnTo>
                  <a:lnTo>
                    <a:pt x="548055" y="266598"/>
                  </a:lnTo>
                  <a:close/>
                </a:path>
                <a:path w="548640" h="786764">
                  <a:moveTo>
                    <a:pt x="548055" y="1079"/>
                  </a:moveTo>
                  <a:lnTo>
                    <a:pt x="500380" y="5105"/>
                  </a:lnTo>
                  <a:lnTo>
                    <a:pt x="455853" y="16764"/>
                  </a:lnTo>
                  <a:lnTo>
                    <a:pt x="414616" y="35369"/>
                  </a:lnTo>
                  <a:lnTo>
                    <a:pt x="377355" y="60236"/>
                  </a:lnTo>
                  <a:lnTo>
                    <a:pt x="344728" y="90703"/>
                  </a:lnTo>
                  <a:lnTo>
                    <a:pt x="317423" y="126085"/>
                  </a:lnTo>
                  <a:lnTo>
                    <a:pt x="296100" y="165709"/>
                  </a:lnTo>
                  <a:lnTo>
                    <a:pt x="281432" y="208902"/>
                  </a:lnTo>
                  <a:lnTo>
                    <a:pt x="274104" y="254990"/>
                  </a:lnTo>
                  <a:lnTo>
                    <a:pt x="266928" y="208724"/>
                  </a:lnTo>
                  <a:lnTo>
                    <a:pt x="252374" y="165354"/>
                  </a:lnTo>
                  <a:lnTo>
                    <a:pt x="231101" y="125552"/>
                  </a:lnTo>
                  <a:lnTo>
                    <a:pt x="203809" y="90017"/>
                  </a:lnTo>
                  <a:lnTo>
                    <a:pt x="171170" y="59423"/>
                  </a:lnTo>
                  <a:lnTo>
                    <a:pt x="133858" y="34442"/>
                  </a:lnTo>
                  <a:lnTo>
                    <a:pt x="92544" y="15760"/>
                  </a:lnTo>
                  <a:lnTo>
                    <a:pt x="47929" y="4051"/>
                  </a:lnTo>
                  <a:lnTo>
                    <a:pt x="12" y="0"/>
                  </a:lnTo>
                  <a:lnTo>
                    <a:pt x="5461" y="48158"/>
                  </a:lnTo>
                  <a:lnTo>
                    <a:pt x="18859" y="93421"/>
                  </a:lnTo>
                  <a:lnTo>
                    <a:pt x="39471" y="135051"/>
                  </a:lnTo>
                  <a:lnTo>
                    <a:pt x="66573" y="172300"/>
                  </a:lnTo>
                  <a:lnTo>
                    <a:pt x="99415" y="204457"/>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36"/>
                  </a:lnTo>
                  <a:lnTo>
                    <a:pt x="481279" y="172720"/>
                  </a:lnTo>
                  <a:lnTo>
                    <a:pt x="508368" y="135623"/>
                  </a:lnTo>
                  <a:lnTo>
                    <a:pt x="529018" y="94157"/>
                  </a:lnTo>
                  <a:lnTo>
                    <a:pt x="542480" y="49060"/>
                  </a:lnTo>
                  <a:lnTo>
                    <a:pt x="548055" y="1079"/>
                  </a:lnTo>
                  <a:close/>
                </a:path>
                <a:path w="548640" h="786764">
                  <a:moveTo>
                    <a:pt x="548093" y="520192"/>
                  </a:moveTo>
                  <a:lnTo>
                    <a:pt x="500380" y="524205"/>
                  </a:lnTo>
                  <a:lnTo>
                    <a:pt x="455853" y="535851"/>
                  </a:lnTo>
                  <a:lnTo>
                    <a:pt x="414616" y="554456"/>
                  </a:lnTo>
                  <a:lnTo>
                    <a:pt x="377355" y="579323"/>
                  </a:lnTo>
                  <a:lnTo>
                    <a:pt x="344728" y="609790"/>
                  </a:lnTo>
                  <a:lnTo>
                    <a:pt x="317411" y="645160"/>
                  </a:lnTo>
                  <a:lnTo>
                    <a:pt x="296087" y="684784"/>
                  </a:lnTo>
                  <a:lnTo>
                    <a:pt x="281419" y="727976"/>
                  </a:lnTo>
                  <a:lnTo>
                    <a:pt x="274091" y="774039"/>
                  </a:lnTo>
                  <a:lnTo>
                    <a:pt x="266928" y="727811"/>
                  </a:lnTo>
                  <a:lnTo>
                    <a:pt x="252374" y="684441"/>
                  </a:lnTo>
                  <a:lnTo>
                    <a:pt x="238506" y="658507"/>
                  </a:lnTo>
                  <a:lnTo>
                    <a:pt x="231101" y="644652"/>
                  </a:lnTo>
                  <a:lnTo>
                    <a:pt x="203809" y="609117"/>
                  </a:lnTo>
                  <a:lnTo>
                    <a:pt x="186956" y="593318"/>
                  </a:lnTo>
                  <a:lnTo>
                    <a:pt x="171170" y="578510"/>
                  </a:lnTo>
                  <a:lnTo>
                    <a:pt x="146177" y="561784"/>
                  </a:lnTo>
                  <a:lnTo>
                    <a:pt x="133858" y="553529"/>
                  </a:lnTo>
                  <a:lnTo>
                    <a:pt x="92544" y="534847"/>
                  </a:lnTo>
                  <a:lnTo>
                    <a:pt x="47917" y="523113"/>
                  </a:lnTo>
                  <a:lnTo>
                    <a:pt x="0" y="519061"/>
                  </a:lnTo>
                  <a:lnTo>
                    <a:pt x="5448" y="567232"/>
                  </a:lnTo>
                  <a:lnTo>
                    <a:pt x="18846" y="612508"/>
                  </a:lnTo>
                  <a:lnTo>
                    <a:pt x="39458" y="654126"/>
                  </a:lnTo>
                  <a:lnTo>
                    <a:pt x="66560" y="691388"/>
                  </a:lnTo>
                  <a:lnTo>
                    <a:pt x="98717" y="722871"/>
                  </a:lnTo>
                  <a:lnTo>
                    <a:pt x="137261" y="749858"/>
                  </a:lnTo>
                  <a:lnTo>
                    <a:pt x="179387" y="769594"/>
                  </a:lnTo>
                  <a:lnTo>
                    <a:pt x="225056" y="782015"/>
                  </a:lnTo>
                  <a:lnTo>
                    <a:pt x="273532" y="786384"/>
                  </a:lnTo>
                  <a:lnTo>
                    <a:pt x="274764" y="786384"/>
                  </a:lnTo>
                  <a:lnTo>
                    <a:pt x="323100" y="782027"/>
                  </a:lnTo>
                  <a:lnTo>
                    <a:pt x="368655" y="769670"/>
                  </a:lnTo>
                  <a:lnTo>
                    <a:pt x="410692" y="750023"/>
                  </a:lnTo>
                  <a:lnTo>
                    <a:pt x="448475" y="723823"/>
                  </a:lnTo>
                  <a:lnTo>
                    <a:pt x="449287" y="723023"/>
                  </a:lnTo>
                  <a:lnTo>
                    <a:pt x="481279" y="691807"/>
                  </a:lnTo>
                  <a:lnTo>
                    <a:pt x="508393" y="654697"/>
                  </a:lnTo>
                  <a:lnTo>
                    <a:pt x="529043"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427" name="object 137">
              <a:extLst>
                <a:ext uri="{FF2B5EF4-FFF2-40B4-BE49-F238E27FC236}">
                  <a16:creationId xmlns:a16="http://schemas.microsoft.com/office/drawing/2014/main" id="{801C1EBF-B906-32D3-4ED1-D69F9D85BFD7}"/>
                </a:ext>
              </a:extLst>
            </p:cNvPr>
            <p:cNvPicPr/>
            <p:nvPr/>
          </p:nvPicPr>
          <p:blipFill>
            <a:blip r:embed="rId10" cstate="print"/>
            <a:stretch>
              <a:fillRect/>
            </a:stretch>
          </p:blipFill>
          <p:spPr>
            <a:xfrm>
              <a:off x="11561989" y="718433"/>
              <a:ext cx="106445" cy="107156"/>
            </a:xfrm>
            <a:prstGeom prst="rect">
              <a:avLst/>
            </a:prstGeom>
          </p:spPr>
        </p:pic>
        <p:sp>
          <p:nvSpPr>
            <p:cNvPr id="428" name="object 138">
              <a:extLst>
                <a:ext uri="{FF2B5EF4-FFF2-40B4-BE49-F238E27FC236}">
                  <a16:creationId xmlns:a16="http://schemas.microsoft.com/office/drawing/2014/main" id="{FCB65219-C70A-628E-1102-A3CF3D423E97}"/>
                </a:ext>
              </a:extLst>
            </p:cNvPr>
            <p:cNvSpPr/>
            <p:nvPr/>
          </p:nvSpPr>
          <p:spPr>
            <a:xfrm>
              <a:off x="11449331" y="150257"/>
              <a:ext cx="332700" cy="477101"/>
            </a:xfrm>
            <a:custGeom>
              <a:avLst/>
              <a:gdLst/>
              <a:ahLst/>
              <a:cxnLst/>
              <a:rect l="l" t="t" r="r" b="b"/>
              <a:pathLst>
                <a:path w="548640" h="786765">
                  <a:moveTo>
                    <a:pt x="548055" y="266611"/>
                  </a:moveTo>
                  <a:lnTo>
                    <a:pt x="500380" y="270649"/>
                  </a:lnTo>
                  <a:lnTo>
                    <a:pt x="455853" y="282308"/>
                  </a:lnTo>
                  <a:lnTo>
                    <a:pt x="414616" y="300901"/>
                  </a:lnTo>
                  <a:lnTo>
                    <a:pt x="377355" y="325767"/>
                  </a:lnTo>
                  <a:lnTo>
                    <a:pt x="344728" y="356235"/>
                  </a:lnTo>
                  <a:lnTo>
                    <a:pt x="317423" y="391617"/>
                  </a:lnTo>
                  <a:lnTo>
                    <a:pt x="296100" y="431253"/>
                  </a:lnTo>
                  <a:lnTo>
                    <a:pt x="281432" y="474446"/>
                  </a:lnTo>
                  <a:lnTo>
                    <a:pt x="274104" y="520534"/>
                  </a:lnTo>
                  <a:lnTo>
                    <a:pt x="266928" y="474256"/>
                  </a:lnTo>
                  <a:lnTo>
                    <a:pt x="252374" y="430885"/>
                  </a:lnTo>
                  <a:lnTo>
                    <a:pt x="231101" y="391096"/>
                  </a:lnTo>
                  <a:lnTo>
                    <a:pt x="203809" y="355561"/>
                  </a:lnTo>
                  <a:lnTo>
                    <a:pt x="171170" y="324954"/>
                  </a:lnTo>
                  <a:lnTo>
                    <a:pt x="133858" y="299974"/>
                  </a:lnTo>
                  <a:lnTo>
                    <a:pt x="92544" y="281292"/>
                  </a:lnTo>
                  <a:lnTo>
                    <a:pt x="47929" y="269582"/>
                  </a:lnTo>
                  <a:lnTo>
                    <a:pt x="12" y="265531"/>
                  </a:lnTo>
                  <a:lnTo>
                    <a:pt x="5461" y="313690"/>
                  </a:lnTo>
                  <a:lnTo>
                    <a:pt x="18859" y="358952"/>
                  </a:lnTo>
                  <a:lnTo>
                    <a:pt x="39471" y="400583"/>
                  </a:lnTo>
                  <a:lnTo>
                    <a:pt x="66573" y="437832"/>
                  </a:lnTo>
                  <a:lnTo>
                    <a:pt x="99415" y="469988"/>
                  </a:lnTo>
                  <a:lnTo>
                    <a:pt x="137261" y="496303"/>
                  </a:lnTo>
                  <a:lnTo>
                    <a:pt x="179387" y="516039"/>
                  </a:lnTo>
                  <a:lnTo>
                    <a:pt x="225056" y="528459"/>
                  </a:lnTo>
                  <a:lnTo>
                    <a:pt x="273532" y="532828"/>
                  </a:lnTo>
                  <a:lnTo>
                    <a:pt x="274764" y="532828"/>
                  </a:lnTo>
                  <a:lnTo>
                    <a:pt x="323100" y="528472"/>
                  </a:lnTo>
                  <a:lnTo>
                    <a:pt x="368655" y="516115"/>
                  </a:lnTo>
                  <a:lnTo>
                    <a:pt x="410692" y="496468"/>
                  </a:lnTo>
                  <a:lnTo>
                    <a:pt x="448475" y="470268"/>
                  </a:lnTo>
                  <a:lnTo>
                    <a:pt x="481279" y="438251"/>
                  </a:lnTo>
                  <a:lnTo>
                    <a:pt x="508368" y="401154"/>
                  </a:lnTo>
                  <a:lnTo>
                    <a:pt x="529018" y="359689"/>
                  </a:lnTo>
                  <a:lnTo>
                    <a:pt x="542480" y="314604"/>
                  </a:lnTo>
                  <a:lnTo>
                    <a:pt x="548055" y="266611"/>
                  </a:lnTo>
                  <a:close/>
                </a:path>
                <a:path w="548640" h="786765">
                  <a:moveTo>
                    <a:pt x="548055" y="1079"/>
                  </a:moveTo>
                  <a:lnTo>
                    <a:pt x="500380" y="5118"/>
                  </a:lnTo>
                  <a:lnTo>
                    <a:pt x="455853" y="16776"/>
                  </a:lnTo>
                  <a:lnTo>
                    <a:pt x="414616" y="35369"/>
                  </a:lnTo>
                  <a:lnTo>
                    <a:pt x="377355" y="60248"/>
                  </a:lnTo>
                  <a:lnTo>
                    <a:pt x="344728" y="90716"/>
                  </a:lnTo>
                  <a:lnTo>
                    <a:pt x="317423" y="126098"/>
                  </a:lnTo>
                  <a:lnTo>
                    <a:pt x="296100" y="165722"/>
                  </a:lnTo>
                  <a:lnTo>
                    <a:pt x="281432" y="208915"/>
                  </a:lnTo>
                  <a:lnTo>
                    <a:pt x="274104" y="255003"/>
                  </a:lnTo>
                  <a:lnTo>
                    <a:pt x="266928" y="208724"/>
                  </a:lnTo>
                  <a:lnTo>
                    <a:pt x="252374" y="165354"/>
                  </a:lnTo>
                  <a:lnTo>
                    <a:pt x="231101" y="125564"/>
                  </a:lnTo>
                  <a:lnTo>
                    <a:pt x="203809" y="90030"/>
                  </a:lnTo>
                  <a:lnTo>
                    <a:pt x="171170" y="59436"/>
                  </a:lnTo>
                  <a:lnTo>
                    <a:pt x="133858" y="34455"/>
                  </a:lnTo>
                  <a:lnTo>
                    <a:pt x="92544" y="15760"/>
                  </a:lnTo>
                  <a:lnTo>
                    <a:pt x="47929" y="4064"/>
                  </a:lnTo>
                  <a:lnTo>
                    <a:pt x="12" y="0"/>
                  </a:lnTo>
                  <a:lnTo>
                    <a:pt x="5461" y="48171"/>
                  </a:lnTo>
                  <a:lnTo>
                    <a:pt x="18859" y="93433"/>
                  </a:lnTo>
                  <a:lnTo>
                    <a:pt x="39471" y="135051"/>
                  </a:lnTo>
                  <a:lnTo>
                    <a:pt x="66573" y="172313"/>
                  </a:lnTo>
                  <a:lnTo>
                    <a:pt x="99415" y="204457"/>
                  </a:lnTo>
                  <a:lnTo>
                    <a:pt x="137261" y="230771"/>
                  </a:lnTo>
                  <a:lnTo>
                    <a:pt x="179387" y="250507"/>
                  </a:lnTo>
                  <a:lnTo>
                    <a:pt x="225056" y="262928"/>
                  </a:lnTo>
                  <a:lnTo>
                    <a:pt x="273532" y="267309"/>
                  </a:lnTo>
                  <a:lnTo>
                    <a:pt x="274764" y="267309"/>
                  </a:lnTo>
                  <a:lnTo>
                    <a:pt x="323100" y="262953"/>
                  </a:lnTo>
                  <a:lnTo>
                    <a:pt x="368655" y="250583"/>
                  </a:lnTo>
                  <a:lnTo>
                    <a:pt x="410692" y="230936"/>
                  </a:lnTo>
                  <a:lnTo>
                    <a:pt x="448475" y="204736"/>
                  </a:lnTo>
                  <a:lnTo>
                    <a:pt x="481279" y="172732"/>
                  </a:lnTo>
                  <a:lnTo>
                    <a:pt x="508368" y="135623"/>
                  </a:lnTo>
                  <a:lnTo>
                    <a:pt x="529018" y="94157"/>
                  </a:lnTo>
                  <a:lnTo>
                    <a:pt x="542480" y="49072"/>
                  </a:lnTo>
                  <a:lnTo>
                    <a:pt x="548055" y="1079"/>
                  </a:lnTo>
                  <a:close/>
                </a:path>
                <a:path w="548640" h="786765">
                  <a:moveTo>
                    <a:pt x="548093" y="520204"/>
                  </a:moveTo>
                  <a:lnTo>
                    <a:pt x="500380" y="524205"/>
                  </a:lnTo>
                  <a:lnTo>
                    <a:pt x="455853" y="535863"/>
                  </a:lnTo>
                  <a:lnTo>
                    <a:pt x="414616" y="554469"/>
                  </a:lnTo>
                  <a:lnTo>
                    <a:pt x="377355" y="579335"/>
                  </a:lnTo>
                  <a:lnTo>
                    <a:pt x="344728" y="609803"/>
                  </a:lnTo>
                  <a:lnTo>
                    <a:pt x="317411" y="645172"/>
                  </a:lnTo>
                  <a:lnTo>
                    <a:pt x="296087" y="684796"/>
                  </a:lnTo>
                  <a:lnTo>
                    <a:pt x="281419" y="727976"/>
                  </a:lnTo>
                  <a:lnTo>
                    <a:pt x="274091" y="774039"/>
                  </a:lnTo>
                  <a:lnTo>
                    <a:pt x="266928" y="727824"/>
                  </a:lnTo>
                  <a:lnTo>
                    <a:pt x="252374" y="684453"/>
                  </a:lnTo>
                  <a:lnTo>
                    <a:pt x="231101" y="644652"/>
                  </a:lnTo>
                  <a:lnTo>
                    <a:pt x="203809" y="609117"/>
                  </a:lnTo>
                  <a:lnTo>
                    <a:pt x="171170" y="578523"/>
                  </a:lnTo>
                  <a:lnTo>
                    <a:pt x="133858" y="553542"/>
                  </a:lnTo>
                  <a:lnTo>
                    <a:pt x="92532" y="534835"/>
                  </a:lnTo>
                  <a:lnTo>
                    <a:pt x="47917" y="523125"/>
                  </a:lnTo>
                  <a:lnTo>
                    <a:pt x="0" y="519074"/>
                  </a:lnTo>
                  <a:lnTo>
                    <a:pt x="5448" y="567245"/>
                  </a:lnTo>
                  <a:lnTo>
                    <a:pt x="18846" y="612508"/>
                  </a:lnTo>
                  <a:lnTo>
                    <a:pt x="39458" y="654138"/>
                  </a:lnTo>
                  <a:lnTo>
                    <a:pt x="66560" y="691388"/>
                  </a:lnTo>
                  <a:lnTo>
                    <a:pt x="99415" y="723557"/>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429" name="object 139">
              <a:extLst>
                <a:ext uri="{FF2B5EF4-FFF2-40B4-BE49-F238E27FC236}">
                  <a16:creationId xmlns:a16="http://schemas.microsoft.com/office/drawing/2014/main" id="{99DB288D-7012-F39E-9B70-68C060C93833}"/>
                </a:ext>
              </a:extLst>
            </p:cNvPr>
            <p:cNvPicPr/>
            <p:nvPr/>
          </p:nvPicPr>
          <p:blipFill>
            <a:blip r:embed="rId11" cstate="print"/>
            <a:stretch>
              <a:fillRect/>
            </a:stretch>
          </p:blipFill>
          <p:spPr>
            <a:xfrm>
              <a:off x="11561989" y="64269"/>
              <a:ext cx="106445" cy="107156"/>
            </a:xfrm>
            <a:prstGeom prst="rect">
              <a:avLst/>
            </a:prstGeom>
          </p:spPr>
        </p:pic>
        <p:sp>
          <p:nvSpPr>
            <p:cNvPr id="430" name="object 140">
              <a:extLst>
                <a:ext uri="{FF2B5EF4-FFF2-40B4-BE49-F238E27FC236}">
                  <a16:creationId xmlns:a16="http://schemas.microsoft.com/office/drawing/2014/main" id="{83A05C51-92C6-26C2-5698-A6C9CA66707A}"/>
                </a:ext>
              </a:extLst>
            </p:cNvPr>
            <p:cNvSpPr/>
            <p:nvPr/>
          </p:nvSpPr>
          <p:spPr>
            <a:xfrm>
              <a:off x="11449331" y="2112754"/>
              <a:ext cx="332700" cy="477101"/>
            </a:xfrm>
            <a:custGeom>
              <a:avLst/>
              <a:gdLst/>
              <a:ahLst/>
              <a:cxnLst/>
              <a:rect l="l" t="t" r="r" b="b"/>
              <a:pathLst>
                <a:path w="548640" h="786764">
                  <a:moveTo>
                    <a:pt x="548055" y="266611"/>
                  </a:moveTo>
                  <a:lnTo>
                    <a:pt x="500380" y="270649"/>
                  </a:lnTo>
                  <a:lnTo>
                    <a:pt x="455853" y="282308"/>
                  </a:lnTo>
                  <a:lnTo>
                    <a:pt x="414616" y="300901"/>
                  </a:lnTo>
                  <a:lnTo>
                    <a:pt x="377355" y="325780"/>
                  </a:lnTo>
                  <a:lnTo>
                    <a:pt x="344728" y="356247"/>
                  </a:lnTo>
                  <a:lnTo>
                    <a:pt x="317423" y="391629"/>
                  </a:lnTo>
                  <a:lnTo>
                    <a:pt x="296100" y="431253"/>
                  </a:lnTo>
                  <a:lnTo>
                    <a:pt x="281432" y="474446"/>
                  </a:lnTo>
                  <a:lnTo>
                    <a:pt x="274104" y="520534"/>
                  </a:lnTo>
                  <a:lnTo>
                    <a:pt x="266928" y="474256"/>
                  </a:lnTo>
                  <a:lnTo>
                    <a:pt x="252374" y="430885"/>
                  </a:lnTo>
                  <a:lnTo>
                    <a:pt x="231101" y="391096"/>
                  </a:lnTo>
                  <a:lnTo>
                    <a:pt x="203809" y="355561"/>
                  </a:lnTo>
                  <a:lnTo>
                    <a:pt x="171170" y="324967"/>
                  </a:lnTo>
                  <a:lnTo>
                    <a:pt x="133858" y="299986"/>
                  </a:lnTo>
                  <a:lnTo>
                    <a:pt x="92544" y="281292"/>
                  </a:lnTo>
                  <a:lnTo>
                    <a:pt x="47929" y="269582"/>
                  </a:lnTo>
                  <a:lnTo>
                    <a:pt x="12" y="265531"/>
                  </a:lnTo>
                  <a:lnTo>
                    <a:pt x="5461" y="313702"/>
                  </a:lnTo>
                  <a:lnTo>
                    <a:pt x="18859" y="358952"/>
                  </a:lnTo>
                  <a:lnTo>
                    <a:pt x="39471" y="400583"/>
                  </a:lnTo>
                  <a:lnTo>
                    <a:pt x="66573" y="437845"/>
                  </a:lnTo>
                  <a:lnTo>
                    <a:pt x="99415" y="469988"/>
                  </a:lnTo>
                  <a:lnTo>
                    <a:pt x="137261" y="496303"/>
                  </a:lnTo>
                  <a:lnTo>
                    <a:pt x="179387" y="516039"/>
                  </a:lnTo>
                  <a:lnTo>
                    <a:pt x="225056" y="528459"/>
                  </a:lnTo>
                  <a:lnTo>
                    <a:pt x="273532" y="532841"/>
                  </a:lnTo>
                  <a:lnTo>
                    <a:pt x="274764" y="532841"/>
                  </a:lnTo>
                  <a:lnTo>
                    <a:pt x="323100" y="528485"/>
                  </a:lnTo>
                  <a:lnTo>
                    <a:pt x="368655" y="516115"/>
                  </a:lnTo>
                  <a:lnTo>
                    <a:pt x="410692" y="496468"/>
                  </a:lnTo>
                  <a:lnTo>
                    <a:pt x="448475" y="470268"/>
                  </a:lnTo>
                  <a:lnTo>
                    <a:pt x="481279" y="438264"/>
                  </a:lnTo>
                  <a:lnTo>
                    <a:pt x="508368" y="401154"/>
                  </a:lnTo>
                  <a:lnTo>
                    <a:pt x="529018" y="359689"/>
                  </a:lnTo>
                  <a:lnTo>
                    <a:pt x="542480" y="314604"/>
                  </a:lnTo>
                  <a:lnTo>
                    <a:pt x="548055" y="266611"/>
                  </a:lnTo>
                  <a:close/>
                </a:path>
                <a:path w="548640" h="786764">
                  <a:moveTo>
                    <a:pt x="548055" y="1079"/>
                  </a:moveTo>
                  <a:lnTo>
                    <a:pt x="500380" y="5118"/>
                  </a:lnTo>
                  <a:lnTo>
                    <a:pt x="455853" y="16776"/>
                  </a:lnTo>
                  <a:lnTo>
                    <a:pt x="414616" y="35369"/>
                  </a:lnTo>
                  <a:lnTo>
                    <a:pt x="377355" y="60248"/>
                  </a:lnTo>
                  <a:lnTo>
                    <a:pt x="344728" y="90703"/>
                  </a:lnTo>
                  <a:lnTo>
                    <a:pt x="317423" y="126085"/>
                  </a:lnTo>
                  <a:lnTo>
                    <a:pt x="296100" y="165722"/>
                  </a:lnTo>
                  <a:lnTo>
                    <a:pt x="281432" y="208915"/>
                  </a:lnTo>
                  <a:lnTo>
                    <a:pt x="274104" y="255003"/>
                  </a:lnTo>
                  <a:lnTo>
                    <a:pt x="266928" y="208724"/>
                  </a:lnTo>
                  <a:lnTo>
                    <a:pt x="252374" y="165354"/>
                  </a:lnTo>
                  <a:lnTo>
                    <a:pt x="231101" y="125564"/>
                  </a:lnTo>
                  <a:lnTo>
                    <a:pt x="203809" y="90030"/>
                  </a:lnTo>
                  <a:lnTo>
                    <a:pt x="171170" y="59423"/>
                  </a:lnTo>
                  <a:lnTo>
                    <a:pt x="133858" y="34442"/>
                  </a:lnTo>
                  <a:lnTo>
                    <a:pt x="92544" y="15760"/>
                  </a:lnTo>
                  <a:lnTo>
                    <a:pt x="47929" y="4051"/>
                  </a:lnTo>
                  <a:lnTo>
                    <a:pt x="12" y="0"/>
                  </a:lnTo>
                  <a:lnTo>
                    <a:pt x="5461" y="48158"/>
                  </a:lnTo>
                  <a:lnTo>
                    <a:pt x="18859" y="93421"/>
                  </a:lnTo>
                  <a:lnTo>
                    <a:pt x="39471" y="135051"/>
                  </a:lnTo>
                  <a:lnTo>
                    <a:pt x="66573" y="172313"/>
                  </a:lnTo>
                  <a:lnTo>
                    <a:pt x="99415" y="204457"/>
                  </a:lnTo>
                  <a:lnTo>
                    <a:pt x="137261" y="230771"/>
                  </a:lnTo>
                  <a:lnTo>
                    <a:pt x="179387" y="250507"/>
                  </a:lnTo>
                  <a:lnTo>
                    <a:pt x="225056" y="262928"/>
                  </a:lnTo>
                  <a:lnTo>
                    <a:pt x="273532" y="267296"/>
                  </a:lnTo>
                  <a:lnTo>
                    <a:pt x="274764" y="267296"/>
                  </a:lnTo>
                  <a:lnTo>
                    <a:pt x="323100" y="262940"/>
                  </a:lnTo>
                  <a:lnTo>
                    <a:pt x="368655" y="250583"/>
                  </a:lnTo>
                  <a:lnTo>
                    <a:pt x="410692" y="230936"/>
                  </a:lnTo>
                  <a:lnTo>
                    <a:pt x="448475" y="204736"/>
                  </a:lnTo>
                  <a:lnTo>
                    <a:pt x="481279" y="172720"/>
                  </a:lnTo>
                  <a:lnTo>
                    <a:pt x="508368" y="135623"/>
                  </a:lnTo>
                  <a:lnTo>
                    <a:pt x="529018" y="94157"/>
                  </a:lnTo>
                  <a:lnTo>
                    <a:pt x="542480" y="49072"/>
                  </a:lnTo>
                  <a:lnTo>
                    <a:pt x="548055" y="1079"/>
                  </a:lnTo>
                  <a:close/>
                </a:path>
                <a:path w="548640" h="786764">
                  <a:moveTo>
                    <a:pt x="548093" y="520204"/>
                  </a:moveTo>
                  <a:lnTo>
                    <a:pt x="500380" y="524205"/>
                  </a:lnTo>
                  <a:lnTo>
                    <a:pt x="455853" y="535863"/>
                  </a:lnTo>
                  <a:lnTo>
                    <a:pt x="414616" y="554456"/>
                  </a:lnTo>
                  <a:lnTo>
                    <a:pt x="377355" y="579335"/>
                  </a:lnTo>
                  <a:lnTo>
                    <a:pt x="344728" y="609803"/>
                  </a:lnTo>
                  <a:lnTo>
                    <a:pt x="317411" y="645172"/>
                  </a:lnTo>
                  <a:lnTo>
                    <a:pt x="296087" y="684796"/>
                  </a:lnTo>
                  <a:lnTo>
                    <a:pt x="281419" y="727989"/>
                  </a:lnTo>
                  <a:lnTo>
                    <a:pt x="274091" y="774039"/>
                  </a:lnTo>
                  <a:lnTo>
                    <a:pt x="266928" y="727811"/>
                  </a:lnTo>
                  <a:lnTo>
                    <a:pt x="252374" y="684441"/>
                  </a:lnTo>
                  <a:lnTo>
                    <a:pt x="231101" y="644652"/>
                  </a:lnTo>
                  <a:lnTo>
                    <a:pt x="203809" y="609117"/>
                  </a:lnTo>
                  <a:lnTo>
                    <a:pt x="171170" y="578523"/>
                  </a:lnTo>
                  <a:lnTo>
                    <a:pt x="146177" y="561797"/>
                  </a:lnTo>
                  <a:lnTo>
                    <a:pt x="133858" y="553542"/>
                  </a:lnTo>
                  <a:lnTo>
                    <a:pt x="92544" y="534860"/>
                  </a:lnTo>
                  <a:lnTo>
                    <a:pt x="47917" y="523125"/>
                  </a:lnTo>
                  <a:lnTo>
                    <a:pt x="12" y="519087"/>
                  </a:lnTo>
                  <a:lnTo>
                    <a:pt x="5448" y="567245"/>
                  </a:lnTo>
                  <a:lnTo>
                    <a:pt x="18846" y="612508"/>
                  </a:lnTo>
                  <a:lnTo>
                    <a:pt x="39458" y="654138"/>
                  </a:lnTo>
                  <a:lnTo>
                    <a:pt x="66560" y="691400"/>
                  </a:lnTo>
                  <a:lnTo>
                    <a:pt x="99402" y="723544"/>
                  </a:lnTo>
                  <a:lnTo>
                    <a:pt x="125717" y="741832"/>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2DB7EA"/>
            </a:solidFill>
          </p:spPr>
          <p:txBody>
            <a:bodyPr wrap="square" lIns="0" tIns="0" rIns="0" bIns="0" rtlCol="0"/>
            <a:lstStyle/>
            <a:p>
              <a:endParaRPr dirty="0"/>
            </a:p>
          </p:txBody>
        </p:sp>
        <p:pic>
          <p:nvPicPr>
            <p:cNvPr id="431" name="object 141">
              <a:extLst>
                <a:ext uri="{FF2B5EF4-FFF2-40B4-BE49-F238E27FC236}">
                  <a16:creationId xmlns:a16="http://schemas.microsoft.com/office/drawing/2014/main" id="{9B204C0A-7A6A-6A78-E718-C784E08662C0}"/>
                </a:ext>
              </a:extLst>
            </p:cNvPr>
            <p:cNvPicPr/>
            <p:nvPr/>
          </p:nvPicPr>
          <p:blipFill>
            <a:blip r:embed="rId10" cstate="print"/>
            <a:stretch>
              <a:fillRect/>
            </a:stretch>
          </p:blipFill>
          <p:spPr>
            <a:xfrm>
              <a:off x="11561989" y="2026765"/>
              <a:ext cx="106445" cy="107156"/>
            </a:xfrm>
            <a:prstGeom prst="rect">
              <a:avLst/>
            </a:prstGeom>
          </p:spPr>
        </p:pic>
        <p:sp>
          <p:nvSpPr>
            <p:cNvPr id="432" name="object 142">
              <a:extLst>
                <a:ext uri="{FF2B5EF4-FFF2-40B4-BE49-F238E27FC236}">
                  <a16:creationId xmlns:a16="http://schemas.microsoft.com/office/drawing/2014/main" id="{EC3FACE9-116E-1946-6CE8-445E19845E2A}"/>
                </a:ext>
              </a:extLst>
            </p:cNvPr>
            <p:cNvSpPr/>
            <p:nvPr/>
          </p:nvSpPr>
          <p:spPr>
            <a:xfrm>
              <a:off x="11449331" y="1458591"/>
              <a:ext cx="332700" cy="477101"/>
            </a:xfrm>
            <a:custGeom>
              <a:avLst/>
              <a:gdLst/>
              <a:ahLst/>
              <a:cxnLst/>
              <a:rect l="l" t="t" r="r" b="b"/>
              <a:pathLst>
                <a:path w="548640" h="786764">
                  <a:moveTo>
                    <a:pt x="548055" y="266611"/>
                  </a:moveTo>
                  <a:lnTo>
                    <a:pt x="500380" y="270649"/>
                  </a:lnTo>
                  <a:lnTo>
                    <a:pt x="455853" y="282295"/>
                  </a:lnTo>
                  <a:lnTo>
                    <a:pt x="414616" y="300901"/>
                  </a:lnTo>
                  <a:lnTo>
                    <a:pt x="377355" y="325767"/>
                  </a:lnTo>
                  <a:lnTo>
                    <a:pt x="344728" y="356235"/>
                  </a:lnTo>
                  <a:lnTo>
                    <a:pt x="317423" y="391617"/>
                  </a:lnTo>
                  <a:lnTo>
                    <a:pt x="296100" y="431241"/>
                  </a:lnTo>
                  <a:lnTo>
                    <a:pt x="281432" y="474446"/>
                  </a:lnTo>
                  <a:lnTo>
                    <a:pt x="274104" y="520522"/>
                  </a:lnTo>
                  <a:lnTo>
                    <a:pt x="266928" y="474256"/>
                  </a:lnTo>
                  <a:lnTo>
                    <a:pt x="252374" y="430885"/>
                  </a:lnTo>
                  <a:lnTo>
                    <a:pt x="231101" y="391083"/>
                  </a:lnTo>
                  <a:lnTo>
                    <a:pt x="203809" y="355549"/>
                  </a:lnTo>
                  <a:lnTo>
                    <a:pt x="171170" y="324954"/>
                  </a:lnTo>
                  <a:lnTo>
                    <a:pt x="133858" y="299974"/>
                  </a:lnTo>
                  <a:lnTo>
                    <a:pt x="92544" y="281292"/>
                  </a:lnTo>
                  <a:lnTo>
                    <a:pt x="47929" y="269582"/>
                  </a:lnTo>
                  <a:lnTo>
                    <a:pt x="12" y="265531"/>
                  </a:lnTo>
                  <a:lnTo>
                    <a:pt x="5461" y="313690"/>
                  </a:lnTo>
                  <a:lnTo>
                    <a:pt x="18859" y="358952"/>
                  </a:lnTo>
                  <a:lnTo>
                    <a:pt x="39471" y="400583"/>
                  </a:lnTo>
                  <a:lnTo>
                    <a:pt x="66573" y="437832"/>
                  </a:lnTo>
                  <a:lnTo>
                    <a:pt x="99415" y="469988"/>
                  </a:lnTo>
                  <a:lnTo>
                    <a:pt x="137261" y="496303"/>
                  </a:lnTo>
                  <a:lnTo>
                    <a:pt x="179387" y="516026"/>
                  </a:lnTo>
                  <a:lnTo>
                    <a:pt x="225056" y="528459"/>
                  </a:lnTo>
                  <a:lnTo>
                    <a:pt x="273532" y="532828"/>
                  </a:lnTo>
                  <a:lnTo>
                    <a:pt x="274764" y="532828"/>
                  </a:lnTo>
                  <a:lnTo>
                    <a:pt x="323100" y="528472"/>
                  </a:lnTo>
                  <a:lnTo>
                    <a:pt x="368655" y="516102"/>
                  </a:lnTo>
                  <a:lnTo>
                    <a:pt x="410692" y="496468"/>
                  </a:lnTo>
                  <a:lnTo>
                    <a:pt x="448475" y="470268"/>
                  </a:lnTo>
                  <a:lnTo>
                    <a:pt x="481279" y="438251"/>
                  </a:lnTo>
                  <a:lnTo>
                    <a:pt x="508368" y="401154"/>
                  </a:lnTo>
                  <a:lnTo>
                    <a:pt x="529018" y="359689"/>
                  </a:lnTo>
                  <a:lnTo>
                    <a:pt x="542480" y="314604"/>
                  </a:lnTo>
                  <a:lnTo>
                    <a:pt x="548055" y="266611"/>
                  </a:lnTo>
                  <a:close/>
                </a:path>
                <a:path w="548640" h="786764">
                  <a:moveTo>
                    <a:pt x="548055" y="1079"/>
                  </a:moveTo>
                  <a:lnTo>
                    <a:pt x="500380" y="5105"/>
                  </a:lnTo>
                  <a:lnTo>
                    <a:pt x="455853" y="16764"/>
                  </a:lnTo>
                  <a:lnTo>
                    <a:pt x="414616" y="35369"/>
                  </a:lnTo>
                  <a:lnTo>
                    <a:pt x="377355" y="60236"/>
                  </a:lnTo>
                  <a:lnTo>
                    <a:pt x="344728" y="90703"/>
                  </a:lnTo>
                  <a:lnTo>
                    <a:pt x="317423" y="126085"/>
                  </a:lnTo>
                  <a:lnTo>
                    <a:pt x="296100" y="165709"/>
                  </a:lnTo>
                  <a:lnTo>
                    <a:pt x="281432" y="208902"/>
                  </a:lnTo>
                  <a:lnTo>
                    <a:pt x="274104" y="254990"/>
                  </a:lnTo>
                  <a:lnTo>
                    <a:pt x="266928" y="208724"/>
                  </a:lnTo>
                  <a:lnTo>
                    <a:pt x="252374" y="165354"/>
                  </a:lnTo>
                  <a:lnTo>
                    <a:pt x="231101" y="125552"/>
                  </a:lnTo>
                  <a:lnTo>
                    <a:pt x="203809" y="90017"/>
                  </a:lnTo>
                  <a:lnTo>
                    <a:pt x="171170" y="59423"/>
                  </a:lnTo>
                  <a:lnTo>
                    <a:pt x="133858" y="34442"/>
                  </a:lnTo>
                  <a:lnTo>
                    <a:pt x="92544" y="15760"/>
                  </a:lnTo>
                  <a:lnTo>
                    <a:pt x="47929" y="4051"/>
                  </a:lnTo>
                  <a:lnTo>
                    <a:pt x="12" y="0"/>
                  </a:lnTo>
                  <a:lnTo>
                    <a:pt x="5461" y="48158"/>
                  </a:lnTo>
                  <a:lnTo>
                    <a:pt x="18859" y="93421"/>
                  </a:lnTo>
                  <a:lnTo>
                    <a:pt x="39471" y="135051"/>
                  </a:lnTo>
                  <a:lnTo>
                    <a:pt x="66573" y="172300"/>
                  </a:lnTo>
                  <a:lnTo>
                    <a:pt x="99415" y="204457"/>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36"/>
                  </a:lnTo>
                  <a:lnTo>
                    <a:pt x="481279" y="172720"/>
                  </a:lnTo>
                  <a:lnTo>
                    <a:pt x="508368" y="135623"/>
                  </a:lnTo>
                  <a:lnTo>
                    <a:pt x="529018" y="94157"/>
                  </a:lnTo>
                  <a:lnTo>
                    <a:pt x="542480" y="49060"/>
                  </a:lnTo>
                  <a:lnTo>
                    <a:pt x="548055" y="1079"/>
                  </a:lnTo>
                  <a:close/>
                </a:path>
                <a:path w="548640" h="786764">
                  <a:moveTo>
                    <a:pt x="548093" y="520192"/>
                  </a:moveTo>
                  <a:lnTo>
                    <a:pt x="500380" y="524205"/>
                  </a:lnTo>
                  <a:lnTo>
                    <a:pt x="455853" y="535863"/>
                  </a:lnTo>
                  <a:lnTo>
                    <a:pt x="414616" y="554456"/>
                  </a:lnTo>
                  <a:lnTo>
                    <a:pt x="377355" y="579335"/>
                  </a:lnTo>
                  <a:lnTo>
                    <a:pt x="344728" y="609790"/>
                  </a:lnTo>
                  <a:lnTo>
                    <a:pt x="317411" y="645172"/>
                  </a:lnTo>
                  <a:lnTo>
                    <a:pt x="296087" y="684784"/>
                  </a:lnTo>
                  <a:lnTo>
                    <a:pt x="281419" y="727976"/>
                  </a:lnTo>
                  <a:lnTo>
                    <a:pt x="274091" y="774039"/>
                  </a:lnTo>
                  <a:lnTo>
                    <a:pt x="266928" y="727811"/>
                  </a:lnTo>
                  <a:lnTo>
                    <a:pt x="252374" y="684441"/>
                  </a:lnTo>
                  <a:lnTo>
                    <a:pt x="231101" y="644652"/>
                  </a:lnTo>
                  <a:lnTo>
                    <a:pt x="203809" y="609117"/>
                  </a:lnTo>
                  <a:lnTo>
                    <a:pt x="171170" y="578510"/>
                  </a:lnTo>
                  <a:lnTo>
                    <a:pt x="133858" y="553529"/>
                  </a:lnTo>
                  <a:lnTo>
                    <a:pt x="115163" y="545084"/>
                  </a:lnTo>
                  <a:lnTo>
                    <a:pt x="92544" y="534847"/>
                  </a:lnTo>
                  <a:lnTo>
                    <a:pt x="47929" y="523138"/>
                  </a:lnTo>
                  <a:lnTo>
                    <a:pt x="0" y="519061"/>
                  </a:lnTo>
                  <a:lnTo>
                    <a:pt x="5448" y="567245"/>
                  </a:lnTo>
                  <a:lnTo>
                    <a:pt x="18846" y="612508"/>
                  </a:lnTo>
                  <a:lnTo>
                    <a:pt x="39458" y="654138"/>
                  </a:lnTo>
                  <a:lnTo>
                    <a:pt x="66560" y="691388"/>
                  </a:lnTo>
                  <a:lnTo>
                    <a:pt x="67259" y="692073"/>
                  </a:lnTo>
                  <a:lnTo>
                    <a:pt x="99402" y="723544"/>
                  </a:lnTo>
                  <a:lnTo>
                    <a:pt x="125717" y="741832"/>
                  </a:lnTo>
                  <a:lnTo>
                    <a:pt x="137261" y="749858"/>
                  </a:lnTo>
                  <a:lnTo>
                    <a:pt x="179387" y="769594"/>
                  </a:lnTo>
                  <a:lnTo>
                    <a:pt x="225056" y="782015"/>
                  </a:lnTo>
                  <a:lnTo>
                    <a:pt x="273532" y="786384"/>
                  </a:lnTo>
                  <a:lnTo>
                    <a:pt x="274764" y="786384"/>
                  </a:lnTo>
                  <a:lnTo>
                    <a:pt x="323100" y="782027"/>
                  </a:lnTo>
                  <a:lnTo>
                    <a:pt x="368655" y="769670"/>
                  </a:lnTo>
                  <a:lnTo>
                    <a:pt x="410692" y="750023"/>
                  </a:lnTo>
                  <a:lnTo>
                    <a:pt x="448475" y="723823"/>
                  </a:lnTo>
                  <a:lnTo>
                    <a:pt x="449287" y="723023"/>
                  </a:lnTo>
                  <a:lnTo>
                    <a:pt x="481279" y="691807"/>
                  </a:lnTo>
                  <a:lnTo>
                    <a:pt x="508393" y="654697"/>
                  </a:lnTo>
                  <a:lnTo>
                    <a:pt x="529043" y="613244"/>
                  </a:lnTo>
                  <a:lnTo>
                    <a:pt x="542531" y="568172"/>
                  </a:lnTo>
                  <a:lnTo>
                    <a:pt x="548093" y="520192"/>
                  </a:lnTo>
                  <a:close/>
                </a:path>
              </a:pathLst>
            </a:custGeom>
            <a:solidFill>
              <a:srgbClr val="7ED3F1"/>
            </a:solidFill>
          </p:spPr>
          <p:txBody>
            <a:bodyPr wrap="square" lIns="0" tIns="0" rIns="0" bIns="0" rtlCol="0"/>
            <a:lstStyle/>
            <a:p>
              <a:endParaRPr dirty="0"/>
            </a:p>
          </p:txBody>
        </p:sp>
        <p:pic>
          <p:nvPicPr>
            <p:cNvPr id="433" name="object 143">
              <a:extLst>
                <a:ext uri="{FF2B5EF4-FFF2-40B4-BE49-F238E27FC236}">
                  <a16:creationId xmlns:a16="http://schemas.microsoft.com/office/drawing/2014/main" id="{5DED944D-185E-682C-9162-3CD5A99E685E}"/>
                </a:ext>
              </a:extLst>
            </p:cNvPr>
            <p:cNvPicPr/>
            <p:nvPr/>
          </p:nvPicPr>
          <p:blipFill>
            <a:blip r:embed="rId11" cstate="print"/>
            <a:stretch>
              <a:fillRect/>
            </a:stretch>
          </p:blipFill>
          <p:spPr>
            <a:xfrm>
              <a:off x="11561989" y="1372599"/>
              <a:ext cx="106445" cy="107156"/>
            </a:xfrm>
            <a:prstGeom prst="rect">
              <a:avLst/>
            </a:prstGeom>
          </p:spPr>
        </p:pic>
        <p:sp>
          <p:nvSpPr>
            <p:cNvPr id="434" name="object 144">
              <a:extLst>
                <a:ext uri="{FF2B5EF4-FFF2-40B4-BE49-F238E27FC236}">
                  <a16:creationId xmlns:a16="http://schemas.microsoft.com/office/drawing/2014/main" id="{0E6157BD-12E4-B055-0081-3C6327E54296}"/>
                </a:ext>
              </a:extLst>
            </p:cNvPr>
            <p:cNvSpPr/>
            <p:nvPr/>
          </p:nvSpPr>
          <p:spPr>
            <a:xfrm>
              <a:off x="11449331" y="3421088"/>
              <a:ext cx="332700" cy="477101"/>
            </a:xfrm>
            <a:custGeom>
              <a:avLst/>
              <a:gdLst/>
              <a:ahLst/>
              <a:cxnLst/>
              <a:rect l="l" t="t" r="r" b="b"/>
              <a:pathLst>
                <a:path w="548640" h="786764">
                  <a:moveTo>
                    <a:pt x="548055" y="266611"/>
                  </a:moveTo>
                  <a:lnTo>
                    <a:pt x="500380" y="270637"/>
                  </a:lnTo>
                  <a:lnTo>
                    <a:pt x="455853" y="282295"/>
                  </a:lnTo>
                  <a:lnTo>
                    <a:pt x="414616" y="300901"/>
                  </a:lnTo>
                  <a:lnTo>
                    <a:pt x="377355" y="325767"/>
                  </a:lnTo>
                  <a:lnTo>
                    <a:pt x="344728" y="356235"/>
                  </a:lnTo>
                  <a:lnTo>
                    <a:pt x="317423" y="391617"/>
                  </a:lnTo>
                  <a:lnTo>
                    <a:pt x="296100" y="431241"/>
                  </a:lnTo>
                  <a:lnTo>
                    <a:pt x="281432" y="474433"/>
                  </a:lnTo>
                  <a:lnTo>
                    <a:pt x="274104" y="520522"/>
                  </a:lnTo>
                  <a:lnTo>
                    <a:pt x="266928" y="474256"/>
                  </a:lnTo>
                  <a:lnTo>
                    <a:pt x="252374" y="430885"/>
                  </a:lnTo>
                  <a:lnTo>
                    <a:pt x="231101" y="391083"/>
                  </a:lnTo>
                  <a:lnTo>
                    <a:pt x="203809" y="355549"/>
                  </a:lnTo>
                  <a:lnTo>
                    <a:pt x="171170" y="324954"/>
                  </a:lnTo>
                  <a:lnTo>
                    <a:pt x="133858" y="299974"/>
                  </a:lnTo>
                  <a:lnTo>
                    <a:pt x="92544" y="281292"/>
                  </a:lnTo>
                  <a:lnTo>
                    <a:pt x="47929" y="269582"/>
                  </a:lnTo>
                  <a:lnTo>
                    <a:pt x="12" y="265531"/>
                  </a:lnTo>
                  <a:lnTo>
                    <a:pt x="5461" y="313690"/>
                  </a:lnTo>
                  <a:lnTo>
                    <a:pt x="18859" y="358952"/>
                  </a:lnTo>
                  <a:lnTo>
                    <a:pt x="39471" y="400570"/>
                  </a:lnTo>
                  <a:lnTo>
                    <a:pt x="66573" y="437832"/>
                  </a:lnTo>
                  <a:lnTo>
                    <a:pt x="99415" y="469976"/>
                  </a:lnTo>
                  <a:lnTo>
                    <a:pt x="137261" y="496290"/>
                  </a:lnTo>
                  <a:lnTo>
                    <a:pt x="179387" y="516026"/>
                  </a:lnTo>
                  <a:lnTo>
                    <a:pt x="225056" y="528447"/>
                  </a:lnTo>
                  <a:lnTo>
                    <a:pt x="273532" y="532828"/>
                  </a:lnTo>
                  <a:lnTo>
                    <a:pt x="274764" y="532828"/>
                  </a:lnTo>
                  <a:lnTo>
                    <a:pt x="323100" y="528472"/>
                  </a:lnTo>
                  <a:lnTo>
                    <a:pt x="368655" y="516102"/>
                  </a:lnTo>
                  <a:lnTo>
                    <a:pt x="410692" y="496455"/>
                  </a:lnTo>
                  <a:lnTo>
                    <a:pt x="448475" y="470255"/>
                  </a:lnTo>
                  <a:lnTo>
                    <a:pt x="481279" y="438251"/>
                  </a:lnTo>
                  <a:lnTo>
                    <a:pt x="508368" y="401142"/>
                  </a:lnTo>
                  <a:lnTo>
                    <a:pt x="529018" y="359689"/>
                  </a:lnTo>
                  <a:lnTo>
                    <a:pt x="542480" y="314591"/>
                  </a:lnTo>
                  <a:lnTo>
                    <a:pt x="548055" y="266611"/>
                  </a:lnTo>
                  <a:close/>
                </a:path>
                <a:path w="548640" h="786764">
                  <a:moveTo>
                    <a:pt x="548055" y="1079"/>
                  </a:moveTo>
                  <a:lnTo>
                    <a:pt x="500380" y="5118"/>
                  </a:lnTo>
                  <a:lnTo>
                    <a:pt x="455853" y="16764"/>
                  </a:lnTo>
                  <a:lnTo>
                    <a:pt x="414616" y="35369"/>
                  </a:lnTo>
                  <a:lnTo>
                    <a:pt x="377355" y="60236"/>
                  </a:lnTo>
                  <a:lnTo>
                    <a:pt x="344728" y="90703"/>
                  </a:lnTo>
                  <a:lnTo>
                    <a:pt x="317423" y="126085"/>
                  </a:lnTo>
                  <a:lnTo>
                    <a:pt x="296100" y="165709"/>
                  </a:lnTo>
                  <a:lnTo>
                    <a:pt x="281432" y="208915"/>
                  </a:lnTo>
                  <a:lnTo>
                    <a:pt x="274104" y="254990"/>
                  </a:lnTo>
                  <a:lnTo>
                    <a:pt x="266928" y="208724"/>
                  </a:lnTo>
                  <a:lnTo>
                    <a:pt x="252374" y="165354"/>
                  </a:lnTo>
                  <a:lnTo>
                    <a:pt x="231101" y="125552"/>
                  </a:lnTo>
                  <a:lnTo>
                    <a:pt x="203809" y="90017"/>
                  </a:lnTo>
                  <a:lnTo>
                    <a:pt x="171170" y="59423"/>
                  </a:lnTo>
                  <a:lnTo>
                    <a:pt x="133858" y="34442"/>
                  </a:lnTo>
                  <a:lnTo>
                    <a:pt x="92544" y="15760"/>
                  </a:lnTo>
                  <a:lnTo>
                    <a:pt x="47929" y="4051"/>
                  </a:lnTo>
                  <a:lnTo>
                    <a:pt x="12" y="0"/>
                  </a:lnTo>
                  <a:lnTo>
                    <a:pt x="5461" y="48158"/>
                  </a:lnTo>
                  <a:lnTo>
                    <a:pt x="18859" y="93421"/>
                  </a:lnTo>
                  <a:lnTo>
                    <a:pt x="39471" y="135051"/>
                  </a:lnTo>
                  <a:lnTo>
                    <a:pt x="66573" y="172300"/>
                  </a:lnTo>
                  <a:lnTo>
                    <a:pt x="99415" y="204457"/>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36"/>
                  </a:lnTo>
                  <a:lnTo>
                    <a:pt x="481279" y="172720"/>
                  </a:lnTo>
                  <a:lnTo>
                    <a:pt x="508368" y="135623"/>
                  </a:lnTo>
                  <a:lnTo>
                    <a:pt x="529018" y="94157"/>
                  </a:lnTo>
                  <a:lnTo>
                    <a:pt x="542480" y="49072"/>
                  </a:lnTo>
                  <a:lnTo>
                    <a:pt x="548055" y="1079"/>
                  </a:lnTo>
                  <a:close/>
                </a:path>
                <a:path w="548640" h="786764">
                  <a:moveTo>
                    <a:pt x="548093" y="520192"/>
                  </a:moveTo>
                  <a:lnTo>
                    <a:pt x="500380" y="524217"/>
                  </a:lnTo>
                  <a:lnTo>
                    <a:pt x="455853" y="535863"/>
                  </a:lnTo>
                  <a:lnTo>
                    <a:pt x="414616" y="554469"/>
                  </a:lnTo>
                  <a:lnTo>
                    <a:pt x="377355" y="579335"/>
                  </a:lnTo>
                  <a:lnTo>
                    <a:pt x="344728" y="609790"/>
                  </a:lnTo>
                  <a:lnTo>
                    <a:pt x="317411" y="645172"/>
                  </a:lnTo>
                  <a:lnTo>
                    <a:pt x="296087" y="684784"/>
                  </a:lnTo>
                  <a:lnTo>
                    <a:pt x="281419" y="727976"/>
                  </a:lnTo>
                  <a:lnTo>
                    <a:pt x="274091" y="774039"/>
                  </a:lnTo>
                  <a:lnTo>
                    <a:pt x="266928" y="727811"/>
                  </a:lnTo>
                  <a:lnTo>
                    <a:pt x="252374" y="684441"/>
                  </a:lnTo>
                  <a:lnTo>
                    <a:pt x="231101" y="644652"/>
                  </a:lnTo>
                  <a:lnTo>
                    <a:pt x="203809" y="609117"/>
                  </a:lnTo>
                  <a:lnTo>
                    <a:pt x="186956" y="593318"/>
                  </a:lnTo>
                  <a:lnTo>
                    <a:pt x="171170" y="578510"/>
                  </a:lnTo>
                  <a:lnTo>
                    <a:pt x="146177" y="561784"/>
                  </a:lnTo>
                  <a:lnTo>
                    <a:pt x="133858" y="553529"/>
                  </a:lnTo>
                  <a:lnTo>
                    <a:pt x="92544" y="534847"/>
                  </a:lnTo>
                  <a:lnTo>
                    <a:pt x="47929" y="523138"/>
                  </a:lnTo>
                  <a:lnTo>
                    <a:pt x="0" y="519061"/>
                  </a:lnTo>
                  <a:lnTo>
                    <a:pt x="5448" y="567232"/>
                  </a:lnTo>
                  <a:lnTo>
                    <a:pt x="18846" y="612508"/>
                  </a:lnTo>
                  <a:lnTo>
                    <a:pt x="39458" y="654138"/>
                  </a:lnTo>
                  <a:lnTo>
                    <a:pt x="66560" y="691388"/>
                  </a:lnTo>
                  <a:lnTo>
                    <a:pt x="99415" y="723544"/>
                  </a:lnTo>
                  <a:lnTo>
                    <a:pt x="137261" y="749858"/>
                  </a:lnTo>
                  <a:lnTo>
                    <a:pt x="179387" y="769594"/>
                  </a:lnTo>
                  <a:lnTo>
                    <a:pt x="225056" y="782015"/>
                  </a:lnTo>
                  <a:lnTo>
                    <a:pt x="273532" y="786384"/>
                  </a:lnTo>
                  <a:lnTo>
                    <a:pt x="274764" y="786384"/>
                  </a:lnTo>
                  <a:lnTo>
                    <a:pt x="323100" y="782027"/>
                  </a:lnTo>
                  <a:lnTo>
                    <a:pt x="368655" y="769670"/>
                  </a:lnTo>
                  <a:lnTo>
                    <a:pt x="410692" y="750023"/>
                  </a:lnTo>
                  <a:lnTo>
                    <a:pt x="448475" y="723823"/>
                  </a:lnTo>
                  <a:lnTo>
                    <a:pt x="481279" y="691819"/>
                  </a:lnTo>
                  <a:lnTo>
                    <a:pt x="508393" y="654697"/>
                  </a:lnTo>
                  <a:lnTo>
                    <a:pt x="529043"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435" name="object 145">
              <a:extLst>
                <a:ext uri="{FF2B5EF4-FFF2-40B4-BE49-F238E27FC236}">
                  <a16:creationId xmlns:a16="http://schemas.microsoft.com/office/drawing/2014/main" id="{B54C7C35-2466-E1C9-7E52-F5D09C80358E}"/>
                </a:ext>
              </a:extLst>
            </p:cNvPr>
            <p:cNvPicPr/>
            <p:nvPr/>
          </p:nvPicPr>
          <p:blipFill>
            <a:blip r:embed="rId10" cstate="print"/>
            <a:stretch>
              <a:fillRect/>
            </a:stretch>
          </p:blipFill>
          <p:spPr>
            <a:xfrm>
              <a:off x="11561989" y="3335097"/>
              <a:ext cx="106445" cy="107156"/>
            </a:xfrm>
            <a:prstGeom prst="rect">
              <a:avLst/>
            </a:prstGeom>
          </p:spPr>
        </p:pic>
        <p:sp>
          <p:nvSpPr>
            <p:cNvPr id="436" name="object 146">
              <a:extLst>
                <a:ext uri="{FF2B5EF4-FFF2-40B4-BE49-F238E27FC236}">
                  <a16:creationId xmlns:a16="http://schemas.microsoft.com/office/drawing/2014/main" id="{59E230D3-FC1C-9EB1-298C-E3E8093B42B8}"/>
                </a:ext>
              </a:extLst>
            </p:cNvPr>
            <p:cNvSpPr/>
            <p:nvPr/>
          </p:nvSpPr>
          <p:spPr>
            <a:xfrm>
              <a:off x="11449331" y="2766918"/>
              <a:ext cx="332700" cy="477101"/>
            </a:xfrm>
            <a:custGeom>
              <a:avLst/>
              <a:gdLst/>
              <a:ahLst/>
              <a:cxnLst/>
              <a:rect l="l" t="t" r="r" b="b"/>
              <a:pathLst>
                <a:path w="548640" h="786764">
                  <a:moveTo>
                    <a:pt x="548055" y="266611"/>
                  </a:moveTo>
                  <a:lnTo>
                    <a:pt x="500380" y="270649"/>
                  </a:lnTo>
                  <a:lnTo>
                    <a:pt x="455853" y="282308"/>
                  </a:lnTo>
                  <a:lnTo>
                    <a:pt x="414616" y="300901"/>
                  </a:lnTo>
                  <a:lnTo>
                    <a:pt x="377355" y="325780"/>
                  </a:lnTo>
                  <a:lnTo>
                    <a:pt x="344728" y="356247"/>
                  </a:lnTo>
                  <a:lnTo>
                    <a:pt x="317423" y="391629"/>
                  </a:lnTo>
                  <a:lnTo>
                    <a:pt x="296100" y="431253"/>
                  </a:lnTo>
                  <a:lnTo>
                    <a:pt x="281432" y="474446"/>
                  </a:lnTo>
                  <a:lnTo>
                    <a:pt x="274104" y="520534"/>
                  </a:lnTo>
                  <a:lnTo>
                    <a:pt x="266928" y="474256"/>
                  </a:lnTo>
                  <a:lnTo>
                    <a:pt x="252374" y="430885"/>
                  </a:lnTo>
                  <a:lnTo>
                    <a:pt x="231101" y="391096"/>
                  </a:lnTo>
                  <a:lnTo>
                    <a:pt x="203809" y="355561"/>
                  </a:lnTo>
                  <a:lnTo>
                    <a:pt x="171170" y="324967"/>
                  </a:lnTo>
                  <a:lnTo>
                    <a:pt x="133858" y="299986"/>
                  </a:lnTo>
                  <a:lnTo>
                    <a:pt x="92544" y="281292"/>
                  </a:lnTo>
                  <a:lnTo>
                    <a:pt x="47929" y="269582"/>
                  </a:lnTo>
                  <a:lnTo>
                    <a:pt x="12" y="265531"/>
                  </a:lnTo>
                  <a:lnTo>
                    <a:pt x="5461" y="313702"/>
                  </a:lnTo>
                  <a:lnTo>
                    <a:pt x="18859" y="358952"/>
                  </a:lnTo>
                  <a:lnTo>
                    <a:pt x="39471" y="400583"/>
                  </a:lnTo>
                  <a:lnTo>
                    <a:pt x="66573" y="437845"/>
                  </a:lnTo>
                  <a:lnTo>
                    <a:pt x="99415" y="469988"/>
                  </a:lnTo>
                  <a:lnTo>
                    <a:pt x="137261" y="496303"/>
                  </a:lnTo>
                  <a:lnTo>
                    <a:pt x="179387" y="516039"/>
                  </a:lnTo>
                  <a:lnTo>
                    <a:pt x="225056" y="528459"/>
                  </a:lnTo>
                  <a:lnTo>
                    <a:pt x="273532" y="532841"/>
                  </a:lnTo>
                  <a:lnTo>
                    <a:pt x="274764" y="532841"/>
                  </a:lnTo>
                  <a:lnTo>
                    <a:pt x="323100" y="528485"/>
                  </a:lnTo>
                  <a:lnTo>
                    <a:pt x="368655" y="516115"/>
                  </a:lnTo>
                  <a:lnTo>
                    <a:pt x="410692" y="496468"/>
                  </a:lnTo>
                  <a:lnTo>
                    <a:pt x="448475" y="470268"/>
                  </a:lnTo>
                  <a:lnTo>
                    <a:pt x="481279" y="438264"/>
                  </a:lnTo>
                  <a:lnTo>
                    <a:pt x="508368" y="401154"/>
                  </a:lnTo>
                  <a:lnTo>
                    <a:pt x="529018" y="359689"/>
                  </a:lnTo>
                  <a:lnTo>
                    <a:pt x="542480" y="314604"/>
                  </a:lnTo>
                  <a:lnTo>
                    <a:pt x="548055" y="266611"/>
                  </a:lnTo>
                  <a:close/>
                </a:path>
                <a:path w="548640" h="786764">
                  <a:moveTo>
                    <a:pt x="548055" y="1079"/>
                  </a:moveTo>
                  <a:lnTo>
                    <a:pt x="500380" y="5118"/>
                  </a:lnTo>
                  <a:lnTo>
                    <a:pt x="455853" y="16776"/>
                  </a:lnTo>
                  <a:lnTo>
                    <a:pt x="414616" y="35369"/>
                  </a:lnTo>
                  <a:lnTo>
                    <a:pt x="377355" y="60248"/>
                  </a:lnTo>
                  <a:lnTo>
                    <a:pt x="344728" y="90716"/>
                  </a:lnTo>
                  <a:lnTo>
                    <a:pt x="317423" y="126098"/>
                  </a:lnTo>
                  <a:lnTo>
                    <a:pt x="296100" y="165722"/>
                  </a:lnTo>
                  <a:lnTo>
                    <a:pt x="281432" y="208915"/>
                  </a:lnTo>
                  <a:lnTo>
                    <a:pt x="274104" y="255003"/>
                  </a:lnTo>
                  <a:lnTo>
                    <a:pt x="266928" y="208724"/>
                  </a:lnTo>
                  <a:lnTo>
                    <a:pt x="252374" y="165354"/>
                  </a:lnTo>
                  <a:lnTo>
                    <a:pt x="231101" y="125564"/>
                  </a:lnTo>
                  <a:lnTo>
                    <a:pt x="203809" y="90030"/>
                  </a:lnTo>
                  <a:lnTo>
                    <a:pt x="171170" y="59436"/>
                  </a:lnTo>
                  <a:lnTo>
                    <a:pt x="133858" y="34455"/>
                  </a:lnTo>
                  <a:lnTo>
                    <a:pt x="92544" y="15773"/>
                  </a:lnTo>
                  <a:lnTo>
                    <a:pt x="47929" y="4064"/>
                  </a:lnTo>
                  <a:lnTo>
                    <a:pt x="12" y="0"/>
                  </a:lnTo>
                  <a:lnTo>
                    <a:pt x="5461" y="48171"/>
                  </a:lnTo>
                  <a:lnTo>
                    <a:pt x="18859" y="93433"/>
                  </a:lnTo>
                  <a:lnTo>
                    <a:pt x="39471" y="135051"/>
                  </a:lnTo>
                  <a:lnTo>
                    <a:pt x="66573" y="172313"/>
                  </a:lnTo>
                  <a:lnTo>
                    <a:pt x="99415" y="204457"/>
                  </a:lnTo>
                  <a:lnTo>
                    <a:pt x="137261" y="230771"/>
                  </a:lnTo>
                  <a:lnTo>
                    <a:pt x="179387" y="250507"/>
                  </a:lnTo>
                  <a:lnTo>
                    <a:pt x="225056" y="262928"/>
                  </a:lnTo>
                  <a:lnTo>
                    <a:pt x="273532" y="267309"/>
                  </a:lnTo>
                  <a:lnTo>
                    <a:pt x="274764" y="267309"/>
                  </a:lnTo>
                  <a:lnTo>
                    <a:pt x="323100" y="262953"/>
                  </a:lnTo>
                  <a:lnTo>
                    <a:pt x="368655" y="250583"/>
                  </a:lnTo>
                  <a:lnTo>
                    <a:pt x="410692" y="230936"/>
                  </a:lnTo>
                  <a:lnTo>
                    <a:pt x="448475" y="204749"/>
                  </a:lnTo>
                  <a:lnTo>
                    <a:pt x="481279" y="172732"/>
                  </a:lnTo>
                  <a:lnTo>
                    <a:pt x="508368" y="135623"/>
                  </a:lnTo>
                  <a:lnTo>
                    <a:pt x="529018" y="94157"/>
                  </a:lnTo>
                  <a:lnTo>
                    <a:pt x="542480" y="49072"/>
                  </a:lnTo>
                  <a:lnTo>
                    <a:pt x="548055" y="1079"/>
                  </a:lnTo>
                  <a:close/>
                </a:path>
                <a:path w="548640" h="786764">
                  <a:moveTo>
                    <a:pt x="548093" y="520204"/>
                  </a:moveTo>
                  <a:lnTo>
                    <a:pt x="500380" y="524205"/>
                  </a:lnTo>
                  <a:lnTo>
                    <a:pt x="455853" y="535863"/>
                  </a:lnTo>
                  <a:lnTo>
                    <a:pt x="414616" y="554469"/>
                  </a:lnTo>
                  <a:lnTo>
                    <a:pt x="377355" y="579335"/>
                  </a:lnTo>
                  <a:lnTo>
                    <a:pt x="344728" y="609803"/>
                  </a:lnTo>
                  <a:lnTo>
                    <a:pt x="317411" y="645172"/>
                  </a:lnTo>
                  <a:lnTo>
                    <a:pt x="296087" y="684796"/>
                  </a:lnTo>
                  <a:lnTo>
                    <a:pt x="281419" y="727989"/>
                  </a:lnTo>
                  <a:lnTo>
                    <a:pt x="274091" y="774039"/>
                  </a:lnTo>
                  <a:lnTo>
                    <a:pt x="266928" y="727824"/>
                  </a:lnTo>
                  <a:lnTo>
                    <a:pt x="252374" y="684453"/>
                  </a:lnTo>
                  <a:lnTo>
                    <a:pt x="231101" y="644652"/>
                  </a:lnTo>
                  <a:lnTo>
                    <a:pt x="203809" y="609117"/>
                  </a:lnTo>
                  <a:lnTo>
                    <a:pt x="171170" y="578523"/>
                  </a:lnTo>
                  <a:lnTo>
                    <a:pt x="146177" y="561797"/>
                  </a:lnTo>
                  <a:lnTo>
                    <a:pt x="133858" y="553542"/>
                  </a:lnTo>
                  <a:lnTo>
                    <a:pt x="92532" y="534835"/>
                  </a:lnTo>
                  <a:lnTo>
                    <a:pt x="47917" y="523125"/>
                  </a:lnTo>
                  <a:lnTo>
                    <a:pt x="0" y="519074"/>
                  </a:lnTo>
                  <a:lnTo>
                    <a:pt x="5448" y="567245"/>
                  </a:lnTo>
                  <a:lnTo>
                    <a:pt x="18846" y="612508"/>
                  </a:lnTo>
                  <a:lnTo>
                    <a:pt x="39458" y="654138"/>
                  </a:lnTo>
                  <a:lnTo>
                    <a:pt x="66560" y="691400"/>
                  </a:lnTo>
                  <a:lnTo>
                    <a:pt x="98717" y="722884"/>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437" name="object 147">
              <a:extLst>
                <a:ext uri="{FF2B5EF4-FFF2-40B4-BE49-F238E27FC236}">
                  <a16:creationId xmlns:a16="http://schemas.microsoft.com/office/drawing/2014/main" id="{91644C24-76A2-7F65-17B6-DF5FF2E929A5}"/>
                </a:ext>
              </a:extLst>
            </p:cNvPr>
            <p:cNvPicPr/>
            <p:nvPr/>
          </p:nvPicPr>
          <p:blipFill>
            <a:blip r:embed="rId11" cstate="print"/>
            <a:stretch>
              <a:fillRect/>
            </a:stretch>
          </p:blipFill>
          <p:spPr>
            <a:xfrm>
              <a:off x="11561989" y="2680931"/>
              <a:ext cx="106445" cy="107156"/>
            </a:xfrm>
            <a:prstGeom prst="rect">
              <a:avLst/>
            </a:prstGeom>
          </p:spPr>
        </p:pic>
        <p:sp>
          <p:nvSpPr>
            <p:cNvPr id="438" name="object 148">
              <a:extLst>
                <a:ext uri="{FF2B5EF4-FFF2-40B4-BE49-F238E27FC236}">
                  <a16:creationId xmlns:a16="http://schemas.microsoft.com/office/drawing/2014/main" id="{1C708457-962A-1440-0EED-D0F039AB664E}"/>
                </a:ext>
              </a:extLst>
            </p:cNvPr>
            <p:cNvSpPr/>
            <p:nvPr/>
          </p:nvSpPr>
          <p:spPr>
            <a:xfrm>
              <a:off x="11449331" y="4729423"/>
              <a:ext cx="332700" cy="477101"/>
            </a:xfrm>
            <a:custGeom>
              <a:avLst/>
              <a:gdLst/>
              <a:ahLst/>
              <a:cxnLst/>
              <a:rect l="l" t="t" r="r" b="b"/>
              <a:pathLst>
                <a:path w="548640" h="786765">
                  <a:moveTo>
                    <a:pt x="548055" y="266611"/>
                  </a:moveTo>
                  <a:lnTo>
                    <a:pt x="500380" y="270649"/>
                  </a:lnTo>
                  <a:lnTo>
                    <a:pt x="455853" y="282308"/>
                  </a:lnTo>
                  <a:lnTo>
                    <a:pt x="414616" y="300901"/>
                  </a:lnTo>
                  <a:lnTo>
                    <a:pt x="377355" y="325767"/>
                  </a:lnTo>
                  <a:lnTo>
                    <a:pt x="344728" y="356235"/>
                  </a:lnTo>
                  <a:lnTo>
                    <a:pt x="317423" y="391617"/>
                  </a:lnTo>
                  <a:lnTo>
                    <a:pt x="296100" y="431241"/>
                  </a:lnTo>
                  <a:lnTo>
                    <a:pt x="281432" y="474433"/>
                  </a:lnTo>
                  <a:lnTo>
                    <a:pt x="274104" y="520522"/>
                  </a:lnTo>
                  <a:lnTo>
                    <a:pt x="266928" y="474243"/>
                  </a:lnTo>
                  <a:lnTo>
                    <a:pt x="252374" y="430872"/>
                  </a:lnTo>
                  <a:lnTo>
                    <a:pt x="231101" y="391083"/>
                  </a:lnTo>
                  <a:lnTo>
                    <a:pt x="203809" y="355549"/>
                  </a:lnTo>
                  <a:lnTo>
                    <a:pt x="171170" y="324954"/>
                  </a:lnTo>
                  <a:lnTo>
                    <a:pt x="133858" y="299974"/>
                  </a:lnTo>
                  <a:lnTo>
                    <a:pt x="92544" y="281292"/>
                  </a:lnTo>
                  <a:lnTo>
                    <a:pt x="47929" y="269582"/>
                  </a:lnTo>
                  <a:lnTo>
                    <a:pt x="12" y="265518"/>
                  </a:lnTo>
                  <a:lnTo>
                    <a:pt x="5461" y="313690"/>
                  </a:lnTo>
                  <a:lnTo>
                    <a:pt x="18859" y="358952"/>
                  </a:lnTo>
                  <a:lnTo>
                    <a:pt x="39471" y="400570"/>
                  </a:lnTo>
                  <a:lnTo>
                    <a:pt x="66573" y="437832"/>
                  </a:lnTo>
                  <a:lnTo>
                    <a:pt x="99415" y="469976"/>
                  </a:lnTo>
                  <a:lnTo>
                    <a:pt x="137261" y="496290"/>
                  </a:lnTo>
                  <a:lnTo>
                    <a:pt x="179387" y="516026"/>
                  </a:lnTo>
                  <a:lnTo>
                    <a:pt x="225056" y="528447"/>
                  </a:lnTo>
                  <a:lnTo>
                    <a:pt x="273532" y="532828"/>
                  </a:lnTo>
                  <a:lnTo>
                    <a:pt x="274764" y="532828"/>
                  </a:lnTo>
                  <a:lnTo>
                    <a:pt x="323100" y="528472"/>
                  </a:lnTo>
                  <a:lnTo>
                    <a:pt x="368655" y="516102"/>
                  </a:lnTo>
                  <a:lnTo>
                    <a:pt x="410692" y="496455"/>
                  </a:lnTo>
                  <a:lnTo>
                    <a:pt x="448475" y="470268"/>
                  </a:lnTo>
                  <a:lnTo>
                    <a:pt x="481279" y="438251"/>
                  </a:lnTo>
                  <a:lnTo>
                    <a:pt x="508368" y="401154"/>
                  </a:lnTo>
                  <a:lnTo>
                    <a:pt x="529018" y="359689"/>
                  </a:lnTo>
                  <a:lnTo>
                    <a:pt x="542480" y="314604"/>
                  </a:lnTo>
                  <a:lnTo>
                    <a:pt x="548055" y="266611"/>
                  </a:lnTo>
                  <a:close/>
                </a:path>
                <a:path w="548640" h="786765">
                  <a:moveTo>
                    <a:pt x="548055" y="1079"/>
                  </a:moveTo>
                  <a:lnTo>
                    <a:pt x="500380" y="5105"/>
                  </a:lnTo>
                  <a:lnTo>
                    <a:pt x="455853" y="16764"/>
                  </a:lnTo>
                  <a:lnTo>
                    <a:pt x="414616" y="35369"/>
                  </a:lnTo>
                  <a:lnTo>
                    <a:pt x="377355" y="60236"/>
                  </a:lnTo>
                  <a:lnTo>
                    <a:pt x="344728" y="90703"/>
                  </a:lnTo>
                  <a:lnTo>
                    <a:pt x="317423" y="126085"/>
                  </a:lnTo>
                  <a:lnTo>
                    <a:pt x="296100" y="165709"/>
                  </a:lnTo>
                  <a:lnTo>
                    <a:pt x="281432" y="208902"/>
                  </a:lnTo>
                  <a:lnTo>
                    <a:pt x="274104" y="254990"/>
                  </a:lnTo>
                  <a:lnTo>
                    <a:pt x="266928" y="208724"/>
                  </a:lnTo>
                  <a:lnTo>
                    <a:pt x="252374" y="165354"/>
                  </a:lnTo>
                  <a:lnTo>
                    <a:pt x="231101" y="125552"/>
                  </a:lnTo>
                  <a:lnTo>
                    <a:pt x="203809" y="90017"/>
                  </a:lnTo>
                  <a:lnTo>
                    <a:pt x="171170" y="59423"/>
                  </a:lnTo>
                  <a:lnTo>
                    <a:pt x="133858" y="34442"/>
                  </a:lnTo>
                  <a:lnTo>
                    <a:pt x="92544" y="15760"/>
                  </a:lnTo>
                  <a:lnTo>
                    <a:pt x="47929" y="4051"/>
                  </a:lnTo>
                  <a:lnTo>
                    <a:pt x="12" y="0"/>
                  </a:lnTo>
                  <a:lnTo>
                    <a:pt x="5461" y="48158"/>
                  </a:lnTo>
                  <a:lnTo>
                    <a:pt x="18859" y="93421"/>
                  </a:lnTo>
                  <a:lnTo>
                    <a:pt x="39471" y="135039"/>
                  </a:lnTo>
                  <a:lnTo>
                    <a:pt x="66573" y="172300"/>
                  </a:lnTo>
                  <a:lnTo>
                    <a:pt x="99415" y="204444"/>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24"/>
                  </a:lnTo>
                  <a:lnTo>
                    <a:pt x="481279" y="172720"/>
                  </a:lnTo>
                  <a:lnTo>
                    <a:pt x="508368" y="135610"/>
                  </a:lnTo>
                  <a:lnTo>
                    <a:pt x="529018" y="94157"/>
                  </a:lnTo>
                  <a:lnTo>
                    <a:pt x="542480" y="49060"/>
                  </a:lnTo>
                  <a:lnTo>
                    <a:pt x="548055" y="1079"/>
                  </a:lnTo>
                  <a:close/>
                </a:path>
                <a:path w="548640" h="786765">
                  <a:moveTo>
                    <a:pt x="548093" y="520192"/>
                  </a:moveTo>
                  <a:lnTo>
                    <a:pt x="500380" y="524205"/>
                  </a:lnTo>
                  <a:lnTo>
                    <a:pt x="455853" y="535863"/>
                  </a:lnTo>
                  <a:lnTo>
                    <a:pt x="414616" y="554469"/>
                  </a:lnTo>
                  <a:lnTo>
                    <a:pt x="377355" y="579335"/>
                  </a:lnTo>
                  <a:lnTo>
                    <a:pt x="344728" y="609790"/>
                  </a:lnTo>
                  <a:lnTo>
                    <a:pt x="317411" y="645160"/>
                  </a:lnTo>
                  <a:lnTo>
                    <a:pt x="296087" y="684784"/>
                  </a:lnTo>
                  <a:lnTo>
                    <a:pt x="281419" y="727976"/>
                  </a:lnTo>
                  <a:lnTo>
                    <a:pt x="274091" y="774039"/>
                  </a:lnTo>
                  <a:lnTo>
                    <a:pt x="266928" y="727811"/>
                  </a:lnTo>
                  <a:lnTo>
                    <a:pt x="252374" y="684441"/>
                  </a:lnTo>
                  <a:lnTo>
                    <a:pt x="231101" y="644639"/>
                  </a:lnTo>
                  <a:lnTo>
                    <a:pt x="203809" y="609104"/>
                  </a:lnTo>
                  <a:lnTo>
                    <a:pt x="171170" y="578510"/>
                  </a:lnTo>
                  <a:lnTo>
                    <a:pt x="146177" y="561784"/>
                  </a:lnTo>
                  <a:lnTo>
                    <a:pt x="133858" y="553529"/>
                  </a:lnTo>
                  <a:lnTo>
                    <a:pt x="92544" y="534847"/>
                  </a:lnTo>
                  <a:lnTo>
                    <a:pt x="47917" y="523113"/>
                  </a:lnTo>
                  <a:lnTo>
                    <a:pt x="0" y="519061"/>
                  </a:lnTo>
                  <a:lnTo>
                    <a:pt x="5448" y="567232"/>
                  </a:lnTo>
                  <a:lnTo>
                    <a:pt x="18846" y="612508"/>
                  </a:lnTo>
                  <a:lnTo>
                    <a:pt x="39458" y="654126"/>
                  </a:lnTo>
                  <a:lnTo>
                    <a:pt x="66560" y="691388"/>
                  </a:lnTo>
                  <a:lnTo>
                    <a:pt x="98717" y="722871"/>
                  </a:lnTo>
                  <a:lnTo>
                    <a:pt x="137261" y="749858"/>
                  </a:lnTo>
                  <a:lnTo>
                    <a:pt x="179387" y="769581"/>
                  </a:lnTo>
                  <a:lnTo>
                    <a:pt x="225056" y="782015"/>
                  </a:lnTo>
                  <a:lnTo>
                    <a:pt x="273532" y="786384"/>
                  </a:lnTo>
                  <a:lnTo>
                    <a:pt x="274764" y="786384"/>
                  </a:lnTo>
                  <a:lnTo>
                    <a:pt x="323100" y="782027"/>
                  </a:lnTo>
                  <a:lnTo>
                    <a:pt x="368655" y="769670"/>
                  </a:lnTo>
                  <a:lnTo>
                    <a:pt x="410692" y="750023"/>
                  </a:lnTo>
                  <a:lnTo>
                    <a:pt x="448475" y="723823"/>
                  </a:lnTo>
                  <a:lnTo>
                    <a:pt x="449287" y="723023"/>
                  </a:lnTo>
                  <a:lnTo>
                    <a:pt x="481279" y="691807"/>
                  </a:lnTo>
                  <a:lnTo>
                    <a:pt x="508393" y="654697"/>
                  </a:lnTo>
                  <a:lnTo>
                    <a:pt x="529043"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439" name="object 149">
              <a:extLst>
                <a:ext uri="{FF2B5EF4-FFF2-40B4-BE49-F238E27FC236}">
                  <a16:creationId xmlns:a16="http://schemas.microsoft.com/office/drawing/2014/main" id="{2059081C-9D32-57DD-3CBF-5F11757EF969}"/>
                </a:ext>
              </a:extLst>
            </p:cNvPr>
            <p:cNvPicPr/>
            <p:nvPr/>
          </p:nvPicPr>
          <p:blipFill>
            <a:blip r:embed="rId10" cstate="print"/>
            <a:stretch>
              <a:fillRect/>
            </a:stretch>
          </p:blipFill>
          <p:spPr>
            <a:xfrm>
              <a:off x="11561989" y="4643430"/>
              <a:ext cx="106445" cy="107156"/>
            </a:xfrm>
            <a:prstGeom prst="rect">
              <a:avLst/>
            </a:prstGeom>
          </p:spPr>
        </p:pic>
        <p:sp>
          <p:nvSpPr>
            <p:cNvPr id="440" name="object 150">
              <a:extLst>
                <a:ext uri="{FF2B5EF4-FFF2-40B4-BE49-F238E27FC236}">
                  <a16:creationId xmlns:a16="http://schemas.microsoft.com/office/drawing/2014/main" id="{B68386D5-A5FB-A977-8247-5702353EB294}"/>
                </a:ext>
              </a:extLst>
            </p:cNvPr>
            <p:cNvSpPr/>
            <p:nvPr/>
          </p:nvSpPr>
          <p:spPr>
            <a:xfrm>
              <a:off x="11449331" y="4075252"/>
              <a:ext cx="332700" cy="477101"/>
            </a:xfrm>
            <a:custGeom>
              <a:avLst/>
              <a:gdLst/>
              <a:ahLst/>
              <a:cxnLst/>
              <a:rect l="l" t="t" r="r" b="b"/>
              <a:pathLst>
                <a:path w="548640" h="786765">
                  <a:moveTo>
                    <a:pt x="548055" y="266623"/>
                  </a:moveTo>
                  <a:lnTo>
                    <a:pt x="500380" y="270662"/>
                  </a:lnTo>
                  <a:lnTo>
                    <a:pt x="455853" y="282308"/>
                  </a:lnTo>
                  <a:lnTo>
                    <a:pt x="414616" y="300913"/>
                  </a:lnTo>
                  <a:lnTo>
                    <a:pt x="377355" y="325780"/>
                  </a:lnTo>
                  <a:lnTo>
                    <a:pt x="344728" y="356247"/>
                  </a:lnTo>
                  <a:lnTo>
                    <a:pt x="317423" y="391629"/>
                  </a:lnTo>
                  <a:lnTo>
                    <a:pt x="296100" y="431253"/>
                  </a:lnTo>
                  <a:lnTo>
                    <a:pt x="281432" y="474446"/>
                  </a:lnTo>
                  <a:lnTo>
                    <a:pt x="274104" y="520534"/>
                  </a:lnTo>
                  <a:lnTo>
                    <a:pt x="266928" y="474256"/>
                  </a:lnTo>
                  <a:lnTo>
                    <a:pt x="252374" y="430885"/>
                  </a:lnTo>
                  <a:lnTo>
                    <a:pt x="231101" y="391096"/>
                  </a:lnTo>
                  <a:lnTo>
                    <a:pt x="203809" y="355561"/>
                  </a:lnTo>
                  <a:lnTo>
                    <a:pt x="171170" y="324954"/>
                  </a:lnTo>
                  <a:lnTo>
                    <a:pt x="133858" y="299974"/>
                  </a:lnTo>
                  <a:lnTo>
                    <a:pt x="92544" y="281292"/>
                  </a:lnTo>
                  <a:lnTo>
                    <a:pt x="47929" y="269582"/>
                  </a:lnTo>
                  <a:lnTo>
                    <a:pt x="12" y="265531"/>
                  </a:lnTo>
                  <a:lnTo>
                    <a:pt x="5461" y="313690"/>
                  </a:lnTo>
                  <a:lnTo>
                    <a:pt x="18859" y="358952"/>
                  </a:lnTo>
                  <a:lnTo>
                    <a:pt x="39471" y="400583"/>
                  </a:lnTo>
                  <a:lnTo>
                    <a:pt x="66573" y="437832"/>
                  </a:lnTo>
                  <a:lnTo>
                    <a:pt x="99415" y="469988"/>
                  </a:lnTo>
                  <a:lnTo>
                    <a:pt x="137261" y="496303"/>
                  </a:lnTo>
                  <a:lnTo>
                    <a:pt x="179387" y="516039"/>
                  </a:lnTo>
                  <a:lnTo>
                    <a:pt x="225056" y="528459"/>
                  </a:lnTo>
                  <a:lnTo>
                    <a:pt x="273532" y="532828"/>
                  </a:lnTo>
                  <a:lnTo>
                    <a:pt x="274764" y="532828"/>
                  </a:lnTo>
                  <a:lnTo>
                    <a:pt x="323100" y="528472"/>
                  </a:lnTo>
                  <a:lnTo>
                    <a:pt x="368655" y="516115"/>
                  </a:lnTo>
                  <a:lnTo>
                    <a:pt x="410692" y="496468"/>
                  </a:lnTo>
                  <a:lnTo>
                    <a:pt x="448475" y="470268"/>
                  </a:lnTo>
                  <a:lnTo>
                    <a:pt x="481279" y="438264"/>
                  </a:lnTo>
                  <a:lnTo>
                    <a:pt x="508368" y="401154"/>
                  </a:lnTo>
                  <a:lnTo>
                    <a:pt x="529018" y="359702"/>
                  </a:lnTo>
                  <a:lnTo>
                    <a:pt x="542480" y="314604"/>
                  </a:lnTo>
                  <a:lnTo>
                    <a:pt x="548055" y="266623"/>
                  </a:lnTo>
                  <a:close/>
                </a:path>
                <a:path w="548640" h="786765">
                  <a:moveTo>
                    <a:pt x="548055" y="1092"/>
                  </a:moveTo>
                  <a:lnTo>
                    <a:pt x="500380" y="5130"/>
                  </a:lnTo>
                  <a:lnTo>
                    <a:pt x="455853" y="16776"/>
                  </a:lnTo>
                  <a:lnTo>
                    <a:pt x="414616" y="35382"/>
                  </a:lnTo>
                  <a:lnTo>
                    <a:pt x="377355" y="60248"/>
                  </a:lnTo>
                  <a:lnTo>
                    <a:pt x="344728" y="90716"/>
                  </a:lnTo>
                  <a:lnTo>
                    <a:pt x="317423" y="126098"/>
                  </a:lnTo>
                  <a:lnTo>
                    <a:pt x="296100" y="165722"/>
                  </a:lnTo>
                  <a:lnTo>
                    <a:pt x="281432" y="208915"/>
                  </a:lnTo>
                  <a:lnTo>
                    <a:pt x="274104" y="255003"/>
                  </a:lnTo>
                  <a:lnTo>
                    <a:pt x="266928" y="208724"/>
                  </a:lnTo>
                  <a:lnTo>
                    <a:pt x="252374" y="165354"/>
                  </a:lnTo>
                  <a:lnTo>
                    <a:pt x="231101" y="125564"/>
                  </a:lnTo>
                  <a:lnTo>
                    <a:pt x="203809" y="90030"/>
                  </a:lnTo>
                  <a:lnTo>
                    <a:pt x="171170" y="59436"/>
                  </a:lnTo>
                  <a:lnTo>
                    <a:pt x="133858" y="34455"/>
                  </a:lnTo>
                  <a:lnTo>
                    <a:pt x="92544" y="15760"/>
                  </a:lnTo>
                  <a:lnTo>
                    <a:pt x="47929" y="4051"/>
                  </a:lnTo>
                  <a:lnTo>
                    <a:pt x="12" y="0"/>
                  </a:lnTo>
                  <a:lnTo>
                    <a:pt x="5461" y="48158"/>
                  </a:lnTo>
                  <a:lnTo>
                    <a:pt x="18859" y="93421"/>
                  </a:lnTo>
                  <a:lnTo>
                    <a:pt x="39471" y="135051"/>
                  </a:lnTo>
                  <a:lnTo>
                    <a:pt x="66573" y="172300"/>
                  </a:lnTo>
                  <a:lnTo>
                    <a:pt x="99415" y="204457"/>
                  </a:lnTo>
                  <a:lnTo>
                    <a:pt x="137261" y="230771"/>
                  </a:lnTo>
                  <a:lnTo>
                    <a:pt x="179387" y="250494"/>
                  </a:lnTo>
                  <a:lnTo>
                    <a:pt x="225056" y="262928"/>
                  </a:lnTo>
                  <a:lnTo>
                    <a:pt x="273532" y="267309"/>
                  </a:lnTo>
                  <a:lnTo>
                    <a:pt x="274764" y="267309"/>
                  </a:lnTo>
                  <a:lnTo>
                    <a:pt x="323100" y="262940"/>
                  </a:lnTo>
                  <a:lnTo>
                    <a:pt x="368655" y="250583"/>
                  </a:lnTo>
                  <a:lnTo>
                    <a:pt x="410692" y="230936"/>
                  </a:lnTo>
                  <a:lnTo>
                    <a:pt x="448475" y="204736"/>
                  </a:lnTo>
                  <a:lnTo>
                    <a:pt x="481279" y="172720"/>
                  </a:lnTo>
                  <a:lnTo>
                    <a:pt x="508368" y="135623"/>
                  </a:lnTo>
                  <a:lnTo>
                    <a:pt x="529018" y="94170"/>
                  </a:lnTo>
                  <a:lnTo>
                    <a:pt x="542480" y="49072"/>
                  </a:lnTo>
                  <a:lnTo>
                    <a:pt x="548055" y="1092"/>
                  </a:lnTo>
                  <a:close/>
                </a:path>
                <a:path w="548640" h="786765">
                  <a:moveTo>
                    <a:pt x="548093" y="520204"/>
                  </a:moveTo>
                  <a:lnTo>
                    <a:pt x="500380" y="524217"/>
                  </a:lnTo>
                  <a:lnTo>
                    <a:pt x="455853" y="535876"/>
                  </a:lnTo>
                  <a:lnTo>
                    <a:pt x="414616" y="554469"/>
                  </a:lnTo>
                  <a:lnTo>
                    <a:pt x="377355" y="579335"/>
                  </a:lnTo>
                  <a:lnTo>
                    <a:pt x="344728" y="609803"/>
                  </a:lnTo>
                  <a:lnTo>
                    <a:pt x="317411" y="645172"/>
                  </a:lnTo>
                  <a:lnTo>
                    <a:pt x="296087" y="684796"/>
                  </a:lnTo>
                  <a:lnTo>
                    <a:pt x="281419" y="727976"/>
                  </a:lnTo>
                  <a:lnTo>
                    <a:pt x="274091" y="774039"/>
                  </a:lnTo>
                  <a:lnTo>
                    <a:pt x="266928" y="727824"/>
                  </a:lnTo>
                  <a:lnTo>
                    <a:pt x="252374" y="684441"/>
                  </a:lnTo>
                  <a:lnTo>
                    <a:pt x="231101" y="644652"/>
                  </a:lnTo>
                  <a:lnTo>
                    <a:pt x="203809" y="609117"/>
                  </a:lnTo>
                  <a:lnTo>
                    <a:pt x="171170" y="578523"/>
                  </a:lnTo>
                  <a:lnTo>
                    <a:pt x="133858" y="553542"/>
                  </a:lnTo>
                  <a:lnTo>
                    <a:pt x="92532" y="534835"/>
                  </a:lnTo>
                  <a:lnTo>
                    <a:pt x="47917" y="523125"/>
                  </a:lnTo>
                  <a:lnTo>
                    <a:pt x="0" y="519074"/>
                  </a:lnTo>
                  <a:lnTo>
                    <a:pt x="5448" y="567245"/>
                  </a:lnTo>
                  <a:lnTo>
                    <a:pt x="18846" y="612508"/>
                  </a:lnTo>
                  <a:lnTo>
                    <a:pt x="39458" y="654138"/>
                  </a:lnTo>
                  <a:lnTo>
                    <a:pt x="66560" y="691388"/>
                  </a:lnTo>
                  <a:lnTo>
                    <a:pt x="99415" y="723557"/>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441" name="object 151">
              <a:extLst>
                <a:ext uri="{FF2B5EF4-FFF2-40B4-BE49-F238E27FC236}">
                  <a16:creationId xmlns:a16="http://schemas.microsoft.com/office/drawing/2014/main" id="{B24BB298-DBA1-7E75-5BBB-94C3A229D377}"/>
                </a:ext>
              </a:extLst>
            </p:cNvPr>
            <p:cNvPicPr/>
            <p:nvPr/>
          </p:nvPicPr>
          <p:blipFill>
            <a:blip r:embed="rId11" cstate="print"/>
            <a:stretch>
              <a:fillRect/>
            </a:stretch>
          </p:blipFill>
          <p:spPr>
            <a:xfrm>
              <a:off x="11561989" y="3989263"/>
              <a:ext cx="106445" cy="107156"/>
            </a:xfrm>
            <a:prstGeom prst="rect">
              <a:avLst/>
            </a:prstGeom>
          </p:spPr>
        </p:pic>
        <p:sp>
          <p:nvSpPr>
            <p:cNvPr id="442" name="object 152">
              <a:extLst>
                <a:ext uri="{FF2B5EF4-FFF2-40B4-BE49-F238E27FC236}">
                  <a16:creationId xmlns:a16="http://schemas.microsoft.com/office/drawing/2014/main" id="{7ABF451D-9999-ECF0-1A4F-45EFED42FE9A}"/>
                </a:ext>
              </a:extLst>
            </p:cNvPr>
            <p:cNvSpPr/>
            <p:nvPr/>
          </p:nvSpPr>
          <p:spPr>
            <a:xfrm>
              <a:off x="11064254" y="3862863"/>
              <a:ext cx="332700" cy="477101"/>
            </a:xfrm>
            <a:custGeom>
              <a:avLst/>
              <a:gdLst/>
              <a:ahLst/>
              <a:cxnLst/>
              <a:rect l="l" t="t" r="r" b="b"/>
              <a:pathLst>
                <a:path w="548640" h="786765">
                  <a:moveTo>
                    <a:pt x="548081" y="786396"/>
                  </a:moveTo>
                  <a:lnTo>
                    <a:pt x="542632" y="738238"/>
                  </a:lnTo>
                  <a:lnTo>
                    <a:pt x="529234" y="692975"/>
                  </a:lnTo>
                  <a:lnTo>
                    <a:pt x="508622" y="651344"/>
                  </a:lnTo>
                  <a:lnTo>
                    <a:pt x="481520" y="614083"/>
                  </a:lnTo>
                  <a:lnTo>
                    <a:pt x="448678" y="581939"/>
                  </a:lnTo>
                  <a:lnTo>
                    <a:pt x="410832" y="555625"/>
                  </a:lnTo>
                  <a:lnTo>
                    <a:pt x="368706" y="535889"/>
                  </a:lnTo>
                  <a:lnTo>
                    <a:pt x="323037" y="523468"/>
                  </a:lnTo>
                  <a:lnTo>
                    <a:pt x="274561" y="519099"/>
                  </a:lnTo>
                  <a:lnTo>
                    <a:pt x="273329" y="519099"/>
                  </a:lnTo>
                  <a:lnTo>
                    <a:pt x="224993" y="523455"/>
                  </a:lnTo>
                  <a:lnTo>
                    <a:pt x="179438" y="535813"/>
                  </a:lnTo>
                  <a:lnTo>
                    <a:pt x="137401" y="555459"/>
                  </a:lnTo>
                  <a:lnTo>
                    <a:pt x="99618" y="581660"/>
                  </a:lnTo>
                  <a:lnTo>
                    <a:pt x="66814" y="613664"/>
                  </a:lnTo>
                  <a:lnTo>
                    <a:pt x="39725" y="650773"/>
                  </a:lnTo>
                  <a:lnTo>
                    <a:pt x="19075" y="692226"/>
                  </a:lnTo>
                  <a:lnTo>
                    <a:pt x="5613" y="737323"/>
                  </a:lnTo>
                  <a:lnTo>
                    <a:pt x="38" y="785304"/>
                  </a:lnTo>
                  <a:lnTo>
                    <a:pt x="47713" y="781265"/>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35"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78" y="316407"/>
                  </a:lnTo>
                  <a:lnTo>
                    <a:pt x="410832" y="290106"/>
                  </a:lnTo>
                  <a:lnTo>
                    <a:pt x="368706" y="270370"/>
                  </a:lnTo>
                  <a:lnTo>
                    <a:pt x="323037" y="257949"/>
                  </a:lnTo>
                  <a:lnTo>
                    <a:pt x="274561" y="253568"/>
                  </a:lnTo>
                  <a:lnTo>
                    <a:pt x="273329" y="253568"/>
                  </a:lnTo>
                  <a:lnTo>
                    <a:pt x="224993" y="257924"/>
                  </a:lnTo>
                  <a:lnTo>
                    <a:pt x="179438" y="270294"/>
                  </a:lnTo>
                  <a:lnTo>
                    <a:pt x="137401" y="289941"/>
                  </a:lnTo>
                  <a:lnTo>
                    <a:pt x="99618" y="316128"/>
                  </a:lnTo>
                  <a:lnTo>
                    <a:pt x="66814" y="348145"/>
                  </a:lnTo>
                  <a:lnTo>
                    <a:pt x="39725" y="385241"/>
                  </a:lnTo>
                  <a:lnTo>
                    <a:pt x="19075" y="426707"/>
                  </a:lnTo>
                  <a:lnTo>
                    <a:pt x="5613" y="471792"/>
                  </a:lnTo>
                  <a:lnTo>
                    <a:pt x="38" y="519785"/>
                  </a:lnTo>
                  <a:lnTo>
                    <a:pt x="47713" y="515747"/>
                  </a:lnTo>
                  <a:lnTo>
                    <a:pt x="92240" y="504101"/>
                  </a:lnTo>
                  <a:lnTo>
                    <a:pt x="133464" y="485495"/>
                  </a:lnTo>
                  <a:lnTo>
                    <a:pt x="170738" y="460629"/>
                  </a:lnTo>
                  <a:lnTo>
                    <a:pt x="203365" y="430161"/>
                  </a:lnTo>
                  <a:lnTo>
                    <a:pt x="230670" y="394779"/>
                  </a:lnTo>
                  <a:lnTo>
                    <a:pt x="251993" y="355142"/>
                  </a:lnTo>
                  <a:lnTo>
                    <a:pt x="266661" y="311950"/>
                  </a:lnTo>
                  <a:lnTo>
                    <a:pt x="273989" y="265874"/>
                  </a:lnTo>
                  <a:lnTo>
                    <a:pt x="281165" y="312140"/>
                  </a:lnTo>
                  <a:lnTo>
                    <a:pt x="295719" y="355511"/>
                  </a:lnTo>
                  <a:lnTo>
                    <a:pt x="316992" y="395300"/>
                  </a:lnTo>
                  <a:lnTo>
                    <a:pt x="344284" y="430847"/>
                  </a:lnTo>
                  <a:lnTo>
                    <a:pt x="376923" y="461441"/>
                  </a:lnTo>
                  <a:lnTo>
                    <a:pt x="414235" y="486422"/>
                  </a:lnTo>
                  <a:lnTo>
                    <a:pt x="455549" y="505104"/>
                  </a:lnTo>
                  <a:lnTo>
                    <a:pt x="500164" y="516813"/>
                  </a:lnTo>
                  <a:lnTo>
                    <a:pt x="548081" y="520865"/>
                  </a:lnTo>
                  <a:close/>
                </a:path>
                <a:path w="548640" h="786765">
                  <a:moveTo>
                    <a:pt x="548081" y="267322"/>
                  </a:moveTo>
                  <a:lnTo>
                    <a:pt x="547458" y="261874"/>
                  </a:lnTo>
                  <a:lnTo>
                    <a:pt x="542645" y="219151"/>
                  </a:lnTo>
                  <a:lnTo>
                    <a:pt x="529247" y="173888"/>
                  </a:lnTo>
                  <a:lnTo>
                    <a:pt x="508635" y="132257"/>
                  </a:lnTo>
                  <a:lnTo>
                    <a:pt x="481533" y="95008"/>
                  </a:lnTo>
                  <a:lnTo>
                    <a:pt x="480834" y="94335"/>
                  </a:lnTo>
                  <a:lnTo>
                    <a:pt x="448691" y="62852"/>
                  </a:lnTo>
                  <a:lnTo>
                    <a:pt x="433158" y="52070"/>
                  </a:lnTo>
                  <a:lnTo>
                    <a:pt x="410832" y="36550"/>
                  </a:lnTo>
                  <a:lnTo>
                    <a:pt x="368706" y="16802"/>
                  </a:lnTo>
                  <a:lnTo>
                    <a:pt x="323037" y="4381"/>
                  </a:lnTo>
                  <a:lnTo>
                    <a:pt x="274561" y="0"/>
                  </a:lnTo>
                  <a:lnTo>
                    <a:pt x="273329" y="0"/>
                  </a:lnTo>
                  <a:lnTo>
                    <a:pt x="224993" y="4356"/>
                  </a:lnTo>
                  <a:lnTo>
                    <a:pt x="179438" y="16725"/>
                  </a:lnTo>
                  <a:lnTo>
                    <a:pt x="137401" y="36372"/>
                  </a:lnTo>
                  <a:lnTo>
                    <a:pt x="99618" y="62560"/>
                  </a:lnTo>
                  <a:lnTo>
                    <a:pt x="66814" y="94576"/>
                  </a:lnTo>
                  <a:lnTo>
                    <a:pt x="39700" y="131686"/>
                  </a:lnTo>
                  <a:lnTo>
                    <a:pt x="19037" y="173139"/>
                  </a:lnTo>
                  <a:lnTo>
                    <a:pt x="5562" y="218224"/>
                  </a:lnTo>
                  <a:lnTo>
                    <a:pt x="0" y="266192"/>
                  </a:lnTo>
                  <a:lnTo>
                    <a:pt x="47713" y="262178"/>
                  </a:lnTo>
                  <a:lnTo>
                    <a:pt x="92240" y="250520"/>
                  </a:lnTo>
                  <a:lnTo>
                    <a:pt x="133464" y="231927"/>
                  </a:lnTo>
                  <a:lnTo>
                    <a:pt x="170738" y="207060"/>
                  </a:lnTo>
                  <a:lnTo>
                    <a:pt x="203365" y="176593"/>
                  </a:lnTo>
                  <a:lnTo>
                    <a:pt x="230682" y="141224"/>
                  </a:lnTo>
                  <a:lnTo>
                    <a:pt x="252006" y="101600"/>
                  </a:lnTo>
                  <a:lnTo>
                    <a:pt x="266674" y="58420"/>
                  </a:lnTo>
                  <a:lnTo>
                    <a:pt x="273989" y="12369"/>
                  </a:lnTo>
                  <a:lnTo>
                    <a:pt x="279844" y="50101"/>
                  </a:lnTo>
                  <a:lnTo>
                    <a:pt x="281165" y="58585"/>
                  </a:lnTo>
                  <a:lnTo>
                    <a:pt x="284822" y="69481"/>
                  </a:lnTo>
                  <a:lnTo>
                    <a:pt x="295719" y="101955"/>
                  </a:lnTo>
                  <a:lnTo>
                    <a:pt x="316992" y="141744"/>
                  </a:lnTo>
                  <a:lnTo>
                    <a:pt x="344284" y="177279"/>
                  </a:lnTo>
                  <a:lnTo>
                    <a:pt x="376936" y="207886"/>
                  </a:lnTo>
                  <a:lnTo>
                    <a:pt x="414248" y="232867"/>
                  </a:lnTo>
                  <a:lnTo>
                    <a:pt x="455549" y="251561"/>
                  </a:lnTo>
                  <a:lnTo>
                    <a:pt x="500176" y="263271"/>
                  </a:lnTo>
                  <a:lnTo>
                    <a:pt x="548081" y="267322"/>
                  </a:lnTo>
                  <a:close/>
                </a:path>
              </a:pathLst>
            </a:custGeom>
            <a:solidFill>
              <a:srgbClr val="2DB7EA"/>
            </a:solidFill>
          </p:spPr>
          <p:txBody>
            <a:bodyPr wrap="square" lIns="0" tIns="0" rIns="0" bIns="0" rtlCol="0"/>
            <a:lstStyle/>
            <a:p>
              <a:endParaRPr dirty="0"/>
            </a:p>
          </p:txBody>
        </p:sp>
        <p:pic>
          <p:nvPicPr>
            <p:cNvPr id="443" name="object 153">
              <a:extLst>
                <a:ext uri="{FF2B5EF4-FFF2-40B4-BE49-F238E27FC236}">
                  <a16:creationId xmlns:a16="http://schemas.microsoft.com/office/drawing/2014/main" id="{D70E26C8-C486-7BE4-5450-BE4B9414A9AD}"/>
                </a:ext>
              </a:extLst>
            </p:cNvPr>
            <p:cNvPicPr/>
            <p:nvPr/>
          </p:nvPicPr>
          <p:blipFill>
            <a:blip r:embed="rId13" cstate="print"/>
            <a:stretch>
              <a:fillRect/>
            </a:stretch>
          </p:blipFill>
          <p:spPr>
            <a:xfrm>
              <a:off x="11177526" y="4318566"/>
              <a:ext cx="106445" cy="107156"/>
            </a:xfrm>
            <a:prstGeom prst="rect">
              <a:avLst/>
            </a:prstGeom>
          </p:spPr>
        </p:pic>
        <p:sp>
          <p:nvSpPr>
            <p:cNvPr id="444" name="object 154">
              <a:extLst>
                <a:ext uri="{FF2B5EF4-FFF2-40B4-BE49-F238E27FC236}">
                  <a16:creationId xmlns:a16="http://schemas.microsoft.com/office/drawing/2014/main" id="{351B4FDE-56C6-219F-164F-6C17E9784EE6}"/>
                </a:ext>
              </a:extLst>
            </p:cNvPr>
            <p:cNvSpPr/>
            <p:nvPr/>
          </p:nvSpPr>
          <p:spPr>
            <a:xfrm>
              <a:off x="11064254" y="4517034"/>
              <a:ext cx="332700" cy="477101"/>
            </a:xfrm>
            <a:custGeom>
              <a:avLst/>
              <a:gdLst/>
              <a:ahLst/>
              <a:cxnLst/>
              <a:rect l="l" t="t" r="r" b="b"/>
              <a:pathLst>
                <a:path w="548640" h="786765">
                  <a:moveTo>
                    <a:pt x="548081" y="786384"/>
                  </a:moveTo>
                  <a:lnTo>
                    <a:pt x="542632" y="738225"/>
                  </a:lnTo>
                  <a:lnTo>
                    <a:pt x="529234" y="692962"/>
                  </a:lnTo>
                  <a:lnTo>
                    <a:pt x="508622" y="651332"/>
                  </a:lnTo>
                  <a:lnTo>
                    <a:pt x="481520" y="614083"/>
                  </a:lnTo>
                  <a:lnTo>
                    <a:pt x="448678"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38" y="785304"/>
                  </a:lnTo>
                  <a:lnTo>
                    <a:pt x="47713" y="781265"/>
                  </a:lnTo>
                  <a:lnTo>
                    <a:pt x="92240" y="769620"/>
                  </a:lnTo>
                  <a:lnTo>
                    <a:pt x="133464" y="751014"/>
                  </a:lnTo>
                  <a:lnTo>
                    <a:pt x="170738" y="726147"/>
                  </a:lnTo>
                  <a:lnTo>
                    <a:pt x="203365" y="695680"/>
                  </a:lnTo>
                  <a:lnTo>
                    <a:pt x="230670" y="660298"/>
                  </a:lnTo>
                  <a:lnTo>
                    <a:pt x="251993" y="620674"/>
                  </a:lnTo>
                  <a:lnTo>
                    <a:pt x="266661" y="577469"/>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5">
                  <a:moveTo>
                    <a:pt x="548081" y="520852"/>
                  </a:moveTo>
                  <a:lnTo>
                    <a:pt x="542632" y="472694"/>
                  </a:lnTo>
                  <a:lnTo>
                    <a:pt x="529234" y="427431"/>
                  </a:lnTo>
                  <a:lnTo>
                    <a:pt x="508622" y="385813"/>
                  </a:lnTo>
                  <a:lnTo>
                    <a:pt x="481520" y="348551"/>
                  </a:lnTo>
                  <a:lnTo>
                    <a:pt x="448678" y="316407"/>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28"/>
                  </a:lnTo>
                  <a:lnTo>
                    <a:pt x="66814" y="348132"/>
                  </a:lnTo>
                  <a:lnTo>
                    <a:pt x="39725" y="385241"/>
                  </a:lnTo>
                  <a:lnTo>
                    <a:pt x="19075" y="426694"/>
                  </a:lnTo>
                  <a:lnTo>
                    <a:pt x="5613" y="471779"/>
                  </a:lnTo>
                  <a:lnTo>
                    <a:pt x="38" y="519772"/>
                  </a:lnTo>
                  <a:lnTo>
                    <a:pt x="47713" y="515734"/>
                  </a:lnTo>
                  <a:lnTo>
                    <a:pt x="92240" y="504075"/>
                  </a:lnTo>
                  <a:lnTo>
                    <a:pt x="133464" y="485482"/>
                  </a:lnTo>
                  <a:lnTo>
                    <a:pt x="170738" y="460616"/>
                  </a:lnTo>
                  <a:lnTo>
                    <a:pt x="203365"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35" y="486410"/>
                  </a:lnTo>
                  <a:lnTo>
                    <a:pt x="455549" y="505091"/>
                  </a:lnTo>
                  <a:lnTo>
                    <a:pt x="500164" y="516801"/>
                  </a:lnTo>
                  <a:lnTo>
                    <a:pt x="548081" y="520852"/>
                  </a:lnTo>
                  <a:close/>
                </a:path>
                <a:path w="548640" h="786765">
                  <a:moveTo>
                    <a:pt x="548081" y="267322"/>
                  </a:moveTo>
                  <a:lnTo>
                    <a:pt x="546976" y="257530"/>
                  </a:lnTo>
                  <a:lnTo>
                    <a:pt x="542645" y="219151"/>
                  </a:lnTo>
                  <a:lnTo>
                    <a:pt x="529247" y="173875"/>
                  </a:lnTo>
                  <a:lnTo>
                    <a:pt x="508635" y="132245"/>
                  </a:lnTo>
                  <a:lnTo>
                    <a:pt x="481533" y="94996"/>
                  </a:lnTo>
                  <a:lnTo>
                    <a:pt x="449376" y="63525"/>
                  </a:lnTo>
                  <a:lnTo>
                    <a:pt x="448691" y="62852"/>
                  </a:lnTo>
                  <a:lnTo>
                    <a:pt x="410832" y="36537"/>
                  </a:lnTo>
                  <a:lnTo>
                    <a:pt x="368706" y="16814"/>
                  </a:lnTo>
                  <a:lnTo>
                    <a:pt x="323037" y="4368"/>
                  </a:lnTo>
                  <a:lnTo>
                    <a:pt x="274561" y="0"/>
                  </a:lnTo>
                  <a:lnTo>
                    <a:pt x="273329" y="0"/>
                  </a:lnTo>
                  <a:lnTo>
                    <a:pt x="224993" y="4356"/>
                  </a:lnTo>
                  <a:lnTo>
                    <a:pt x="179438" y="16725"/>
                  </a:lnTo>
                  <a:lnTo>
                    <a:pt x="137401" y="36372"/>
                  </a:lnTo>
                  <a:lnTo>
                    <a:pt x="99618" y="62560"/>
                  </a:lnTo>
                  <a:lnTo>
                    <a:pt x="98793" y="63360"/>
                  </a:lnTo>
                  <a:lnTo>
                    <a:pt x="66814" y="94576"/>
                  </a:lnTo>
                  <a:lnTo>
                    <a:pt x="39700" y="131686"/>
                  </a:lnTo>
                  <a:lnTo>
                    <a:pt x="19037" y="173139"/>
                  </a:lnTo>
                  <a:lnTo>
                    <a:pt x="5562" y="218211"/>
                  </a:lnTo>
                  <a:lnTo>
                    <a:pt x="0" y="266192"/>
                  </a:lnTo>
                  <a:lnTo>
                    <a:pt x="47713" y="262166"/>
                  </a:lnTo>
                  <a:lnTo>
                    <a:pt x="92240" y="250520"/>
                  </a:lnTo>
                  <a:lnTo>
                    <a:pt x="133477" y="231914"/>
                  </a:lnTo>
                  <a:lnTo>
                    <a:pt x="170738" y="207048"/>
                  </a:lnTo>
                  <a:lnTo>
                    <a:pt x="203365" y="176593"/>
                  </a:lnTo>
                  <a:lnTo>
                    <a:pt x="230682" y="141211"/>
                  </a:lnTo>
                  <a:lnTo>
                    <a:pt x="252006" y="101600"/>
                  </a:lnTo>
                  <a:lnTo>
                    <a:pt x="266674" y="58407"/>
                  </a:lnTo>
                  <a:lnTo>
                    <a:pt x="273989" y="12357"/>
                  </a:lnTo>
                  <a:lnTo>
                    <a:pt x="279844" y="50101"/>
                  </a:lnTo>
                  <a:lnTo>
                    <a:pt x="295719" y="101942"/>
                  </a:lnTo>
                  <a:lnTo>
                    <a:pt x="316992" y="141732"/>
                  </a:lnTo>
                  <a:lnTo>
                    <a:pt x="344284" y="177279"/>
                  </a:lnTo>
                  <a:lnTo>
                    <a:pt x="376923" y="207873"/>
                  </a:lnTo>
                  <a:lnTo>
                    <a:pt x="414248" y="232867"/>
                  </a:lnTo>
                  <a:lnTo>
                    <a:pt x="455549" y="251548"/>
                  </a:lnTo>
                  <a:lnTo>
                    <a:pt x="500176" y="263258"/>
                  </a:lnTo>
                  <a:lnTo>
                    <a:pt x="548081" y="267322"/>
                  </a:lnTo>
                  <a:close/>
                </a:path>
              </a:pathLst>
            </a:custGeom>
            <a:solidFill>
              <a:srgbClr val="7ED3F1"/>
            </a:solidFill>
          </p:spPr>
          <p:txBody>
            <a:bodyPr wrap="square" lIns="0" tIns="0" rIns="0" bIns="0" rtlCol="0"/>
            <a:lstStyle/>
            <a:p>
              <a:endParaRPr dirty="0"/>
            </a:p>
          </p:txBody>
        </p:sp>
        <p:pic>
          <p:nvPicPr>
            <p:cNvPr id="445" name="object 155">
              <a:extLst>
                <a:ext uri="{FF2B5EF4-FFF2-40B4-BE49-F238E27FC236}">
                  <a16:creationId xmlns:a16="http://schemas.microsoft.com/office/drawing/2014/main" id="{846F3CC2-CEFA-EEA4-3325-78ADE44EB656}"/>
                </a:ext>
              </a:extLst>
            </p:cNvPr>
            <p:cNvPicPr/>
            <p:nvPr/>
          </p:nvPicPr>
          <p:blipFill>
            <a:blip r:embed="rId14" cstate="print"/>
            <a:stretch>
              <a:fillRect/>
            </a:stretch>
          </p:blipFill>
          <p:spPr>
            <a:xfrm>
              <a:off x="11177526" y="4972731"/>
              <a:ext cx="106445" cy="107156"/>
            </a:xfrm>
            <a:prstGeom prst="rect">
              <a:avLst/>
            </a:prstGeom>
          </p:spPr>
        </p:pic>
        <p:sp>
          <p:nvSpPr>
            <p:cNvPr id="446" name="object 156">
              <a:extLst>
                <a:ext uri="{FF2B5EF4-FFF2-40B4-BE49-F238E27FC236}">
                  <a16:creationId xmlns:a16="http://schemas.microsoft.com/office/drawing/2014/main" id="{3D4B64C4-C488-3337-5EE5-C8D637DA66CC}"/>
                </a:ext>
              </a:extLst>
            </p:cNvPr>
            <p:cNvSpPr/>
            <p:nvPr/>
          </p:nvSpPr>
          <p:spPr>
            <a:xfrm>
              <a:off x="11064254" y="2554529"/>
              <a:ext cx="332700" cy="477101"/>
            </a:xfrm>
            <a:custGeom>
              <a:avLst/>
              <a:gdLst/>
              <a:ahLst/>
              <a:cxnLst/>
              <a:rect l="l" t="t" r="r" b="b"/>
              <a:pathLst>
                <a:path w="548640" h="786764">
                  <a:moveTo>
                    <a:pt x="548081" y="786396"/>
                  </a:moveTo>
                  <a:lnTo>
                    <a:pt x="542632" y="738238"/>
                  </a:lnTo>
                  <a:lnTo>
                    <a:pt x="529234" y="692975"/>
                  </a:lnTo>
                  <a:lnTo>
                    <a:pt x="508622" y="651344"/>
                  </a:lnTo>
                  <a:lnTo>
                    <a:pt x="481520" y="614095"/>
                  </a:lnTo>
                  <a:lnTo>
                    <a:pt x="448678" y="581939"/>
                  </a:lnTo>
                  <a:lnTo>
                    <a:pt x="410832" y="555625"/>
                  </a:lnTo>
                  <a:lnTo>
                    <a:pt x="368706" y="535901"/>
                  </a:lnTo>
                  <a:lnTo>
                    <a:pt x="323037" y="523468"/>
                  </a:lnTo>
                  <a:lnTo>
                    <a:pt x="274561" y="519099"/>
                  </a:lnTo>
                  <a:lnTo>
                    <a:pt x="273329" y="519099"/>
                  </a:lnTo>
                  <a:lnTo>
                    <a:pt x="224993" y="523455"/>
                  </a:lnTo>
                  <a:lnTo>
                    <a:pt x="179438" y="535813"/>
                  </a:lnTo>
                  <a:lnTo>
                    <a:pt x="137401" y="555459"/>
                  </a:lnTo>
                  <a:lnTo>
                    <a:pt x="99618" y="581660"/>
                  </a:lnTo>
                  <a:lnTo>
                    <a:pt x="66814" y="613676"/>
                  </a:lnTo>
                  <a:lnTo>
                    <a:pt x="39725" y="650773"/>
                  </a:lnTo>
                  <a:lnTo>
                    <a:pt x="19075" y="692238"/>
                  </a:lnTo>
                  <a:lnTo>
                    <a:pt x="5613" y="737323"/>
                  </a:lnTo>
                  <a:lnTo>
                    <a:pt x="38" y="785317"/>
                  </a:lnTo>
                  <a:lnTo>
                    <a:pt x="47713" y="781278"/>
                  </a:lnTo>
                  <a:lnTo>
                    <a:pt x="92240" y="769632"/>
                  </a:lnTo>
                  <a:lnTo>
                    <a:pt x="133464" y="751027"/>
                  </a:lnTo>
                  <a:lnTo>
                    <a:pt x="170738" y="726160"/>
                  </a:lnTo>
                  <a:lnTo>
                    <a:pt x="203365" y="695693"/>
                  </a:lnTo>
                  <a:lnTo>
                    <a:pt x="230670" y="660311"/>
                  </a:lnTo>
                  <a:lnTo>
                    <a:pt x="251993" y="620687"/>
                  </a:lnTo>
                  <a:lnTo>
                    <a:pt x="266661" y="577481"/>
                  </a:lnTo>
                  <a:lnTo>
                    <a:pt x="273989" y="531406"/>
                  </a:lnTo>
                  <a:lnTo>
                    <a:pt x="281165" y="577672"/>
                  </a:lnTo>
                  <a:lnTo>
                    <a:pt x="295719" y="621042"/>
                  </a:lnTo>
                  <a:lnTo>
                    <a:pt x="316992" y="660844"/>
                  </a:lnTo>
                  <a:lnTo>
                    <a:pt x="344284" y="696379"/>
                  </a:lnTo>
                  <a:lnTo>
                    <a:pt x="376923" y="726973"/>
                  </a:lnTo>
                  <a:lnTo>
                    <a:pt x="414235" y="751954"/>
                  </a:lnTo>
                  <a:lnTo>
                    <a:pt x="455549" y="770636"/>
                  </a:lnTo>
                  <a:lnTo>
                    <a:pt x="500164" y="782345"/>
                  </a:lnTo>
                  <a:lnTo>
                    <a:pt x="548081" y="786396"/>
                  </a:lnTo>
                  <a:close/>
                </a:path>
                <a:path w="548640" h="786764">
                  <a:moveTo>
                    <a:pt x="548081" y="520865"/>
                  </a:moveTo>
                  <a:lnTo>
                    <a:pt x="542632" y="472706"/>
                  </a:lnTo>
                  <a:lnTo>
                    <a:pt x="529234" y="427443"/>
                  </a:lnTo>
                  <a:lnTo>
                    <a:pt x="508622" y="385813"/>
                  </a:lnTo>
                  <a:lnTo>
                    <a:pt x="481520" y="348564"/>
                  </a:lnTo>
                  <a:lnTo>
                    <a:pt x="448678" y="316407"/>
                  </a:lnTo>
                  <a:lnTo>
                    <a:pt x="410832" y="290106"/>
                  </a:lnTo>
                  <a:lnTo>
                    <a:pt x="368706" y="270370"/>
                  </a:lnTo>
                  <a:lnTo>
                    <a:pt x="323037" y="257949"/>
                  </a:lnTo>
                  <a:lnTo>
                    <a:pt x="274561" y="253568"/>
                  </a:lnTo>
                  <a:lnTo>
                    <a:pt x="273329" y="253568"/>
                  </a:lnTo>
                  <a:lnTo>
                    <a:pt x="224993" y="257924"/>
                  </a:lnTo>
                  <a:lnTo>
                    <a:pt x="179438" y="270294"/>
                  </a:lnTo>
                  <a:lnTo>
                    <a:pt x="137401" y="289941"/>
                  </a:lnTo>
                  <a:lnTo>
                    <a:pt x="99618" y="316128"/>
                  </a:lnTo>
                  <a:lnTo>
                    <a:pt x="66814" y="348145"/>
                  </a:lnTo>
                  <a:lnTo>
                    <a:pt x="39725" y="385254"/>
                  </a:lnTo>
                  <a:lnTo>
                    <a:pt x="19075" y="426707"/>
                  </a:lnTo>
                  <a:lnTo>
                    <a:pt x="5613" y="471805"/>
                  </a:lnTo>
                  <a:lnTo>
                    <a:pt x="38" y="519785"/>
                  </a:lnTo>
                  <a:lnTo>
                    <a:pt x="47713" y="515759"/>
                  </a:lnTo>
                  <a:lnTo>
                    <a:pt x="92240" y="504101"/>
                  </a:lnTo>
                  <a:lnTo>
                    <a:pt x="133464" y="485495"/>
                  </a:lnTo>
                  <a:lnTo>
                    <a:pt x="170738" y="460629"/>
                  </a:lnTo>
                  <a:lnTo>
                    <a:pt x="203365" y="430161"/>
                  </a:lnTo>
                  <a:lnTo>
                    <a:pt x="230670" y="394779"/>
                  </a:lnTo>
                  <a:lnTo>
                    <a:pt x="251993" y="355155"/>
                  </a:lnTo>
                  <a:lnTo>
                    <a:pt x="266661" y="311962"/>
                  </a:lnTo>
                  <a:lnTo>
                    <a:pt x="273989" y="265874"/>
                  </a:lnTo>
                  <a:lnTo>
                    <a:pt x="281165" y="312140"/>
                  </a:lnTo>
                  <a:lnTo>
                    <a:pt x="295719" y="355511"/>
                  </a:lnTo>
                  <a:lnTo>
                    <a:pt x="316992" y="395312"/>
                  </a:lnTo>
                  <a:lnTo>
                    <a:pt x="344284" y="430847"/>
                  </a:lnTo>
                  <a:lnTo>
                    <a:pt x="376923" y="461441"/>
                  </a:lnTo>
                  <a:lnTo>
                    <a:pt x="414235" y="486422"/>
                  </a:lnTo>
                  <a:lnTo>
                    <a:pt x="455549" y="505104"/>
                  </a:lnTo>
                  <a:lnTo>
                    <a:pt x="500164" y="516813"/>
                  </a:lnTo>
                  <a:lnTo>
                    <a:pt x="548081" y="520865"/>
                  </a:lnTo>
                  <a:close/>
                </a:path>
                <a:path w="548640" h="786764">
                  <a:moveTo>
                    <a:pt x="548081" y="267335"/>
                  </a:moveTo>
                  <a:lnTo>
                    <a:pt x="546849" y="256438"/>
                  </a:lnTo>
                  <a:lnTo>
                    <a:pt x="542645" y="219163"/>
                  </a:lnTo>
                  <a:lnTo>
                    <a:pt x="529247" y="173888"/>
                  </a:lnTo>
                  <a:lnTo>
                    <a:pt x="508635" y="132257"/>
                  </a:lnTo>
                  <a:lnTo>
                    <a:pt x="481533" y="95008"/>
                  </a:lnTo>
                  <a:lnTo>
                    <a:pt x="448691" y="62865"/>
                  </a:lnTo>
                  <a:lnTo>
                    <a:pt x="410832" y="36537"/>
                  </a:lnTo>
                  <a:lnTo>
                    <a:pt x="368706" y="16802"/>
                  </a:lnTo>
                  <a:lnTo>
                    <a:pt x="323037" y="4381"/>
                  </a:lnTo>
                  <a:lnTo>
                    <a:pt x="274561" y="0"/>
                  </a:lnTo>
                  <a:lnTo>
                    <a:pt x="273329" y="0"/>
                  </a:lnTo>
                  <a:lnTo>
                    <a:pt x="224993" y="4356"/>
                  </a:lnTo>
                  <a:lnTo>
                    <a:pt x="179438" y="16725"/>
                  </a:lnTo>
                  <a:lnTo>
                    <a:pt x="137401" y="36372"/>
                  </a:lnTo>
                  <a:lnTo>
                    <a:pt x="99618" y="62572"/>
                  </a:lnTo>
                  <a:lnTo>
                    <a:pt x="66814" y="94576"/>
                  </a:lnTo>
                  <a:lnTo>
                    <a:pt x="39700" y="131699"/>
                  </a:lnTo>
                  <a:lnTo>
                    <a:pt x="19037" y="173151"/>
                  </a:lnTo>
                  <a:lnTo>
                    <a:pt x="5562" y="218224"/>
                  </a:lnTo>
                  <a:lnTo>
                    <a:pt x="0" y="266204"/>
                  </a:lnTo>
                  <a:lnTo>
                    <a:pt x="47713" y="262191"/>
                  </a:lnTo>
                  <a:lnTo>
                    <a:pt x="92240" y="250532"/>
                  </a:lnTo>
                  <a:lnTo>
                    <a:pt x="133464" y="231940"/>
                  </a:lnTo>
                  <a:lnTo>
                    <a:pt x="170738" y="207060"/>
                  </a:lnTo>
                  <a:lnTo>
                    <a:pt x="203365" y="176606"/>
                  </a:lnTo>
                  <a:lnTo>
                    <a:pt x="230682" y="141224"/>
                  </a:lnTo>
                  <a:lnTo>
                    <a:pt x="252006" y="101612"/>
                  </a:lnTo>
                  <a:lnTo>
                    <a:pt x="266674" y="58420"/>
                  </a:lnTo>
                  <a:lnTo>
                    <a:pt x="273989" y="12369"/>
                  </a:lnTo>
                  <a:lnTo>
                    <a:pt x="279844" y="50114"/>
                  </a:lnTo>
                  <a:lnTo>
                    <a:pt x="295719" y="101955"/>
                  </a:lnTo>
                  <a:lnTo>
                    <a:pt x="316992" y="141744"/>
                  </a:lnTo>
                  <a:lnTo>
                    <a:pt x="344284" y="177279"/>
                  </a:lnTo>
                  <a:lnTo>
                    <a:pt x="376936" y="207886"/>
                  </a:lnTo>
                  <a:lnTo>
                    <a:pt x="414248" y="232867"/>
                  </a:lnTo>
                  <a:lnTo>
                    <a:pt x="455549" y="251561"/>
                  </a:lnTo>
                  <a:lnTo>
                    <a:pt x="500176" y="263271"/>
                  </a:lnTo>
                  <a:lnTo>
                    <a:pt x="548081" y="267335"/>
                  </a:lnTo>
                  <a:close/>
                </a:path>
              </a:pathLst>
            </a:custGeom>
            <a:solidFill>
              <a:srgbClr val="2DB7EA"/>
            </a:solidFill>
          </p:spPr>
          <p:txBody>
            <a:bodyPr wrap="square" lIns="0" tIns="0" rIns="0" bIns="0" rtlCol="0"/>
            <a:lstStyle/>
            <a:p>
              <a:endParaRPr dirty="0"/>
            </a:p>
          </p:txBody>
        </p:sp>
        <p:pic>
          <p:nvPicPr>
            <p:cNvPr id="447" name="object 157">
              <a:extLst>
                <a:ext uri="{FF2B5EF4-FFF2-40B4-BE49-F238E27FC236}">
                  <a16:creationId xmlns:a16="http://schemas.microsoft.com/office/drawing/2014/main" id="{A5E8F2F7-017B-9D8B-6D09-80167F9F7C75}"/>
                </a:ext>
              </a:extLst>
            </p:cNvPr>
            <p:cNvPicPr/>
            <p:nvPr/>
          </p:nvPicPr>
          <p:blipFill>
            <a:blip r:embed="rId13" cstate="print"/>
            <a:stretch>
              <a:fillRect/>
            </a:stretch>
          </p:blipFill>
          <p:spPr>
            <a:xfrm>
              <a:off x="11177526" y="3010234"/>
              <a:ext cx="106445" cy="107156"/>
            </a:xfrm>
            <a:prstGeom prst="rect">
              <a:avLst/>
            </a:prstGeom>
          </p:spPr>
        </p:pic>
        <p:sp>
          <p:nvSpPr>
            <p:cNvPr id="448" name="object 158">
              <a:extLst>
                <a:ext uri="{FF2B5EF4-FFF2-40B4-BE49-F238E27FC236}">
                  <a16:creationId xmlns:a16="http://schemas.microsoft.com/office/drawing/2014/main" id="{819916F4-FC8A-024E-A050-ED3BD8D033F7}"/>
                </a:ext>
              </a:extLst>
            </p:cNvPr>
            <p:cNvSpPr/>
            <p:nvPr/>
          </p:nvSpPr>
          <p:spPr>
            <a:xfrm>
              <a:off x="11064254" y="3208700"/>
              <a:ext cx="332700" cy="477101"/>
            </a:xfrm>
            <a:custGeom>
              <a:avLst/>
              <a:gdLst/>
              <a:ahLst/>
              <a:cxnLst/>
              <a:rect l="l" t="t" r="r" b="b"/>
              <a:pathLst>
                <a:path w="548640" h="786764">
                  <a:moveTo>
                    <a:pt x="548081" y="786384"/>
                  </a:moveTo>
                  <a:lnTo>
                    <a:pt x="542632" y="738225"/>
                  </a:lnTo>
                  <a:lnTo>
                    <a:pt x="529234" y="692962"/>
                  </a:lnTo>
                  <a:lnTo>
                    <a:pt x="508622" y="651344"/>
                  </a:lnTo>
                  <a:lnTo>
                    <a:pt x="481520" y="614083"/>
                  </a:lnTo>
                  <a:lnTo>
                    <a:pt x="448678"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73"/>
                  </a:lnTo>
                  <a:lnTo>
                    <a:pt x="19075" y="692226"/>
                  </a:lnTo>
                  <a:lnTo>
                    <a:pt x="5613" y="737323"/>
                  </a:lnTo>
                  <a:lnTo>
                    <a:pt x="38" y="785317"/>
                  </a:lnTo>
                  <a:lnTo>
                    <a:pt x="47713" y="781278"/>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59"/>
                  </a:lnTo>
                  <a:lnTo>
                    <a:pt x="295719" y="621042"/>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65"/>
                  </a:moveTo>
                  <a:lnTo>
                    <a:pt x="542632" y="472694"/>
                  </a:lnTo>
                  <a:lnTo>
                    <a:pt x="529234" y="427431"/>
                  </a:lnTo>
                  <a:lnTo>
                    <a:pt x="508622" y="385813"/>
                  </a:lnTo>
                  <a:lnTo>
                    <a:pt x="481520" y="348551"/>
                  </a:lnTo>
                  <a:lnTo>
                    <a:pt x="448678" y="316407"/>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15"/>
                  </a:lnTo>
                  <a:lnTo>
                    <a:pt x="66814" y="348132"/>
                  </a:lnTo>
                  <a:lnTo>
                    <a:pt x="39725" y="385241"/>
                  </a:lnTo>
                  <a:lnTo>
                    <a:pt x="19075" y="426694"/>
                  </a:lnTo>
                  <a:lnTo>
                    <a:pt x="5613" y="471792"/>
                  </a:lnTo>
                  <a:lnTo>
                    <a:pt x="38" y="519785"/>
                  </a:lnTo>
                  <a:lnTo>
                    <a:pt x="47713" y="515747"/>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29"/>
                  </a:lnTo>
                  <a:lnTo>
                    <a:pt x="414235" y="486410"/>
                  </a:lnTo>
                  <a:lnTo>
                    <a:pt x="455549" y="505091"/>
                  </a:lnTo>
                  <a:lnTo>
                    <a:pt x="500164" y="516801"/>
                  </a:lnTo>
                  <a:lnTo>
                    <a:pt x="548081" y="520865"/>
                  </a:lnTo>
                  <a:close/>
                </a:path>
                <a:path w="548640" h="786764">
                  <a:moveTo>
                    <a:pt x="548081" y="267322"/>
                  </a:moveTo>
                  <a:lnTo>
                    <a:pt x="546976" y="257530"/>
                  </a:lnTo>
                  <a:lnTo>
                    <a:pt x="542645" y="219151"/>
                  </a:lnTo>
                  <a:lnTo>
                    <a:pt x="529247" y="173888"/>
                  </a:lnTo>
                  <a:lnTo>
                    <a:pt x="508635" y="132257"/>
                  </a:lnTo>
                  <a:lnTo>
                    <a:pt x="481533" y="94996"/>
                  </a:lnTo>
                  <a:lnTo>
                    <a:pt x="449376" y="63525"/>
                  </a:lnTo>
                  <a:lnTo>
                    <a:pt x="448691" y="62852"/>
                  </a:lnTo>
                  <a:lnTo>
                    <a:pt x="410832" y="36525"/>
                  </a:lnTo>
                  <a:lnTo>
                    <a:pt x="368706" y="16814"/>
                  </a:lnTo>
                  <a:lnTo>
                    <a:pt x="323037" y="4368"/>
                  </a:lnTo>
                  <a:lnTo>
                    <a:pt x="274561" y="0"/>
                  </a:lnTo>
                  <a:lnTo>
                    <a:pt x="273329" y="0"/>
                  </a:lnTo>
                  <a:lnTo>
                    <a:pt x="224993" y="4356"/>
                  </a:lnTo>
                  <a:lnTo>
                    <a:pt x="179438" y="16725"/>
                  </a:lnTo>
                  <a:lnTo>
                    <a:pt x="137401" y="36360"/>
                  </a:lnTo>
                  <a:lnTo>
                    <a:pt x="99618" y="62560"/>
                  </a:lnTo>
                  <a:lnTo>
                    <a:pt x="66814" y="94576"/>
                  </a:lnTo>
                  <a:lnTo>
                    <a:pt x="39700" y="131686"/>
                  </a:lnTo>
                  <a:lnTo>
                    <a:pt x="19037" y="173139"/>
                  </a:lnTo>
                  <a:lnTo>
                    <a:pt x="5562" y="218224"/>
                  </a:lnTo>
                  <a:lnTo>
                    <a:pt x="0" y="266192"/>
                  </a:lnTo>
                  <a:lnTo>
                    <a:pt x="47713" y="262178"/>
                  </a:lnTo>
                  <a:lnTo>
                    <a:pt x="92240" y="250532"/>
                  </a:lnTo>
                  <a:lnTo>
                    <a:pt x="133464" y="231927"/>
                  </a:lnTo>
                  <a:lnTo>
                    <a:pt x="170738" y="207060"/>
                  </a:lnTo>
                  <a:lnTo>
                    <a:pt x="203365" y="176593"/>
                  </a:lnTo>
                  <a:lnTo>
                    <a:pt x="230682" y="141224"/>
                  </a:lnTo>
                  <a:lnTo>
                    <a:pt x="252006" y="101600"/>
                  </a:lnTo>
                  <a:lnTo>
                    <a:pt x="266674" y="58407"/>
                  </a:lnTo>
                  <a:lnTo>
                    <a:pt x="273989" y="12369"/>
                  </a:lnTo>
                  <a:lnTo>
                    <a:pt x="279844" y="50101"/>
                  </a:lnTo>
                  <a:lnTo>
                    <a:pt x="295719" y="101942"/>
                  </a:lnTo>
                  <a:lnTo>
                    <a:pt x="316992" y="141744"/>
                  </a:lnTo>
                  <a:lnTo>
                    <a:pt x="344284" y="177279"/>
                  </a:lnTo>
                  <a:lnTo>
                    <a:pt x="376923" y="207873"/>
                  </a:lnTo>
                  <a:lnTo>
                    <a:pt x="414248" y="232867"/>
                  </a:lnTo>
                  <a:lnTo>
                    <a:pt x="455549" y="251548"/>
                  </a:lnTo>
                  <a:lnTo>
                    <a:pt x="500176" y="263271"/>
                  </a:lnTo>
                  <a:lnTo>
                    <a:pt x="548081" y="267322"/>
                  </a:lnTo>
                  <a:close/>
                </a:path>
              </a:pathLst>
            </a:custGeom>
            <a:solidFill>
              <a:srgbClr val="7ED3F1"/>
            </a:solidFill>
          </p:spPr>
          <p:txBody>
            <a:bodyPr wrap="square" lIns="0" tIns="0" rIns="0" bIns="0" rtlCol="0"/>
            <a:lstStyle/>
            <a:p>
              <a:endParaRPr dirty="0"/>
            </a:p>
          </p:txBody>
        </p:sp>
        <p:pic>
          <p:nvPicPr>
            <p:cNvPr id="449" name="object 159">
              <a:extLst>
                <a:ext uri="{FF2B5EF4-FFF2-40B4-BE49-F238E27FC236}">
                  <a16:creationId xmlns:a16="http://schemas.microsoft.com/office/drawing/2014/main" id="{9CA9CE00-D3BC-1612-69AB-8C4DFE5D5923}"/>
                </a:ext>
              </a:extLst>
            </p:cNvPr>
            <p:cNvPicPr/>
            <p:nvPr/>
          </p:nvPicPr>
          <p:blipFill>
            <a:blip r:embed="rId14" cstate="print"/>
            <a:stretch>
              <a:fillRect/>
            </a:stretch>
          </p:blipFill>
          <p:spPr>
            <a:xfrm>
              <a:off x="11177526" y="3664400"/>
              <a:ext cx="106445" cy="107156"/>
            </a:xfrm>
            <a:prstGeom prst="rect">
              <a:avLst/>
            </a:prstGeom>
          </p:spPr>
        </p:pic>
        <p:sp>
          <p:nvSpPr>
            <p:cNvPr id="450" name="object 160">
              <a:extLst>
                <a:ext uri="{FF2B5EF4-FFF2-40B4-BE49-F238E27FC236}">
                  <a16:creationId xmlns:a16="http://schemas.microsoft.com/office/drawing/2014/main" id="{2842B0EA-26E5-5619-AC1E-BF17B8DF0319}"/>
                </a:ext>
              </a:extLst>
            </p:cNvPr>
            <p:cNvSpPr/>
            <p:nvPr/>
          </p:nvSpPr>
          <p:spPr>
            <a:xfrm>
              <a:off x="11064254" y="1246203"/>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78"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38" y="785304"/>
                  </a:lnTo>
                  <a:lnTo>
                    <a:pt x="47713" y="781278"/>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52"/>
                  </a:moveTo>
                  <a:lnTo>
                    <a:pt x="542632" y="472694"/>
                  </a:lnTo>
                  <a:lnTo>
                    <a:pt x="529234" y="427431"/>
                  </a:lnTo>
                  <a:lnTo>
                    <a:pt x="508622" y="385813"/>
                  </a:lnTo>
                  <a:lnTo>
                    <a:pt x="481520" y="348551"/>
                  </a:lnTo>
                  <a:lnTo>
                    <a:pt x="448678" y="316395"/>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15"/>
                  </a:lnTo>
                  <a:lnTo>
                    <a:pt x="66814" y="348132"/>
                  </a:lnTo>
                  <a:lnTo>
                    <a:pt x="39725" y="385241"/>
                  </a:lnTo>
                  <a:lnTo>
                    <a:pt x="19075" y="426694"/>
                  </a:lnTo>
                  <a:lnTo>
                    <a:pt x="5613" y="471792"/>
                  </a:lnTo>
                  <a:lnTo>
                    <a:pt x="38" y="519785"/>
                  </a:lnTo>
                  <a:lnTo>
                    <a:pt x="47713" y="515747"/>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35" y="486410"/>
                  </a:lnTo>
                  <a:lnTo>
                    <a:pt x="455549" y="505091"/>
                  </a:lnTo>
                  <a:lnTo>
                    <a:pt x="500164" y="516801"/>
                  </a:lnTo>
                  <a:lnTo>
                    <a:pt x="548081" y="520852"/>
                  </a:lnTo>
                  <a:close/>
                </a:path>
                <a:path w="548640" h="786764">
                  <a:moveTo>
                    <a:pt x="548081" y="267322"/>
                  </a:moveTo>
                  <a:lnTo>
                    <a:pt x="546976" y="257530"/>
                  </a:lnTo>
                  <a:lnTo>
                    <a:pt x="542645" y="219151"/>
                  </a:lnTo>
                  <a:lnTo>
                    <a:pt x="529247" y="173875"/>
                  </a:lnTo>
                  <a:lnTo>
                    <a:pt x="508635" y="132257"/>
                  </a:lnTo>
                  <a:lnTo>
                    <a:pt x="481533" y="94996"/>
                  </a:lnTo>
                  <a:lnTo>
                    <a:pt x="449376" y="63525"/>
                  </a:lnTo>
                  <a:lnTo>
                    <a:pt x="448691" y="62852"/>
                  </a:lnTo>
                  <a:lnTo>
                    <a:pt x="410832" y="36525"/>
                  </a:lnTo>
                  <a:lnTo>
                    <a:pt x="368706" y="16789"/>
                  </a:lnTo>
                  <a:lnTo>
                    <a:pt x="323037" y="4368"/>
                  </a:lnTo>
                  <a:lnTo>
                    <a:pt x="274561" y="0"/>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32"/>
                  </a:lnTo>
                  <a:lnTo>
                    <a:pt x="133464" y="231927"/>
                  </a:lnTo>
                  <a:lnTo>
                    <a:pt x="170738" y="207060"/>
                  </a:lnTo>
                  <a:lnTo>
                    <a:pt x="203365" y="176593"/>
                  </a:lnTo>
                  <a:lnTo>
                    <a:pt x="230682" y="141224"/>
                  </a:lnTo>
                  <a:lnTo>
                    <a:pt x="252006" y="101600"/>
                  </a:lnTo>
                  <a:lnTo>
                    <a:pt x="266674" y="58407"/>
                  </a:lnTo>
                  <a:lnTo>
                    <a:pt x="273989" y="12357"/>
                  </a:lnTo>
                  <a:lnTo>
                    <a:pt x="279844" y="50101"/>
                  </a:lnTo>
                  <a:lnTo>
                    <a:pt x="295719" y="101942"/>
                  </a:lnTo>
                  <a:lnTo>
                    <a:pt x="316992" y="141744"/>
                  </a:lnTo>
                  <a:lnTo>
                    <a:pt x="344284" y="177279"/>
                  </a:lnTo>
                  <a:lnTo>
                    <a:pt x="376923" y="207873"/>
                  </a:lnTo>
                  <a:lnTo>
                    <a:pt x="414248" y="232867"/>
                  </a:lnTo>
                  <a:lnTo>
                    <a:pt x="455549" y="251548"/>
                  </a:lnTo>
                  <a:lnTo>
                    <a:pt x="500176" y="263271"/>
                  </a:lnTo>
                  <a:lnTo>
                    <a:pt x="548081" y="267322"/>
                  </a:lnTo>
                  <a:close/>
                </a:path>
              </a:pathLst>
            </a:custGeom>
            <a:solidFill>
              <a:srgbClr val="2DB7EA"/>
            </a:solidFill>
          </p:spPr>
          <p:txBody>
            <a:bodyPr wrap="square" lIns="0" tIns="0" rIns="0" bIns="0" rtlCol="0"/>
            <a:lstStyle/>
            <a:p>
              <a:endParaRPr dirty="0"/>
            </a:p>
          </p:txBody>
        </p:sp>
        <p:pic>
          <p:nvPicPr>
            <p:cNvPr id="451" name="object 161">
              <a:extLst>
                <a:ext uri="{FF2B5EF4-FFF2-40B4-BE49-F238E27FC236}">
                  <a16:creationId xmlns:a16="http://schemas.microsoft.com/office/drawing/2014/main" id="{C3BA81B2-8DBE-F4C1-5725-92466A0A6129}"/>
                </a:ext>
              </a:extLst>
            </p:cNvPr>
            <p:cNvPicPr/>
            <p:nvPr/>
          </p:nvPicPr>
          <p:blipFill>
            <a:blip r:embed="rId13" cstate="print"/>
            <a:stretch>
              <a:fillRect/>
            </a:stretch>
          </p:blipFill>
          <p:spPr>
            <a:xfrm>
              <a:off x="11177526" y="1701903"/>
              <a:ext cx="106445" cy="107156"/>
            </a:xfrm>
            <a:prstGeom prst="rect">
              <a:avLst/>
            </a:prstGeom>
          </p:spPr>
        </p:pic>
        <p:sp>
          <p:nvSpPr>
            <p:cNvPr id="452" name="object 162">
              <a:extLst>
                <a:ext uri="{FF2B5EF4-FFF2-40B4-BE49-F238E27FC236}">
                  <a16:creationId xmlns:a16="http://schemas.microsoft.com/office/drawing/2014/main" id="{4C016F50-436F-7F13-A425-BDB0DF053720}"/>
                </a:ext>
              </a:extLst>
            </p:cNvPr>
            <p:cNvSpPr/>
            <p:nvPr/>
          </p:nvSpPr>
          <p:spPr>
            <a:xfrm>
              <a:off x="11064254" y="1900365"/>
              <a:ext cx="332700" cy="477101"/>
            </a:xfrm>
            <a:custGeom>
              <a:avLst/>
              <a:gdLst/>
              <a:ahLst/>
              <a:cxnLst/>
              <a:rect l="l" t="t" r="r" b="b"/>
              <a:pathLst>
                <a:path w="548640" h="786764">
                  <a:moveTo>
                    <a:pt x="548081" y="786396"/>
                  </a:moveTo>
                  <a:lnTo>
                    <a:pt x="542632" y="738225"/>
                  </a:lnTo>
                  <a:lnTo>
                    <a:pt x="529234" y="692962"/>
                  </a:lnTo>
                  <a:lnTo>
                    <a:pt x="508622" y="651344"/>
                  </a:lnTo>
                  <a:lnTo>
                    <a:pt x="481520" y="614083"/>
                  </a:lnTo>
                  <a:lnTo>
                    <a:pt x="448678" y="581939"/>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60"/>
                  </a:lnTo>
                  <a:lnTo>
                    <a:pt x="66814" y="613664"/>
                  </a:lnTo>
                  <a:lnTo>
                    <a:pt x="39725" y="650773"/>
                  </a:lnTo>
                  <a:lnTo>
                    <a:pt x="19075" y="692238"/>
                  </a:lnTo>
                  <a:lnTo>
                    <a:pt x="5613" y="737323"/>
                  </a:lnTo>
                  <a:lnTo>
                    <a:pt x="38" y="785317"/>
                  </a:lnTo>
                  <a:lnTo>
                    <a:pt x="47713" y="781278"/>
                  </a:lnTo>
                  <a:lnTo>
                    <a:pt x="92240" y="769620"/>
                  </a:lnTo>
                  <a:lnTo>
                    <a:pt x="133464" y="751027"/>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35" y="751941"/>
                  </a:lnTo>
                  <a:lnTo>
                    <a:pt x="455549" y="770636"/>
                  </a:lnTo>
                  <a:lnTo>
                    <a:pt x="500164" y="782332"/>
                  </a:lnTo>
                  <a:lnTo>
                    <a:pt x="548081" y="786396"/>
                  </a:lnTo>
                  <a:close/>
                </a:path>
                <a:path w="548640" h="786764">
                  <a:moveTo>
                    <a:pt x="548081" y="520865"/>
                  </a:moveTo>
                  <a:lnTo>
                    <a:pt x="542632" y="472706"/>
                  </a:lnTo>
                  <a:lnTo>
                    <a:pt x="529234" y="427443"/>
                  </a:lnTo>
                  <a:lnTo>
                    <a:pt x="508622" y="385813"/>
                  </a:lnTo>
                  <a:lnTo>
                    <a:pt x="481520" y="348551"/>
                  </a:lnTo>
                  <a:lnTo>
                    <a:pt x="448678" y="316407"/>
                  </a:lnTo>
                  <a:lnTo>
                    <a:pt x="410832" y="290093"/>
                  </a:lnTo>
                  <a:lnTo>
                    <a:pt x="368706" y="270357"/>
                  </a:lnTo>
                  <a:lnTo>
                    <a:pt x="323037" y="257937"/>
                  </a:lnTo>
                  <a:lnTo>
                    <a:pt x="274561" y="253555"/>
                  </a:lnTo>
                  <a:lnTo>
                    <a:pt x="273329" y="253555"/>
                  </a:lnTo>
                  <a:lnTo>
                    <a:pt x="224993" y="257924"/>
                  </a:lnTo>
                  <a:lnTo>
                    <a:pt x="179438" y="270281"/>
                  </a:lnTo>
                  <a:lnTo>
                    <a:pt x="137401" y="289928"/>
                  </a:lnTo>
                  <a:lnTo>
                    <a:pt x="99618" y="316128"/>
                  </a:lnTo>
                  <a:lnTo>
                    <a:pt x="66814" y="348132"/>
                  </a:lnTo>
                  <a:lnTo>
                    <a:pt x="39725" y="385241"/>
                  </a:lnTo>
                  <a:lnTo>
                    <a:pt x="19075" y="426707"/>
                  </a:lnTo>
                  <a:lnTo>
                    <a:pt x="5613" y="471792"/>
                  </a:lnTo>
                  <a:lnTo>
                    <a:pt x="38" y="519785"/>
                  </a:lnTo>
                  <a:lnTo>
                    <a:pt x="47713" y="515747"/>
                  </a:lnTo>
                  <a:lnTo>
                    <a:pt x="92240" y="504088"/>
                  </a:lnTo>
                  <a:lnTo>
                    <a:pt x="133464" y="485495"/>
                  </a:lnTo>
                  <a:lnTo>
                    <a:pt x="170738" y="460616"/>
                  </a:lnTo>
                  <a:lnTo>
                    <a:pt x="203365" y="430161"/>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4">
                  <a:moveTo>
                    <a:pt x="548081" y="267322"/>
                  </a:moveTo>
                  <a:lnTo>
                    <a:pt x="546976" y="257530"/>
                  </a:lnTo>
                  <a:lnTo>
                    <a:pt x="542645" y="219151"/>
                  </a:lnTo>
                  <a:lnTo>
                    <a:pt x="529247" y="173888"/>
                  </a:lnTo>
                  <a:lnTo>
                    <a:pt x="508635" y="132257"/>
                  </a:lnTo>
                  <a:lnTo>
                    <a:pt x="481533" y="95008"/>
                  </a:lnTo>
                  <a:lnTo>
                    <a:pt x="448691" y="62852"/>
                  </a:lnTo>
                  <a:lnTo>
                    <a:pt x="410832" y="36550"/>
                  </a:lnTo>
                  <a:lnTo>
                    <a:pt x="368706" y="16814"/>
                  </a:lnTo>
                  <a:lnTo>
                    <a:pt x="323037" y="4381"/>
                  </a:lnTo>
                  <a:lnTo>
                    <a:pt x="274561" y="0"/>
                  </a:lnTo>
                  <a:lnTo>
                    <a:pt x="273329" y="0"/>
                  </a:lnTo>
                  <a:lnTo>
                    <a:pt x="224993" y="4356"/>
                  </a:lnTo>
                  <a:lnTo>
                    <a:pt x="179438" y="16725"/>
                  </a:lnTo>
                  <a:lnTo>
                    <a:pt x="137401" y="36372"/>
                  </a:lnTo>
                  <a:lnTo>
                    <a:pt x="99618" y="62560"/>
                  </a:lnTo>
                  <a:lnTo>
                    <a:pt x="66814" y="94576"/>
                  </a:lnTo>
                  <a:lnTo>
                    <a:pt x="39700" y="131686"/>
                  </a:lnTo>
                  <a:lnTo>
                    <a:pt x="19037" y="173139"/>
                  </a:lnTo>
                  <a:lnTo>
                    <a:pt x="5562" y="218224"/>
                  </a:lnTo>
                  <a:lnTo>
                    <a:pt x="0" y="266192"/>
                  </a:lnTo>
                  <a:lnTo>
                    <a:pt x="47713" y="262191"/>
                  </a:lnTo>
                  <a:lnTo>
                    <a:pt x="92240" y="250532"/>
                  </a:lnTo>
                  <a:lnTo>
                    <a:pt x="133464" y="231927"/>
                  </a:lnTo>
                  <a:lnTo>
                    <a:pt x="170738" y="207060"/>
                  </a:lnTo>
                  <a:lnTo>
                    <a:pt x="203365" y="176593"/>
                  </a:lnTo>
                  <a:lnTo>
                    <a:pt x="230682" y="141224"/>
                  </a:lnTo>
                  <a:lnTo>
                    <a:pt x="252006" y="101600"/>
                  </a:lnTo>
                  <a:lnTo>
                    <a:pt x="266674" y="58420"/>
                  </a:lnTo>
                  <a:lnTo>
                    <a:pt x="273989" y="12369"/>
                  </a:lnTo>
                  <a:lnTo>
                    <a:pt x="279844" y="50101"/>
                  </a:lnTo>
                  <a:lnTo>
                    <a:pt x="295719" y="101942"/>
                  </a:lnTo>
                  <a:lnTo>
                    <a:pt x="316992" y="141744"/>
                  </a:lnTo>
                  <a:lnTo>
                    <a:pt x="344284" y="177279"/>
                  </a:lnTo>
                  <a:lnTo>
                    <a:pt x="376936" y="207886"/>
                  </a:lnTo>
                  <a:lnTo>
                    <a:pt x="414248" y="232867"/>
                  </a:lnTo>
                  <a:lnTo>
                    <a:pt x="455549" y="251561"/>
                  </a:lnTo>
                  <a:lnTo>
                    <a:pt x="500176" y="263271"/>
                  </a:lnTo>
                  <a:lnTo>
                    <a:pt x="548081" y="267322"/>
                  </a:lnTo>
                  <a:close/>
                </a:path>
              </a:pathLst>
            </a:custGeom>
            <a:solidFill>
              <a:srgbClr val="7ED3F1"/>
            </a:solidFill>
          </p:spPr>
          <p:txBody>
            <a:bodyPr wrap="square" lIns="0" tIns="0" rIns="0" bIns="0" rtlCol="0"/>
            <a:lstStyle/>
            <a:p>
              <a:endParaRPr dirty="0"/>
            </a:p>
          </p:txBody>
        </p:sp>
        <p:pic>
          <p:nvPicPr>
            <p:cNvPr id="453" name="object 163">
              <a:extLst>
                <a:ext uri="{FF2B5EF4-FFF2-40B4-BE49-F238E27FC236}">
                  <a16:creationId xmlns:a16="http://schemas.microsoft.com/office/drawing/2014/main" id="{E39BF7A6-ACC7-7CDC-9BB5-A3526B6DEE2F}"/>
                </a:ext>
              </a:extLst>
            </p:cNvPr>
            <p:cNvPicPr/>
            <p:nvPr/>
          </p:nvPicPr>
          <p:blipFill>
            <a:blip r:embed="rId14" cstate="print"/>
            <a:stretch>
              <a:fillRect/>
            </a:stretch>
          </p:blipFill>
          <p:spPr>
            <a:xfrm>
              <a:off x="11177526" y="2356067"/>
              <a:ext cx="106445" cy="107156"/>
            </a:xfrm>
            <a:prstGeom prst="rect">
              <a:avLst/>
            </a:prstGeom>
          </p:spPr>
        </p:pic>
        <p:sp>
          <p:nvSpPr>
            <p:cNvPr id="454" name="object 164">
              <a:extLst>
                <a:ext uri="{FF2B5EF4-FFF2-40B4-BE49-F238E27FC236}">
                  <a16:creationId xmlns:a16="http://schemas.microsoft.com/office/drawing/2014/main" id="{C14227E3-3636-146F-720D-2F58B3C034D9}"/>
                </a:ext>
              </a:extLst>
            </p:cNvPr>
            <p:cNvSpPr/>
            <p:nvPr/>
          </p:nvSpPr>
          <p:spPr>
            <a:xfrm>
              <a:off x="11064256"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455" name="object 165">
              <a:extLst>
                <a:ext uri="{FF2B5EF4-FFF2-40B4-BE49-F238E27FC236}">
                  <a16:creationId xmlns:a16="http://schemas.microsoft.com/office/drawing/2014/main" id="{B4FC25CF-1881-6A62-4B3F-381F79BEA831}"/>
                </a:ext>
              </a:extLst>
            </p:cNvPr>
            <p:cNvPicPr/>
            <p:nvPr/>
          </p:nvPicPr>
          <p:blipFill>
            <a:blip r:embed="rId22" cstate="print"/>
            <a:stretch>
              <a:fillRect/>
            </a:stretch>
          </p:blipFill>
          <p:spPr>
            <a:xfrm>
              <a:off x="11064284" y="123"/>
              <a:ext cx="152433" cy="99184"/>
            </a:xfrm>
            <a:prstGeom prst="rect">
              <a:avLst/>
            </a:prstGeom>
          </p:spPr>
        </p:pic>
        <p:pic>
          <p:nvPicPr>
            <p:cNvPr id="456" name="object 166">
              <a:extLst>
                <a:ext uri="{FF2B5EF4-FFF2-40B4-BE49-F238E27FC236}">
                  <a16:creationId xmlns:a16="http://schemas.microsoft.com/office/drawing/2014/main" id="{C719253B-884F-AC11-BE94-395EFAAD273B}"/>
                </a:ext>
              </a:extLst>
            </p:cNvPr>
            <p:cNvPicPr/>
            <p:nvPr/>
          </p:nvPicPr>
          <p:blipFill>
            <a:blip r:embed="rId23" cstate="print"/>
            <a:stretch>
              <a:fillRect/>
            </a:stretch>
          </p:blipFill>
          <p:spPr>
            <a:xfrm>
              <a:off x="11243818" y="123"/>
              <a:ext cx="152798" cy="99837"/>
            </a:xfrm>
            <a:prstGeom prst="rect">
              <a:avLst/>
            </a:prstGeom>
          </p:spPr>
        </p:pic>
        <p:sp>
          <p:nvSpPr>
            <p:cNvPr id="457" name="object 167">
              <a:extLst>
                <a:ext uri="{FF2B5EF4-FFF2-40B4-BE49-F238E27FC236}">
                  <a16:creationId xmlns:a16="http://schemas.microsoft.com/office/drawing/2014/main" id="{40AB647C-F5CD-C705-4097-E759CC6A3465}"/>
                </a:ext>
              </a:extLst>
            </p:cNvPr>
            <p:cNvSpPr/>
            <p:nvPr/>
          </p:nvSpPr>
          <p:spPr>
            <a:xfrm>
              <a:off x="11064277" y="91626"/>
              <a:ext cx="332700" cy="323458"/>
            </a:xfrm>
            <a:custGeom>
              <a:avLst/>
              <a:gdLst/>
              <a:ahLst/>
              <a:cxnLst/>
              <a:rect l="l" t="t" r="r" b="b"/>
              <a:pathLst>
                <a:path w="548640" h="533400">
                  <a:moveTo>
                    <a:pt x="548043" y="532841"/>
                  </a:moveTo>
                  <a:lnTo>
                    <a:pt x="542594" y="484682"/>
                  </a:lnTo>
                  <a:lnTo>
                    <a:pt x="529196" y="439420"/>
                  </a:lnTo>
                  <a:lnTo>
                    <a:pt x="508584" y="397789"/>
                  </a:lnTo>
                  <a:lnTo>
                    <a:pt x="481482" y="360527"/>
                  </a:lnTo>
                  <a:lnTo>
                    <a:pt x="448640" y="328383"/>
                  </a:lnTo>
                  <a:lnTo>
                    <a:pt x="410794" y="302069"/>
                  </a:lnTo>
                  <a:lnTo>
                    <a:pt x="368668" y="282333"/>
                  </a:lnTo>
                  <a:lnTo>
                    <a:pt x="322999" y="269913"/>
                  </a:lnTo>
                  <a:lnTo>
                    <a:pt x="274523" y="265544"/>
                  </a:lnTo>
                  <a:lnTo>
                    <a:pt x="273291" y="265544"/>
                  </a:lnTo>
                  <a:lnTo>
                    <a:pt x="224955" y="269900"/>
                  </a:lnTo>
                  <a:lnTo>
                    <a:pt x="179400" y="282257"/>
                  </a:lnTo>
                  <a:lnTo>
                    <a:pt x="137363" y="301904"/>
                  </a:lnTo>
                  <a:lnTo>
                    <a:pt x="99580" y="328104"/>
                  </a:lnTo>
                  <a:lnTo>
                    <a:pt x="66776" y="360121"/>
                  </a:lnTo>
                  <a:lnTo>
                    <a:pt x="39687" y="397217"/>
                  </a:lnTo>
                  <a:lnTo>
                    <a:pt x="19037" y="438683"/>
                  </a:lnTo>
                  <a:lnTo>
                    <a:pt x="5575" y="483768"/>
                  </a:lnTo>
                  <a:lnTo>
                    <a:pt x="0" y="531761"/>
                  </a:lnTo>
                  <a:lnTo>
                    <a:pt x="47675" y="527723"/>
                  </a:lnTo>
                  <a:lnTo>
                    <a:pt x="92202" y="516064"/>
                  </a:lnTo>
                  <a:lnTo>
                    <a:pt x="133426" y="497471"/>
                  </a:lnTo>
                  <a:lnTo>
                    <a:pt x="170700" y="472592"/>
                  </a:lnTo>
                  <a:lnTo>
                    <a:pt x="203327" y="442137"/>
                  </a:lnTo>
                  <a:lnTo>
                    <a:pt x="230632" y="406755"/>
                  </a:lnTo>
                  <a:lnTo>
                    <a:pt x="251955" y="367118"/>
                  </a:lnTo>
                  <a:lnTo>
                    <a:pt x="266623" y="323926"/>
                  </a:lnTo>
                  <a:lnTo>
                    <a:pt x="273951" y="277837"/>
                  </a:lnTo>
                  <a:lnTo>
                    <a:pt x="281127" y="324116"/>
                  </a:lnTo>
                  <a:lnTo>
                    <a:pt x="295681" y="367487"/>
                  </a:lnTo>
                  <a:lnTo>
                    <a:pt x="316953" y="407276"/>
                  </a:lnTo>
                  <a:lnTo>
                    <a:pt x="344246" y="442810"/>
                  </a:lnTo>
                  <a:lnTo>
                    <a:pt x="376885" y="473417"/>
                  </a:lnTo>
                  <a:lnTo>
                    <a:pt x="414197" y="498398"/>
                  </a:lnTo>
                  <a:lnTo>
                    <a:pt x="455510" y="517080"/>
                  </a:lnTo>
                  <a:lnTo>
                    <a:pt x="500126" y="528789"/>
                  </a:lnTo>
                  <a:lnTo>
                    <a:pt x="548043" y="532841"/>
                  </a:lnTo>
                  <a:close/>
                </a:path>
                <a:path w="548640" h="533400">
                  <a:moveTo>
                    <a:pt x="548043" y="267309"/>
                  </a:moveTo>
                  <a:lnTo>
                    <a:pt x="542594" y="219138"/>
                  </a:lnTo>
                  <a:lnTo>
                    <a:pt x="529196" y="173888"/>
                  </a:lnTo>
                  <a:lnTo>
                    <a:pt x="508584" y="132257"/>
                  </a:lnTo>
                  <a:lnTo>
                    <a:pt x="481482" y="94996"/>
                  </a:lnTo>
                  <a:lnTo>
                    <a:pt x="448640" y="62852"/>
                  </a:lnTo>
                  <a:lnTo>
                    <a:pt x="410794" y="36537"/>
                  </a:lnTo>
                  <a:lnTo>
                    <a:pt x="368668" y="16802"/>
                  </a:lnTo>
                  <a:lnTo>
                    <a:pt x="322999" y="4381"/>
                  </a:lnTo>
                  <a:lnTo>
                    <a:pt x="274523" y="0"/>
                  </a:lnTo>
                  <a:lnTo>
                    <a:pt x="273291" y="0"/>
                  </a:lnTo>
                  <a:lnTo>
                    <a:pt x="224955" y="4356"/>
                  </a:lnTo>
                  <a:lnTo>
                    <a:pt x="179400" y="16725"/>
                  </a:lnTo>
                  <a:lnTo>
                    <a:pt x="137363" y="36372"/>
                  </a:lnTo>
                  <a:lnTo>
                    <a:pt x="99580" y="62572"/>
                  </a:lnTo>
                  <a:lnTo>
                    <a:pt x="66776" y="94576"/>
                  </a:lnTo>
                  <a:lnTo>
                    <a:pt x="39687" y="131686"/>
                  </a:lnTo>
                  <a:lnTo>
                    <a:pt x="19037" y="173151"/>
                  </a:lnTo>
                  <a:lnTo>
                    <a:pt x="5575" y="218236"/>
                  </a:lnTo>
                  <a:lnTo>
                    <a:pt x="0" y="266230"/>
                  </a:lnTo>
                  <a:lnTo>
                    <a:pt x="47675" y="262191"/>
                  </a:lnTo>
                  <a:lnTo>
                    <a:pt x="92202" y="250532"/>
                  </a:lnTo>
                  <a:lnTo>
                    <a:pt x="133426" y="231940"/>
                  </a:lnTo>
                  <a:lnTo>
                    <a:pt x="170700" y="207060"/>
                  </a:lnTo>
                  <a:lnTo>
                    <a:pt x="203327" y="176593"/>
                  </a:lnTo>
                  <a:lnTo>
                    <a:pt x="230632" y="141211"/>
                  </a:lnTo>
                  <a:lnTo>
                    <a:pt x="251955" y="101587"/>
                  </a:lnTo>
                  <a:lnTo>
                    <a:pt x="266623" y="58394"/>
                  </a:lnTo>
                  <a:lnTo>
                    <a:pt x="273951" y="12306"/>
                  </a:lnTo>
                  <a:lnTo>
                    <a:pt x="281127" y="58585"/>
                  </a:lnTo>
                  <a:lnTo>
                    <a:pt x="295681" y="101955"/>
                  </a:lnTo>
                  <a:lnTo>
                    <a:pt x="316953" y="141744"/>
                  </a:lnTo>
                  <a:lnTo>
                    <a:pt x="344246" y="177279"/>
                  </a:lnTo>
                  <a:lnTo>
                    <a:pt x="376885" y="207873"/>
                  </a:lnTo>
                  <a:lnTo>
                    <a:pt x="414197" y="232854"/>
                  </a:lnTo>
                  <a:lnTo>
                    <a:pt x="455510" y="251548"/>
                  </a:lnTo>
                  <a:lnTo>
                    <a:pt x="500126" y="263258"/>
                  </a:lnTo>
                  <a:lnTo>
                    <a:pt x="548043" y="267309"/>
                  </a:lnTo>
                  <a:close/>
                </a:path>
              </a:pathLst>
            </a:custGeom>
            <a:solidFill>
              <a:srgbClr val="2DB7EA"/>
            </a:solidFill>
          </p:spPr>
          <p:txBody>
            <a:bodyPr wrap="square" lIns="0" tIns="0" rIns="0" bIns="0" rtlCol="0"/>
            <a:lstStyle/>
            <a:p>
              <a:endParaRPr dirty="0"/>
            </a:p>
          </p:txBody>
        </p:sp>
        <p:pic>
          <p:nvPicPr>
            <p:cNvPr id="458" name="object 168">
              <a:extLst>
                <a:ext uri="{FF2B5EF4-FFF2-40B4-BE49-F238E27FC236}">
                  <a16:creationId xmlns:a16="http://schemas.microsoft.com/office/drawing/2014/main" id="{B0661ACD-1F40-7477-269A-6935825CF51D}"/>
                </a:ext>
              </a:extLst>
            </p:cNvPr>
            <p:cNvPicPr/>
            <p:nvPr/>
          </p:nvPicPr>
          <p:blipFill>
            <a:blip r:embed="rId13" cstate="print"/>
            <a:stretch>
              <a:fillRect/>
            </a:stretch>
          </p:blipFill>
          <p:spPr>
            <a:xfrm>
              <a:off x="11177526" y="393572"/>
              <a:ext cx="106445" cy="107156"/>
            </a:xfrm>
            <a:prstGeom prst="rect">
              <a:avLst/>
            </a:prstGeom>
          </p:spPr>
        </p:pic>
        <p:sp>
          <p:nvSpPr>
            <p:cNvPr id="459" name="object 169">
              <a:extLst>
                <a:ext uri="{FF2B5EF4-FFF2-40B4-BE49-F238E27FC236}">
                  <a16:creationId xmlns:a16="http://schemas.microsoft.com/office/drawing/2014/main" id="{BF742633-17E5-FC11-63D5-2EC0132121BD}"/>
                </a:ext>
              </a:extLst>
            </p:cNvPr>
            <p:cNvSpPr/>
            <p:nvPr/>
          </p:nvSpPr>
          <p:spPr>
            <a:xfrm>
              <a:off x="11064254" y="592039"/>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78"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38" y="785304"/>
                  </a:lnTo>
                  <a:lnTo>
                    <a:pt x="47713" y="781278"/>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52"/>
                  </a:moveTo>
                  <a:lnTo>
                    <a:pt x="542632" y="472694"/>
                  </a:lnTo>
                  <a:lnTo>
                    <a:pt x="529234" y="427431"/>
                  </a:lnTo>
                  <a:lnTo>
                    <a:pt x="508622" y="385800"/>
                  </a:lnTo>
                  <a:lnTo>
                    <a:pt x="481520" y="348551"/>
                  </a:lnTo>
                  <a:lnTo>
                    <a:pt x="448678" y="316395"/>
                  </a:lnTo>
                  <a:lnTo>
                    <a:pt x="410832" y="290080"/>
                  </a:lnTo>
                  <a:lnTo>
                    <a:pt x="368706" y="270357"/>
                  </a:lnTo>
                  <a:lnTo>
                    <a:pt x="323037" y="257924"/>
                  </a:lnTo>
                  <a:lnTo>
                    <a:pt x="274561" y="253555"/>
                  </a:lnTo>
                  <a:lnTo>
                    <a:pt x="273329" y="253555"/>
                  </a:lnTo>
                  <a:lnTo>
                    <a:pt x="224993" y="257911"/>
                  </a:lnTo>
                  <a:lnTo>
                    <a:pt x="179438" y="270281"/>
                  </a:lnTo>
                  <a:lnTo>
                    <a:pt x="137401" y="289915"/>
                  </a:lnTo>
                  <a:lnTo>
                    <a:pt x="99618" y="316115"/>
                  </a:lnTo>
                  <a:lnTo>
                    <a:pt x="66814" y="348132"/>
                  </a:lnTo>
                  <a:lnTo>
                    <a:pt x="39725" y="385229"/>
                  </a:lnTo>
                  <a:lnTo>
                    <a:pt x="19075" y="426694"/>
                  </a:lnTo>
                  <a:lnTo>
                    <a:pt x="5613" y="471779"/>
                  </a:lnTo>
                  <a:lnTo>
                    <a:pt x="38" y="519772"/>
                  </a:lnTo>
                  <a:lnTo>
                    <a:pt x="47713" y="515734"/>
                  </a:lnTo>
                  <a:lnTo>
                    <a:pt x="92240" y="504088"/>
                  </a:lnTo>
                  <a:lnTo>
                    <a:pt x="133464" y="485482"/>
                  </a:lnTo>
                  <a:lnTo>
                    <a:pt x="170738" y="460616"/>
                  </a:lnTo>
                  <a:lnTo>
                    <a:pt x="203365" y="430149"/>
                  </a:lnTo>
                  <a:lnTo>
                    <a:pt x="230670" y="394766"/>
                  </a:lnTo>
                  <a:lnTo>
                    <a:pt x="251993" y="355142"/>
                  </a:lnTo>
                  <a:lnTo>
                    <a:pt x="266661" y="311937"/>
                  </a:lnTo>
                  <a:lnTo>
                    <a:pt x="273989" y="265861"/>
                  </a:lnTo>
                  <a:lnTo>
                    <a:pt x="281165" y="312127"/>
                  </a:lnTo>
                  <a:lnTo>
                    <a:pt x="295719" y="355498"/>
                  </a:lnTo>
                  <a:lnTo>
                    <a:pt x="316992" y="395300"/>
                  </a:lnTo>
                  <a:lnTo>
                    <a:pt x="344284" y="430834"/>
                  </a:lnTo>
                  <a:lnTo>
                    <a:pt x="376923" y="461429"/>
                  </a:lnTo>
                  <a:lnTo>
                    <a:pt x="414235" y="486410"/>
                  </a:lnTo>
                  <a:lnTo>
                    <a:pt x="455549" y="505091"/>
                  </a:lnTo>
                  <a:lnTo>
                    <a:pt x="500164" y="516801"/>
                  </a:lnTo>
                  <a:lnTo>
                    <a:pt x="548081" y="520852"/>
                  </a:lnTo>
                  <a:close/>
                </a:path>
                <a:path w="548640" h="786764">
                  <a:moveTo>
                    <a:pt x="548081" y="267322"/>
                  </a:moveTo>
                  <a:lnTo>
                    <a:pt x="547077" y="258432"/>
                  </a:lnTo>
                  <a:lnTo>
                    <a:pt x="542645" y="219138"/>
                  </a:lnTo>
                  <a:lnTo>
                    <a:pt x="529247" y="173875"/>
                  </a:lnTo>
                  <a:lnTo>
                    <a:pt x="508635" y="132245"/>
                  </a:lnTo>
                  <a:lnTo>
                    <a:pt x="481533" y="94996"/>
                  </a:lnTo>
                  <a:lnTo>
                    <a:pt x="480834" y="94322"/>
                  </a:lnTo>
                  <a:lnTo>
                    <a:pt x="448691" y="62839"/>
                  </a:lnTo>
                  <a:lnTo>
                    <a:pt x="433158" y="52057"/>
                  </a:lnTo>
                  <a:lnTo>
                    <a:pt x="410832" y="36537"/>
                  </a:lnTo>
                  <a:lnTo>
                    <a:pt x="368706" y="16789"/>
                  </a:lnTo>
                  <a:lnTo>
                    <a:pt x="323037" y="4368"/>
                  </a:lnTo>
                  <a:lnTo>
                    <a:pt x="274561" y="12"/>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64" y="231927"/>
                  </a:lnTo>
                  <a:lnTo>
                    <a:pt x="170738" y="207048"/>
                  </a:lnTo>
                  <a:lnTo>
                    <a:pt x="203365" y="176593"/>
                  </a:lnTo>
                  <a:lnTo>
                    <a:pt x="230682" y="141211"/>
                  </a:lnTo>
                  <a:lnTo>
                    <a:pt x="252006" y="101587"/>
                  </a:lnTo>
                  <a:lnTo>
                    <a:pt x="266674" y="58407"/>
                  </a:lnTo>
                  <a:lnTo>
                    <a:pt x="273989" y="12357"/>
                  </a:lnTo>
                  <a:lnTo>
                    <a:pt x="281165" y="58572"/>
                  </a:lnTo>
                  <a:lnTo>
                    <a:pt x="295719" y="101942"/>
                  </a:lnTo>
                  <a:lnTo>
                    <a:pt x="316992" y="141732"/>
                  </a:lnTo>
                  <a:lnTo>
                    <a:pt x="344284" y="177266"/>
                  </a:lnTo>
                  <a:lnTo>
                    <a:pt x="376923" y="207873"/>
                  </a:lnTo>
                  <a:lnTo>
                    <a:pt x="414235" y="232854"/>
                  </a:lnTo>
                  <a:lnTo>
                    <a:pt x="455549" y="251548"/>
                  </a:lnTo>
                  <a:lnTo>
                    <a:pt x="500176" y="263258"/>
                  </a:lnTo>
                  <a:lnTo>
                    <a:pt x="548081" y="267322"/>
                  </a:lnTo>
                  <a:close/>
                </a:path>
              </a:pathLst>
            </a:custGeom>
            <a:solidFill>
              <a:srgbClr val="7ED3F1"/>
            </a:solidFill>
          </p:spPr>
          <p:txBody>
            <a:bodyPr wrap="square" lIns="0" tIns="0" rIns="0" bIns="0" rtlCol="0"/>
            <a:lstStyle/>
            <a:p>
              <a:endParaRPr dirty="0"/>
            </a:p>
          </p:txBody>
        </p:sp>
        <p:pic>
          <p:nvPicPr>
            <p:cNvPr id="460" name="object 170">
              <a:extLst>
                <a:ext uri="{FF2B5EF4-FFF2-40B4-BE49-F238E27FC236}">
                  <a16:creationId xmlns:a16="http://schemas.microsoft.com/office/drawing/2014/main" id="{EE229720-54F7-F756-5E51-55FC184B80F4}"/>
                </a:ext>
              </a:extLst>
            </p:cNvPr>
            <p:cNvPicPr/>
            <p:nvPr/>
          </p:nvPicPr>
          <p:blipFill>
            <a:blip r:embed="rId14" cstate="print"/>
            <a:stretch>
              <a:fillRect/>
            </a:stretch>
          </p:blipFill>
          <p:spPr>
            <a:xfrm>
              <a:off x="11177526" y="1047738"/>
              <a:ext cx="106445" cy="107156"/>
            </a:xfrm>
            <a:prstGeom prst="rect">
              <a:avLst/>
            </a:prstGeom>
          </p:spPr>
        </p:pic>
        <p:sp>
          <p:nvSpPr>
            <p:cNvPr id="461" name="object 187">
              <a:extLst>
                <a:ext uri="{FF2B5EF4-FFF2-40B4-BE49-F238E27FC236}">
                  <a16:creationId xmlns:a16="http://schemas.microsoft.com/office/drawing/2014/main" id="{58E1335C-64E0-F667-FA44-67BF0EC0E9EE}"/>
                </a:ext>
              </a:extLst>
            </p:cNvPr>
            <p:cNvSpPr/>
            <p:nvPr/>
          </p:nvSpPr>
          <p:spPr>
            <a:xfrm>
              <a:off x="11834385" y="3862863"/>
              <a:ext cx="332700" cy="477101"/>
            </a:xfrm>
            <a:custGeom>
              <a:avLst/>
              <a:gdLst/>
              <a:ahLst/>
              <a:cxnLst/>
              <a:rect l="l" t="t" r="r" b="b"/>
              <a:pathLst>
                <a:path w="548640" h="786765">
                  <a:moveTo>
                    <a:pt x="548081" y="786396"/>
                  </a:moveTo>
                  <a:lnTo>
                    <a:pt x="542632" y="738238"/>
                  </a:lnTo>
                  <a:lnTo>
                    <a:pt x="529234" y="692975"/>
                  </a:lnTo>
                  <a:lnTo>
                    <a:pt x="508622" y="651344"/>
                  </a:lnTo>
                  <a:lnTo>
                    <a:pt x="481533" y="614083"/>
                  </a:lnTo>
                  <a:lnTo>
                    <a:pt x="448691" y="581939"/>
                  </a:lnTo>
                  <a:lnTo>
                    <a:pt x="410832" y="555625"/>
                  </a:lnTo>
                  <a:lnTo>
                    <a:pt x="368706" y="535889"/>
                  </a:lnTo>
                  <a:lnTo>
                    <a:pt x="323037" y="523468"/>
                  </a:lnTo>
                  <a:lnTo>
                    <a:pt x="274561" y="519099"/>
                  </a:lnTo>
                  <a:lnTo>
                    <a:pt x="273342" y="519099"/>
                  </a:lnTo>
                  <a:lnTo>
                    <a:pt x="224993" y="523455"/>
                  </a:lnTo>
                  <a:lnTo>
                    <a:pt x="179438" y="535813"/>
                  </a:lnTo>
                  <a:lnTo>
                    <a:pt x="137401" y="555459"/>
                  </a:lnTo>
                  <a:lnTo>
                    <a:pt x="99618" y="581660"/>
                  </a:lnTo>
                  <a:lnTo>
                    <a:pt x="66814" y="613664"/>
                  </a:lnTo>
                  <a:lnTo>
                    <a:pt x="39725" y="650773"/>
                  </a:lnTo>
                  <a:lnTo>
                    <a:pt x="19088" y="692226"/>
                  </a:lnTo>
                  <a:lnTo>
                    <a:pt x="5613" y="737323"/>
                  </a:lnTo>
                  <a:lnTo>
                    <a:pt x="50" y="785304"/>
                  </a:lnTo>
                  <a:lnTo>
                    <a:pt x="47713" y="781265"/>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72"/>
                  </a:lnTo>
                  <a:lnTo>
                    <a:pt x="295732" y="621042"/>
                  </a:lnTo>
                  <a:lnTo>
                    <a:pt x="316992" y="660831"/>
                  </a:lnTo>
                  <a:lnTo>
                    <a:pt x="344284" y="696366"/>
                  </a:lnTo>
                  <a:lnTo>
                    <a:pt x="376936" y="726973"/>
                  </a:lnTo>
                  <a:lnTo>
                    <a:pt x="414248"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33" y="348564"/>
                  </a:lnTo>
                  <a:lnTo>
                    <a:pt x="448691" y="316407"/>
                  </a:lnTo>
                  <a:lnTo>
                    <a:pt x="410832" y="290106"/>
                  </a:lnTo>
                  <a:lnTo>
                    <a:pt x="368706" y="270370"/>
                  </a:lnTo>
                  <a:lnTo>
                    <a:pt x="323037" y="257949"/>
                  </a:lnTo>
                  <a:lnTo>
                    <a:pt x="274561" y="253568"/>
                  </a:lnTo>
                  <a:lnTo>
                    <a:pt x="273342" y="253568"/>
                  </a:lnTo>
                  <a:lnTo>
                    <a:pt x="224993" y="257924"/>
                  </a:lnTo>
                  <a:lnTo>
                    <a:pt x="179438" y="270294"/>
                  </a:lnTo>
                  <a:lnTo>
                    <a:pt x="137401" y="289941"/>
                  </a:lnTo>
                  <a:lnTo>
                    <a:pt x="99618" y="316128"/>
                  </a:lnTo>
                  <a:lnTo>
                    <a:pt x="66814" y="348145"/>
                  </a:lnTo>
                  <a:lnTo>
                    <a:pt x="39725" y="385241"/>
                  </a:lnTo>
                  <a:lnTo>
                    <a:pt x="19088" y="426707"/>
                  </a:lnTo>
                  <a:lnTo>
                    <a:pt x="5613" y="471792"/>
                  </a:lnTo>
                  <a:lnTo>
                    <a:pt x="50" y="519785"/>
                  </a:lnTo>
                  <a:lnTo>
                    <a:pt x="47713" y="515747"/>
                  </a:lnTo>
                  <a:lnTo>
                    <a:pt x="92240" y="504101"/>
                  </a:lnTo>
                  <a:lnTo>
                    <a:pt x="133477" y="485495"/>
                  </a:lnTo>
                  <a:lnTo>
                    <a:pt x="170738" y="460629"/>
                  </a:lnTo>
                  <a:lnTo>
                    <a:pt x="203365" y="430161"/>
                  </a:lnTo>
                  <a:lnTo>
                    <a:pt x="230670" y="394779"/>
                  </a:lnTo>
                  <a:lnTo>
                    <a:pt x="252006" y="355142"/>
                  </a:lnTo>
                  <a:lnTo>
                    <a:pt x="266661" y="311950"/>
                  </a:lnTo>
                  <a:lnTo>
                    <a:pt x="274002" y="265874"/>
                  </a:lnTo>
                  <a:lnTo>
                    <a:pt x="281165" y="312140"/>
                  </a:lnTo>
                  <a:lnTo>
                    <a:pt x="295732" y="355511"/>
                  </a:lnTo>
                  <a:lnTo>
                    <a:pt x="316992" y="395300"/>
                  </a:lnTo>
                  <a:lnTo>
                    <a:pt x="344284" y="430847"/>
                  </a:lnTo>
                  <a:lnTo>
                    <a:pt x="376936" y="461441"/>
                  </a:lnTo>
                  <a:lnTo>
                    <a:pt x="414248" y="486422"/>
                  </a:lnTo>
                  <a:lnTo>
                    <a:pt x="455549" y="505104"/>
                  </a:lnTo>
                  <a:lnTo>
                    <a:pt x="500164" y="516813"/>
                  </a:lnTo>
                  <a:lnTo>
                    <a:pt x="548081" y="520865"/>
                  </a:lnTo>
                  <a:close/>
                </a:path>
                <a:path w="548640" h="786765">
                  <a:moveTo>
                    <a:pt x="548093" y="267322"/>
                  </a:moveTo>
                  <a:lnTo>
                    <a:pt x="542645" y="219151"/>
                  </a:lnTo>
                  <a:lnTo>
                    <a:pt x="529247" y="173888"/>
                  </a:lnTo>
                  <a:lnTo>
                    <a:pt x="508635" y="132257"/>
                  </a:lnTo>
                  <a:lnTo>
                    <a:pt x="492937" y="110693"/>
                  </a:lnTo>
                  <a:lnTo>
                    <a:pt x="481533" y="95008"/>
                  </a:lnTo>
                  <a:lnTo>
                    <a:pt x="448691" y="62852"/>
                  </a:lnTo>
                  <a:lnTo>
                    <a:pt x="410845" y="36550"/>
                  </a:lnTo>
                  <a:lnTo>
                    <a:pt x="368706" y="16802"/>
                  </a:lnTo>
                  <a:lnTo>
                    <a:pt x="323037" y="4381"/>
                  </a:lnTo>
                  <a:lnTo>
                    <a:pt x="274561" y="0"/>
                  </a:lnTo>
                  <a:lnTo>
                    <a:pt x="273342" y="0"/>
                  </a:lnTo>
                  <a:lnTo>
                    <a:pt x="224993" y="4356"/>
                  </a:lnTo>
                  <a:lnTo>
                    <a:pt x="179438" y="16725"/>
                  </a:lnTo>
                  <a:lnTo>
                    <a:pt x="137401" y="36372"/>
                  </a:lnTo>
                  <a:lnTo>
                    <a:pt x="99618" y="62560"/>
                  </a:lnTo>
                  <a:lnTo>
                    <a:pt x="66814" y="94576"/>
                  </a:lnTo>
                  <a:lnTo>
                    <a:pt x="39700" y="131686"/>
                  </a:lnTo>
                  <a:lnTo>
                    <a:pt x="19050" y="173139"/>
                  </a:lnTo>
                  <a:lnTo>
                    <a:pt x="5575" y="218224"/>
                  </a:lnTo>
                  <a:lnTo>
                    <a:pt x="0" y="266192"/>
                  </a:lnTo>
                  <a:lnTo>
                    <a:pt x="47713" y="262178"/>
                  </a:lnTo>
                  <a:lnTo>
                    <a:pt x="92240" y="250520"/>
                  </a:lnTo>
                  <a:lnTo>
                    <a:pt x="133477" y="231927"/>
                  </a:lnTo>
                  <a:lnTo>
                    <a:pt x="170738" y="207060"/>
                  </a:lnTo>
                  <a:lnTo>
                    <a:pt x="203365" y="176593"/>
                  </a:lnTo>
                  <a:lnTo>
                    <a:pt x="230682" y="141224"/>
                  </a:lnTo>
                  <a:lnTo>
                    <a:pt x="252006" y="101600"/>
                  </a:lnTo>
                  <a:lnTo>
                    <a:pt x="266674" y="58420"/>
                  </a:lnTo>
                  <a:lnTo>
                    <a:pt x="274002" y="12331"/>
                  </a:lnTo>
                  <a:lnTo>
                    <a:pt x="275920" y="24739"/>
                  </a:lnTo>
                  <a:lnTo>
                    <a:pt x="281165" y="58572"/>
                  </a:lnTo>
                  <a:lnTo>
                    <a:pt x="295732" y="101955"/>
                  </a:lnTo>
                  <a:lnTo>
                    <a:pt x="316992" y="141744"/>
                  </a:lnTo>
                  <a:lnTo>
                    <a:pt x="344284" y="177279"/>
                  </a:lnTo>
                  <a:lnTo>
                    <a:pt x="376936" y="207886"/>
                  </a:lnTo>
                  <a:lnTo>
                    <a:pt x="414248" y="232867"/>
                  </a:lnTo>
                  <a:lnTo>
                    <a:pt x="455561" y="251561"/>
                  </a:lnTo>
                  <a:lnTo>
                    <a:pt x="500176" y="263271"/>
                  </a:lnTo>
                  <a:lnTo>
                    <a:pt x="548093" y="267322"/>
                  </a:lnTo>
                  <a:close/>
                </a:path>
              </a:pathLst>
            </a:custGeom>
            <a:solidFill>
              <a:srgbClr val="2DB7EA"/>
            </a:solidFill>
          </p:spPr>
          <p:txBody>
            <a:bodyPr wrap="square" lIns="0" tIns="0" rIns="0" bIns="0" rtlCol="0"/>
            <a:lstStyle/>
            <a:p>
              <a:endParaRPr dirty="0"/>
            </a:p>
          </p:txBody>
        </p:sp>
        <p:pic>
          <p:nvPicPr>
            <p:cNvPr id="462" name="object 188">
              <a:extLst>
                <a:ext uri="{FF2B5EF4-FFF2-40B4-BE49-F238E27FC236}">
                  <a16:creationId xmlns:a16="http://schemas.microsoft.com/office/drawing/2014/main" id="{B1CCB500-66CC-99F7-0C29-50F8889D02EA}"/>
                </a:ext>
              </a:extLst>
            </p:cNvPr>
            <p:cNvPicPr/>
            <p:nvPr/>
          </p:nvPicPr>
          <p:blipFill>
            <a:blip r:embed="rId16" cstate="print"/>
            <a:stretch>
              <a:fillRect/>
            </a:stretch>
          </p:blipFill>
          <p:spPr>
            <a:xfrm>
              <a:off x="11947657" y="4318566"/>
              <a:ext cx="106445" cy="107156"/>
            </a:xfrm>
            <a:prstGeom prst="rect">
              <a:avLst/>
            </a:prstGeom>
          </p:spPr>
        </p:pic>
        <p:sp>
          <p:nvSpPr>
            <p:cNvPr id="463" name="object 189">
              <a:extLst>
                <a:ext uri="{FF2B5EF4-FFF2-40B4-BE49-F238E27FC236}">
                  <a16:creationId xmlns:a16="http://schemas.microsoft.com/office/drawing/2014/main" id="{73D4F98C-059B-E8FE-69DE-8FD34FE1FD0F}"/>
                </a:ext>
              </a:extLst>
            </p:cNvPr>
            <p:cNvSpPr/>
            <p:nvPr/>
          </p:nvSpPr>
          <p:spPr>
            <a:xfrm>
              <a:off x="11834385" y="4517034"/>
              <a:ext cx="332700" cy="477101"/>
            </a:xfrm>
            <a:custGeom>
              <a:avLst/>
              <a:gdLst/>
              <a:ahLst/>
              <a:cxnLst/>
              <a:rect l="l" t="t" r="r" b="b"/>
              <a:pathLst>
                <a:path w="548640" h="786765">
                  <a:moveTo>
                    <a:pt x="548081" y="786384"/>
                  </a:moveTo>
                  <a:lnTo>
                    <a:pt x="542632" y="738225"/>
                  </a:lnTo>
                  <a:lnTo>
                    <a:pt x="529234"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47"/>
                  </a:lnTo>
                  <a:lnTo>
                    <a:pt x="66814" y="613664"/>
                  </a:lnTo>
                  <a:lnTo>
                    <a:pt x="39725" y="650760"/>
                  </a:lnTo>
                  <a:lnTo>
                    <a:pt x="19088" y="692226"/>
                  </a:lnTo>
                  <a:lnTo>
                    <a:pt x="5613" y="737323"/>
                  </a:lnTo>
                  <a:lnTo>
                    <a:pt x="50" y="785304"/>
                  </a:lnTo>
                  <a:lnTo>
                    <a:pt x="47713" y="781265"/>
                  </a:lnTo>
                  <a:lnTo>
                    <a:pt x="92240" y="769620"/>
                  </a:lnTo>
                  <a:lnTo>
                    <a:pt x="133477" y="751014"/>
                  </a:lnTo>
                  <a:lnTo>
                    <a:pt x="170738" y="726147"/>
                  </a:lnTo>
                  <a:lnTo>
                    <a:pt x="203365" y="695680"/>
                  </a:lnTo>
                  <a:lnTo>
                    <a:pt x="230670" y="660298"/>
                  </a:lnTo>
                  <a:lnTo>
                    <a:pt x="252006" y="620674"/>
                  </a:lnTo>
                  <a:lnTo>
                    <a:pt x="266661" y="577469"/>
                  </a:lnTo>
                  <a:lnTo>
                    <a:pt x="274002" y="531393"/>
                  </a:lnTo>
                  <a:lnTo>
                    <a:pt x="281165" y="577659"/>
                  </a:lnTo>
                  <a:lnTo>
                    <a:pt x="295732" y="621030"/>
                  </a:lnTo>
                  <a:lnTo>
                    <a:pt x="316992" y="660831"/>
                  </a:lnTo>
                  <a:lnTo>
                    <a:pt x="344284" y="696366"/>
                  </a:lnTo>
                  <a:lnTo>
                    <a:pt x="376936" y="726960"/>
                  </a:lnTo>
                  <a:lnTo>
                    <a:pt x="414248" y="751941"/>
                  </a:lnTo>
                  <a:lnTo>
                    <a:pt x="455549" y="770623"/>
                  </a:lnTo>
                  <a:lnTo>
                    <a:pt x="500164" y="782332"/>
                  </a:lnTo>
                  <a:lnTo>
                    <a:pt x="548081" y="786384"/>
                  </a:lnTo>
                  <a:close/>
                </a:path>
                <a:path w="548640" h="786765">
                  <a:moveTo>
                    <a:pt x="548081" y="520852"/>
                  </a:moveTo>
                  <a:lnTo>
                    <a:pt x="542632" y="472694"/>
                  </a:lnTo>
                  <a:lnTo>
                    <a:pt x="529234" y="427431"/>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11"/>
                  </a:lnTo>
                  <a:lnTo>
                    <a:pt x="179438" y="270281"/>
                  </a:lnTo>
                  <a:lnTo>
                    <a:pt x="137401" y="289928"/>
                  </a:lnTo>
                  <a:lnTo>
                    <a:pt x="99618" y="316128"/>
                  </a:lnTo>
                  <a:lnTo>
                    <a:pt x="66814" y="348132"/>
                  </a:lnTo>
                  <a:lnTo>
                    <a:pt x="39725" y="385241"/>
                  </a:lnTo>
                  <a:lnTo>
                    <a:pt x="19088" y="426694"/>
                  </a:lnTo>
                  <a:lnTo>
                    <a:pt x="5613" y="471779"/>
                  </a:lnTo>
                  <a:lnTo>
                    <a:pt x="50" y="519772"/>
                  </a:lnTo>
                  <a:lnTo>
                    <a:pt x="47713" y="515734"/>
                  </a:lnTo>
                  <a:lnTo>
                    <a:pt x="92240" y="504075"/>
                  </a:lnTo>
                  <a:lnTo>
                    <a:pt x="133477" y="485482"/>
                  </a:lnTo>
                  <a:lnTo>
                    <a:pt x="170738" y="460616"/>
                  </a:lnTo>
                  <a:lnTo>
                    <a:pt x="203365" y="430149"/>
                  </a:lnTo>
                  <a:lnTo>
                    <a:pt x="230670" y="394766"/>
                  </a:lnTo>
                  <a:lnTo>
                    <a:pt x="252006" y="355142"/>
                  </a:lnTo>
                  <a:lnTo>
                    <a:pt x="266661" y="311950"/>
                  </a:lnTo>
                  <a:lnTo>
                    <a:pt x="274002" y="265861"/>
                  </a:lnTo>
                  <a:lnTo>
                    <a:pt x="281165" y="312127"/>
                  </a:lnTo>
                  <a:lnTo>
                    <a:pt x="295732" y="355511"/>
                  </a:lnTo>
                  <a:lnTo>
                    <a:pt x="316992" y="395300"/>
                  </a:lnTo>
                  <a:lnTo>
                    <a:pt x="344284" y="430834"/>
                  </a:lnTo>
                  <a:lnTo>
                    <a:pt x="376936" y="461429"/>
                  </a:lnTo>
                  <a:lnTo>
                    <a:pt x="414248" y="486410"/>
                  </a:lnTo>
                  <a:lnTo>
                    <a:pt x="455549" y="505091"/>
                  </a:lnTo>
                  <a:lnTo>
                    <a:pt x="500164" y="516801"/>
                  </a:lnTo>
                  <a:lnTo>
                    <a:pt x="548081" y="520852"/>
                  </a:lnTo>
                  <a:close/>
                </a:path>
                <a:path w="548640" h="786765">
                  <a:moveTo>
                    <a:pt x="548093" y="267322"/>
                  </a:moveTo>
                  <a:lnTo>
                    <a:pt x="542645" y="219151"/>
                  </a:lnTo>
                  <a:lnTo>
                    <a:pt x="529247" y="173875"/>
                  </a:lnTo>
                  <a:lnTo>
                    <a:pt x="508635" y="132245"/>
                  </a:lnTo>
                  <a:lnTo>
                    <a:pt x="481533" y="94996"/>
                  </a:lnTo>
                  <a:lnTo>
                    <a:pt x="448691" y="62852"/>
                  </a:lnTo>
                  <a:lnTo>
                    <a:pt x="426351" y="47332"/>
                  </a:lnTo>
                  <a:lnTo>
                    <a:pt x="410845" y="36537"/>
                  </a:lnTo>
                  <a:lnTo>
                    <a:pt x="391109" y="27305"/>
                  </a:lnTo>
                  <a:lnTo>
                    <a:pt x="368719" y="16814"/>
                  </a:lnTo>
                  <a:lnTo>
                    <a:pt x="323037" y="4368"/>
                  </a:lnTo>
                  <a:lnTo>
                    <a:pt x="274561" y="0"/>
                  </a:lnTo>
                  <a:lnTo>
                    <a:pt x="273342" y="0"/>
                  </a:lnTo>
                  <a:lnTo>
                    <a:pt x="224993" y="4356"/>
                  </a:lnTo>
                  <a:lnTo>
                    <a:pt x="179438" y="16725"/>
                  </a:lnTo>
                  <a:lnTo>
                    <a:pt x="137401" y="36372"/>
                  </a:lnTo>
                  <a:lnTo>
                    <a:pt x="99618" y="62560"/>
                  </a:lnTo>
                  <a:lnTo>
                    <a:pt x="66814" y="94576"/>
                  </a:lnTo>
                  <a:lnTo>
                    <a:pt x="39700" y="131686"/>
                  </a:lnTo>
                  <a:lnTo>
                    <a:pt x="19050" y="173139"/>
                  </a:lnTo>
                  <a:lnTo>
                    <a:pt x="5575" y="218211"/>
                  </a:lnTo>
                  <a:lnTo>
                    <a:pt x="0" y="266192"/>
                  </a:lnTo>
                  <a:lnTo>
                    <a:pt x="47713" y="262166"/>
                  </a:lnTo>
                  <a:lnTo>
                    <a:pt x="92240" y="250520"/>
                  </a:lnTo>
                  <a:lnTo>
                    <a:pt x="133477" y="231914"/>
                  </a:lnTo>
                  <a:lnTo>
                    <a:pt x="170738" y="207048"/>
                  </a:lnTo>
                  <a:lnTo>
                    <a:pt x="203365" y="176593"/>
                  </a:lnTo>
                  <a:lnTo>
                    <a:pt x="230682" y="141211"/>
                  </a:lnTo>
                  <a:lnTo>
                    <a:pt x="252006" y="101600"/>
                  </a:lnTo>
                  <a:lnTo>
                    <a:pt x="266674" y="58407"/>
                  </a:lnTo>
                  <a:lnTo>
                    <a:pt x="274002" y="12319"/>
                  </a:lnTo>
                  <a:lnTo>
                    <a:pt x="275920" y="24726"/>
                  </a:lnTo>
                  <a:lnTo>
                    <a:pt x="281165" y="58572"/>
                  </a:lnTo>
                  <a:lnTo>
                    <a:pt x="295732" y="101942"/>
                  </a:lnTo>
                  <a:lnTo>
                    <a:pt x="316992" y="141732"/>
                  </a:lnTo>
                  <a:lnTo>
                    <a:pt x="344284" y="177279"/>
                  </a:lnTo>
                  <a:lnTo>
                    <a:pt x="376936" y="207873"/>
                  </a:lnTo>
                  <a:lnTo>
                    <a:pt x="414248" y="232867"/>
                  </a:lnTo>
                  <a:lnTo>
                    <a:pt x="455561"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464" name="object 190">
              <a:extLst>
                <a:ext uri="{FF2B5EF4-FFF2-40B4-BE49-F238E27FC236}">
                  <a16:creationId xmlns:a16="http://schemas.microsoft.com/office/drawing/2014/main" id="{1817FAE7-1F59-2A14-9ACF-427AAB98E654}"/>
                </a:ext>
              </a:extLst>
            </p:cNvPr>
            <p:cNvPicPr/>
            <p:nvPr/>
          </p:nvPicPr>
          <p:blipFill>
            <a:blip r:embed="rId17" cstate="print"/>
            <a:stretch>
              <a:fillRect/>
            </a:stretch>
          </p:blipFill>
          <p:spPr>
            <a:xfrm>
              <a:off x="11947657" y="4972731"/>
              <a:ext cx="106445" cy="107156"/>
            </a:xfrm>
            <a:prstGeom prst="rect">
              <a:avLst/>
            </a:prstGeom>
          </p:spPr>
        </p:pic>
        <p:sp>
          <p:nvSpPr>
            <p:cNvPr id="465" name="object 191">
              <a:extLst>
                <a:ext uri="{FF2B5EF4-FFF2-40B4-BE49-F238E27FC236}">
                  <a16:creationId xmlns:a16="http://schemas.microsoft.com/office/drawing/2014/main" id="{F30597C5-327F-0D9C-13EB-43608A7BEC1B}"/>
                </a:ext>
              </a:extLst>
            </p:cNvPr>
            <p:cNvSpPr/>
            <p:nvPr/>
          </p:nvSpPr>
          <p:spPr>
            <a:xfrm>
              <a:off x="11834385" y="2554529"/>
              <a:ext cx="332700" cy="477101"/>
            </a:xfrm>
            <a:custGeom>
              <a:avLst/>
              <a:gdLst/>
              <a:ahLst/>
              <a:cxnLst/>
              <a:rect l="l" t="t" r="r" b="b"/>
              <a:pathLst>
                <a:path w="548640" h="786764">
                  <a:moveTo>
                    <a:pt x="548081" y="786396"/>
                  </a:moveTo>
                  <a:lnTo>
                    <a:pt x="542632" y="738238"/>
                  </a:lnTo>
                  <a:lnTo>
                    <a:pt x="529234" y="692975"/>
                  </a:lnTo>
                  <a:lnTo>
                    <a:pt x="508622" y="651344"/>
                  </a:lnTo>
                  <a:lnTo>
                    <a:pt x="481533" y="614095"/>
                  </a:lnTo>
                  <a:lnTo>
                    <a:pt x="448691" y="581939"/>
                  </a:lnTo>
                  <a:lnTo>
                    <a:pt x="410832" y="555625"/>
                  </a:lnTo>
                  <a:lnTo>
                    <a:pt x="368706" y="535901"/>
                  </a:lnTo>
                  <a:lnTo>
                    <a:pt x="323037" y="523468"/>
                  </a:lnTo>
                  <a:lnTo>
                    <a:pt x="274561" y="519099"/>
                  </a:lnTo>
                  <a:lnTo>
                    <a:pt x="273342" y="519099"/>
                  </a:lnTo>
                  <a:lnTo>
                    <a:pt x="224993" y="523455"/>
                  </a:lnTo>
                  <a:lnTo>
                    <a:pt x="179438" y="535813"/>
                  </a:lnTo>
                  <a:lnTo>
                    <a:pt x="137401" y="555459"/>
                  </a:lnTo>
                  <a:lnTo>
                    <a:pt x="99618" y="581660"/>
                  </a:lnTo>
                  <a:lnTo>
                    <a:pt x="66814" y="613676"/>
                  </a:lnTo>
                  <a:lnTo>
                    <a:pt x="39725" y="650773"/>
                  </a:lnTo>
                  <a:lnTo>
                    <a:pt x="19088" y="692238"/>
                  </a:lnTo>
                  <a:lnTo>
                    <a:pt x="5613" y="737323"/>
                  </a:lnTo>
                  <a:lnTo>
                    <a:pt x="50" y="785317"/>
                  </a:lnTo>
                  <a:lnTo>
                    <a:pt x="47713" y="781278"/>
                  </a:lnTo>
                  <a:lnTo>
                    <a:pt x="92240" y="769632"/>
                  </a:lnTo>
                  <a:lnTo>
                    <a:pt x="133477" y="751027"/>
                  </a:lnTo>
                  <a:lnTo>
                    <a:pt x="170738" y="726160"/>
                  </a:lnTo>
                  <a:lnTo>
                    <a:pt x="203365" y="695693"/>
                  </a:lnTo>
                  <a:lnTo>
                    <a:pt x="230670" y="660311"/>
                  </a:lnTo>
                  <a:lnTo>
                    <a:pt x="252006" y="620687"/>
                  </a:lnTo>
                  <a:lnTo>
                    <a:pt x="266661" y="577481"/>
                  </a:lnTo>
                  <a:lnTo>
                    <a:pt x="274002" y="531406"/>
                  </a:lnTo>
                  <a:lnTo>
                    <a:pt x="281165" y="577672"/>
                  </a:lnTo>
                  <a:lnTo>
                    <a:pt x="295732" y="621042"/>
                  </a:lnTo>
                  <a:lnTo>
                    <a:pt x="316992" y="660844"/>
                  </a:lnTo>
                  <a:lnTo>
                    <a:pt x="344284" y="696379"/>
                  </a:lnTo>
                  <a:lnTo>
                    <a:pt x="376936" y="726973"/>
                  </a:lnTo>
                  <a:lnTo>
                    <a:pt x="414248" y="751954"/>
                  </a:lnTo>
                  <a:lnTo>
                    <a:pt x="455549" y="770636"/>
                  </a:lnTo>
                  <a:lnTo>
                    <a:pt x="500164" y="782345"/>
                  </a:lnTo>
                  <a:lnTo>
                    <a:pt x="548081" y="786396"/>
                  </a:lnTo>
                  <a:close/>
                </a:path>
                <a:path w="548640" h="786764">
                  <a:moveTo>
                    <a:pt x="548081" y="520865"/>
                  </a:moveTo>
                  <a:lnTo>
                    <a:pt x="542632" y="472706"/>
                  </a:lnTo>
                  <a:lnTo>
                    <a:pt x="529234" y="427443"/>
                  </a:lnTo>
                  <a:lnTo>
                    <a:pt x="508622" y="385813"/>
                  </a:lnTo>
                  <a:lnTo>
                    <a:pt x="481533" y="348564"/>
                  </a:lnTo>
                  <a:lnTo>
                    <a:pt x="448691" y="316407"/>
                  </a:lnTo>
                  <a:lnTo>
                    <a:pt x="410832" y="290106"/>
                  </a:lnTo>
                  <a:lnTo>
                    <a:pt x="368706" y="270370"/>
                  </a:lnTo>
                  <a:lnTo>
                    <a:pt x="323037" y="257949"/>
                  </a:lnTo>
                  <a:lnTo>
                    <a:pt x="274561" y="253568"/>
                  </a:lnTo>
                  <a:lnTo>
                    <a:pt x="273342" y="253568"/>
                  </a:lnTo>
                  <a:lnTo>
                    <a:pt x="224993" y="257924"/>
                  </a:lnTo>
                  <a:lnTo>
                    <a:pt x="179438" y="270294"/>
                  </a:lnTo>
                  <a:lnTo>
                    <a:pt x="137401" y="289941"/>
                  </a:lnTo>
                  <a:lnTo>
                    <a:pt x="99618" y="316128"/>
                  </a:lnTo>
                  <a:lnTo>
                    <a:pt x="66814" y="348145"/>
                  </a:lnTo>
                  <a:lnTo>
                    <a:pt x="39725" y="385254"/>
                  </a:lnTo>
                  <a:lnTo>
                    <a:pt x="19088" y="426707"/>
                  </a:lnTo>
                  <a:lnTo>
                    <a:pt x="5613" y="471805"/>
                  </a:lnTo>
                  <a:lnTo>
                    <a:pt x="50" y="519785"/>
                  </a:lnTo>
                  <a:lnTo>
                    <a:pt x="47713" y="515759"/>
                  </a:lnTo>
                  <a:lnTo>
                    <a:pt x="92240" y="504101"/>
                  </a:lnTo>
                  <a:lnTo>
                    <a:pt x="133477" y="485495"/>
                  </a:lnTo>
                  <a:lnTo>
                    <a:pt x="170738" y="460629"/>
                  </a:lnTo>
                  <a:lnTo>
                    <a:pt x="203365" y="430161"/>
                  </a:lnTo>
                  <a:lnTo>
                    <a:pt x="230670" y="394779"/>
                  </a:lnTo>
                  <a:lnTo>
                    <a:pt x="252006" y="355155"/>
                  </a:lnTo>
                  <a:lnTo>
                    <a:pt x="266661" y="311962"/>
                  </a:lnTo>
                  <a:lnTo>
                    <a:pt x="274002" y="265874"/>
                  </a:lnTo>
                  <a:lnTo>
                    <a:pt x="281165" y="312140"/>
                  </a:lnTo>
                  <a:lnTo>
                    <a:pt x="295732" y="355511"/>
                  </a:lnTo>
                  <a:lnTo>
                    <a:pt x="316992" y="395312"/>
                  </a:lnTo>
                  <a:lnTo>
                    <a:pt x="344284" y="430847"/>
                  </a:lnTo>
                  <a:lnTo>
                    <a:pt x="376936" y="461441"/>
                  </a:lnTo>
                  <a:lnTo>
                    <a:pt x="414248" y="486422"/>
                  </a:lnTo>
                  <a:lnTo>
                    <a:pt x="455549" y="505104"/>
                  </a:lnTo>
                  <a:lnTo>
                    <a:pt x="500164" y="516813"/>
                  </a:lnTo>
                  <a:lnTo>
                    <a:pt x="548081" y="520865"/>
                  </a:lnTo>
                  <a:close/>
                </a:path>
                <a:path w="548640" h="786764">
                  <a:moveTo>
                    <a:pt x="548093" y="267335"/>
                  </a:moveTo>
                  <a:lnTo>
                    <a:pt x="542645" y="219163"/>
                  </a:lnTo>
                  <a:lnTo>
                    <a:pt x="529247" y="173888"/>
                  </a:lnTo>
                  <a:lnTo>
                    <a:pt x="508635" y="132257"/>
                  </a:lnTo>
                  <a:lnTo>
                    <a:pt x="492937" y="110693"/>
                  </a:lnTo>
                  <a:lnTo>
                    <a:pt x="481533" y="95008"/>
                  </a:lnTo>
                  <a:lnTo>
                    <a:pt x="448691" y="62865"/>
                  </a:lnTo>
                  <a:lnTo>
                    <a:pt x="410845" y="36563"/>
                  </a:lnTo>
                  <a:lnTo>
                    <a:pt x="368706" y="16802"/>
                  </a:lnTo>
                  <a:lnTo>
                    <a:pt x="323037" y="4381"/>
                  </a:lnTo>
                  <a:lnTo>
                    <a:pt x="274561" y="0"/>
                  </a:lnTo>
                  <a:lnTo>
                    <a:pt x="273342" y="0"/>
                  </a:lnTo>
                  <a:lnTo>
                    <a:pt x="224993" y="4356"/>
                  </a:lnTo>
                  <a:lnTo>
                    <a:pt x="179438" y="16725"/>
                  </a:lnTo>
                  <a:lnTo>
                    <a:pt x="137401" y="36372"/>
                  </a:lnTo>
                  <a:lnTo>
                    <a:pt x="99618" y="62572"/>
                  </a:lnTo>
                  <a:lnTo>
                    <a:pt x="66814" y="94576"/>
                  </a:lnTo>
                  <a:lnTo>
                    <a:pt x="59588" y="104470"/>
                  </a:lnTo>
                  <a:lnTo>
                    <a:pt x="39700" y="131699"/>
                  </a:lnTo>
                  <a:lnTo>
                    <a:pt x="19050" y="173151"/>
                  </a:lnTo>
                  <a:lnTo>
                    <a:pt x="5575" y="218224"/>
                  </a:lnTo>
                  <a:lnTo>
                    <a:pt x="0" y="266204"/>
                  </a:lnTo>
                  <a:lnTo>
                    <a:pt x="47713" y="262191"/>
                  </a:lnTo>
                  <a:lnTo>
                    <a:pt x="92240" y="250532"/>
                  </a:lnTo>
                  <a:lnTo>
                    <a:pt x="133477" y="231940"/>
                  </a:lnTo>
                  <a:lnTo>
                    <a:pt x="170738" y="207060"/>
                  </a:lnTo>
                  <a:lnTo>
                    <a:pt x="203365" y="176606"/>
                  </a:lnTo>
                  <a:lnTo>
                    <a:pt x="230682" y="141224"/>
                  </a:lnTo>
                  <a:lnTo>
                    <a:pt x="252006" y="101612"/>
                  </a:lnTo>
                  <a:lnTo>
                    <a:pt x="266674" y="58420"/>
                  </a:lnTo>
                  <a:lnTo>
                    <a:pt x="274002" y="12331"/>
                  </a:lnTo>
                  <a:lnTo>
                    <a:pt x="275920" y="24739"/>
                  </a:lnTo>
                  <a:lnTo>
                    <a:pt x="281165" y="58585"/>
                  </a:lnTo>
                  <a:lnTo>
                    <a:pt x="295732" y="101955"/>
                  </a:lnTo>
                  <a:lnTo>
                    <a:pt x="316992" y="141744"/>
                  </a:lnTo>
                  <a:lnTo>
                    <a:pt x="344284" y="177279"/>
                  </a:lnTo>
                  <a:lnTo>
                    <a:pt x="376936" y="207886"/>
                  </a:lnTo>
                  <a:lnTo>
                    <a:pt x="414248" y="232867"/>
                  </a:lnTo>
                  <a:lnTo>
                    <a:pt x="455561" y="251561"/>
                  </a:lnTo>
                  <a:lnTo>
                    <a:pt x="500176" y="263271"/>
                  </a:lnTo>
                  <a:lnTo>
                    <a:pt x="548093" y="267335"/>
                  </a:lnTo>
                  <a:close/>
                </a:path>
              </a:pathLst>
            </a:custGeom>
            <a:solidFill>
              <a:srgbClr val="2DB7EA"/>
            </a:solidFill>
          </p:spPr>
          <p:txBody>
            <a:bodyPr wrap="square" lIns="0" tIns="0" rIns="0" bIns="0" rtlCol="0"/>
            <a:lstStyle/>
            <a:p>
              <a:endParaRPr dirty="0"/>
            </a:p>
          </p:txBody>
        </p:sp>
        <p:pic>
          <p:nvPicPr>
            <p:cNvPr id="466" name="object 192">
              <a:extLst>
                <a:ext uri="{FF2B5EF4-FFF2-40B4-BE49-F238E27FC236}">
                  <a16:creationId xmlns:a16="http://schemas.microsoft.com/office/drawing/2014/main" id="{E2F0DE66-3240-30F9-2FAC-B888D52D7D80}"/>
                </a:ext>
              </a:extLst>
            </p:cNvPr>
            <p:cNvPicPr/>
            <p:nvPr/>
          </p:nvPicPr>
          <p:blipFill>
            <a:blip r:embed="rId16" cstate="print"/>
            <a:stretch>
              <a:fillRect/>
            </a:stretch>
          </p:blipFill>
          <p:spPr>
            <a:xfrm>
              <a:off x="11947657" y="3010234"/>
              <a:ext cx="106445" cy="107156"/>
            </a:xfrm>
            <a:prstGeom prst="rect">
              <a:avLst/>
            </a:prstGeom>
          </p:spPr>
        </p:pic>
        <p:sp>
          <p:nvSpPr>
            <p:cNvPr id="467" name="object 193">
              <a:extLst>
                <a:ext uri="{FF2B5EF4-FFF2-40B4-BE49-F238E27FC236}">
                  <a16:creationId xmlns:a16="http://schemas.microsoft.com/office/drawing/2014/main" id="{6A9AFD8F-9B9A-CC12-20F1-9BA80F227D3A}"/>
                </a:ext>
              </a:extLst>
            </p:cNvPr>
            <p:cNvSpPr/>
            <p:nvPr/>
          </p:nvSpPr>
          <p:spPr>
            <a:xfrm>
              <a:off x="11834385" y="3208700"/>
              <a:ext cx="332700" cy="477101"/>
            </a:xfrm>
            <a:custGeom>
              <a:avLst/>
              <a:gdLst/>
              <a:ahLst/>
              <a:cxnLst/>
              <a:rect l="l" t="t" r="r" b="b"/>
              <a:pathLst>
                <a:path w="548640" h="786764">
                  <a:moveTo>
                    <a:pt x="548081" y="786384"/>
                  </a:moveTo>
                  <a:lnTo>
                    <a:pt x="542632" y="738225"/>
                  </a:lnTo>
                  <a:lnTo>
                    <a:pt x="529234" y="692962"/>
                  </a:lnTo>
                  <a:lnTo>
                    <a:pt x="508622" y="651344"/>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47"/>
                  </a:lnTo>
                  <a:lnTo>
                    <a:pt x="66814" y="613664"/>
                  </a:lnTo>
                  <a:lnTo>
                    <a:pt x="39725" y="650773"/>
                  </a:lnTo>
                  <a:lnTo>
                    <a:pt x="19088" y="692226"/>
                  </a:lnTo>
                  <a:lnTo>
                    <a:pt x="5613" y="737323"/>
                  </a:lnTo>
                  <a:lnTo>
                    <a:pt x="50" y="785317"/>
                  </a:lnTo>
                  <a:lnTo>
                    <a:pt x="47713" y="781278"/>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59"/>
                  </a:lnTo>
                  <a:lnTo>
                    <a:pt x="295732" y="621042"/>
                  </a:lnTo>
                  <a:lnTo>
                    <a:pt x="316992" y="660831"/>
                  </a:lnTo>
                  <a:lnTo>
                    <a:pt x="344284" y="696366"/>
                  </a:lnTo>
                  <a:lnTo>
                    <a:pt x="376936" y="726960"/>
                  </a:lnTo>
                  <a:lnTo>
                    <a:pt x="414248" y="751941"/>
                  </a:lnTo>
                  <a:lnTo>
                    <a:pt x="455549" y="770623"/>
                  </a:lnTo>
                  <a:lnTo>
                    <a:pt x="500164" y="782332"/>
                  </a:lnTo>
                  <a:lnTo>
                    <a:pt x="548081" y="786384"/>
                  </a:lnTo>
                  <a:close/>
                </a:path>
                <a:path w="548640" h="786764">
                  <a:moveTo>
                    <a:pt x="548081" y="520865"/>
                  </a:moveTo>
                  <a:lnTo>
                    <a:pt x="542632" y="472694"/>
                  </a:lnTo>
                  <a:lnTo>
                    <a:pt x="529234" y="427431"/>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11"/>
                  </a:lnTo>
                  <a:lnTo>
                    <a:pt x="179438" y="270281"/>
                  </a:lnTo>
                  <a:lnTo>
                    <a:pt x="137401" y="289928"/>
                  </a:lnTo>
                  <a:lnTo>
                    <a:pt x="99618" y="316115"/>
                  </a:lnTo>
                  <a:lnTo>
                    <a:pt x="66814" y="348132"/>
                  </a:lnTo>
                  <a:lnTo>
                    <a:pt x="39725" y="385241"/>
                  </a:lnTo>
                  <a:lnTo>
                    <a:pt x="19088" y="426694"/>
                  </a:lnTo>
                  <a:lnTo>
                    <a:pt x="5613" y="471792"/>
                  </a:lnTo>
                  <a:lnTo>
                    <a:pt x="50" y="519785"/>
                  </a:lnTo>
                  <a:lnTo>
                    <a:pt x="47713" y="515747"/>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40"/>
                  </a:lnTo>
                  <a:lnTo>
                    <a:pt x="295732" y="355511"/>
                  </a:lnTo>
                  <a:lnTo>
                    <a:pt x="316992" y="395300"/>
                  </a:lnTo>
                  <a:lnTo>
                    <a:pt x="344284" y="430834"/>
                  </a:lnTo>
                  <a:lnTo>
                    <a:pt x="376936" y="461429"/>
                  </a:lnTo>
                  <a:lnTo>
                    <a:pt x="414248" y="486410"/>
                  </a:lnTo>
                  <a:lnTo>
                    <a:pt x="455549" y="505091"/>
                  </a:lnTo>
                  <a:lnTo>
                    <a:pt x="500164" y="516801"/>
                  </a:lnTo>
                  <a:lnTo>
                    <a:pt x="548081" y="520865"/>
                  </a:lnTo>
                  <a:close/>
                </a:path>
                <a:path w="548640" h="786764">
                  <a:moveTo>
                    <a:pt x="548093" y="267322"/>
                  </a:moveTo>
                  <a:lnTo>
                    <a:pt x="542645" y="219151"/>
                  </a:lnTo>
                  <a:lnTo>
                    <a:pt x="529247" y="173888"/>
                  </a:lnTo>
                  <a:lnTo>
                    <a:pt x="508635" y="132257"/>
                  </a:lnTo>
                  <a:lnTo>
                    <a:pt x="481533" y="94996"/>
                  </a:lnTo>
                  <a:lnTo>
                    <a:pt x="448691" y="62852"/>
                  </a:lnTo>
                  <a:lnTo>
                    <a:pt x="410845" y="36550"/>
                  </a:lnTo>
                  <a:lnTo>
                    <a:pt x="368719" y="16814"/>
                  </a:lnTo>
                  <a:lnTo>
                    <a:pt x="323037" y="4368"/>
                  </a:lnTo>
                  <a:lnTo>
                    <a:pt x="274561" y="0"/>
                  </a:lnTo>
                  <a:lnTo>
                    <a:pt x="273342" y="0"/>
                  </a:lnTo>
                  <a:lnTo>
                    <a:pt x="224993" y="4356"/>
                  </a:lnTo>
                  <a:lnTo>
                    <a:pt x="179438" y="16725"/>
                  </a:lnTo>
                  <a:lnTo>
                    <a:pt x="137401" y="36360"/>
                  </a:lnTo>
                  <a:lnTo>
                    <a:pt x="99618" y="62560"/>
                  </a:lnTo>
                  <a:lnTo>
                    <a:pt x="66814" y="94576"/>
                  </a:lnTo>
                  <a:lnTo>
                    <a:pt x="39700" y="131686"/>
                  </a:lnTo>
                  <a:lnTo>
                    <a:pt x="19050" y="173139"/>
                  </a:lnTo>
                  <a:lnTo>
                    <a:pt x="5575" y="218224"/>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4002" y="12331"/>
                  </a:lnTo>
                  <a:lnTo>
                    <a:pt x="275920" y="24739"/>
                  </a:lnTo>
                  <a:lnTo>
                    <a:pt x="281165" y="58572"/>
                  </a:lnTo>
                  <a:lnTo>
                    <a:pt x="295732" y="101942"/>
                  </a:lnTo>
                  <a:lnTo>
                    <a:pt x="316992" y="141744"/>
                  </a:lnTo>
                  <a:lnTo>
                    <a:pt x="344284" y="177279"/>
                  </a:lnTo>
                  <a:lnTo>
                    <a:pt x="376936" y="207873"/>
                  </a:lnTo>
                  <a:lnTo>
                    <a:pt x="414248" y="232867"/>
                  </a:lnTo>
                  <a:lnTo>
                    <a:pt x="455561" y="251548"/>
                  </a:lnTo>
                  <a:lnTo>
                    <a:pt x="500176" y="263271"/>
                  </a:lnTo>
                  <a:lnTo>
                    <a:pt x="548093" y="267322"/>
                  </a:lnTo>
                  <a:close/>
                </a:path>
              </a:pathLst>
            </a:custGeom>
            <a:solidFill>
              <a:srgbClr val="7ED3F1"/>
            </a:solidFill>
          </p:spPr>
          <p:txBody>
            <a:bodyPr wrap="square" lIns="0" tIns="0" rIns="0" bIns="0" rtlCol="0"/>
            <a:lstStyle/>
            <a:p>
              <a:endParaRPr dirty="0"/>
            </a:p>
          </p:txBody>
        </p:sp>
        <p:pic>
          <p:nvPicPr>
            <p:cNvPr id="468" name="object 194">
              <a:extLst>
                <a:ext uri="{FF2B5EF4-FFF2-40B4-BE49-F238E27FC236}">
                  <a16:creationId xmlns:a16="http://schemas.microsoft.com/office/drawing/2014/main" id="{79C18BE1-ADAC-99B8-7153-93DA025D2390}"/>
                </a:ext>
              </a:extLst>
            </p:cNvPr>
            <p:cNvPicPr/>
            <p:nvPr/>
          </p:nvPicPr>
          <p:blipFill>
            <a:blip r:embed="rId17" cstate="print"/>
            <a:stretch>
              <a:fillRect/>
            </a:stretch>
          </p:blipFill>
          <p:spPr>
            <a:xfrm>
              <a:off x="11947657" y="3664400"/>
              <a:ext cx="106445" cy="107156"/>
            </a:xfrm>
            <a:prstGeom prst="rect">
              <a:avLst/>
            </a:prstGeom>
          </p:spPr>
        </p:pic>
        <p:sp>
          <p:nvSpPr>
            <p:cNvPr id="469" name="object 195">
              <a:extLst>
                <a:ext uri="{FF2B5EF4-FFF2-40B4-BE49-F238E27FC236}">
                  <a16:creationId xmlns:a16="http://schemas.microsoft.com/office/drawing/2014/main" id="{8D0E9D93-4393-D23B-3E3A-1842603FAB8D}"/>
                </a:ext>
              </a:extLst>
            </p:cNvPr>
            <p:cNvSpPr/>
            <p:nvPr/>
          </p:nvSpPr>
          <p:spPr>
            <a:xfrm>
              <a:off x="11834385" y="1246203"/>
              <a:ext cx="332700" cy="477101"/>
            </a:xfrm>
            <a:custGeom>
              <a:avLst/>
              <a:gdLst/>
              <a:ahLst/>
              <a:cxnLst/>
              <a:rect l="l" t="t" r="r" b="b"/>
              <a:pathLst>
                <a:path w="548640" h="786764">
                  <a:moveTo>
                    <a:pt x="548081" y="786384"/>
                  </a:moveTo>
                  <a:lnTo>
                    <a:pt x="542632" y="738225"/>
                  </a:lnTo>
                  <a:lnTo>
                    <a:pt x="529234"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47"/>
                  </a:lnTo>
                  <a:lnTo>
                    <a:pt x="66814" y="613664"/>
                  </a:lnTo>
                  <a:lnTo>
                    <a:pt x="39725" y="650760"/>
                  </a:lnTo>
                  <a:lnTo>
                    <a:pt x="19088" y="692226"/>
                  </a:lnTo>
                  <a:lnTo>
                    <a:pt x="5613" y="737323"/>
                  </a:lnTo>
                  <a:lnTo>
                    <a:pt x="50" y="785304"/>
                  </a:lnTo>
                  <a:lnTo>
                    <a:pt x="47713" y="781278"/>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59"/>
                  </a:lnTo>
                  <a:lnTo>
                    <a:pt x="295732" y="621030"/>
                  </a:lnTo>
                  <a:lnTo>
                    <a:pt x="316992" y="660831"/>
                  </a:lnTo>
                  <a:lnTo>
                    <a:pt x="344284" y="696366"/>
                  </a:lnTo>
                  <a:lnTo>
                    <a:pt x="376936" y="726960"/>
                  </a:lnTo>
                  <a:lnTo>
                    <a:pt x="414248" y="751941"/>
                  </a:lnTo>
                  <a:lnTo>
                    <a:pt x="455549" y="770623"/>
                  </a:lnTo>
                  <a:lnTo>
                    <a:pt x="500164" y="782332"/>
                  </a:lnTo>
                  <a:lnTo>
                    <a:pt x="548081" y="786384"/>
                  </a:lnTo>
                  <a:close/>
                </a:path>
                <a:path w="548640" h="786764">
                  <a:moveTo>
                    <a:pt x="548081" y="520852"/>
                  </a:moveTo>
                  <a:lnTo>
                    <a:pt x="542632" y="472694"/>
                  </a:lnTo>
                  <a:lnTo>
                    <a:pt x="529234" y="427431"/>
                  </a:lnTo>
                  <a:lnTo>
                    <a:pt x="508622" y="385813"/>
                  </a:lnTo>
                  <a:lnTo>
                    <a:pt x="481533" y="348551"/>
                  </a:lnTo>
                  <a:lnTo>
                    <a:pt x="448691" y="316395"/>
                  </a:lnTo>
                  <a:lnTo>
                    <a:pt x="410832" y="290093"/>
                  </a:lnTo>
                  <a:lnTo>
                    <a:pt x="368706" y="270357"/>
                  </a:lnTo>
                  <a:lnTo>
                    <a:pt x="323037" y="257937"/>
                  </a:lnTo>
                  <a:lnTo>
                    <a:pt x="274561" y="253555"/>
                  </a:lnTo>
                  <a:lnTo>
                    <a:pt x="273342" y="253555"/>
                  </a:lnTo>
                  <a:lnTo>
                    <a:pt x="224993" y="257911"/>
                  </a:lnTo>
                  <a:lnTo>
                    <a:pt x="179438" y="270281"/>
                  </a:lnTo>
                  <a:lnTo>
                    <a:pt x="137401" y="289928"/>
                  </a:lnTo>
                  <a:lnTo>
                    <a:pt x="99618" y="316115"/>
                  </a:lnTo>
                  <a:lnTo>
                    <a:pt x="66814" y="348132"/>
                  </a:lnTo>
                  <a:lnTo>
                    <a:pt x="39725" y="385241"/>
                  </a:lnTo>
                  <a:lnTo>
                    <a:pt x="19088" y="426694"/>
                  </a:lnTo>
                  <a:lnTo>
                    <a:pt x="5613" y="471792"/>
                  </a:lnTo>
                  <a:lnTo>
                    <a:pt x="50" y="519785"/>
                  </a:lnTo>
                  <a:lnTo>
                    <a:pt x="47713" y="515747"/>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27"/>
                  </a:lnTo>
                  <a:lnTo>
                    <a:pt x="295732" y="355511"/>
                  </a:lnTo>
                  <a:lnTo>
                    <a:pt x="316992" y="395300"/>
                  </a:lnTo>
                  <a:lnTo>
                    <a:pt x="344284" y="430834"/>
                  </a:lnTo>
                  <a:lnTo>
                    <a:pt x="376936" y="461429"/>
                  </a:lnTo>
                  <a:lnTo>
                    <a:pt x="414248" y="486410"/>
                  </a:lnTo>
                  <a:lnTo>
                    <a:pt x="455549" y="505091"/>
                  </a:lnTo>
                  <a:lnTo>
                    <a:pt x="500164" y="516801"/>
                  </a:lnTo>
                  <a:lnTo>
                    <a:pt x="548081" y="520852"/>
                  </a:lnTo>
                  <a:close/>
                </a:path>
                <a:path w="548640" h="786764">
                  <a:moveTo>
                    <a:pt x="548093" y="267322"/>
                  </a:moveTo>
                  <a:lnTo>
                    <a:pt x="542645" y="219151"/>
                  </a:lnTo>
                  <a:lnTo>
                    <a:pt x="529247" y="173875"/>
                  </a:lnTo>
                  <a:lnTo>
                    <a:pt x="508635" y="132257"/>
                  </a:lnTo>
                  <a:lnTo>
                    <a:pt x="481533" y="94996"/>
                  </a:lnTo>
                  <a:lnTo>
                    <a:pt x="448691" y="62852"/>
                  </a:lnTo>
                  <a:lnTo>
                    <a:pt x="410845" y="36550"/>
                  </a:lnTo>
                  <a:lnTo>
                    <a:pt x="368706" y="16789"/>
                  </a:lnTo>
                  <a:lnTo>
                    <a:pt x="323037" y="4368"/>
                  </a:lnTo>
                  <a:lnTo>
                    <a:pt x="274561" y="0"/>
                  </a:lnTo>
                  <a:lnTo>
                    <a:pt x="273342" y="0"/>
                  </a:lnTo>
                  <a:lnTo>
                    <a:pt x="224993" y="4356"/>
                  </a:lnTo>
                  <a:lnTo>
                    <a:pt x="179438" y="16713"/>
                  </a:lnTo>
                  <a:lnTo>
                    <a:pt x="137401" y="36360"/>
                  </a:lnTo>
                  <a:lnTo>
                    <a:pt x="99618" y="62560"/>
                  </a:lnTo>
                  <a:lnTo>
                    <a:pt x="66814" y="94576"/>
                  </a:lnTo>
                  <a:lnTo>
                    <a:pt x="39700" y="131686"/>
                  </a:lnTo>
                  <a:lnTo>
                    <a:pt x="19050" y="173139"/>
                  </a:lnTo>
                  <a:lnTo>
                    <a:pt x="5575" y="218211"/>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4002" y="12319"/>
                  </a:lnTo>
                  <a:lnTo>
                    <a:pt x="275920" y="24726"/>
                  </a:lnTo>
                  <a:lnTo>
                    <a:pt x="281165" y="58572"/>
                  </a:lnTo>
                  <a:lnTo>
                    <a:pt x="295732" y="101942"/>
                  </a:lnTo>
                  <a:lnTo>
                    <a:pt x="316992" y="141744"/>
                  </a:lnTo>
                  <a:lnTo>
                    <a:pt x="344284" y="177279"/>
                  </a:lnTo>
                  <a:lnTo>
                    <a:pt x="376936" y="207873"/>
                  </a:lnTo>
                  <a:lnTo>
                    <a:pt x="414248" y="232867"/>
                  </a:lnTo>
                  <a:lnTo>
                    <a:pt x="455561" y="251548"/>
                  </a:lnTo>
                  <a:lnTo>
                    <a:pt x="500176" y="263271"/>
                  </a:lnTo>
                  <a:lnTo>
                    <a:pt x="548093" y="267322"/>
                  </a:lnTo>
                  <a:close/>
                </a:path>
              </a:pathLst>
            </a:custGeom>
            <a:solidFill>
              <a:srgbClr val="2DB7EA"/>
            </a:solidFill>
          </p:spPr>
          <p:txBody>
            <a:bodyPr wrap="square" lIns="0" tIns="0" rIns="0" bIns="0" rtlCol="0"/>
            <a:lstStyle/>
            <a:p>
              <a:endParaRPr dirty="0"/>
            </a:p>
          </p:txBody>
        </p:sp>
        <p:pic>
          <p:nvPicPr>
            <p:cNvPr id="470" name="object 196">
              <a:extLst>
                <a:ext uri="{FF2B5EF4-FFF2-40B4-BE49-F238E27FC236}">
                  <a16:creationId xmlns:a16="http://schemas.microsoft.com/office/drawing/2014/main" id="{FDEEE299-8743-0F47-93CB-308124981985}"/>
                </a:ext>
              </a:extLst>
            </p:cNvPr>
            <p:cNvPicPr/>
            <p:nvPr/>
          </p:nvPicPr>
          <p:blipFill>
            <a:blip r:embed="rId16" cstate="print"/>
            <a:stretch>
              <a:fillRect/>
            </a:stretch>
          </p:blipFill>
          <p:spPr>
            <a:xfrm>
              <a:off x="11947657" y="1701903"/>
              <a:ext cx="106445" cy="107156"/>
            </a:xfrm>
            <a:prstGeom prst="rect">
              <a:avLst/>
            </a:prstGeom>
          </p:spPr>
        </p:pic>
        <p:sp>
          <p:nvSpPr>
            <p:cNvPr id="471" name="object 197">
              <a:extLst>
                <a:ext uri="{FF2B5EF4-FFF2-40B4-BE49-F238E27FC236}">
                  <a16:creationId xmlns:a16="http://schemas.microsoft.com/office/drawing/2014/main" id="{E09D9B26-20D8-6474-E891-55417F2E55A6}"/>
                </a:ext>
              </a:extLst>
            </p:cNvPr>
            <p:cNvSpPr/>
            <p:nvPr/>
          </p:nvSpPr>
          <p:spPr>
            <a:xfrm>
              <a:off x="11834385" y="1900365"/>
              <a:ext cx="332700" cy="477101"/>
            </a:xfrm>
            <a:custGeom>
              <a:avLst/>
              <a:gdLst/>
              <a:ahLst/>
              <a:cxnLst/>
              <a:rect l="l" t="t" r="r" b="b"/>
              <a:pathLst>
                <a:path w="548640" h="786764">
                  <a:moveTo>
                    <a:pt x="548081" y="786396"/>
                  </a:moveTo>
                  <a:lnTo>
                    <a:pt x="542632" y="738225"/>
                  </a:lnTo>
                  <a:lnTo>
                    <a:pt x="529234" y="692962"/>
                  </a:lnTo>
                  <a:lnTo>
                    <a:pt x="508622" y="651344"/>
                  </a:lnTo>
                  <a:lnTo>
                    <a:pt x="481533" y="614083"/>
                  </a:lnTo>
                  <a:lnTo>
                    <a:pt x="448691" y="581939"/>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60"/>
                  </a:lnTo>
                  <a:lnTo>
                    <a:pt x="66814" y="613664"/>
                  </a:lnTo>
                  <a:lnTo>
                    <a:pt x="39725" y="650773"/>
                  </a:lnTo>
                  <a:lnTo>
                    <a:pt x="19088" y="692238"/>
                  </a:lnTo>
                  <a:lnTo>
                    <a:pt x="5613" y="737323"/>
                  </a:lnTo>
                  <a:lnTo>
                    <a:pt x="50" y="785317"/>
                  </a:lnTo>
                  <a:lnTo>
                    <a:pt x="47713" y="781278"/>
                  </a:lnTo>
                  <a:lnTo>
                    <a:pt x="92240" y="769620"/>
                  </a:lnTo>
                  <a:lnTo>
                    <a:pt x="133477" y="751027"/>
                  </a:lnTo>
                  <a:lnTo>
                    <a:pt x="170738" y="726147"/>
                  </a:lnTo>
                  <a:lnTo>
                    <a:pt x="203365" y="695680"/>
                  </a:lnTo>
                  <a:lnTo>
                    <a:pt x="230670" y="660298"/>
                  </a:lnTo>
                  <a:lnTo>
                    <a:pt x="252006" y="620674"/>
                  </a:lnTo>
                  <a:lnTo>
                    <a:pt x="266661" y="577481"/>
                  </a:lnTo>
                  <a:lnTo>
                    <a:pt x="274002" y="531393"/>
                  </a:lnTo>
                  <a:lnTo>
                    <a:pt x="281165" y="577672"/>
                  </a:lnTo>
                  <a:lnTo>
                    <a:pt x="295732" y="621042"/>
                  </a:lnTo>
                  <a:lnTo>
                    <a:pt x="316992" y="660831"/>
                  </a:lnTo>
                  <a:lnTo>
                    <a:pt x="344284" y="696366"/>
                  </a:lnTo>
                  <a:lnTo>
                    <a:pt x="376936" y="726960"/>
                  </a:lnTo>
                  <a:lnTo>
                    <a:pt x="414248" y="751941"/>
                  </a:lnTo>
                  <a:lnTo>
                    <a:pt x="455549" y="770636"/>
                  </a:lnTo>
                  <a:lnTo>
                    <a:pt x="500164" y="782332"/>
                  </a:lnTo>
                  <a:lnTo>
                    <a:pt x="548081" y="786396"/>
                  </a:lnTo>
                  <a:close/>
                </a:path>
                <a:path w="548640" h="786764">
                  <a:moveTo>
                    <a:pt x="548081" y="520865"/>
                  </a:moveTo>
                  <a:lnTo>
                    <a:pt x="542632" y="472706"/>
                  </a:lnTo>
                  <a:lnTo>
                    <a:pt x="529234" y="427443"/>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24"/>
                  </a:lnTo>
                  <a:lnTo>
                    <a:pt x="179438" y="270281"/>
                  </a:lnTo>
                  <a:lnTo>
                    <a:pt x="137401" y="289928"/>
                  </a:lnTo>
                  <a:lnTo>
                    <a:pt x="99618" y="316128"/>
                  </a:lnTo>
                  <a:lnTo>
                    <a:pt x="66814" y="348132"/>
                  </a:lnTo>
                  <a:lnTo>
                    <a:pt x="39725" y="385241"/>
                  </a:lnTo>
                  <a:lnTo>
                    <a:pt x="19088" y="426707"/>
                  </a:lnTo>
                  <a:lnTo>
                    <a:pt x="5613" y="471792"/>
                  </a:lnTo>
                  <a:lnTo>
                    <a:pt x="50" y="519785"/>
                  </a:lnTo>
                  <a:lnTo>
                    <a:pt x="47713" y="515747"/>
                  </a:lnTo>
                  <a:lnTo>
                    <a:pt x="92240" y="504088"/>
                  </a:lnTo>
                  <a:lnTo>
                    <a:pt x="133477" y="485495"/>
                  </a:lnTo>
                  <a:lnTo>
                    <a:pt x="170738" y="460616"/>
                  </a:lnTo>
                  <a:lnTo>
                    <a:pt x="203365" y="430161"/>
                  </a:lnTo>
                  <a:lnTo>
                    <a:pt x="230670" y="394766"/>
                  </a:lnTo>
                  <a:lnTo>
                    <a:pt x="252006" y="355142"/>
                  </a:lnTo>
                  <a:lnTo>
                    <a:pt x="266661" y="311950"/>
                  </a:lnTo>
                  <a:lnTo>
                    <a:pt x="274002" y="265861"/>
                  </a:lnTo>
                  <a:lnTo>
                    <a:pt x="281165" y="312140"/>
                  </a:lnTo>
                  <a:lnTo>
                    <a:pt x="295732" y="355511"/>
                  </a:lnTo>
                  <a:lnTo>
                    <a:pt x="316992" y="395300"/>
                  </a:lnTo>
                  <a:lnTo>
                    <a:pt x="344284" y="430834"/>
                  </a:lnTo>
                  <a:lnTo>
                    <a:pt x="376936" y="461441"/>
                  </a:lnTo>
                  <a:lnTo>
                    <a:pt x="414248" y="486410"/>
                  </a:lnTo>
                  <a:lnTo>
                    <a:pt x="455549" y="505104"/>
                  </a:lnTo>
                  <a:lnTo>
                    <a:pt x="500164" y="516813"/>
                  </a:lnTo>
                  <a:lnTo>
                    <a:pt x="548081" y="520865"/>
                  </a:lnTo>
                  <a:close/>
                </a:path>
                <a:path w="548640" h="786764">
                  <a:moveTo>
                    <a:pt x="548093" y="267322"/>
                  </a:moveTo>
                  <a:lnTo>
                    <a:pt x="542645" y="219151"/>
                  </a:lnTo>
                  <a:lnTo>
                    <a:pt x="529247" y="173888"/>
                  </a:lnTo>
                  <a:lnTo>
                    <a:pt x="508635" y="132257"/>
                  </a:lnTo>
                  <a:lnTo>
                    <a:pt x="501230" y="122097"/>
                  </a:lnTo>
                  <a:lnTo>
                    <a:pt x="481533" y="95008"/>
                  </a:lnTo>
                  <a:lnTo>
                    <a:pt x="448691" y="62852"/>
                  </a:lnTo>
                  <a:lnTo>
                    <a:pt x="410845" y="36550"/>
                  </a:lnTo>
                  <a:lnTo>
                    <a:pt x="368719" y="16814"/>
                  </a:lnTo>
                  <a:lnTo>
                    <a:pt x="323037" y="4381"/>
                  </a:lnTo>
                  <a:lnTo>
                    <a:pt x="274561" y="0"/>
                  </a:lnTo>
                  <a:lnTo>
                    <a:pt x="273342" y="0"/>
                  </a:lnTo>
                  <a:lnTo>
                    <a:pt x="224993" y="4356"/>
                  </a:lnTo>
                  <a:lnTo>
                    <a:pt x="179438" y="16725"/>
                  </a:lnTo>
                  <a:lnTo>
                    <a:pt x="137401" y="36372"/>
                  </a:lnTo>
                  <a:lnTo>
                    <a:pt x="99618" y="62560"/>
                  </a:lnTo>
                  <a:lnTo>
                    <a:pt x="66814" y="94576"/>
                  </a:lnTo>
                  <a:lnTo>
                    <a:pt x="39700" y="131686"/>
                  </a:lnTo>
                  <a:lnTo>
                    <a:pt x="19050" y="173139"/>
                  </a:lnTo>
                  <a:lnTo>
                    <a:pt x="5575" y="218224"/>
                  </a:lnTo>
                  <a:lnTo>
                    <a:pt x="0" y="266192"/>
                  </a:lnTo>
                  <a:lnTo>
                    <a:pt x="47713" y="262191"/>
                  </a:lnTo>
                  <a:lnTo>
                    <a:pt x="92240" y="250532"/>
                  </a:lnTo>
                  <a:lnTo>
                    <a:pt x="133477" y="231927"/>
                  </a:lnTo>
                  <a:lnTo>
                    <a:pt x="170738" y="207060"/>
                  </a:lnTo>
                  <a:lnTo>
                    <a:pt x="203365" y="176593"/>
                  </a:lnTo>
                  <a:lnTo>
                    <a:pt x="230682" y="141224"/>
                  </a:lnTo>
                  <a:lnTo>
                    <a:pt x="252006" y="101600"/>
                  </a:lnTo>
                  <a:lnTo>
                    <a:pt x="266674" y="58420"/>
                  </a:lnTo>
                  <a:lnTo>
                    <a:pt x="274002" y="12331"/>
                  </a:lnTo>
                  <a:lnTo>
                    <a:pt x="275920" y="24739"/>
                  </a:lnTo>
                  <a:lnTo>
                    <a:pt x="281165" y="58572"/>
                  </a:lnTo>
                  <a:lnTo>
                    <a:pt x="290842" y="87388"/>
                  </a:lnTo>
                  <a:lnTo>
                    <a:pt x="295732" y="101955"/>
                  </a:lnTo>
                  <a:lnTo>
                    <a:pt x="316992" y="141744"/>
                  </a:lnTo>
                  <a:lnTo>
                    <a:pt x="344284" y="177279"/>
                  </a:lnTo>
                  <a:lnTo>
                    <a:pt x="376936" y="207886"/>
                  </a:lnTo>
                  <a:lnTo>
                    <a:pt x="414248" y="232867"/>
                  </a:lnTo>
                  <a:lnTo>
                    <a:pt x="455561"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472" name="object 198">
              <a:extLst>
                <a:ext uri="{FF2B5EF4-FFF2-40B4-BE49-F238E27FC236}">
                  <a16:creationId xmlns:a16="http://schemas.microsoft.com/office/drawing/2014/main" id="{AA9F29E3-EA84-009B-1432-E64BE449AF42}"/>
                </a:ext>
              </a:extLst>
            </p:cNvPr>
            <p:cNvPicPr/>
            <p:nvPr/>
          </p:nvPicPr>
          <p:blipFill>
            <a:blip r:embed="rId17" cstate="print"/>
            <a:stretch>
              <a:fillRect/>
            </a:stretch>
          </p:blipFill>
          <p:spPr>
            <a:xfrm>
              <a:off x="11947657" y="2356067"/>
              <a:ext cx="106445" cy="107156"/>
            </a:xfrm>
            <a:prstGeom prst="rect">
              <a:avLst/>
            </a:prstGeom>
          </p:spPr>
        </p:pic>
        <p:sp>
          <p:nvSpPr>
            <p:cNvPr id="473" name="object 199">
              <a:extLst>
                <a:ext uri="{FF2B5EF4-FFF2-40B4-BE49-F238E27FC236}">
                  <a16:creationId xmlns:a16="http://schemas.microsoft.com/office/drawing/2014/main" id="{ECFFB60A-76CD-CF1F-66F6-6E8B4D4DB0AA}"/>
                </a:ext>
              </a:extLst>
            </p:cNvPr>
            <p:cNvSpPr/>
            <p:nvPr/>
          </p:nvSpPr>
          <p:spPr>
            <a:xfrm>
              <a:off x="11834389"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474" name="object 200">
              <a:extLst>
                <a:ext uri="{FF2B5EF4-FFF2-40B4-BE49-F238E27FC236}">
                  <a16:creationId xmlns:a16="http://schemas.microsoft.com/office/drawing/2014/main" id="{807935FA-17A2-F48C-6625-F93C5B903DBA}"/>
                </a:ext>
              </a:extLst>
            </p:cNvPr>
            <p:cNvPicPr/>
            <p:nvPr/>
          </p:nvPicPr>
          <p:blipFill>
            <a:blip r:embed="rId22" cstate="print"/>
            <a:stretch>
              <a:fillRect/>
            </a:stretch>
          </p:blipFill>
          <p:spPr>
            <a:xfrm>
              <a:off x="11834417" y="123"/>
              <a:ext cx="152433" cy="99184"/>
            </a:xfrm>
            <a:prstGeom prst="rect">
              <a:avLst/>
            </a:prstGeom>
          </p:spPr>
        </p:pic>
        <p:pic>
          <p:nvPicPr>
            <p:cNvPr id="475" name="object 201">
              <a:extLst>
                <a:ext uri="{FF2B5EF4-FFF2-40B4-BE49-F238E27FC236}">
                  <a16:creationId xmlns:a16="http://schemas.microsoft.com/office/drawing/2014/main" id="{063DACBB-790B-10DB-CE8C-6842747E7AE3}"/>
                </a:ext>
              </a:extLst>
            </p:cNvPr>
            <p:cNvPicPr/>
            <p:nvPr/>
          </p:nvPicPr>
          <p:blipFill>
            <a:blip r:embed="rId21" cstate="print"/>
            <a:stretch>
              <a:fillRect/>
            </a:stretch>
          </p:blipFill>
          <p:spPr>
            <a:xfrm>
              <a:off x="12013952" y="123"/>
              <a:ext cx="152798" cy="99837"/>
            </a:xfrm>
            <a:prstGeom prst="rect">
              <a:avLst/>
            </a:prstGeom>
          </p:spPr>
        </p:pic>
        <p:sp>
          <p:nvSpPr>
            <p:cNvPr id="476" name="object 202">
              <a:extLst>
                <a:ext uri="{FF2B5EF4-FFF2-40B4-BE49-F238E27FC236}">
                  <a16:creationId xmlns:a16="http://schemas.microsoft.com/office/drawing/2014/main" id="{C6D8750A-200C-F58E-9CB2-1A2C347EFCE4}"/>
                </a:ext>
              </a:extLst>
            </p:cNvPr>
            <p:cNvSpPr/>
            <p:nvPr/>
          </p:nvSpPr>
          <p:spPr>
            <a:xfrm>
              <a:off x="11834416" y="91626"/>
              <a:ext cx="332700" cy="323458"/>
            </a:xfrm>
            <a:custGeom>
              <a:avLst/>
              <a:gdLst/>
              <a:ahLst/>
              <a:cxnLst/>
              <a:rect l="l" t="t" r="r" b="b"/>
              <a:pathLst>
                <a:path w="548640" h="533400">
                  <a:moveTo>
                    <a:pt x="548030" y="532841"/>
                  </a:moveTo>
                  <a:lnTo>
                    <a:pt x="542582" y="484682"/>
                  </a:lnTo>
                  <a:lnTo>
                    <a:pt x="529183" y="439420"/>
                  </a:lnTo>
                  <a:lnTo>
                    <a:pt x="508571" y="397789"/>
                  </a:lnTo>
                  <a:lnTo>
                    <a:pt x="481482" y="360527"/>
                  </a:lnTo>
                  <a:lnTo>
                    <a:pt x="448640" y="328383"/>
                  </a:lnTo>
                  <a:lnTo>
                    <a:pt x="410781" y="302069"/>
                  </a:lnTo>
                  <a:lnTo>
                    <a:pt x="368655" y="282333"/>
                  </a:lnTo>
                  <a:lnTo>
                    <a:pt x="322986" y="269913"/>
                  </a:lnTo>
                  <a:lnTo>
                    <a:pt x="274510" y="265544"/>
                  </a:lnTo>
                  <a:lnTo>
                    <a:pt x="273291" y="265544"/>
                  </a:lnTo>
                  <a:lnTo>
                    <a:pt x="224942" y="269900"/>
                  </a:lnTo>
                  <a:lnTo>
                    <a:pt x="179387" y="282257"/>
                  </a:lnTo>
                  <a:lnTo>
                    <a:pt x="137350" y="301904"/>
                  </a:lnTo>
                  <a:lnTo>
                    <a:pt x="99568" y="328104"/>
                  </a:lnTo>
                  <a:lnTo>
                    <a:pt x="66763" y="360121"/>
                  </a:lnTo>
                  <a:lnTo>
                    <a:pt x="39674" y="397217"/>
                  </a:lnTo>
                  <a:lnTo>
                    <a:pt x="19037" y="438683"/>
                  </a:lnTo>
                  <a:lnTo>
                    <a:pt x="5562" y="483768"/>
                  </a:lnTo>
                  <a:lnTo>
                    <a:pt x="0" y="531761"/>
                  </a:lnTo>
                  <a:lnTo>
                    <a:pt x="47663" y="527723"/>
                  </a:lnTo>
                  <a:lnTo>
                    <a:pt x="92189" y="516064"/>
                  </a:lnTo>
                  <a:lnTo>
                    <a:pt x="133426" y="497471"/>
                  </a:lnTo>
                  <a:lnTo>
                    <a:pt x="170688" y="472592"/>
                  </a:lnTo>
                  <a:lnTo>
                    <a:pt x="203314" y="442137"/>
                  </a:lnTo>
                  <a:lnTo>
                    <a:pt x="230619" y="406755"/>
                  </a:lnTo>
                  <a:lnTo>
                    <a:pt x="251955" y="367118"/>
                  </a:lnTo>
                  <a:lnTo>
                    <a:pt x="266611" y="323926"/>
                  </a:lnTo>
                  <a:lnTo>
                    <a:pt x="273951" y="277837"/>
                  </a:lnTo>
                  <a:lnTo>
                    <a:pt x="281114" y="324116"/>
                  </a:lnTo>
                  <a:lnTo>
                    <a:pt x="295681" y="367487"/>
                  </a:lnTo>
                  <a:lnTo>
                    <a:pt x="316941" y="407276"/>
                  </a:lnTo>
                  <a:lnTo>
                    <a:pt x="344233" y="442810"/>
                  </a:lnTo>
                  <a:lnTo>
                    <a:pt x="376885" y="473417"/>
                  </a:lnTo>
                  <a:lnTo>
                    <a:pt x="414197" y="498398"/>
                  </a:lnTo>
                  <a:lnTo>
                    <a:pt x="455498" y="517080"/>
                  </a:lnTo>
                  <a:lnTo>
                    <a:pt x="500113" y="528789"/>
                  </a:lnTo>
                  <a:lnTo>
                    <a:pt x="548030" y="532841"/>
                  </a:lnTo>
                  <a:close/>
                </a:path>
                <a:path w="548640" h="533400">
                  <a:moveTo>
                    <a:pt x="548030" y="267309"/>
                  </a:moveTo>
                  <a:lnTo>
                    <a:pt x="542582" y="219138"/>
                  </a:lnTo>
                  <a:lnTo>
                    <a:pt x="529183" y="173888"/>
                  </a:lnTo>
                  <a:lnTo>
                    <a:pt x="508571" y="132257"/>
                  </a:lnTo>
                  <a:lnTo>
                    <a:pt x="481482" y="94996"/>
                  </a:lnTo>
                  <a:lnTo>
                    <a:pt x="448640" y="62852"/>
                  </a:lnTo>
                  <a:lnTo>
                    <a:pt x="410781" y="36537"/>
                  </a:lnTo>
                  <a:lnTo>
                    <a:pt x="368655" y="16802"/>
                  </a:lnTo>
                  <a:lnTo>
                    <a:pt x="322986" y="4381"/>
                  </a:lnTo>
                  <a:lnTo>
                    <a:pt x="274510" y="0"/>
                  </a:lnTo>
                  <a:lnTo>
                    <a:pt x="273291" y="0"/>
                  </a:lnTo>
                  <a:lnTo>
                    <a:pt x="224942" y="4356"/>
                  </a:lnTo>
                  <a:lnTo>
                    <a:pt x="179387" y="16725"/>
                  </a:lnTo>
                  <a:lnTo>
                    <a:pt x="137350" y="36372"/>
                  </a:lnTo>
                  <a:lnTo>
                    <a:pt x="99568" y="62572"/>
                  </a:lnTo>
                  <a:lnTo>
                    <a:pt x="66763" y="94576"/>
                  </a:lnTo>
                  <a:lnTo>
                    <a:pt x="39674" y="131686"/>
                  </a:lnTo>
                  <a:lnTo>
                    <a:pt x="19037" y="173151"/>
                  </a:lnTo>
                  <a:lnTo>
                    <a:pt x="5562" y="218236"/>
                  </a:lnTo>
                  <a:lnTo>
                    <a:pt x="0" y="266230"/>
                  </a:lnTo>
                  <a:lnTo>
                    <a:pt x="47663" y="262191"/>
                  </a:lnTo>
                  <a:lnTo>
                    <a:pt x="92189" y="250532"/>
                  </a:lnTo>
                  <a:lnTo>
                    <a:pt x="133426" y="231940"/>
                  </a:lnTo>
                  <a:lnTo>
                    <a:pt x="170688" y="207060"/>
                  </a:lnTo>
                  <a:lnTo>
                    <a:pt x="203314" y="176593"/>
                  </a:lnTo>
                  <a:lnTo>
                    <a:pt x="230619" y="141211"/>
                  </a:lnTo>
                  <a:lnTo>
                    <a:pt x="251955" y="101587"/>
                  </a:lnTo>
                  <a:lnTo>
                    <a:pt x="266611" y="58394"/>
                  </a:lnTo>
                  <a:lnTo>
                    <a:pt x="273951" y="12306"/>
                  </a:lnTo>
                  <a:lnTo>
                    <a:pt x="281114" y="58585"/>
                  </a:lnTo>
                  <a:lnTo>
                    <a:pt x="295681" y="101955"/>
                  </a:lnTo>
                  <a:lnTo>
                    <a:pt x="316941" y="141744"/>
                  </a:lnTo>
                  <a:lnTo>
                    <a:pt x="344233" y="177279"/>
                  </a:lnTo>
                  <a:lnTo>
                    <a:pt x="376885" y="207873"/>
                  </a:lnTo>
                  <a:lnTo>
                    <a:pt x="414197" y="232854"/>
                  </a:lnTo>
                  <a:lnTo>
                    <a:pt x="455498" y="251548"/>
                  </a:lnTo>
                  <a:lnTo>
                    <a:pt x="500113" y="263258"/>
                  </a:lnTo>
                  <a:lnTo>
                    <a:pt x="548030" y="267309"/>
                  </a:lnTo>
                  <a:close/>
                </a:path>
              </a:pathLst>
            </a:custGeom>
            <a:solidFill>
              <a:srgbClr val="2DB7EA"/>
            </a:solidFill>
          </p:spPr>
          <p:txBody>
            <a:bodyPr wrap="square" lIns="0" tIns="0" rIns="0" bIns="0" rtlCol="0"/>
            <a:lstStyle/>
            <a:p>
              <a:endParaRPr dirty="0"/>
            </a:p>
          </p:txBody>
        </p:sp>
        <p:pic>
          <p:nvPicPr>
            <p:cNvPr id="477" name="object 203">
              <a:extLst>
                <a:ext uri="{FF2B5EF4-FFF2-40B4-BE49-F238E27FC236}">
                  <a16:creationId xmlns:a16="http://schemas.microsoft.com/office/drawing/2014/main" id="{AC3B9657-CD2D-1940-D843-347BCAAD4F9E}"/>
                </a:ext>
              </a:extLst>
            </p:cNvPr>
            <p:cNvPicPr/>
            <p:nvPr/>
          </p:nvPicPr>
          <p:blipFill>
            <a:blip r:embed="rId16" cstate="print"/>
            <a:stretch>
              <a:fillRect/>
            </a:stretch>
          </p:blipFill>
          <p:spPr>
            <a:xfrm>
              <a:off x="11947657" y="393572"/>
              <a:ext cx="106445" cy="107156"/>
            </a:xfrm>
            <a:prstGeom prst="rect">
              <a:avLst/>
            </a:prstGeom>
          </p:spPr>
        </p:pic>
        <p:sp>
          <p:nvSpPr>
            <p:cNvPr id="478" name="object 204">
              <a:extLst>
                <a:ext uri="{FF2B5EF4-FFF2-40B4-BE49-F238E27FC236}">
                  <a16:creationId xmlns:a16="http://schemas.microsoft.com/office/drawing/2014/main" id="{BB191E3A-FC51-54B9-D69C-AA0877910975}"/>
                </a:ext>
              </a:extLst>
            </p:cNvPr>
            <p:cNvSpPr/>
            <p:nvPr/>
          </p:nvSpPr>
          <p:spPr>
            <a:xfrm>
              <a:off x="11834385" y="592039"/>
              <a:ext cx="332700" cy="477101"/>
            </a:xfrm>
            <a:custGeom>
              <a:avLst/>
              <a:gdLst/>
              <a:ahLst/>
              <a:cxnLst/>
              <a:rect l="l" t="t" r="r" b="b"/>
              <a:pathLst>
                <a:path w="548640" h="786764">
                  <a:moveTo>
                    <a:pt x="548081" y="786384"/>
                  </a:moveTo>
                  <a:lnTo>
                    <a:pt x="542632" y="738225"/>
                  </a:lnTo>
                  <a:lnTo>
                    <a:pt x="529234"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47"/>
                  </a:lnTo>
                  <a:lnTo>
                    <a:pt x="66814" y="613664"/>
                  </a:lnTo>
                  <a:lnTo>
                    <a:pt x="39725" y="650760"/>
                  </a:lnTo>
                  <a:lnTo>
                    <a:pt x="19088" y="692226"/>
                  </a:lnTo>
                  <a:lnTo>
                    <a:pt x="5613" y="737323"/>
                  </a:lnTo>
                  <a:lnTo>
                    <a:pt x="50" y="785304"/>
                  </a:lnTo>
                  <a:lnTo>
                    <a:pt x="47713" y="781278"/>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59"/>
                  </a:lnTo>
                  <a:lnTo>
                    <a:pt x="295732" y="621030"/>
                  </a:lnTo>
                  <a:lnTo>
                    <a:pt x="316992" y="660831"/>
                  </a:lnTo>
                  <a:lnTo>
                    <a:pt x="344284" y="696366"/>
                  </a:lnTo>
                  <a:lnTo>
                    <a:pt x="376936" y="726960"/>
                  </a:lnTo>
                  <a:lnTo>
                    <a:pt x="414248" y="751941"/>
                  </a:lnTo>
                  <a:lnTo>
                    <a:pt x="455549" y="770623"/>
                  </a:lnTo>
                  <a:lnTo>
                    <a:pt x="500164" y="782332"/>
                  </a:lnTo>
                  <a:lnTo>
                    <a:pt x="548081" y="786384"/>
                  </a:lnTo>
                  <a:close/>
                </a:path>
                <a:path w="548640" h="786764">
                  <a:moveTo>
                    <a:pt x="548081" y="520852"/>
                  </a:moveTo>
                  <a:lnTo>
                    <a:pt x="542632" y="472694"/>
                  </a:lnTo>
                  <a:lnTo>
                    <a:pt x="529234" y="427431"/>
                  </a:lnTo>
                  <a:lnTo>
                    <a:pt x="508622" y="385800"/>
                  </a:lnTo>
                  <a:lnTo>
                    <a:pt x="481533" y="348551"/>
                  </a:lnTo>
                  <a:lnTo>
                    <a:pt x="448691" y="316395"/>
                  </a:lnTo>
                  <a:lnTo>
                    <a:pt x="410832" y="290080"/>
                  </a:lnTo>
                  <a:lnTo>
                    <a:pt x="368706" y="270357"/>
                  </a:lnTo>
                  <a:lnTo>
                    <a:pt x="323037" y="257924"/>
                  </a:lnTo>
                  <a:lnTo>
                    <a:pt x="274561" y="253555"/>
                  </a:lnTo>
                  <a:lnTo>
                    <a:pt x="273342" y="253555"/>
                  </a:lnTo>
                  <a:lnTo>
                    <a:pt x="224993" y="257911"/>
                  </a:lnTo>
                  <a:lnTo>
                    <a:pt x="179438" y="270281"/>
                  </a:lnTo>
                  <a:lnTo>
                    <a:pt x="137401" y="289915"/>
                  </a:lnTo>
                  <a:lnTo>
                    <a:pt x="99618" y="316115"/>
                  </a:lnTo>
                  <a:lnTo>
                    <a:pt x="66814" y="348132"/>
                  </a:lnTo>
                  <a:lnTo>
                    <a:pt x="39725" y="385229"/>
                  </a:lnTo>
                  <a:lnTo>
                    <a:pt x="19088" y="426694"/>
                  </a:lnTo>
                  <a:lnTo>
                    <a:pt x="5613" y="471779"/>
                  </a:lnTo>
                  <a:lnTo>
                    <a:pt x="50" y="519772"/>
                  </a:lnTo>
                  <a:lnTo>
                    <a:pt x="47713" y="515734"/>
                  </a:lnTo>
                  <a:lnTo>
                    <a:pt x="92240" y="504088"/>
                  </a:lnTo>
                  <a:lnTo>
                    <a:pt x="133477" y="485482"/>
                  </a:lnTo>
                  <a:lnTo>
                    <a:pt x="170738" y="460616"/>
                  </a:lnTo>
                  <a:lnTo>
                    <a:pt x="203365" y="430149"/>
                  </a:lnTo>
                  <a:lnTo>
                    <a:pt x="230670" y="394766"/>
                  </a:lnTo>
                  <a:lnTo>
                    <a:pt x="252006" y="355142"/>
                  </a:lnTo>
                  <a:lnTo>
                    <a:pt x="266661" y="311937"/>
                  </a:lnTo>
                  <a:lnTo>
                    <a:pt x="274002" y="265861"/>
                  </a:lnTo>
                  <a:lnTo>
                    <a:pt x="281165" y="312127"/>
                  </a:lnTo>
                  <a:lnTo>
                    <a:pt x="295732" y="355498"/>
                  </a:lnTo>
                  <a:lnTo>
                    <a:pt x="316992" y="395300"/>
                  </a:lnTo>
                  <a:lnTo>
                    <a:pt x="344284" y="430834"/>
                  </a:lnTo>
                  <a:lnTo>
                    <a:pt x="376936" y="461429"/>
                  </a:lnTo>
                  <a:lnTo>
                    <a:pt x="414248" y="486410"/>
                  </a:lnTo>
                  <a:lnTo>
                    <a:pt x="455549" y="505091"/>
                  </a:lnTo>
                  <a:lnTo>
                    <a:pt x="500164" y="516801"/>
                  </a:lnTo>
                  <a:lnTo>
                    <a:pt x="548081" y="520852"/>
                  </a:lnTo>
                  <a:close/>
                </a:path>
                <a:path w="548640" h="786764">
                  <a:moveTo>
                    <a:pt x="548093" y="267322"/>
                  </a:moveTo>
                  <a:lnTo>
                    <a:pt x="542645" y="219138"/>
                  </a:lnTo>
                  <a:lnTo>
                    <a:pt x="529247" y="173875"/>
                  </a:lnTo>
                  <a:lnTo>
                    <a:pt x="508635" y="132245"/>
                  </a:lnTo>
                  <a:lnTo>
                    <a:pt x="492937" y="110680"/>
                  </a:lnTo>
                  <a:lnTo>
                    <a:pt x="481533" y="94996"/>
                  </a:lnTo>
                  <a:lnTo>
                    <a:pt x="448691" y="62839"/>
                  </a:lnTo>
                  <a:lnTo>
                    <a:pt x="410845" y="36537"/>
                  </a:lnTo>
                  <a:lnTo>
                    <a:pt x="368706" y="16789"/>
                  </a:lnTo>
                  <a:lnTo>
                    <a:pt x="323037" y="4368"/>
                  </a:lnTo>
                  <a:lnTo>
                    <a:pt x="274574" y="12"/>
                  </a:lnTo>
                  <a:lnTo>
                    <a:pt x="273342" y="0"/>
                  </a:lnTo>
                  <a:lnTo>
                    <a:pt x="224993" y="4356"/>
                  </a:lnTo>
                  <a:lnTo>
                    <a:pt x="179438" y="16713"/>
                  </a:lnTo>
                  <a:lnTo>
                    <a:pt x="137401" y="36360"/>
                  </a:lnTo>
                  <a:lnTo>
                    <a:pt x="99618" y="62560"/>
                  </a:lnTo>
                  <a:lnTo>
                    <a:pt x="66814" y="94576"/>
                  </a:lnTo>
                  <a:lnTo>
                    <a:pt x="39700" y="131686"/>
                  </a:lnTo>
                  <a:lnTo>
                    <a:pt x="19050" y="173139"/>
                  </a:lnTo>
                  <a:lnTo>
                    <a:pt x="5575" y="218211"/>
                  </a:lnTo>
                  <a:lnTo>
                    <a:pt x="0" y="266192"/>
                  </a:lnTo>
                  <a:lnTo>
                    <a:pt x="47713" y="262178"/>
                  </a:lnTo>
                  <a:lnTo>
                    <a:pt x="92240" y="250520"/>
                  </a:lnTo>
                  <a:lnTo>
                    <a:pt x="133477" y="231927"/>
                  </a:lnTo>
                  <a:lnTo>
                    <a:pt x="170738" y="207048"/>
                  </a:lnTo>
                  <a:lnTo>
                    <a:pt x="203365" y="176593"/>
                  </a:lnTo>
                  <a:lnTo>
                    <a:pt x="230682" y="141211"/>
                  </a:lnTo>
                  <a:lnTo>
                    <a:pt x="252006" y="101587"/>
                  </a:lnTo>
                  <a:lnTo>
                    <a:pt x="266674" y="58407"/>
                  </a:lnTo>
                  <a:lnTo>
                    <a:pt x="274002" y="12319"/>
                  </a:lnTo>
                  <a:lnTo>
                    <a:pt x="275691" y="23253"/>
                  </a:lnTo>
                  <a:lnTo>
                    <a:pt x="281165" y="58572"/>
                  </a:lnTo>
                  <a:lnTo>
                    <a:pt x="295732" y="101942"/>
                  </a:lnTo>
                  <a:lnTo>
                    <a:pt x="316992" y="141732"/>
                  </a:lnTo>
                  <a:lnTo>
                    <a:pt x="344284" y="177266"/>
                  </a:lnTo>
                  <a:lnTo>
                    <a:pt x="376936" y="207873"/>
                  </a:lnTo>
                  <a:lnTo>
                    <a:pt x="414248" y="232854"/>
                  </a:lnTo>
                  <a:lnTo>
                    <a:pt x="455561"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479" name="object 205">
              <a:extLst>
                <a:ext uri="{FF2B5EF4-FFF2-40B4-BE49-F238E27FC236}">
                  <a16:creationId xmlns:a16="http://schemas.microsoft.com/office/drawing/2014/main" id="{FE58E3B8-68B8-337A-8F8A-89F3371AFF60}"/>
                </a:ext>
              </a:extLst>
            </p:cNvPr>
            <p:cNvPicPr/>
            <p:nvPr/>
          </p:nvPicPr>
          <p:blipFill>
            <a:blip r:embed="rId17" cstate="print"/>
            <a:stretch>
              <a:fillRect/>
            </a:stretch>
          </p:blipFill>
          <p:spPr>
            <a:xfrm>
              <a:off x="11947657" y="1047738"/>
              <a:ext cx="106445" cy="107156"/>
            </a:xfrm>
            <a:prstGeom prst="rect">
              <a:avLst/>
            </a:prstGeom>
          </p:spPr>
        </p:pic>
        <p:sp>
          <p:nvSpPr>
            <p:cNvPr id="480" name="object 241">
              <a:extLst>
                <a:ext uri="{FF2B5EF4-FFF2-40B4-BE49-F238E27FC236}">
                  <a16:creationId xmlns:a16="http://schemas.microsoft.com/office/drawing/2014/main" id="{8B67BA58-5645-E80D-D6EA-C484B8ADE23E}"/>
                </a:ext>
              </a:extLst>
            </p:cNvPr>
            <p:cNvSpPr/>
            <p:nvPr/>
          </p:nvSpPr>
          <p:spPr>
            <a:xfrm>
              <a:off x="7598678" y="804428"/>
              <a:ext cx="332700" cy="477101"/>
            </a:xfrm>
            <a:custGeom>
              <a:avLst/>
              <a:gdLst/>
              <a:ahLst/>
              <a:cxnLst/>
              <a:rect l="l" t="t" r="r" b="b"/>
              <a:pathLst>
                <a:path w="548640" h="786764">
                  <a:moveTo>
                    <a:pt x="548043" y="266598"/>
                  </a:moveTo>
                  <a:lnTo>
                    <a:pt x="500367" y="270637"/>
                  </a:lnTo>
                  <a:lnTo>
                    <a:pt x="455841" y="282295"/>
                  </a:lnTo>
                  <a:lnTo>
                    <a:pt x="414616" y="300901"/>
                  </a:lnTo>
                  <a:lnTo>
                    <a:pt x="377342" y="325767"/>
                  </a:lnTo>
                  <a:lnTo>
                    <a:pt x="344728" y="356235"/>
                  </a:lnTo>
                  <a:lnTo>
                    <a:pt x="317411" y="391617"/>
                  </a:lnTo>
                  <a:lnTo>
                    <a:pt x="296087" y="431241"/>
                  </a:lnTo>
                  <a:lnTo>
                    <a:pt x="281419" y="474433"/>
                  </a:lnTo>
                  <a:lnTo>
                    <a:pt x="274091" y="520522"/>
                  </a:lnTo>
                  <a:lnTo>
                    <a:pt x="266915" y="474256"/>
                  </a:lnTo>
                  <a:lnTo>
                    <a:pt x="252361" y="430872"/>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88"/>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42"/>
                  </a:lnTo>
                  <a:lnTo>
                    <a:pt x="529005" y="359689"/>
                  </a:lnTo>
                  <a:lnTo>
                    <a:pt x="542480" y="314591"/>
                  </a:lnTo>
                  <a:lnTo>
                    <a:pt x="548043" y="266598"/>
                  </a:lnTo>
                  <a:close/>
                </a:path>
                <a:path w="548640" h="786764">
                  <a:moveTo>
                    <a:pt x="548043" y="1079"/>
                  </a:moveTo>
                  <a:lnTo>
                    <a:pt x="500367" y="5105"/>
                  </a:lnTo>
                  <a:lnTo>
                    <a:pt x="455841" y="16764"/>
                  </a:lnTo>
                  <a:lnTo>
                    <a:pt x="414616" y="35369"/>
                  </a:lnTo>
                  <a:lnTo>
                    <a:pt x="377342" y="60236"/>
                  </a:lnTo>
                  <a:lnTo>
                    <a:pt x="344728"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80" y="49060"/>
                  </a:lnTo>
                  <a:lnTo>
                    <a:pt x="548043" y="1079"/>
                  </a:lnTo>
                  <a:close/>
                </a:path>
                <a:path w="548640" h="786764">
                  <a:moveTo>
                    <a:pt x="548081" y="520192"/>
                  </a:moveTo>
                  <a:lnTo>
                    <a:pt x="500367" y="524205"/>
                  </a:lnTo>
                  <a:lnTo>
                    <a:pt x="455841" y="535851"/>
                  </a:lnTo>
                  <a:lnTo>
                    <a:pt x="414616" y="554456"/>
                  </a:lnTo>
                  <a:lnTo>
                    <a:pt x="377342" y="579323"/>
                  </a:lnTo>
                  <a:lnTo>
                    <a:pt x="360464" y="595083"/>
                  </a:lnTo>
                  <a:lnTo>
                    <a:pt x="344728" y="609790"/>
                  </a:lnTo>
                  <a:lnTo>
                    <a:pt x="317398" y="645160"/>
                  </a:lnTo>
                  <a:lnTo>
                    <a:pt x="296075" y="684784"/>
                  </a:lnTo>
                  <a:lnTo>
                    <a:pt x="281419" y="727976"/>
                  </a:lnTo>
                  <a:lnTo>
                    <a:pt x="274078" y="774039"/>
                  </a:lnTo>
                  <a:lnTo>
                    <a:pt x="268224" y="736295"/>
                  </a:lnTo>
                  <a:lnTo>
                    <a:pt x="266915" y="727811"/>
                  </a:lnTo>
                  <a:lnTo>
                    <a:pt x="252361" y="684441"/>
                  </a:lnTo>
                  <a:lnTo>
                    <a:pt x="231089" y="644652"/>
                  </a:lnTo>
                  <a:lnTo>
                    <a:pt x="203796" y="609117"/>
                  </a:lnTo>
                  <a:lnTo>
                    <a:pt x="171157" y="578510"/>
                  </a:lnTo>
                  <a:lnTo>
                    <a:pt x="133845" y="553529"/>
                  </a:lnTo>
                  <a:lnTo>
                    <a:pt x="92532" y="534847"/>
                  </a:lnTo>
                  <a:lnTo>
                    <a:pt x="47904" y="523113"/>
                  </a:lnTo>
                  <a:lnTo>
                    <a:pt x="0" y="519061"/>
                  </a:lnTo>
                  <a:lnTo>
                    <a:pt x="5448" y="567245"/>
                  </a:lnTo>
                  <a:lnTo>
                    <a:pt x="8496" y="577583"/>
                  </a:lnTo>
                  <a:lnTo>
                    <a:pt x="18834" y="612508"/>
                  </a:lnTo>
                  <a:lnTo>
                    <a:pt x="32626" y="640346"/>
                  </a:lnTo>
                  <a:lnTo>
                    <a:pt x="39458" y="654138"/>
                  </a:lnTo>
                  <a:lnTo>
                    <a:pt x="66548" y="691388"/>
                  </a:lnTo>
                  <a:lnTo>
                    <a:pt x="98704" y="722871"/>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49275" y="723023"/>
                  </a:lnTo>
                  <a:lnTo>
                    <a:pt x="481266" y="691807"/>
                  </a:lnTo>
                  <a:lnTo>
                    <a:pt x="508393" y="654697"/>
                  </a:lnTo>
                  <a:lnTo>
                    <a:pt x="529043" y="613244"/>
                  </a:lnTo>
                  <a:lnTo>
                    <a:pt x="542518" y="568172"/>
                  </a:lnTo>
                  <a:lnTo>
                    <a:pt x="548081" y="520192"/>
                  </a:lnTo>
                  <a:close/>
                </a:path>
              </a:pathLst>
            </a:custGeom>
            <a:solidFill>
              <a:srgbClr val="2DB7EA"/>
            </a:solidFill>
          </p:spPr>
          <p:txBody>
            <a:bodyPr wrap="square" lIns="0" tIns="0" rIns="0" bIns="0" rtlCol="0"/>
            <a:lstStyle/>
            <a:p>
              <a:endParaRPr dirty="0"/>
            </a:p>
          </p:txBody>
        </p:sp>
        <p:pic>
          <p:nvPicPr>
            <p:cNvPr id="481" name="object 242">
              <a:extLst>
                <a:ext uri="{FF2B5EF4-FFF2-40B4-BE49-F238E27FC236}">
                  <a16:creationId xmlns:a16="http://schemas.microsoft.com/office/drawing/2014/main" id="{8536826C-F749-ED5E-1509-F16835A42B7A}"/>
                </a:ext>
              </a:extLst>
            </p:cNvPr>
            <p:cNvPicPr/>
            <p:nvPr/>
          </p:nvPicPr>
          <p:blipFill>
            <a:blip r:embed="rId5" cstate="print"/>
            <a:stretch>
              <a:fillRect/>
            </a:stretch>
          </p:blipFill>
          <p:spPr>
            <a:xfrm>
              <a:off x="7711331" y="718433"/>
              <a:ext cx="106445" cy="107156"/>
            </a:xfrm>
            <a:prstGeom prst="rect">
              <a:avLst/>
            </a:prstGeom>
          </p:spPr>
        </p:pic>
        <p:sp>
          <p:nvSpPr>
            <p:cNvPr id="482" name="object 243">
              <a:extLst>
                <a:ext uri="{FF2B5EF4-FFF2-40B4-BE49-F238E27FC236}">
                  <a16:creationId xmlns:a16="http://schemas.microsoft.com/office/drawing/2014/main" id="{8B4C4E9D-8A42-8139-325E-0D5348B69728}"/>
                </a:ext>
              </a:extLst>
            </p:cNvPr>
            <p:cNvSpPr/>
            <p:nvPr/>
          </p:nvSpPr>
          <p:spPr>
            <a:xfrm>
              <a:off x="7598678" y="150257"/>
              <a:ext cx="332700" cy="477101"/>
            </a:xfrm>
            <a:custGeom>
              <a:avLst/>
              <a:gdLst/>
              <a:ahLst/>
              <a:cxnLst/>
              <a:rect l="l" t="t" r="r" b="b"/>
              <a:pathLst>
                <a:path w="548640" h="786765">
                  <a:moveTo>
                    <a:pt x="548043" y="266611"/>
                  </a:moveTo>
                  <a:lnTo>
                    <a:pt x="500367" y="270649"/>
                  </a:lnTo>
                  <a:lnTo>
                    <a:pt x="455841" y="282308"/>
                  </a:lnTo>
                  <a:lnTo>
                    <a:pt x="414616" y="300901"/>
                  </a:lnTo>
                  <a:lnTo>
                    <a:pt x="377342" y="325767"/>
                  </a:lnTo>
                  <a:lnTo>
                    <a:pt x="344728" y="356235"/>
                  </a:lnTo>
                  <a:lnTo>
                    <a:pt x="317411" y="391617"/>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39"/>
                  </a:lnTo>
                  <a:lnTo>
                    <a:pt x="225044" y="528459"/>
                  </a:lnTo>
                  <a:lnTo>
                    <a:pt x="273519" y="532828"/>
                  </a:lnTo>
                  <a:lnTo>
                    <a:pt x="274751" y="532828"/>
                  </a:lnTo>
                  <a:lnTo>
                    <a:pt x="323088" y="528472"/>
                  </a:lnTo>
                  <a:lnTo>
                    <a:pt x="368642" y="516115"/>
                  </a:lnTo>
                  <a:lnTo>
                    <a:pt x="410679" y="496468"/>
                  </a:lnTo>
                  <a:lnTo>
                    <a:pt x="448462" y="470268"/>
                  </a:lnTo>
                  <a:lnTo>
                    <a:pt x="481266" y="438251"/>
                  </a:lnTo>
                  <a:lnTo>
                    <a:pt x="508355" y="401154"/>
                  </a:lnTo>
                  <a:lnTo>
                    <a:pt x="529005" y="359689"/>
                  </a:lnTo>
                  <a:lnTo>
                    <a:pt x="542480" y="314604"/>
                  </a:lnTo>
                  <a:lnTo>
                    <a:pt x="548043" y="266611"/>
                  </a:lnTo>
                  <a:close/>
                </a:path>
                <a:path w="548640" h="786765">
                  <a:moveTo>
                    <a:pt x="548043" y="1079"/>
                  </a:moveTo>
                  <a:lnTo>
                    <a:pt x="500367" y="5118"/>
                  </a:lnTo>
                  <a:lnTo>
                    <a:pt x="455841" y="16776"/>
                  </a:lnTo>
                  <a:lnTo>
                    <a:pt x="414616" y="35369"/>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60"/>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36"/>
                  </a:lnTo>
                  <a:lnTo>
                    <a:pt x="481266" y="172732"/>
                  </a:lnTo>
                  <a:lnTo>
                    <a:pt x="508355" y="135623"/>
                  </a:lnTo>
                  <a:lnTo>
                    <a:pt x="529005" y="94157"/>
                  </a:lnTo>
                  <a:lnTo>
                    <a:pt x="542480" y="49072"/>
                  </a:lnTo>
                  <a:lnTo>
                    <a:pt x="548043" y="1079"/>
                  </a:lnTo>
                  <a:close/>
                </a:path>
                <a:path w="548640" h="786765">
                  <a:moveTo>
                    <a:pt x="548081" y="520204"/>
                  </a:moveTo>
                  <a:lnTo>
                    <a:pt x="500367" y="524205"/>
                  </a:lnTo>
                  <a:lnTo>
                    <a:pt x="455841" y="535863"/>
                  </a:lnTo>
                  <a:lnTo>
                    <a:pt x="414616" y="554469"/>
                  </a:lnTo>
                  <a:lnTo>
                    <a:pt x="377342" y="579335"/>
                  </a:lnTo>
                  <a:lnTo>
                    <a:pt x="344728" y="609803"/>
                  </a:lnTo>
                  <a:lnTo>
                    <a:pt x="317398" y="645172"/>
                  </a:lnTo>
                  <a:lnTo>
                    <a:pt x="296075" y="684796"/>
                  </a:lnTo>
                  <a:lnTo>
                    <a:pt x="281419" y="727976"/>
                  </a:lnTo>
                  <a:lnTo>
                    <a:pt x="274078" y="774039"/>
                  </a:lnTo>
                  <a:lnTo>
                    <a:pt x="268224" y="736307"/>
                  </a:lnTo>
                  <a:lnTo>
                    <a:pt x="266915" y="727824"/>
                  </a:lnTo>
                  <a:lnTo>
                    <a:pt x="252361" y="684453"/>
                  </a:lnTo>
                  <a:lnTo>
                    <a:pt x="231089" y="644652"/>
                  </a:lnTo>
                  <a:lnTo>
                    <a:pt x="203796" y="609117"/>
                  </a:lnTo>
                  <a:lnTo>
                    <a:pt x="171157" y="578523"/>
                  </a:lnTo>
                  <a:lnTo>
                    <a:pt x="133845" y="553542"/>
                  </a:lnTo>
                  <a:lnTo>
                    <a:pt x="92532" y="534835"/>
                  </a:lnTo>
                  <a:lnTo>
                    <a:pt x="47904" y="523125"/>
                  </a:lnTo>
                  <a:lnTo>
                    <a:pt x="0" y="519074"/>
                  </a:lnTo>
                  <a:lnTo>
                    <a:pt x="5448" y="567258"/>
                  </a:lnTo>
                  <a:lnTo>
                    <a:pt x="9410" y="580644"/>
                  </a:lnTo>
                  <a:lnTo>
                    <a:pt x="18834" y="612508"/>
                  </a:lnTo>
                  <a:lnTo>
                    <a:pt x="29235" y="633526"/>
                  </a:lnTo>
                  <a:lnTo>
                    <a:pt x="39458" y="654151"/>
                  </a:lnTo>
                  <a:lnTo>
                    <a:pt x="59156" y="681240"/>
                  </a:lnTo>
                  <a:lnTo>
                    <a:pt x="66548" y="691388"/>
                  </a:lnTo>
                  <a:lnTo>
                    <a:pt x="99402" y="723557"/>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7ED3F1"/>
            </a:solidFill>
          </p:spPr>
          <p:txBody>
            <a:bodyPr wrap="square" lIns="0" tIns="0" rIns="0" bIns="0" rtlCol="0"/>
            <a:lstStyle/>
            <a:p>
              <a:endParaRPr dirty="0"/>
            </a:p>
          </p:txBody>
        </p:sp>
        <p:pic>
          <p:nvPicPr>
            <p:cNvPr id="483" name="object 244">
              <a:extLst>
                <a:ext uri="{FF2B5EF4-FFF2-40B4-BE49-F238E27FC236}">
                  <a16:creationId xmlns:a16="http://schemas.microsoft.com/office/drawing/2014/main" id="{B194ABD0-44BE-5018-01FD-543F067AF4B8}"/>
                </a:ext>
              </a:extLst>
            </p:cNvPr>
            <p:cNvPicPr/>
            <p:nvPr/>
          </p:nvPicPr>
          <p:blipFill>
            <a:blip r:embed="rId6" cstate="print"/>
            <a:stretch>
              <a:fillRect/>
            </a:stretch>
          </p:blipFill>
          <p:spPr>
            <a:xfrm>
              <a:off x="7711331" y="64269"/>
              <a:ext cx="106445" cy="107156"/>
            </a:xfrm>
            <a:prstGeom prst="rect">
              <a:avLst/>
            </a:prstGeom>
          </p:spPr>
        </p:pic>
        <p:sp>
          <p:nvSpPr>
            <p:cNvPr id="484" name="object 245">
              <a:extLst>
                <a:ext uri="{FF2B5EF4-FFF2-40B4-BE49-F238E27FC236}">
                  <a16:creationId xmlns:a16="http://schemas.microsoft.com/office/drawing/2014/main" id="{44F6BD3F-9D26-0BB2-8B1F-36DAB7C48133}"/>
                </a:ext>
              </a:extLst>
            </p:cNvPr>
            <p:cNvSpPr/>
            <p:nvPr/>
          </p:nvSpPr>
          <p:spPr>
            <a:xfrm>
              <a:off x="7598678" y="2112754"/>
              <a:ext cx="332700" cy="477101"/>
            </a:xfrm>
            <a:custGeom>
              <a:avLst/>
              <a:gdLst/>
              <a:ahLst/>
              <a:cxnLst/>
              <a:rect l="l" t="t" r="r" b="b"/>
              <a:pathLst>
                <a:path w="548640" h="786764">
                  <a:moveTo>
                    <a:pt x="548043" y="266611"/>
                  </a:moveTo>
                  <a:lnTo>
                    <a:pt x="500367" y="270649"/>
                  </a:lnTo>
                  <a:lnTo>
                    <a:pt x="455841" y="282308"/>
                  </a:lnTo>
                  <a:lnTo>
                    <a:pt x="414616" y="300901"/>
                  </a:lnTo>
                  <a:lnTo>
                    <a:pt x="377342" y="325780"/>
                  </a:lnTo>
                  <a:lnTo>
                    <a:pt x="344728"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74" y="516039"/>
                  </a:lnTo>
                  <a:lnTo>
                    <a:pt x="225044" y="528459"/>
                  </a:lnTo>
                  <a:lnTo>
                    <a:pt x="273519" y="532841"/>
                  </a:lnTo>
                  <a:lnTo>
                    <a:pt x="274751" y="532841"/>
                  </a:lnTo>
                  <a:lnTo>
                    <a:pt x="323088" y="528485"/>
                  </a:lnTo>
                  <a:lnTo>
                    <a:pt x="368642" y="516115"/>
                  </a:lnTo>
                  <a:lnTo>
                    <a:pt x="410679" y="496468"/>
                  </a:lnTo>
                  <a:lnTo>
                    <a:pt x="448462" y="470268"/>
                  </a:lnTo>
                  <a:lnTo>
                    <a:pt x="481266" y="438264"/>
                  </a:lnTo>
                  <a:lnTo>
                    <a:pt x="508355" y="401154"/>
                  </a:lnTo>
                  <a:lnTo>
                    <a:pt x="529005" y="359689"/>
                  </a:lnTo>
                  <a:lnTo>
                    <a:pt x="542480" y="314604"/>
                  </a:lnTo>
                  <a:lnTo>
                    <a:pt x="548043" y="266611"/>
                  </a:lnTo>
                  <a:close/>
                </a:path>
                <a:path w="548640" h="786764">
                  <a:moveTo>
                    <a:pt x="548043" y="1079"/>
                  </a:moveTo>
                  <a:lnTo>
                    <a:pt x="500367" y="5118"/>
                  </a:lnTo>
                  <a:lnTo>
                    <a:pt x="455841" y="16776"/>
                  </a:lnTo>
                  <a:lnTo>
                    <a:pt x="414616" y="35369"/>
                  </a:lnTo>
                  <a:lnTo>
                    <a:pt x="377342" y="60248"/>
                  </a:lnTo>
                  <a:lnTo>
                    <a:pt x="344728" y="90703"/>
                  </a:lnTo>
                  <a:lnTo>
                    <a:pt x="317411" y="126085"/>
                  </a:lnTo>
                  <a:lnTo>
                    <a:pt x="296087" y="165722"/>
                  </a:lnTo>
                  <a:lnTo>
                    <a:pt x="281419" y="208915"/>
                  </a:lnTo>
                  <a:lnTo>
                    <a:pt x="274091" y="255003"/>
                  </a:lnTo>
                  <a:lnTo>
                    <a:pt x="266915" y="208724"/>
                  </a:lnTo>
                  <a:lnTo>
                    <a:pt x="252361" y="165354"/>
                  </a:lnTo>
                  <a:lnTo>
                    <a:pt x="231089"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13"/>
                  </a:lnTo>
                  <a:lnTo>
                    <a:pt x="99402" y="204457"/>
                  </a:lnTo>
                  <a:lnTo>
                    <a:pt x="137248" y="230771"/>
                  </a:lnTo>
                  <a:lnTo>
                    <a:pt x="179374" y="250507"/>
                  </a:lnTo>
                  <a:lnTo>
                    <a:pt x="225044" y="262928"/>
                  </a:lnTo>
                  <a:lnTo>
                    <a:pt x="273519" y="267296"/>
                  </a:lnTo>
                  <a:lnTo>
                    <a:pt x="274751" y="267296"/>
                  </a:lnTo>
                  <a:lnTo>
                    <a:pt x="323088" y="262940"/>
                  </a:lnTo>
                  <a:lnTo>
                    <a:pt x="368642" y="250583"/>
                  </a:lnTo>
                  <a:lnTo>
                    <a:pt x="410679" y="230936"/>
                  </a:lnTo>
                  <a:lnTo>
                    <a:pt x="448462" y="204736"/>
                  </a:lnTo>
                  <a:lnTo>
                    <a:pt x="481266" y="172720"/>
                  </a:lnTo>
                  <a:lnTo>
                    <a:pt x="508355" y="135623"/>
                  </a:lnTo>
                  <a:lnTo>
                    <a:pt x="529005" y="94157"/>
                  </a:lnTo>
                  <a:lnTo>
                    <a:pt x="542480" y="49072"/>
                  </a:lnTo>
                  <a:lnTo>
                    <a:pt x="548043" y="1079"/>
                  </a:lnTo>
                  <a:close/>
                </a:path>
                <a:path w="548640" h="786764">
                  <a:moveTo>
                    <a:pt x="548081" y="520204"/>
                  </a:moveTo>
                  <a:lnTo>
                    <a:pt x="500367" y="524205"/>
                  </a:lnTo>
                  <a:lnTo>
                    <a:pt x="455841" y="535863"/>
                  </a:lnTo>
                  <a:lnTo>
                    <a:pt x="414616" y="554456"/>
                  </a:lnTo>
                  <a:lnTo>
                    <a:pt x="377342" y="579335"/>
                  </a:lnTo>
                  <a:lnTo>
                    <a:pt x="344728" y="609803"/>
                  </a:lnTo>
                  <a:lnTo>
                    <a:pt x="317398" y="645172"/>
                  </a:lnTo>
                  <a:lnTo>
                    <a:pt x="296075" y="684796"/>
                  </a:lnTo>
                  <a:lnTo>
                    <a:pt x="281419" y="727989"/>
                  </a:lnTo>
                  <a:lnTo>
                    <a:pt x="274078" y="774039"/>
                  </a:lnTo>
                  <a:lnTo>
                    <a:pt x="266915" y="727811"/>
                  </a:lnTo>
                  <a:lnTo>
                    <a:pt x="252361" y="684441"/>
                  </a:lnTo>
                  <a:lnTo>
                    <a:pt x="231089" y="644652"/>
                  </a:lnTo>
                  <a:lnTo>
                    <a:pt x="203796" y="609117"/>
                  </a:lnTo>
                  <a:lnTo>
                    <a:pt x="171157" y="578523"/>
                  </a:lnTo>
                  <a:lnTo>
                    <a:pt x="133845" y="553542"/>
                  </a:lnTo>
                  <a:lnTo>
                    <a:pt x="92532" y="534860"/>
                  </a:lnTo>
                  <a:lnTo>
                    <a:pt x="47904" y="523125"/>
                  </a:lnTo>
                  <a:lnTo>
                    <a:pt x="0" y="519099"/>
                  </a:lnTo>
                  <a:lnTo>
                    <a:pt x="5448" y="567258"/>
                  </a:lnTo>
                  <a:lnTo>
                    <a:pt x="9410" y="580644"/>
                  </a:lnTo>
                  <a:lnTo>
                    <a:pt x="18834" y="612508"/>
                  </a:lnTo>
                  <a:lnTo>
                    <a:pt x="39458" y="654138"/>
                  </a:lnTo>
                  <a:lnTo>
                    <a:pt x="66548" y="691400"/>
                  </a:lnTo>
                  <a:lnTo>
                    <a:pt x="99390" y="72354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2DB7EA"/>
            </a:solidFill>
          </p:spPr>
          <p:txBody>
            <a:bodyPr wrap="square" lIns="0" tIns="0" rIns="0" bIns="0" rtlCol="0"/>
            <a:lstStyle/>
            <a:p>
              <a:endParaRPr dirty="0"/>
            </a:p>
          </p:txBody>
        </p:sp>
        <p:pic>
          <p:nvPicPr>
            <p:cNvPr id="485" name="object 246">
              <a:extLst>
                <a:ext uri="{FF2B5EF4-FFF2-40B4-BE49-F238E27FC236}">
                  <a16:creationId xmlns:a16="http://schemas.microsoft.com/office/drawing/2014/main" id="{9CC2E224-5772-5DA2-E633-FE5265BBD94E}"/>
                </a:ext>
              </a:extLst>
            </p:cNvPr>
            <p:cNvPicPr/>
            <p:nvPr/>
          </p:nvPicPr>
          <p:blipFill>
            <a:blip r:embed="rId5" cstate="print"/>
            <a:stretch>
              <a:fillRect/>
            </a:stretch>
          </p:blipFill>
          <p:spPr>
            <a:xfrm>
              <a:off x="7711331" y="2026765"/>
              <a:ext cx="106445" cy="107156"/>
            </a:xfrm>
            <a:prstGeom prst="rect">
              <a:avLst/>
            </a:prstGeom>
          </p:spPr>
        </p:pic>
        <p:sp>
          <p:nvSpPr>
            <p:cNvPr id="486" name="object 247">
              <a:extLst>
                <a:ext uri="{FF2B5EF4-FFF2-40B4-BE49-F238E27FC236}">
                  <a16:creationId xmlns:a16="http://schemas.microsoft.com/office/drawing/2014/main" id="{1FDA961A-B7BE-4492-67BB-12C55D266F86}"/>
                </a:ext>
              </a:extLst>
            </p:cNvPr>
            <p:cNvSpPr/>
            <p:nvPr/>
          </p:nvSpPr>
          <p:spPr>
            <a:xfrm>
              <a:off x="7598678" y="1458591"/>
              <a:ext cx="332700" cy="477101"/>
            </a:xfrm>
            <a:custGeom>
              <a:avLst/>
              <a:gdLst/>
              <a:ahLst/>
              <a:cxnLst/>
              <a:rect l="l" t="t" r="r" b="b"/>
              <a:pathLst>
                <a:path w="548640" h="786764">
                  <a:moveTo>
                    <a:pt x="548043" y="266611"/>
                  </a:moveTo>
                  <a:lnTo>
                    <a:pt x="500367" y="270649"/>
                  </a:lnTo>
                  <a:lnTo>
                    <a:pt x="455841" y="282295"/>
                  </a:lnTo>
                  <a:lnTo>
                    <a:pt x="414616" y="300901"/>
                  </a:lnTo>
                  <a:lnTo>
                    <a:pt x="377342" y="325767"/>
                  </a:lnTo>
                  <a:lnTo>
                    <a:pt x="344728" y="356235"/>
                  </a:lnTo>
                  <a:lnTo>
                    <a:pt x="317411" y="391617"/>
                  </a:lnTo>
                  <a:lnTo>
                    <a:pt x="296087" y="431241"/>
                  </a:lnTo>
                  <a:lnTo>
                    <a:pt x="281419" y="474446"/>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26"/>
                  </a:lnTo>
                  <a:lnTo>
                    <a:pt x="225044" y="528459"/>
                  </a:lnTo>
                  <a:lnTo>
                    <a:pt x="273519" y="532828"/>
                  </a:lnTo>
                  <a:lnTo>
                    <a:pt x="274751" y="532828"/>
                  </a:lnTo>
                  <a:lnTo>
                    <a:pt x="323088" y="528472"/>
                  </a:lnTo>
                  <a:lnTo>
                    <a:pt x="368642" y="516102"/>
                  </a:lnTo>
                  <a:lnTo>
                    <a:pt x="410679" y="496468"/>
                  </a:lnTo>
                  <a:lnTo>
                    <a:pt x="448462" y="470268"/>
                  </a:lnTo>
                  <a:lnTo>
                    <a:pt x="481266" y="438251"/>
                  </a:lnTo>
                  <a:lnTo>
                    <a:pt x="508355" y="401154"/>
                  </a:lnTo>
                  <a:lnTo>
                    <a:pt x="529005" y="359689"/>
                  </a:lnTo>
                  <a:lnTo>
                    <a:pt x="542480" y="314604"/>
                  </a:lnTo>
                  <a:lnTo>
                    <a:pt x="548043" y="266611"/>
                  </a:lnTo>
                  <a:close/>
                </a:path>
                <a:path w="548640" h="786764">
                  <a:moveTo>
                    <a:pt x="548043" y="1079"/>
                  </a:moveTo>
                  <a:lnTo>
                    <a:pt x="500367" y="5105"/>
                  </a:lnTo>
                  <a:lnTo>
                    <a:pt x="455841" y="16764"/>
                  </a:lnTo>
                  <a:lnTo>
                    <a:pt x="414616" y="35369"/>
                  </a:lnTo>
                  <a:lnTo>
                    <a:pt x="377342" y="60236"/>
                  </a:lnTo>
                  <a:lnTo>
                    <a:pt x="344728"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80" y="49060"/>
                  </a:lnTo>
                  <a:lnTo>
                    <a:pt x="548043" y="1079"/>
                  </a:lnTo>
                  <a:close/>
                </a:path>
                <a:path w="548640" h="786764">
                  <a:moveTo>
                    <a:pt x="548081" y="520192"/>
                  </a:moveTo>
                  <a:lnTo>
                    <a:pt x="500367" y="524205"/>
                  </a:lnTo>
                  <a:lnTo>
                    <a:pt x="455841" y="535863"/>
                  </a:lnTo>
                  <a:lnTo>
                    <a:pt x="414616" y="554456"/>
                  </a:lnTo>
                  <a:lnTo>
                    <a:pt x="377342" y="579335"/>
                  </a:lnTo>
                  <a:lnTo>
                    <a:pt x="344728" y="609790"/>
                  </a:lnTo>
                  <a:lnTo>
                    <a:pt x="317398" y="645172"/>
                  </a:lnTo>
                  <a:lnTo>
                    <a:pt x="296075" y="684784"/>
                  </a:lnTo>
                  <a:lnTo>
                    <a:pt x="281419" y="727976"/>
                  </a:lnTo>
                  <a:lnTo>
                    <a:pt x="274078" y="774039"/>
                  </a:lnTo>
                  <a:lnTo>
                    <a:pt x="266915" y="727811"/>
                  </a:lnTo>
                  <a:lnTo>
                    <a:pt x="252361" y="684441"/>
                  </a:lnTo>
                  <a:lnTo>
                    <a:pt x="231089" y="644652"/>
                  </a:lnTo>
                  <a:lnTo>
                    <a:pt x="203796" y="609117"/>
                  </a:lnTo>
                  <a:lnTo>
                    <a:pt x="171157" y="578510"/>
                  </a:lnTo>
                  <a:lnTo>
                    <a:pt x="133845" y="553529"/>
                  </a:lnTo>
                  <a:lnTo>
                    <a:pt x="120967" y="547712"/>
                  </a:lnTo>
                  <a:lnTo>
                    <a:pt x="92532" y="534847"/>
                  </a:lnTo>
                  <a:lnTo>
                    <a:pt x="47917" y="523138"/>
                  </a:lnTo>
                  <a:lnTo>
                    <a:pt x="0" y="519061"/>
                  </a:lnTo>
                  <a:lnTo>
                    <a:pt x="5448" y="567245"/>
                  </a:lnTo>
                  <a:lnTo>
                    <a:pt x="18834" y="612508"/>
                  </a:lnTo>
                  <a:lnTo>
                    <a:pt x="39458" y="654138"/>
                  </a:lnTo>
                  <a:lnTo>
                    <a:pt x="66548" y="691388"/>
                  </a:lnTo>
                  <a:lnTo>
                    <a:pt x="67246" y="692073"/>
                  </a:lnTo>
                  <a:lnTo>
                    <a:pt x="99390" y="723544"/>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49275" y="723023"/>
                  </a:lnTo>
                  <a:lnTo>
                    <a:pt x="481266" y="691807"/>
                  </a:lnTo>
                  <a:lnTo>
                    <a:pt x="508393" y="654697"/>
                  </a:lnTo>
                  <a:lnTo>
                    <a:pt x="529043" y="613244"/>
                  </a:lnTo>
                  <a:lnTo>
                    <a:pt x="542518" y="568172"/>
                  </a:lnTo>
                  <a:lnTo>
                    <a:pt x="548081" y="520192"/>
                  </a:lnTo>
                  <a:close/>
                </a:path>
              </a:pathLst>
            </a:custGeom>
            <a:solidFill>
              <a:srgbClr val="7ED3F1"/>
            </a:solidFill>
          </p:spPr>
          <p:txBody>
            <a:bodyPr wrap="square" lIns="0" tIns="0" rIns="0" bIns="0" rtlCol="0"/>
            <a:lstStyle/>
            <a:p>
              <a:endParaRPr dirty="0"/>
            </a:p>
          </p:txBody>
        </p:sp>
        <p:pic>
          <p:nvPicPr>
            <p:cNvPr id="487" name="object 248">
              <a:extLst>
                <a:ext uri="{FF2B5EF4-FFF2-40B4-BE49-F238E27FC236}">
                  <a16:creationId xmlns:a16="http://schemas.microsoft.com/office/drawing/2014/main" id="{8E6A157C-5036-6B58-8FE9-CA6E9F0BEF7A}"/>
                </a:ext>
              </a:extLst>
            </p:cNvPr>
            <p:cNvPicPr/>
            <p:nvPr/>
          </p:nvPicPr>
          <p:blipFill>
            <a:blip r:embed="rId6" cstate="print"/>
            <a:stretch>
              <a:fillRect/>
            </a:stretch>
          </p:blipFill>
          <p:spPr>
            <a:xfrm>
              <a:off x="7711331" y="1372599"/>
              <a:ext cx="106445" cy="107156"/>
            </a:xfrm>
            <a:prstGeom prst="rect">
              <a:avLst/>
            </a:prstGeom>
          </p:spPr>
        </p:pic>
        <p:sp>
          <p:nvSpPr>
            <p:cNvPr id="488" name="object 249">
              <a:extLst>
                <a:ext uri="{FF2B5EF4-FFF2-40B4-BE49-F238E27FC236}">
                  <a16:creationId xmlns:a16="http://schemas.microsoft.com/office/drawing/2014/main" id="{3D8ED397-59EB-0787-81DB-DE8A12F69AFB}"/>
                </a:ext>
              </a:extLst>
            </p:cNvPr>
            <p:cNvSpPr/>
            <p:nvPr/>
          </p:nvSpPr>
          <p:spPr>
            <a:xfrm>
              <a:off x="7598678" y="3421088"/>
              <a:ext cx="332700" cy="477101"/>
            </a:xfrm>
            <a:custGeom>
              <a:avLst/>
              <a:gdLst/>
              <a:ahLst/>
              <a:cxnLst/>
              <a:rect l="l" t="t" r="r" b="b"/>
              <a:pathLst>
                <a:path w="548640" h="786764">
                  <a:moveTo>
                    <a:pt x="548043" y="266611"/>
                  </a:moveTo>
                  <a:lnTo>
                    <a:pt x="500367" y="270637"/>
                  </a:lnTo>
                  <a:lnTo>
                    <a:pt x="455841" y="282295"/>
                  </a:lnTo>
                  <a:lnTo>
                    <a:pt x="414616" y="300901"/>
                  </a:lnTo>
                  <a:lnTo>
                    <a:pt x="377342" y="325767"/>
                  </a:lnTo>
                  <a:lnTo>
                    <a:pt x="344728" y="356235"/>
                  </a:lnTo>
                  <a:lnTo>
                    <a:pt x="317411" y="391617"/>
                  </a:lnTo>
                  <a:lnTo>
                    <a:pt x="296087" y="431241"/>
                  </a:lnTo>
                  <a:lnTo>
                    <a:pt x="281419" y="474433"/>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55"/>
                  </a:lnTo>
                  <a:lnTo>
                    <a:pt x="481266" y="438251"/>
                  </a:lnTo>
                  <a:lnTo>
                    <a:pt x="508355" y="401142"/>
                  </a:lnTo>
                  <a:lnTo>
                    <a:pt x="529005" y="359689"/>
                  </a:lnTo>
                  <a:lnTo>
                    <a:pt x="542480" y="314591"/>
                  </a:lnTo>
                  <a:lnTo>
                    <a:pt x="548043" y="266611"/>
                  </a:lnTo>
                  <a:close/>
                </a:path>
                <a:path w="548640" h="786764">
                  <a:moveTo>
                    <a:pt x="548043" y="1079"/>
                  </a:moveTo>
                  <a:lnTo>
                    <a:pt x="500367" y="5118"/>
                  </a:lnTo>
                  <a:lnTo>
                    <a:pt x="455841" y="16764"/>
                  </a:lnTo>
                  <a:lnTo>
                    <a:pt x="414616" y="35369"/>
                  </a:lnTo>
                  <a:lnTo>
                    <a:pt x="377342" y="60236"/>
                  </a:lnTo>
                  <a:lnTo>
                    <a:pt x="344728" y="90703"/>
                  </a:lnTo>
                  <a:lnTo>
                    <a:pt x="317411" y="126085"/>
                  </a:lnTo>
                  <a:lnTo>
                    <a:pt x="296087" y="165709"/>
                  </a:lnTo>
                  <a:lnTo>
                    <a:pt x="281419" y="208915"/>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80" y="49072"/>
                  </a:lnTo>
                  <a:lnTo>
                    <a:pt x="548043" y="1079"/>
                  </a:lnTo>
                  <a:close/>
                </a:path>
                <a:path w="548640" h="786764">
                  <a:moveTo>
                    <a:pt x="548081" y="520192"/>
                  </a:moveTo>
                  <a:lnTo>
                    <a:pt x="500367" y="524217"/>
                  </a:lnTo>
                  <a:lnTo>
                    <a:pt x="455841" y="535863"/>
                  </a:lnTo>
                  <a:lnTo>
                    <a:pt x="427418" y="548690"/>
                  </a:lnTo>
                  <a:lnTo>
                    <a:pt x="414616" y="554469"/>
                  </a:lnTo>
                  <a:lnTo>
                    <a:pt x="377342" y="579335"/>
                  </a:lnTo>
                  <a:lnTo>
                    <a:pt x="344716" y="609790"/>
                  </a:lnTo>
                  <a:lnTo>
                    <a:pt x="317398" y="645172"/>
                  </a:lnTo>
                  <a:lnTo>
                    <a:pt x="296075" y="684784"/>
                  </a:lnTo>
                  <a:lnTo>
                    <a:pt x="281419" y="727976"/>
                  </a:lnTo>
                  <a:lnTo>
                    <a:pt x="274078" y="774039"/>
                  </a:lnTo>
                  <a:lnTo>
                    <a:pt x="268224" y="736295"/>
                  </a:lnTo>
                  <a:lnTo>
                    <a:pt x="266915" y="727811"/>
                  </a:lnTo>
                  <a:lnTo>
                    <a:pt x="252361" y="684441"/>
                  </a:lnTo>
                  <a:lnTo>
                    <a:pt x="231089" y="644652"/>
                  </a:lnTo>
                  <a:lnTo>
                    <a:pt x="203796" y="609117"/>
                  </a:lnTo>
                  <a:lnTo>
                    <a:pt x="171157" y="578510"/>
                  </a:lnTo>
                  <a:lnTo>
                    <a:pt x="133845" y="553529"/>
                  </a:lnTo>
                  <a:lnTo>
                    <a:pt x="92532" y="534847"/>
                  </a:lnTo>
                  <a:lnTo>
                    <a:pt x="47917" y="523138"/>
                  </a:lnTo>
                  <a:lnTo>
                    <a:pt x="0" y="519061"/>
                  </a:lnTo>
                  <a:lnTo>
                    <a:pt x="5448" y="567245"/>
                  </a:lnTo>
                  <a:lnTo>
                    <a:pt x="18834" y="612508"/>
                  </a:lnTo>
                  <a:lnTo>
                    <a:pt x="39458" y="654138"/>
                  </a:lnTo>
                  <a:lnTo>
                    <a:pt x="66548" y="691388"/>
                  </a:lnTo>
                  <a:lnTo>
                    <a:pt x="99402" y="723544"/>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81266" y="691819"/>
                  </a:lnTo>
                  <a:lnTo>
                    <a:pt x="508393" y="654697"/>
                  </a:lnTo>
                  <a:lnTo>
                    <a:pt x="529043" y="613244"/>
                  </a:lnTo>
                  <a:lnTo>
                    <a:pt x="542518" y="568172"/>
                  </a:lnTo>
                  <a:lnTo>
                    <a:pt x="548081" y="520192"/>
                  </a:lnTo>
                  <a:close/>
                </a:path>
              </a:pathLst>
            </a:custGeom>
            <a:solidFill>
              <a:srgbClr val="2DB7EA"/>
            </a:solidFill>
          </p:spPr>
          <p:txBody>
            <a:bodyPr wrap="square" lIns="0" tIns="0" rIns="0" bIns="0" rtlCol="0"/>
            <a:lstStyle/>
            <a:p>
              <a:endParaRPr dirty="0"/>
            </a:p>
          </p:txBody>
        </p:sp>
        <p:pic>
          <p:nvPicPr>
            <p:cNvPr id="489" name="object 250">
              <a:extLst>
                <a:ext uri="{FF2B5EF4-FFF2-40B4-BE49-F238E27FC236}">
                  <a16:creationId xmlns:a16="http://schemas.microsoft.com/office/drawing/2014/main" id="{D2E64203-B638-B9B2-65DE-5A55D440E837}"/>
                </a:ext>
              </a:extLst>
            </p:cNvPr>
            <p:cNvPicPr/>
            <p:nvPr/>
          </p:nvPicPr>
          <p:blipFill>
            <a:blip r:embed="rId5" cstate="print"/>
            <a:stretch>
              <a:fillRect/>
            </a:stretch>
          </p:blipFill>
          <p:spPr>
            <a:xfrm>
              <a:off x="7711331" y="3335097"/>
              <a:ext cx="106445" cy="107156"/>
            </a:xfrm>
            <a:prstGeom prst="rect">
              <a:avLst/>
            </a:prstGeom>
          </p:spPr>
        </p:pic>
        <p:sp>
          <p:nvSpPr>
            <p:cNvPr id="490" name="object 251">
              <a:extLst>
                <a:ext uri="{FF2B5EF4-FFF2-40B4-BE49-F238E27FC236}">
                  <a16:creationId xmlns:a16="http://schemas.microsoft.com/office/drawing/2014/main" id="{5F1FD725-7046-8B4B-482F-EE9355418500}"/>
                </a:ext>
              </a:extLst>
            </p:cNvPr>
            <p:cNvSpPr/>
            <p:nvPr/>
          </p:nvSpPr>
          <p:spPr>
            <a:xfrm>
              <a:off x="7598678" y="2766918"/>
              <a:ext cx="332700" cy="477101"/>
            </a:xfrm>
            <a:custGeom>
              <a:avLst/>
              <a:gdLst/>
              <a:ahLst/>
              <a:cxnLst/>
              <a:rect l="l" t="t" r="r" b="b"/>
              <a:pathLst>
                <a:path w="548640" h="786764">
                  <a:moveTo>
                    <a:pt x="548043" y="266611"/>
                  </a:moveTo>
                  <a:lnTo>
                    <a:pt x="500367" y="270649"/>
                  </a:lnTo>
                  <a:lnTo>
                    <a:pt x="455841" y="282308"/>
                  </a:lnTo>
                  <a:lnTo>
                    <a:pt x="414616" y="300901"/>
                  </a:lnTo>
                  <a:lnTo>
                    <a:pt x="377342" y="325780"/>
                  </a:lnTo>
                  <a:lnTo>
                    <a:pt x="344728"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74" y="516039"/>
                  </a:lnTo>
                  <a:lnTo>
                    <a:pt x="225044" y="528459"/>
                  </a:lnTo>
                  <a:lnTo>
                    <a:pt x="273519" y="532841"/>
                  </a:lnTo>
                  <a:lnTo>
                    <a:pt x="274751" y="532841"/>
                  </a:lnTo>
                  <a:lnTo>
                    <a:pt x="323088" y="528485"/>
                  </a:lnTo>
                  <a:lnTo>
                    <a:pt x="368642" y="516115"/>
                  </a:lnTo>
                  <a:lnTo>
                    <a:pt x="410679" y="496468"/>
                  </a:lnTo>
                  <a:lnTo>
                    <a:pt x="448462" y="470268"/>
                  </a:lnTo>
                  <a:lnTo>
                    <a:pt x="481266" y="438264"/>
                  </a:lnTo>
                  <a:lnTo>
                    <a:pt x="508355" y="401154"/>
                  </a:lnTo>
                  <a:lnTo>
                    <a:pt x="529005" y="359689"/>
                  </a:lnTo>
                  <a:lnTo>
                    <a:pt x="542480" y="314604"/>
                  </a:lnTo>
                  <a:lnTo>
                    <a:pt x="548043" y="266611"/>
                  </a:lnTo>
                  <a:close/>
                </a:path>
                <a:path w="548640" h="786764">
                  <a:moveTo>
                    <a:pt x="548043" y="1079"/>
                  </a:moveTo>
                  <a:lnTo>
                    <a:pt x="500367" y="5118"/>
                  </a:lnTo>
                  <a:lnTo>
                    <a:pt x="455841" y="16776"/>
                  </a:lnTo>
                  <a:lnTo>
                    <a:pt x="414616" y="35369"/>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49"/>
                  </a:lnTo>
                  <a:lnTo>
                    <a:pt x="481266" y="172732"/>
                  </a:lnTo>
                  <a:lnTo>
                    <a:pt x="508355" y="135623"/>
                  </a:lnTo>
                  <a:lnTo>
                    <a:pt x="529005" y="94157"/>
                  </a:lnTo>
                  <a:lnTo>
                    <a:pt x="542480" y="49072"/>
                  </a:lnTo>
                  <a:lnTo>
                    <a:pt x="548043" y="1079"/>
                  </a:lnTo>
                  <a:close/>
                </a:path>
                <a:path w="548640" h="786764">
                  <a:moveTo>
                    <a:pt x="548081" y="520204"/>
                  </a:moveTo>
                  <a:lnTo>
                    <a:pt x="500367" y="524205"/>
                  </a:lnTo>
                  <a:lnTo>
                    <a:pt x="455841" y="535863"/>
                  </a:lnTo>
                  <a:lnTo>
                    <a:pt x="414616" y="554469"/>
                  </a:lnTo>
                  <a:lnTo>
                    <a:pt x="377342" y="579335"/>
                  </a:lnTo>
                  <a:lnTo>
                    <a:pt x="360464" y="595096"/>
                  </a:lnTo>
                  <a:lnTo>
                    <a:pt x="344728" y="609803"/>
                  </a:lnTo>
                  <a:lnTo>
                    <a:pt x="317398" y="645172"/>
                  </a:lnTo>
                  <a:lnTo>
                    <a:pt x="296075" y="684796"/>
                  </a:lnTo>
                  <a:lnTo>
                    <a:pt x="281419" y="727989"/>
                  </a:lnTo>
                  <a:lnTo>
                    <a:pt x="274078" y="774039"/>
                  </a:lnTo>
                  <a:lnTo>
                    <a:pt x="268224" y="736307"/>
                  </a:lnTo>
                  <a:lnTo>
                    <a:pt x="266915" y="727824"/>
                  </a:lnTo>
                  <a:lnTo>
                    <a:pt x="252361" y="684453"/>
                  </a:lnTo>
                  <a:lnTo>
                    <a:pt x="231089" y="644652"/>
                  </a:lnTo>
                  <a:lnTo>
                    <a:pt x="203796" y="609117"/>
                  </a:lnTo>
                  <a:lnTo>
                    <a:pt x="171157" y="578523"/>
                  </a:lnTo>
                  <a:lnTo>
                    <a:pt x="133845" y="553542"/>
                  </a:lnTo>
                  <a:lnTo>
                    <a:pt x="92532" y="534835"/>
                  </a:lnTo>
                  <a:lnTo>
                    <a:pt x="47904" y="523125"/>
                  </a:lnTo>
                  <a:lnTo>
                    <a:pt x="0" y="519074"/>
                  </a:lnTo>
                  <a:lnTo>
                    <a:pt x="5448" y="567258"/>
                  </a:lnTo>
                  <a:lnTo>
                    <a:pt x="9410" y="580644"/>
                  </a:lnTo>
                  <a:lnTo>
                    <a:pt x="18834" y="612508"/>
                  </a:lnTo>
                  <a:lnTo>
                    <a:pt x="39458" y="654151"/>
                  </a:lnTo>
                  <a:lnTo>
                    <a:pt x="66548" y="691400"/>
                  </a:lnTo>
                  <a:lnTo>
                    <a:pt x="98704" y="72288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7ED3F1"/>
            </a:solidFill>
          </p:spPr>
          <p:txBody>
            <a:bodyPr wrap="square" lIns="0" tIns="0" rIns="0" bIns="0" rtlCol="0"/>
            <a:lstStyle/>
            <a:p>
              <a:endParaRPr dirty="0"/>
            </a:p>
          </p:txBody>
        </p:sp>
        <p:pic>
          <p:nvPicPr>
            <p:cNvPr id="491" name="object 252">
              <a:extLst>
                <a:ext uri="{FF2B5EF4-FFF2-40B4-BE49-F238E27FC236}">
                  <a16:creationId xmlns:a16="http://schemas.microsoft.com/office/drawing/2014/main" id="{F5D0232E-A2F0-5720-C63E-82E6D2C9293B}"/>
                </a:ext>
              </a:extLst>
            </p:cNvPr>
            <p:cNvPicPr/>
            <p:nvPr/>
          </p:nvPicPr>
          <p:blipFill>
            <a:blip r:embed="rId6" cstate="print"/>
            <a:stretch>
              <a:fillRect/>
            </a:stretch>
          </p:blipFill>
          <p:spPr>
            <a:xfrm>
              <a:off x="7711331" y="2680931"/>
              <a:ext cx="106445" cy="107156"/>
            </a:xfrm>
            <a:prstGeom prst="rect">
              <a:avLst/>
            </a:prstGeom>
          </p:spPr>
        </p:pic>
        <p:sp>
          <p:nvSpPr>
            <p:cNvPr id="492" name="object 253">
              <a:extLst>
                <a:ext uri="{FF2B5EF4-FFF2-40B4-BE49-F238E27FC236}">
                  <a16:creationId xmlns:a16="http://schemas.microsoft.com/office/drawing/2014/main" id="{CB51AF61-C4C4-26D4-A378-B8972FE5157A}"/>
                </a:ext>
              </a:extLst>
            </p:cNvPr>
            <p:cNvSpPr/>
            <p:nvPr/>
          </p:nvSpPr>
          <p:spPr>
            <a:xfrm>
              <a:off x="7598678" y="4729423"/>
              <a:ext cx="332700" cy="477101"/>
            </a:xfrm>
            <a:custGeom>
              <a:avLst/>
              <a:gdLst/>
              <a:ahLst/>
              <a:cxnLst/>
              <a:rect l="l" t="t" r="r" b="b"/>
              <a:pathLst>
                <a:path w="548640" h="786765">
                  <a:moveTo>
                    <a:pt x="548043" y="266611"/>
                  </a:moveTo>
                  <a:lnTo>
                    <a:pt x="500367" y="270649"/>
                  </a:lnTo>
                  <a:lnTo>
                    <a:pt x="455841" y="282308"/>
                  </a:lnTo>
                  <a:lnTo>
                    <a:pt x="414616" y="300901"/>
                  </a:lnTo>
                  <a:lnTo>
                    <a:pt x="377342" y="325767"/>
                  </a:lnTo>
                  <a:lnTo>
                    <a:pt x="344728" y="356235"/>
                  </a:lnTo>
                  <a:lnTo>
                    <a:pt x="317411" y="391617"/>
                  </a:lnTo>
                  <a:lnTo>
                    <a:pt x="296087" y="431241"/>
                  </a:lnTo>
                  <a:lnTo>
                    <a:pt x="281419" y="474433"/>
                  </a:lnTo>
                  <a:lnTo>
                    <a:pt x="274091" y="520522"/>
                  </a:lnTo>
                  <a:lnTo>
                    <a:pt x="266915" y="474243"/>
                  </a:lnTo>
                  <a:lnTo>
                    <a:pt x="252361" y="430872"/>
                  </a:lnTo>
                  <a:lnTo>
                    <a:pt x="231089" y="391083"/>
                  </a:lnTo>
                  <a:lnTo>
                    <a:pt x="203796" y="355549"/>
                  </a:lnTo>
                  <a:lnTo>
                    <a:pt x="171157" y="324954"/>
                  </a:lnTo>
                  <a:lnTo>
                    <a:pt x="133845" y="299974"/>
                  </a:lnTo>
                  <a:lnTo>
                    <a:pt x="92532" y="281292"/>
                  </a:lnTo>
                  <a:lnTo>
                    <a:pt x="47917" y="269582"/>
                  </a:lnTo>
                  <a:lnTo>
                    <a:pt x="0" y="265518"/>
                  </a:lnTo>
                  <a:lnTo>
                    <a:pt x="5448" y="313690"/>
                  </a:lnTo>
                  <a:lnTo>
                    <a:pt x="18846" y="358952"/>
                  </a:lnTo>
                  <a:lnTo>
                    <a:pt x="39458" y="400570"/>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54"/>
                  </a:lnTo>
                  <a:lnTo>
                    <a:pt x="529005" y="359689"/>
                  </a:lnTo>
                  <a:lnTo>
                    <a:pt x="542480" y="314604"/>
                  </a:lnTo>
                  <a:lnTo>
                    <a:pt x="548043" y="266611"/>
                  </a:lnTo>
                  <a:close/>
                </a:path>
                <a:path w="548640" h="786765">
                  <a:moveTo>
                    <a:pt x="548043" y="1079"/>
                  </a:moveTo>
                  <a:lnTo>
                    <a:pt x="500367" y="5105"/>
                  </a:lnTo>
                  <a:lnTo>
                    <a:pt x="455841" y="16764"/>
                  </a:lnTo>
                  <a:lnTo>
                    <a:pt x="414616" y="35369"/>
                  </a:lnTo>
                  <a:lnTo>
                    <a:pt x="377342" y="60236"/>
                  </a:lnTo>
                  <a:lnTo>
                    <a:pt x="344728"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39"/>
                  </a:lnTo>
                  <a:lnTo>
                    <a:pt x="66560" y="172300"/>
                  </a:lnTo>
                  <a:lnTo>
                    <a:pt x="99402" y="204444"/>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24"/>
                  </a:lnTo>
                  <a:lnTo>
                    <a:pt x="481266" y="172720"/>
                  </a:lnTo>
                  <a:lnTo>
                    <a:pt x="508355" y="135610"/>
                  </a:lnTo>
                  <a:lnTo>
                    <a:pt x="529005" y="94157"/>
                  </a:lnTo>
                  <a:lnTo>
                    <a:pt x="542480" y="49060"/>
                  </a:lnTo>
                  <a:lnTo>
                    <a:pt x="548043" y="1079"/>
                  </a:lnTo>
                  <a:close/>
                </a:path>
                <a:path w="548640" h="786765">
                  <a:moveTo>
                    <a:pt x="548081" y="520192"/>
                  </a:moveTo>
                  <a:lnTo>
                    <a:pt x="500367" y="524205"/>
                  </a:lnTo>
                  <a:lnTo>
                    <a:pt x="455841" y="535863"/>
                  </a:lnTo>
                  <a:lnTo>
                    <a:pt x="427418" y="548690"/>
                  </a:lnTo>
                  <a:lnTo>
                    <a:pt x="414616" y="554469"/>
                  </a:lnTo>
                  <a:lnTo>
                    <a:pt x="377342" y="579335"/>
                  </a:lnTo>
                  <a:lnTo>
                    <a:pt x="344716" y="609790"/>
                  </a:lnTo>
                  <a:lnTo>
                    <a:pt x="317398" y="645160"/>
                  </a:lnTo>
                  <a:lnTo>
                    <a:pt x="296075" y="684784"/>
                  </a:lnTo>
                  <a:lnTo>
                    <a:pt x="281419" y="727976"/>
                  </a:lnTo>
                  <a:lnTo>
                    <a:pt x="274078" y="774039"/>
                  </a:lnTo>
                  <a:lnTo>
                    <a:pt x="268020" y="734974"/>
                  </a:lnTo>
                  <a:lnTo>
                    <a:pt x="266915" y="727811"/>
                  </a:lnTo>
                  <a:lnTo>
                    <a:pt x="252361" y="684441"/>
                  </a:lnTo>
                  <a:lnTo>
                    <a:pt x="231089" y="644639"/>
                  </a:lnTo>
                  <a:lnTo>
                    <a:pt x="203796" y="609104"/>
                  </a:lnTo>
                  <a:lnTo>
                    <a:pt x="171157" y="578510"/>
                  </a:lnTo>
                  <a:lnTo>
                    <a:pt x="133845" y="553529"/>
                  </a:lnTo>
                  <a:lnTo>
                    <a:pt x="92532" y="534847"/>
                  </a:lnTo>
                  <a:lnTo>
                    <a:pt x="47904" y="523113"/>
                  </a:lnTo>
                  <a:lnTo>
                    <a:pt x="0" y="519061"/>
                  </a:lnTo>
                  <a:lnTo>
                    <a:pt x="5448" y="567245"/>
                  </a:lnTo>
                  <a:lnTo>
                    <a:pt x="8496" y="577583"/>
                  </a:lnTo>
                  <a:lnTo>
                    <a:pt x="18834" y="612508"/>
                  </a:lnTo>
                  <a:lnTo>
                    <a:pt x="32626" y="640346"/>
                  </a:lnTo>
                  <a:lnTo>
                    <a:pt x="39458" y="654138"/>
                  </a:lnTo>
                  <a:lnTo>
                    <a:pt x="66548" y="691388"/>
                  </a:lnTo>
                  <a:lnTo>
                    <a:pt x="98704" y="722871"/>
                  </a:lnTo>
                  <a:lnTo>
                    <a:pt x="137248" y="749858"/>
                  </a:lnTo>
                  <a:lnTo>
                    <a:pt x="179374" y="769581"/>
                  </a:lnTo>
                  <a:lnTo>
                    <a:pt x="225044" y="782015"/>
                  </a:lnTo>
                  <a:lnTo>
                    <a:pt x="273519" y="786384"/>
                  </a:lnTo>
                  <a:lnTo>
                    <a:pt x="274751" y="786384"/>
                  </a:lnTo>
                  <a:lnTo>
                    <a:pt x="323088" y="782027"/>
                  </a:lnTo>
                  <a:lnTo>
                    <a:pt x="368642" y="769670"/>
                  </a:lnTo>
                  <a:lnTo>
                    <a:pt x="410679" y="750023"/>
                  </a:lnTo>
                  <a:lnTo>
                    <a:pt x="448462" y="723823"/>
                  </a:lnTo>
                  <a:lnTo>
                    <a:pt x="449275" y="723023"/>
                  </a:lnTo>
                  <a:lnTo>
                    <a:pt x="481266" y="691807"/>
                  </a:lnTo>
                  <a:lnTo>
                    <a:pt x="508393" y="654697"/>
                  </a:lnTo>
                  <a:lnTo>
                    <a:pt x="529043" y="613244"/>
                  </a:lnTo>
                  <a:lnTo>
                    <a:pt x="542518" y="568172"/>
                  </a:lnTo>
                  <a:lnTo>
                    <a:pt x="548081" y="520192"/>
                  </a:lnTo>
                  <a:close/>
                </a:path>
              </a:pathLst>
            </a:custGeom>
            <a:solidFill>
              <a:srgbClr val="2DB7EA"/>
            </a:solidFill>
          </p:spPr>
          <p:txBody>
            <a:bodyPr wrap="square" lIns="0" tIns="0" rIns="0" bIns="0" rtlCol="0"/>
            <a:lstStyle/>
            <a:p>
              <a:endParaRPr dirty="0"/>
            </a:p>
          </p:txBody>
        </p:sp>
        <p:pic>
          <p:nvPicPr>
            <p:cNvPr id="493" name="object 254">
              <a:extLst>
                <a:ext uri="{FF2B5EF4-FFF2-40B4-BE49-F238E27FC236}">
                  <a16:creationId xmlns:a16="http://schemas.microsoft.com/office/drawing/2014/main" id="{9EEB34A1-621C-033C-CB92-903CB28BB33C}"/>
                </a:ext>
              </a:extLst>
            </p:cNvPr>
            <p:cNvPicPr/>
            <p:nvPr/>
          </p:nvPicPr>
          <p:blipFill>
            <a:blip r:embed="rId5" cstate="print"/>
            <a:stretch>
              <a:fillRect/>
            </a:stretch>
          </p:blipFill>
          <p:spPr>
            <a:xfrm>
              <a:off x="7711331" y="4643430"/>
              <a:ext cx="106445" cy="107156"/>
            </a:xfrm>
            <a:prstGeom prst="rect">
              <a:avLst/>
            </a:prstGeom>
          </p:spPr>
        </p:pic>
        <p:sp>
          <p:nvSpPr>
            <p:cNvPr id="494" name="object 255">
              <a:extLst>
                <a:ext uri="{FF2B5EF4-FFF2-40B4-BE49-F238E27FC236}">
                  <a16:creationId xmlns:a16="http://schemas.microsoft.com/office/drawing/2014/main" id="{2DF5567F-A2A8-0322-4236-167CCA017096}"/>
                </a:ext>
              </a:extLst>
            </p:cNvPr>
            <p:cNvSpPr/>
            <p:nvPr/>
          </p:nvSpPr>
          <p:spPr>
            <a:xfrm>
              <a:off x="7598678" y="4075252"/>
              <a:ext cx="332700" cy="477101"/>
            </a:xfrm>
            <a:custGeom>
              <a:avLst/>
              <a:gdLst/>
              <a:ahLst/>
              <a:cxnLst/>
              <a:rect l="l" t="t" r="r" b="b"/>
              <a:pathLst>
                <a:path w="548640" h="786765">
                  <a:moveTo>
                    <a:pt x="548043" y="266623"/>
                  </a:moveTo>
                  <a:lnTo>
                    <a:pt x="500367" y="270662"/>
                  </a:lnTo>
                  <a:lnTo>
                    <a:pt x="455841" y="282308"/>
                  </a:lnTo>
                  <a:lnTo>
                    <a:pt x="414616" y="300913"/>
                  </a:lnTo>
                  <a:lnTo>
                    <a:pt x="377342" y="325780"/>
                  </a:lnTo>
                  <a:lnTo>
                    <a:pt x="344728"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39"/>
                  </a:lnTo>
                  <a:lnTo>
                    <a:pt x="225044" y="528459"/>
                  </a:lnTo>
                  <a:lnTo>
                    <a:pt x="273519" y="532828"/>
                  </a:lnTo>
                  <a:lnTo>
                    <a:pt x="274751" y="532828"/>
                  </a:lnTo>
                  <a:lnTo>
                    <a:pt x="323088" y="528472"/>
                  </a:lnTo>
                  <a:lnTo>
                    <a:pt x="368642" y="516115"/>
                  </a:lnTo>
                  <a:lnTo>
                    <a:pt x="410679" y="496468"/>
                  </a:lnTo>
                  <a:lnTo>
                    <a:pt x="448462" y="470268"/>
                  </a:lnTo>
                  <a:lnTo>
                    <a:pt x="481266" y="438264"/>
                  </a:lnTo>
                  <a:lnTo>
                    <a:pt x="508355" y="401154"/>
                  </a:lnTo>
                  <a:lnTo>
                    <a:pt x="529005" y="359702"/>
                  </a:lnTo>
                  <a:lnTo>
                    <a:pt x="542480" y="314604"/>
                  </a:lnTo>
                  <a:lnTo>
                    <a:pt x="548043" y="266623"/>
                  </a:lnTo>
                  <a:close/>
                </a:path>
                <a:path w="548640" h="786765">
                  <a:moveTo>
                    <a:pt x="548043" y="1092"/>
                  </a:moveTo>
                  <a:lnTo>
                    <a:pt x="500367" y="5130"/>
                  </a:lnTo>
                  <a:lnTo>
                    <a:pt x="455841" y="16776"/>
                  </a:lnTo>
                  <a:lnTo>
                    <a:pt x="414616" y="35382"/>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60"/>
                  </a:lnTo>
                  <a:lnTo>
                    <a:pt x="47917" y="4051"/>
                  </a:lnTo>
                  <a:lnTo>
                    <a:pt x="0" y="0"/>
                  </a:lnTo>
                  <a:lnTo>
                    <a:pt x="5448" y="48158"/>
                  </a:lnTo>
                  <a:lnTo>
                    <a:pt x="18846" y="93421"/>
                  </a:lnTo>
                  <a:lnTo>
                    <a:pt x="39458" y="135051"/>
                  </a:lnTo>
                  <a:lnTo>
                    <a:pt x="66560" y="172300"/>
                  </a:lnTo>
                  <a:lnTo>
                    <a:pt x="99402" y="204457"/>
                  </a:lnTo>
                  <a:lnTo>
                    <a:pt x="137248" y="230771"/>
                  </a:lnTo>
                  <a:lnTo>
                    <a:pt x="179374" y="250494"/>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70"/>
                  </a:lnTo>
                  <a:lnTo>
                    <a:pt x="542480" y="49072"/>
                  </a:lnTo>
                  <a:lnTo>
                    <a:pt x="548043" y="1092"/>
                  </a:lnTo>
                  <a:close/>
                </a:path>
                <a:path w="548640" h="786765">
                  <a:moveTo>
                    <a:pt x="548081" y="520204"/>
                  </a:moveTo>
                  <a:lnTo>
                    <a:pt x="500367" y="524217"/>
                  </a:lnTo>
                  <a:lnTo>
                    <a:pt x="455841" y="535876"/>
                  </a:lnTo>
                  <a:lnTo>
                    <a:pt x="414616" y="554469"/>
                  </a:lnTo>
                  <a:lnTo>
                    <a:pt x="377342" y="579335"/>
                  </a:lnTo>
                  <a:lnTo>
                    <a:pt x="344728" y="609803"/>
                  </a:lnTo>
                  <a:lnTo>
                    <a:pt x="317398" y="645172"/>
                  </a:lnTo>
                  <a:lnTo>
                    <a:pt x="296075" y="684796"/>
                  </a:lnTo>
                  <a:lnTo>
                    <a:pt x="281419" y="727976"/>
                  </a:lnTo>
                  <a:lnTo>
                    <a:pt x="274078" y="774039"/>
                  </a:lnTo>
                  <a:lnTo>
                    <a:pt x="268224" y="736307"/>
                  </a:lnTo>
                  <a:lnTo>
                    <a:pt x="266915" y="727824"/>
                  </a:lnTo>
                  <a:lnTo>
                    <a:pt x="252361" y="684441"/>
                  </a:lnTo>
                  <a:lnTo>
                    <a:pt x="231089" y="644652"/>
                  </a:lnTo>
                  <a:lnTo>
                    <a:pt x="203796" y="609117"/>
                  </a:lnTo>
                  <a:lnTo>
                    <a:pt x="171157" y="578523"/>
                  </a:lnTo>
                  <a:lnTo>
                    <a:pt x="133845" y="553542"/>
                  </a:lnTo>
                  <a:lnTo>
                    <a:pt x="92532" y="534835"/>
                  </a:lnTo>
                  <a:lnTo>
                    <a:pt x="47904" y="523125"/>
                  </a:lnTo>
                  <a:lnTo>
                    <a:pt x="0" y="519074"/>
                  </a:lnTo>
                  <a:lnTo>
                    <a:pt x="5448" y="567258"/>
                  </a:lnTo>
                  <a:lnTo>
                    <a:pt x="9410" y="580644"/>
                  </a:lnTo>
                  <a:lnTo>
                    <a:pt x="18834" y="612508"/>
                  </a:lnTo>
                  <a:lnTo>
                    <a:pt x="39458" y="654138"/>
                  </a:lnTo>
                  <a:lnTo>
                    <a:pt x="66548" y="691388"/>
                  </a:lnTo>
                  <a:lnTo>
                    <a:pt x="99402" y="723557"/>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7ED3F1"/>
            </a:solidFill>
          </p:spPr>
          <p:txBody>
            <a:bodyPr wrap="square" lIns="0" tIns="0" rIns="0" bIns="0" rtlCol="0"/>
            <a:lstStyle/>
            <a:p>
              <a:endParaRPr dirty="0"/>
            </a:p>
          </p:txBody>
        </p:sp>
        <p:pic>
          <p:nvPicPr>
            <p:cNvPr id="495" name="object 256">
              <a:extLst>
                <a:ext uri="{FF2B5EF4-FFF2-40B4-BE49-F238E27FC236}">
                  <a16:creationId xmlns:a16="http://schemas.microsoft.com/office/drawing/2014/main" id="{DBB1A8B9-0B46-B407-469E-4840588D764E}"/>
                </a:ext>
              </a:extLst>
            </p:cNvPr>
            <p:cNvPicPr/>
            <p:nvPr/>
          </p:nvPicPr>
          <p:blipFill>
            <a:blip r:embed="rId6" cstate="print"/>
            <a:stretch>
              <a:fillRect/>
            </a:stretch>
          </p:blipFill>
          <p:spPr>
            <a:xfrm>
              <a:off x="7711331" y="3989263"/>
              <a:ext cx="106445" cy="107156"/>
            </a:xfrm>
            <a:prstGeom prst="rect">
              <a:avLst/>
            </a:prstGeom>
          </p:spPr>
        </p:pic>
        <p:sp>
          <p:nvSpPr>
            <p:cNvPr id="496" name="object 257">
              <a:extLst>
                <a:ext uri="{FF2B5EF4-FFF2-40B4-BE49-F238E27FC236}">
                  <a16:creationId xmlns:a16="http://schemas.microsoft.com/office/drawing/2014/main" id="{9136EC5B-EB09-04E3-1ED2-58851C826D82}"/>
                </a:ext>
              </a:extLst>
            </p:cNvPr>
            <p:cNvSpPr/>
            <p:nvPr/>
          </p:nvSpPr>
          <p:spPr>
            <a:xfrm>
              <a:off x="7226300" y="3862863"/>
              <a:ext cx="319992" cy="477101"/>
            </a:xfrm>
            <a:custGeom>
              <a:avLst/>
              <a:gdLst/>
              <a:ahLst/>
              <a:cxnLst/>
              <a:rect l="l" t="t" r="r" b="b"/>
              <a:pathLst>
                <a:path w="527684" h="786765">
                  <a:moveTo>
                    <a:pt x="527126" y="786396"/>
                  </a:moveTo>
                  <a:lnTo>
                    <a:pt x="521677" y="738238"/>
                  </a:lnTo>
                  <a:lnTo>
                    <a:pt x="508279" y="692975"/>
                  </a:lnTo>
                  <a:lnTo>
                    <a:pt x="487667" y="651344"/>
                  </a:lnTo>
                  <a:lnTo>
                    <a:pt x="460578" y="614083"/>
                  </a:lnTo>
                  <a:lnTo>
                    <a:pt x="427736" y="581939"/>
                  </a:lnTo>
                  <a:lnTo>
                    <a:pt x="389877" y="555625"/>
                  </a:lnTo>
                  <a:lnTo>
                    <a:pt x="347751" y="535889"/>
                  </a:lnTo>
                  <a:lnTo>
                    <a:pt x="302082" y="523468"/>
                  </a:lnTo>
                  <a:lnTo>
                    <a:pt x="253606" y="519099"/>
                  </a:lnTo>
                  <a:lnTo>
                    <a:pt x="252387" y="519099"/>
                  </a:lnTo>
                  <a:lnTo>
                    <a:pt x="204038" y="523455"/>
                  </a:lnTo>
                  <a:lnTo>
                    <a:pt x="158483" y="535813"/>
                  </a:lnTo>
                  <a:lnTo>
                    <a:pt x="116446" y="555459"/>
                  </a:lnTo>
                  <a:lnTo>
                    <a:pt x="78663" y="581660"/>
                  </a:lnTo>
                  <a:lnTo>
                    <a:pt x="45859" y="613664"/>
                  </a:lnTo>
                  <a:lnTo>
                    <a:pt x="18770" y="650773"/>
                  </a:lnTo>
                  <a:lnTo>
                    <a:pt x="0" y="688467"/>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72"/>
                  </a:lnTo>
                  <a:lnTo>
                    <a:pt x="274777" y="621042"/>
                  </a:lnTo>
                  <a:lnTo>
                    <a:pt x="296037" y="660831"/>
                  </a:lnTo>
                  <a:lnTo>
                    <a:pt x="323329" y="696366"/>
                  </a:lnTo>
                  <a:lnTo>
                    <a:pt x="355968" y="726973"/>
                  </a:lnTo>
                  <a:lnTo>
                    <a:pt x="393293" y="751954"/>
                  </a:lnTo>
                  <a:lnTo>
                    <a:pt x="434594" y="770636"/>
                  </a:lnTo>
                  <a:lnTo>
                    <a:pt x="479209" y="782345"/>
                  </a:lnTo>
                  <a:lnTo>
                    <a:pt x="527126" y="786396"/>
                  </a:lnTo>
                  <a:close/>
                </a:path>
                <a:path w="527684" h="786765">
                  <a:moveTo>
                    <a:pt x="527126" y="520865"/>
                  </a:moveTo>
                  <a:lnTo>
                    <a:pt x="521677" y="472706"/>
                  </a:lnTo>
                  <a:lnTo>
                    <a:pt x="508279" y="427443"/>
                  </a:lnTo>
                  <a:lnTo>
                    <a:pt x="487667" y="385813"/>
                  </a:lnTo>
                  <a:lnTo>
                    <a:pt x="460578" y="348564"/>
                  </a:lnTo>
                  <a:lnTo>
                    <a:pt x="427736" y="316407"/>
                  </a:lnTo>
                  <a:lnTo>
                    <a:pt x="389877" y="290106"/>
                  </a:lnTo>
                  <a:lnTo>
                    <a:pt x="347751" y="270370"/>
                  </a:lnTo>
                  <a:lnTo>
                    <a:pt x="302082" y="257949"/>
                  </a:lnTo>
                  <a:lnTo>
                    <a:pt x="253606" y="253568"/>
                  </a:lnTo>
                  <a:lnTo>
                    <a:pt x="252387" y="253568"/>
                  </a:lnTo>
                  <a:lnTo>
                    <a:pt x="204038" y="257924"/>
                  </a:lnTo>
                  <a:lnTo>
                    <a:pt x="158483" y="270294"/>
                  </a:lnTo>
                  <a:lnTo>
                    <a:pt x="116446" y="289941"/>
                  </a:lnTo>
                  <a:lnTo>
                    <a:pt x="78663" y="316128"/>
                  </a:lnTo>
                  <a:lnTo>
                    <a:pt x="45859" y="348145"/>
                  </a:lnTo>
                  <a:lnTo>
                    <a:pt x="18770" y="385241"/>
                  </a:lnTo>
                  <a:lnTo>
                    <a:pt x="0" y="422935"/>
                  </a:lnTo>
                  <a:lnTo>
                    <a:pt x="0" y="518045"/>
                  </a:lnTo>
                  <a:lnTo>
                    <a:pt x="71285" y="504101"/>
                  </a:lnTo>
                  <a:lnTo>
                    <a:pt x="112522" y="485495"/>
                  </a:lnTo>
                  <a:lnTo>
                    <a:pt x="149783" y="460629"/>
                  </a:lnTo>
                  <a:lnTo>
                    <a:pt x="182410" y="430161"/>
                  </a:lnTo>
                  <a:lnTo>
                    <a:pt x="209715" y="394779"/>
                  </a:lnTo>
                  <a:lnTo>
                    <a:pt x="231038" y="355155"/>
                  </a:lnTo>
                  <a:lnTo>
                    <a:pt x="245706" y="311950"/>
                  </a:lnTo>
                  <a:lnTo>
                    <a:pt x="253034" y="265874"/>
                  </a:lnTo>
                  <a:lnTo>
                    <a:pt x="260210" y="312140"/>
                  </a:lnTo>
                  <a:lnTo>
                    <a:pt x="274777" y="355511"/>
                  </a:lnTo>
                  <a:lnTo>
                    <a:pt x="296037" y="395300"/>
                  </a:lnTo>
                  <a:lnTo>
                    <a:pt x="323329" y="430847"/>
                  </a:lnTo>
                  <a:lnTo>
                    <a:pt x="355968" y="461441"/>
                  </a:lnTo>
                  <a:lnTo>
                    <a:pt x="393293" y="486422"/>
                  </a:lnTo>
                  <a:lnTo>
                    <a:pt x="434594" y="505104"/>
                  </a:lnTo>
                  <a:lnTo>
                    <a:pt x="479209" y="516813"/>
                  </a:lnTo>
                  <a:lnTo>
                    <a:pt x="527126" y="520865"/>
                  </a:lnTo>
                  <a:close/>
                </a:path>
                <a:path w="527684" h="786765">
                  <a:moveTo>
                    <a:pt x="527138" y="267322"/>
                  </a:moveTo>
                  <a:lnTo>
                    <a:pt x="521690" y="219151"/>
                  </a:lnTo>
                  <a:lnTo>
                    <a:pt x="508292" y="173888"/>
                  </a:lnTo>
                  <a:lnTo>
                    <a:pt x="487680" y="132257"/>
                  </a:lnTo>
                  <a:lnTo>
                    <a:pt x="471982" y="110693"/>
                  </a:lnTo>
                  <a:lnTo>
                    <a:pt x="460578" y="95008"/>
                  </a:lnTo>
                  <a:lnTo>
                    <a:pt x="427736" y="62852"/>
                  </a:lnTo>
                  <a:lnTo>
                    <a:pt x="389890" y="36550"/>
                  </a:lnTo>
                  <a:lnTo>
                    <a:pt x="347751" y="16802"/>
                  </a:lnTo>
                  <a:lnTo>
                    <a:pt x="302082" y="4381"/>
                  </a:lnTo>
                  <a:lnTo>
                    <a:pt x="253606" y="0"/>
                  </a:lnTo>
                  <a:lnTo>
                    <a:pt x="252387" y="0"/>
                  </a:lnTo>
                  <a:lnTo>
                    <a:pt x="204038" y="4356"/>
                  </a:lnTo>
                  <a:lnTo>
                    <a:pt x="158483" y="16725"/>
                  </a:lnTo>
                  <a:lnTo>
                    <a:pt x="116446" y="36372"/>
                  </a:lnTo>
                  <a:lnTo>
                    <a:pt x="78663" y="62560"/>
                  </a:lnTo>
                  <a:lnTo>
                    <a:pt x="45859" y="94576"/>
                  </a:lnTo>
                  <a:lnTo>
                    <a:pt x="18745" y="131686"/>
                  </a:lnTo>
                  <a:lnTo>
                    <a:pt x="0" y="169303"/>
                  </a:lnTo>
                  <a:lnTo>
                    <a:pt x="0" y="264452"/>
                  </a:lnTo>
                  <a:lnTo>
                    <a:pt x="26758" y="262178"/>
                  </a:lnTo>
                  <a:lnTo>
                    <a:pt x="71285" y="250520"/>
                  </a:lnTo>
                  <a:lnTo>
                    <a:pt x="112522" y="231927"/>
                  </a:lnTo>
                  <a:lnTo>
                    <a:pt x="149783" y="207060"/>
                  </a:lnTo>
                  <a:lnTo>
                    <a:pt x="182410" y="176593"/>
                  </a:lnTo>
                  <a:lnTo>
                    <a:pt x="209727" y="141224"/>
                  </a:lnTo>
                  <a:lnTo>
                    <a:pt x="231051" y="101600"/>
                  </a:lnTo>
                  <a:lnTo>
                    <a:pt x="245719" y="58420"/>
                  </a:lnTo>
                  <a:lnTo>
                    <a:pt x="253034" y="12369"/>
                  </a:lnTo>
                  <a:lnTo>
                    <a:pt x="260210" y="58572"/>
                  </a:lnTo>
                  <a:lnTo>
                    <a:pt x="274777" y="101955"/>
                  </a:lnTo>
                  <a:lnTo>
                    <a:pt x="296037" y="141744"/>
                  </a:lnTo>
                  <a:lnTo>
                    <a:pt x="323329" y="177279"/>
                  </a:lnTo>
                  <a:lnTo>
                    <a:pt x="355981" y="207886"/>
                  </a:lnTo>
                  <a:lnTo>
                    <a:pt x="393293" y="232867"/>
                  </a:lnTo>
                  <a:lnTo>
                    <a:pt x="434606" y="251561"/>
                  </a:lnTo>
                  <a:lnTo>
                    <a:pt x="479221" y="263271"/>
                  </a:lnTo>
                  <a:lnTo>
                    <a:pt x="527138" y="267322"/>
                  </a:lnTo>
                  <a:close/>
                </a:path>
              </a:pathLst>
            </a:custGeom>
            <a:solidFill>
              <a:srgbClr val="2DB7EA"/>
            </a:solidFill>
          </p:spPr>
          <p:txBody>
            <a:bodyPr wrap="square" lIns="0" tIns="0" rIns="0" bIns="0" rtlCol="0"/>
            <a:lstStyle/>
            <a:p>
              <a:endParaRPr dirty="0"/>
            </a:p>
          </p:txBody>
        </p:sp>
        <p:pic>
          <p:nvPicPr>
            <p:cNvPr id="497" name="object 258">
              <a:extLst>
                <a:ext uri="{FF2B5EF4-FFF2-40B4-BE49-F238E27FC236}">
                  <a16:creationId xmlns:a16="http://schemas.microsoft.com/office/drawing/2014/main" id="{4C4BCEB5-2E2E-9507-80C8-D7CE676BEA0F}"/>
                </a:ext>
              </a:extLst>
            </p:cNvPr>
            <p:cNvPicPr/>
            <p:nvPr/>
          </p:nvPicPr>
          <p:blipFill>
            <a:blip r:embed="rId16" cstate="print"/>
            <a:stretch>
              <a:fillRect/>
            </a:stretch>
          </p:blipFill>
          <p:spPr>
            <a:xfrm>
              <a:off x="7326865" y="4318566"/>
              <a:ext cx="106445" cy="107156"/>
            </a:xfrm>
            <a:prstGeom prst="rect">
              <a:avLst/>
            </a:prstGeom>
          </p:spPr>
        </p:pic>
        <p:sp>
          <p:nvSpPr>
            <p:cNvPr id="498" name="object 259">
              <a:extLst>
                <a:ext uri="{FF2B5EF4-FFF2-40B4-BE49-F238E27FC236}">
                  <a16:creationId xmlns:a16="http://schemas.microsoft.com/office/drawing/2014/main" id="{17C545A1-B261-F767-7C5B-6E1C5CCECFBA}"/>
                </a:ext>
              </a:extLst>
            </p:cNvPr>
            <p:cNvSpPr/>
            <p:nvPr/>
          </p:nvSpPr>
          <p:spPr>
            <a:xfrm>
              <a:off x="7226300" y="4517034"/>
              <a:ext cx="319992" cy="477101"/>
            </a:xfrm>
            <a:custGeom>
              <a:avLst/>
              <a:gdLst/>
              <a:ahLst/>
              <a:cxnLst/>
              <a:rect l="l" t="t" r="r" b="b"/>
              <a:pathLst>
                <a:path w="527684" h="786765">
                  <a:moveTo>
                    <a:pt x="527126" y="786384"/>
                  </a:moveTo>
                  <a:lnTo>
                    <a:pt x="521677" y="738225"/>
                  </a:lnTo>
                  <a:lnTo>
                    <a:pt x="508279" y="692962"/>
                  </a:lnTo>
                  <a:lnTo>
                    <a:pt x="487667" y="651332"/>
                  </a:lnTo>
                  <a:lnTo>
                    <a:pt x="460578" y="614083"/>
                  </a:lnTo>
                  <a:lnTo>
                    <a:pt x="427736" y="581926"/>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47"/>
                  </a:lnTo>
                  <a:lnTo>
                    <a:pt x="45859" y="613664"/>
                  </a:lnTo>
                  <a:lnTo>
                    <a:pt x="18770" y="650773"/>
                  </a:lnTo>
                  <a:lnTo>
                    <a:pt x="0" y="688454"/>
                  </a:lnTo>
                  <a:lnTo>
                    <a:pt x="0" y="783564"/>
                  </a:lnTo>
                  <a:lnTo>
                    <a:pt x="71285" y="769620"/>
                  </a:lnTo>
                  <a:lnTo>
                    <a:pt x="112522" y="751014"/>
                  </a:lnTo>
                  <a:lnTo>
                    <a:pt x="149783" y="726147"/>
                  </a:lnTo>
                  <a:lnTo>
                    <a:pt x="182410" y="695680"/>
                  </a:lnTo>
                  <a:lnTo>
                    <a:pt x="209715" y="660298"/>
                  </a:lnTo>
                  <a:lnTo>
                    <a:pt x="231038" y="620674"/>
                  </a:lnTo>
                  <a:lnTo>
                    <a:pt x="245706" y="577469"/>
                  </a:lnTo>
                  <a:lnTo>
                    <a:pt x="253034" y="531393"/>
                  </a:lnTo>
                  <a:lnTo>
                    <a:pt x="260210" y="577659"/>
                  </a:lnTo>
                  <a:lnTo>
                    <a:pt x="274777" y="621030"/>
                  </a:lnTo>
                  <a:lnTo>
                    <a:pt x="296037" y="660831"/>
                  </a:lnTo>
                  <a:lnTo>
                    <a:pt x="323329" y="696366"/>
                  </a:lnTo>
                  <a:lnTo>
                    <a:pt x="355968" y="726960"/>
                  </a:lnTo>
                  <a:lnTo>
                    <a:pt x="393293" y="751941"/>
                  </a:lnTo>
                  <a:lnTo>
                    <a:pt x="434594" y="770623"/>
                  </a:lnTo>
                  <a:lnTo>
                    <a:pt x="479209" y="782332"/>
                  </a:lnTo>
                  <a:lnTo>
                    <a:pt x="527126" y="786384"/>
                  </a:lnTo>
                  <a:close/>
                </a:path>
                <a:path w="527684" h="786765">
                  <a:moveTo>
                    <a:pt x="527126" y="520852"/>
                  </a:moveTo>
                  <a:lnTo>
                    <a:pt x="521677" y="472694"/>
                  </a:lnTo>
                  <a:lnTo>
                    <a:pt x="508279" y="427431"/>
                  </a:lnTo>
                  <a:lnTo>
                    <a:pt x="487667" y="385813"/>
                  </a:lnTo>
                  <a:lnTo>
                    <a:pt x="460578" y="348551"/>
                  </a:lnTo>
                  <a:lnTo>
                    <a:pt x="427736" y="316407"/>
                  </a:lnTo>
                  <a:lnTo>
                    <a:pt x="389877" y="290093"/>
                  </a:lnTo>
                  <a:lnTo>
                    <a:pt x="347751" y="270357"/>
                  </a:lnTo>
                  <a:lnTo>
                    <a:pt x="302082" y="257937"/>
                  </a:lnTo>
                  <a:lnTo>
                    <a:pt x="253606" y="253555"/>
                  </a:lnTo>
                  <a:lnTo>
                    <a:pt x="252387" y="253555"/>
                  </a:lnTo>
                  <a:lnTo>
                    <a:pt x="204038" y="257911"/>
                  </a:lnTo>
                  <a:lnTo>
                    <a:pt x="158483" y="270281"/>
                  </a:lnTo>
                  <a:lnTo>
                    <a:pt x="116446" y="289928"/>
                  </a:lnTo>
                  <a:lnTo>
                    <a:pt x="78663" y="316128"/>
                  </a:lnTo>
                  <a:lnTo>
                    <a:pt x="45859" y="348132"/>
                  </a:lnTo>
                  <a:lnTo>
                    <a:pt x="18770" y="385241"/>
                  </a:lnTo>
                  <a:lnTo>
                    <a:pt x="0" y="422922"/>
                  </a:lnTo>
                  <a:lnTo>
                    <a:pt x="0" y="518020"/>
                  </a:lnTo>
                  <a:lnTo>
                    <a:pt x="71285" y="504075"/>
                  </a:lnTo>
                  <a:lnTo>
                    <a:pt x="112522" y="485482"/>
                  </a:lnTo>
                  <a:lnTo>
                    <a:pt x="149783" y="460616"/>
                  </a:lnTo>
                  <a:lnTo>
                    <a:pt x="182410" y="430149"/>
                  </a:lnTo>
                  <a:lnTo>
                    <a:pt x="209715" y="394766"/>
                  </a:lnTo>
                  <a:lnTo>
                    <a:pt x="231038" y="355142"/>
                  </a:lnTo>
                  <a:lnTo>
                    <a:pt x="245706" y="311950"/>
                  </a:lnTo>
                  <a:lnTo>
                    <a:pt x="253034" y="265861"/>
                  </a:lnTo>
                  <a:lnTo>
                    <a:pt x="260210" y="312127"/>
                  </a:lnTo>
                  <a:lnTo>
                    <a:pt x="274777" y="355511"/>
                  </a:lnTo>
                  <a:lnTo>
                    <a:pt x="296037" y="395300"/>
                  </a:lnTo>
                  <a:lnTo>
                    <a:pt x="323329" y="430834"/>
                  </a:lnTo>
                  <a:lnTo>
                    <a:pt x="355968" y="461429"/>
                  </a:lnTo>
                  <a:lnTo>
                    <a:pt x="393293" y="486410"/>
                  </a:lnTo>
                  <a:lnTo>
                    <a:pt x="434594" y="505091"/>
                  </a:lnTo>
                  <a:lnTo>
                    <a:pt x="479209" y="516801"/>
                  </a:lnTo>
                  <a:lnTo>
                    <a:pt x="527126" y="520852"/>
                  </a:lnTo>
                  <a:close/>
                </a:path>
                <a:path w="527684" h="786765">
                  <a:moveTo>
                    <a:pt x="527138" y="267322"/>
                  </a:moveTo>
                  <a:lnTo>
                    <a:pt x="521690" y="219151"/>
                  </a:lnTo>
                  <a:lnTo>
                    <a:pt x="508292" y="173875"/>
                  </a:lnTo>
                  <a:lnTo>
                    <a:pt x="487680" y="132245"/>
                  </a:lnTo>
                  <a:lnTo>
                    <a:pt x="460578" y="94996"/>
                  </a:lnTo>
                  <a:lnTo>
                    <a:pt x="427736" y="62852"/>
                  </a:lnTo>
                  <a:lnTo>
                    <a:pt x="405396" y="47332"/>
                  </a:lnTo>
                  <a:lnTo>
                    <a:pt x="389890" y="36537"/>
                  </a:lnTo>
                  <a:lnTo>
                    <a:pt x="370154" y="27305"/>
                  </a:lnTo>
                  <a:lnTo>
                    <a:pt x="347764" y="16814"/>
                  </a:lnTo>
                  <a:lnTo>
                    <a:pt x="302082" y="4368"/>
                  </a:lnTo>
                  <a:lnTo>
                    <a:pt x="253606" y="0"/>
                  </a:lnTo>
                  <a:lnTo>
                    <a:pt x="252387" y="0"/>
                  </a:lnTo>
                  <a:lnTo>
                    <a:pt x="204038" y="4356"/>
                  </a:lnTo>
                  <a:lnTo>
                    <a:pt x="158483" y="16725"/>
                  </a:lnTo>
                  <a:lnTo>
                    <a:pt x="116446" y="36372"/>
                  </a:lnTo>
                  <a:lnTo>
                    <a:pt x="78663" y="62560"/>
                  </a:lnTo>
                  <a:lnTo>
                    <a:pt x="45859" y="94576"/>
                  </a:lnTo>
                  <a:lnTo>
                    <a:pt x="18745" y="131686"/>
                  </a:lnTo>
                  <a:lnTo>
                    <a:pt x="0" y="169291"/>
                  </a:lnTo>
                  <a:lnTo>
                    <a:pt x="0" y="264439"/>
                  </a:lnTo>
                  <a:lnTo>
                    <a:pt x="26758" y="262166"/>
                  </a:lnTo>
                  <a:lnTo>
                    <a:pt x="71285" y="250520"/>
                  </a:lnTo>
                  <a:lnTo>
                    <a:pt x="112522" y="231914"/>
                  </a:lnTo>
                  <a:lnTo>
                    <a:pt x="149783" y="207048"/>
                  </a:lnTo>
                  <a:lnTo>
                    <a:pt x="182410" y="176593"/>
                  </a:lnTo>
                  <a:lnTo>
                    <a:pt x="209727" y="141211"/>
                  </a:lnTo>
                  <a:lnTo>
                    <a:pt x="231051" y="101600"/>
                  </a:lnTo>
                  <a:lnTo>
                    <a:pt x="245719" y="58407"/>
                  </a:lnTo>
                  <a:lnTo>
                    <a:pt x="253034" y="12357"/>
                  </a:lnTo>
                  <a:lnTo>
                    <a:pt x="260210" y="58572"/>
                  </a:lnTo>
                  <a:lnTo>
                    <a:pt x="274777" y="101942"/>
                  </a:lnTo>
                  <a:lnTo>
                    <a:pt x="296037" y="141732"/>
                  </a:lnTo>
                  <a:lnTo>
                    <a:pt x="323329" y="177279"/>
                  </a:lnTo>
                  <a:lnTo>
                    <a:pt x="355968" y="207873"/>
                  </a:lnTo>
                  <a:lnTo>
                    <a:pt x="393293" y="232867"/>
                  </a:lnTo>
                  <a:lnTo>
                    <a:pt x="434606" y="251548"/>
                  </a:lnTo>
                  <a:lnTo>
                    <a:pt x="479221" y="263271"/>
                  </a:lnTo>
                  <a:lnTo>
                    <a:pt x="527138" y="267322"/>
                  </a:lnTo>
                  <a:close/>
                </a:path>
              </a:pathLst>
            </a:custGeom>
            <a:solidFill>
              <a:srgbClr val="7ED3F1"/>
            </a:solidFill>
          </p:spPr>
          <p:txBody>
            <a:bodyPr wrap="square" lIns="0" tIns="0" rIns="0" bIns="0" rtlCol="0"/>
            <a:lstStyle/>
            <a:p>
              <a:endParaRPr dirty="0"/>
            </a:p>
          </p:txBody>
        </p:sp>
        <p:pic>
          <p:nvPicPr>
            <p:cNvPr id="499" name="object 260">
              <a:extLst>
                <a:ext uri="{FF2B5EF4-FFF2-40B4-BE49-F238E27FC236}">
                  <a16:creationId xmlns:a16="http://schemas.microsoft.com/office/drawing/2014/main" id="{10B0B877-C1FE-7EAE-F7D0-8C97B23B788E}"/>
                </a:ext>
              </a:extLst>
            </p:cNvPr>
            <p:cNvPicPr/>
            <p:nvPr/>
          </p:nvPicPr>
          <p:blipFill>
            <a:blip r:embed="rId17" cstate="print"/>
            <a:stretch>
              <a:fillRect/>
            </a:stretch>
          </p:blipFill>
          <p:spPr>
            <a:xfrm>
              <a:off x="7326865" y="4972731"/>
              <a:ext cx="106445" cy="107156"/>
            </a:xfrm>
            <a:prstGeom prst="rect">
              <a:avLst/>
            </a:prstGeom>
          </p:spPr>
        </p:pic>
        <p:sp>
          <p:nvSpPr>
            <p:cNvPr id="500" name="object 261">
              <a:extLst>
                <a:ext uri="{FF2B5EF4-FFF2-40B4-BE49-F238E27FC236}">
                  <a16:creationId xmlns:a16="http://schemas.microsoft.com/office/drawing/2014/main" id="{FD6BEE36-5A0C-6584-A320-DBFA13BAC107}"/>
                </a:ext>
              </a:extLst>
            </p:cNvPr>
            <p:cNvSpPr/>
            <p:nvPr/>
          </p:nvSpPr>
          <p:spPr>
            <a:xfrm>
              <a:off x="7226300" y="2554529"/>
              <a:ext cx="319992" cy="477101"/>
            </a:xfrm>
            <a:custGeom>
              <a:avLst/>
              <a:gdLst/>
              <a:ahLst/>
              <a:cxnLst/>
              <a:rect l="l" t="t" r="r" b="b"/>
              <a:pathLst>
                <a:path w="527684" h="786764">
                  <a:moveTo>
                    <a:pt x="527126" y="786396"/>
                  </a:moveTo>
                  <a:lnTo>
                    <a:pt x="521677" y="738238"/>
                  </a:lnTo>
                  <a:lnTo>
                    <a:pt x="508279" y="692975"/>
                  </a:lnTo>
                  <a:lnTo>
                    <a:pt x="487667" y="651344"/>
                  </a:lnTo>
                  <a:lnTo>
                    <a:pt x="460578" y="614095"/>
                  </a:lnTo>
                  <a:lnTo>
                    <a:pt x="427736" y="581939"/>
                  </a:lnTo>
                  <a:lnTo>
                    <a:pt x="389877" y="555625"/>
                  </a:lnTo>
                  <a:lnTo>
                    <a:pt x="347751" y="535901"/>
                  </a:lnTo>
                  <a:lnTo>
                    <a:pt x="302082" y="523468"/>
                  </a:lnTo>
                  <a:lnTo>
                    <a:pt x="253606" y="519099"/>
                  </a:lnTo>
                  <a:lnTo>
                    <a:pt x="252387" y="519099"/>
                  </a:lnTo>
                  <a:lnTo>
                    <a:pt x="204038" y="523455"/>
                  </a:lnTo>
                  <a:lnTo>
                    <a:pt x="158483" y="535825"/>
                  </a:lnTo>
                  <a:lnTo>
                    <a:pt x="116446" y="555459"/>
                  </a:lnTo>
                  <a:lnTo>
                    <a:pt x="78663" y="581660"/>
                  </a:lnTo>
                  <a:lnTo>
                    <a:pt x="45859" y="613676"/>
                  </a:lnTo>
                  <a:lnTo>
                    <a:pt x="18770" y="650773"/>
                  </a:lnTo>
                  <a:lnTo>
                    <a:pt x="0" y="688467"/>
                  </a:lnTo>
                  <a:lnTo>
                    <a:pt x="0" y="783577"/>
                  </a:lnTo>
                  <a:lnTo>
                    <a:pt x="71285" y="769632"/>
                  </a:lnTo>
                  <a:lnTo>
                    <a:pt x="112522" y="751027"/>
                  </a:lnTo>
                  <a:lnTo>
                    <a:pt x="149783" y="726160"/>
                  </a:lnTo>
                  <a:lnTo>
                    <a:pt x="182410" y="695693"/>
                  </a:lnTo>
                  <a:lnTo>
                    <a:pt x="209715" y="660311"/>
                  </a:lnTo>
                  <a:lnTo>
                    <a:pt x="231038" y="620687"/>
                  </a:lnTo>
                  <a:lnTo>
                    <a:pt x="245706" y="577481"/>
                  </a:lnTo>
                  <a:lnTo>
                    <a:pt x="253034" y="531406"/>
                  </a:lnTo>
                  <a:lnTo>
                    <a:pt x="260210" y="577672"/>
                  </a:lnTo>
                  <a:lnTo>
                    <a:pt x="274777" y="621042"/>
                  </a:lnTo>
                  <a:lnTo>
                    <a:pt x="296037" y="660844"/>
                  </a:lnTo>
                  <a:lnTo>
                    <a:pt x="323329" y="696379"/>
                  </a:lnTo>
                  <a:lnTo>
                    <a:pt x="355968" y="726973"/>
                  </a:lnTo>
                  <a:lnTo>
                    <a:pt x="393293" y="751954"/>
                  </a:lnTo>
                  <a:lnTo>
                    <a:pt x="434594" y="770636"/>
                  </a:lnTo>
                  <a:lnTo>
                    <a:pt x="479209" y="782345"/>
                  </a:lnTo>
                  <a:lnTo>
                    <a:pt x="527126" y="786396"/>
                  </a:lnTo>
                  <a:close/>
                </a:path>
                <a:path w="527684" h="786764">
                  <a:moveTo>
                    <a:pt x="527126" y="520865"/>
                  </a:moveTo>
                  <a:lnTo>
                    <a:pt x="521677" y="472706"/>
                  </a:lnTo>
                  <a:lnTo>
                    <a:pt x="508279" y="427443"/>
                  </a:lnTo>
                  <a:lnTo>
                    <a:pt x="487667" y="385813"/>
                  </a:lnTo>
                  <a:lnTo>
                    <a:pt x="460578" y="348564"/>
                  </a:lnTo>
                  <a:lnTo>
                    <a:pt x="427736" y="316407"/>
                  </a:lnTo>
                  <a:lnTo>
                    <a:pt x="389877" y="290106"/>
                  </a:lnTo>
                  <a:lnTo>
                    <a:pt x="347751" y="270370"/>
                  </a:lnTo>
                  <a:lnTo>
                    <a:pt x="302082" y="257949"/>
                  </a:lnTo>
                  <a:lnTo>
                    <a:pt x="253606" y="253568"/>
                  </a:lnTo>
                  <a:lnTo>
                    <a:pt x="252387" y="253568"/>
                  </a:lnTo>
                  <a:lnTo>
                    <a:pt x="204038" y="257924"/>
                  </a:lnTo>
                  <a:lnTo>
                    <a:pt x="158483" y="270294"/>
                  </a:lnTo>
                  <a:lnTo>
                    <a:pt x="116446" y="289941"/>
                  </a:lnTo>
                  <a:lnTo>
                    <a:pt x="78663" y="316128"/>
                  </a:lnTo>
                  <a:lnTo>
                    <a:pt x="45859" y="348145"/>
                  </a:lnTo>
                  <a:lnTo>
                    <a:pt x="18770" y="385254"/>
                  </a:lnTo>
                  <a:lnTo>
                    <a:pt x="0" y="422935"/>
                  </a:lnTo>
                  <a:lnTo>
                    <a:pt x="0" y="518045"/>
                  </a:lnTo>
                  <a:lnTo>
                    <a:pt x="71285" y="504101"/>
                  </a:lnTo>
                  <a:lnTo>
                    <a:pt x="112522" y="485495"/>
                  </a:lnTo>
                  <a:lnTo>
                    <a:pt x="149783" y="460629"/>
                  </a:lnTo>
                  <a:lnTo>
                    <a:pt x="182410" y="430161"/>
                  </a:lnTo>
                  <a:lnTo>
                    <a:pt x="209715" y="394779"/>
                  </a:lnTo>
                  <a:lnTo>
                    <a:pt x="231038" y="355155"/>
                  </a:lnTo>
                  <a:lnTo>
                    <a:pt x="245706" y="311962"/>
                  </a:lnTo>
                  <a:lnTo>
                    <a:pt x="253034" y="265874"/>
                  </a:lnTo>
                  <a:lnTo>
                    <a:pt x="260210" y="312140"/>
                  </a:lnTo>
                  <a:lnTo>
                    <a:pt x="274777" y="355511"/>
                  </a:lnTo>
                  <a:lnTo>
                    <a:pt x="296037" y="395312"/>
                  </a:lnTo>
                  <a:lnTo>
                    <a:pt x="323329" y="430847"/>
                  </a:lnTo>
                  <a:lnTo>
                    <a:pt x="355968" y="461441"/>
                  </a:lnTo>
                  <a:lnTo>
                    <a:pt x="393293" y="486422"/>
                  </a:lnTo>
                  <a:lnTo>
                    <a:pt x="434594" y="505104"/>
                  </a:lnTo>
                  <a:lnTo>
                    <a:pt x="479209" y="516813"/>
                  </a:lnTo>
                  <a:lnTo>
                    <a:pt x="527126" y="520865"/>
                  </a:lnTo>
                  <a:close/>
                </a:path>
                <a:path w="527684" h="786764">
                  <a:moveTo>
                    <a:pt x="527138" y="267335"/>
                  </a:moveTo>
                  <a:lnTo>
                    <a:pt x="521690" y="219163"/>
                  </a:lnTo>
                  <a:lnTo>
                    <a:pt x="508292" y="173888"/>
                  </a:lnTo>
                  <a:lnTo>
                    <a:pt x="487680" y="132257"/>
                  </a:lnTo>
                  <a:lnTo>
                    <a:pt x="471982" y="110693"/>
                  </a:lnTo>
                  <a:lnTo>
                    <a:pt x="460578" y="95008"/>
                  </a:lnTo>
                  <a:lnTo>
                    <a:pt x="427736" y="62865"/>
                  </a:lnTo>
                  <a:lnTo>
                    <a:pt x="389890" y="36563"/>
                  </a:lnTo>
                  <a:lnTo>
                    <a:pt x="347751" y="16802"/>
                  </a:lnTo>
                  <a:lnTo>
                    <a:pt x="302082" y="4381"/>
                  </a:lnTo>
                  <a:lnTo>
                    <a:pt x="253606" y="0"/>
                  </a:lnTo>
                  <a:lnTo>
                    <a:pt x="252387" y="0"/>
                  </a:lnTo>
                  <a:lnTo>
                    <a:pt x="204038" y="4356"/>
                  </a:lnTo>
                  <a:lnTo>
                    <a:pt x="158483" y="16725"/>
                  </a:lnTo>
                  <a:lnTo>
                    <a:pt x="116446" y="36372"/>
                  </a:lnTo>
                  <a:lnTo>
                    <a:pt x="78663" y="62572"/>
                  </a:lnTo>
                  <a:lnTo>
                    <a:pt x="45859" y="94576"/>
                  </a:lnTo>
                  <a:lnTo>
                    <a:pt x="38633" y="104470"/>
                  </a:lnTo>
                  <a:lnTo>
                    <a:pt x="18745" y="131699"/>
                  </a:lnTo>
                  <a:lnTo>
                    <a:pt x="0" y="169303"/>
                  </a:lnTo>
                  <a:lnTo>
                    <a:pt x="0" y="264452"/>
                  </a:lnTo>
                  <a:lnTo>
                    <a:pt x="26758" y="262191"/>
                  </a:lnTo>
                  <a:lnTo>
                    <a:pt x="71285" y="250532"/>
                  </a:lnTo>
                  <a:lnTo>
                    <a:pt x="112522" y="231940"/>
                  </a:lnTo>
                  <a:lnTo>
                    <a:pt x="149783" y="207060"/>
                  </a:lnTo>
                  <a:lnTo>
                    <a:pt x="182410" y="176606"/>
                  </a:lnTo>
                  <a:lnTo>
                    <a:pt x="209727" y="141224"/>
                  </a:lnTo>
                  <a:lnTo>
                    <a:pt x="231051" y="101612"/>
                  </a:lnTo>
                  <a:lnTo>
                    <a:pt x="245719" y="58420"/>
                  </a:lnTo>
                  <a:lnTo>
                    <a:pt x="253034" y="12369"/>
                  </a:lnTo>
                  <a:lnTo>
                    <a:pt x="260210" y="58585"/>
                  </a:lnTo>
                  <a:lnTo>
                    <a:pt x="274777" y="101955"/>
                  </a:lnTo>
                  <a:lnTo>
                    <a:pt x="296037" y="141744"/>
                  </a:lnTo>
                  <a:lnTo>
                    <a:pt x="323329" y="177279"/>
                  </a:lnTo>
                  <a:lnTo>
                    <a:pt x="355981" y="207886"/>
                  </a:lnTo>
                  <a:lnTo>
                    <a:pt x="393293" y="232867"/>
                  </a:lnTo>
                  <a:lnTo>
                    <a:pt x="434606" y="251561"/>
                  </a:lnTo>
                  <a:lnTo>
                    <a:pt x="479221" y="263271"/>
                  </a:lnTo>
                  <a:lnTo>
                    <a:pt x="527138" y="267335"/>
                  </a:lnTo>
                  <a:close/>
                </a:path>
              </a:pathLst>
            </a:custGeom>
            <a:solidFill>
              <a:srgbClr val="2DB7EA"/>
            </a:solidFill>
          </p:spPr>
          <p:txBody>
            <a:bodyPr wrap="square" lIns="0" tIns="0" rIns="0" bIns="0" rtlCol="0"/>
            <a:lstStyle/>
            <a:p>
              <a:endParaRPr dirty="0"/>
            </a:p>
          </p:txBody>
        </p:sp>
        <p:pic>
          <p:nvPicPr>
            <p:cNvPr id="501" name="object 262">
              <a:extLst>
                <a:ext uri="{FF2B5EF4-FFF2-40B4-BE49-F238E27FC236}">
                  <a16:creationId xmlns:a16="http://schemas.microsoft.com/office/drawing/2014/main" id="{5AB5F02F-8921-7525-F268-A365EEED4087}"/>
                </a:ext>
              </a:extLst>
            </p:cNvPr>
            <p:cNvPicPr/>
            <p:nvPr/>
          </p:nvPicPr>
          <p:blipFill>
            <a:blip r:embed="rId16" cstate="print"/>
            <a:stretch>
              <a:fillRect/>
            </a:stretch>
          </p:blipFill>
          <p:spPr>
            <a:xfrm>
              <a:off x="7326865" y="3010234"/>
              <a:ext cx="106445" cy="107156"/>
            </a:xfrm>
            <a:prstGeom prst="rect">
              <a:avLst/>
            </a:prstGeom>
          </p:spPr>
        </p:pic>
        <p:sp>
          <p:nvSpPr>
            <p:cNvPr id="502" name="object 263">
              <a:extLst>
                <a:ext uri="{FF2B5EF4-FFF2-40B4-BE49-F238E27FC236}">
                  <a16:creationId xmlns:a16="http://schemas.microsoft.com/office/drawing/2014/main" id="{509441A0-44D6-30E2-24D0-65DE9A98E0EA}"/>
                </a:ext>
              </a:extLst>
            </p:cNvPr>
            <p:cNvSpPr/>
            <p:nvPr/>
          </p:nvSpPr>
          <p:spPr>
            <a:xfrm>
              <a:off x="7226300" y="3208700"/>
              <a:ext cx="319992" cy="477101"/>
            </a:xfrm>
            <a:custGeom>
              <a:avLst/>
              <a:gdLst/>
              <a:ahLst/>
              <a:cxnLst/>
              <a:rect l="l" t="t" r="r" b="b"/>
              <a:pathLst>
                <a:path w="527684" h="786764">
                  <a:moveTo>
                    <a:pt x="527126" y="786384"/>
                  </a:moveTo>
                  <a:lnTo>
                    <a:pt x="521677" y="738225"/>
                  </a:lnTo>
                  <a:lnTo>
                    <a:pt x="508279" y="692962"/>
                  </a:lnTo>
                  <a:lnTo>
                    <a:pt x="487667" y="651344"/>
                  </a:lnTo>
                  <a:lnTo>
                    <a:pt x="460578" y="614083"/>
                  </a:lnTo>
                  <a:lnTo>
                    <a:pt x="427736" y="581926"/>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47"/>
                  </a:lnTo>
                  <a:lnTo>
                    <a:pt x="45859" y="613664"/>
                  </a:lnTo>
                  <a:lnTo>
                    <a:pt x="18770" y="650773"/>
                  </a:lnTo>
                  <a:lnTo>
                    <a:pt x="0" y="688454"/>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59"/>
                  </a:lnTo>
                  <a:lnTo>
                    <a:pt x="274777" y="621042"/>
                  </a:lnTo>
                  <a:lnTo>
                    <a:pt x="296037" y="660831"/>
                  </a:lnTo>
                  <a:lnTo>
                    <a:pt x="323329" y="696366"/>
                  </a:lnTo>
                  <a:lnTo>
                    <a:pt x="355968" y="726960"/>
                  </a:lnTo>
                  <a:lnTo>
                    <a:pt x="393293" y="751941"/>
                  </a:lnTo>
                  <a:lnTo>
                    <a:pt x="434594" y="770623"/>
                  </a:lnTo>
                  <a:lnTo>
                    <a:pt x="479209" y="782332"/>
                  </a:lnTo>
                  <a:lnTo>
                    <a:pt x="527126" y="786384"/>
                  </a:lnTo>
                  <a:close/>
                </a:path>
                <a:path w="527684" h="786764">
                  <a:moveTo>
                    <a:pt x="527126" y="520865"/>
                  </a:moveTo>
                  <a:lnTo>
                    <a:pt x="521677" y="472694"/>
                  </a:lnTo>
                  <a:lnTo>
                    <a:pt x="508279" y="427431"/>
                  </a:lnTo>
                  <a:lnTo>
                    <a:pt x="487667" y="385813"/>
                  </a:lnTo>
                  <a:lnTo>
                    <a:pt x="460578" y="348551"/>
                  </a:lnTo>
                  <a:lnTo>
                    <a:pt x="427736" y="316407"/>
                  </a:lnTo>
                  <a:lnTo>
                    <a:pt x="389877" y="290093"/>
                  </a:lnTo>
                  <a:lnTo>
                    <a:pt x="347751" y="270357"/>
                  </a:lnTo>
                  <a:lnTo>
                    <a:pt x="302082" y="257937"/>
                  </a:lnTo>
                  <a:lnTo>
                    <a:pt x="253606" y="253555"/>
                  </a:lnTo>
                  <a:lnTo>
                    <a:pt x="252387" y="253555"/>
                  </a:lnTo>
                  <a:lnTo>
                    <a:pt x="204038" y="257911"/>
                  </a:lnTo>
                  <a:lnTo>
                    <a:pt x="158483" y="270281"/>
                  </a:lnTo>
                  <a:lnTo>
                    <a:pt x="116446" y="289928"/>
                  </a:lnTo>
                  <a:lnTo>
                    <a:pt x="78663" y="316115"/>
                  </a:lnTo>
                  <a:lnTo>
                    <a:pt x="45859" y="348132"/>
                  </a:lnTo>
                  <a:lnTo>
                    <a:pt x="18770" y="385241"/>
                  </a:lnTo>
                  <a:lnTo>
                    <a:pt x="0" y="422935"/>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40"/>
                  </a:lnTo>
                  <a:lnTo>
                    <a:pt x="274777" y="355511"/>
                  </a:lnTo>
                  <a:lnTo>
                    <a:pt x="296037" y="395300"/>
                  </a:lnTo>
                  <a:lnTo>
                    <a:pt x="323329" y="430834"/>
                  </a:lnTo>
                  <a:lnTo>
                    <a:pt x="355968" y="461429"/>
                  </a:lnTo>
                  <a:lnTo>
                    <a:pt x="393293" y="486410"/>
                  </a:lnTo>
                  <a:lnTo>
                    <a:pt x="434594" y="505091"/>
                  </a:lnTo>
                  <a:lnTo>
                    <a:pt x="479209" y="516801"/>
                  </a:lnTo>
                  <a:lnTo>
                    <a:pt x="527126" y="520865"/>
                  </a:lnTo>
                  <a:close/>
                </a:path>
                <a:path w="527684" h="786764">
                  <a:moveTo>
                    <a:pt x="527138" y="267322"/>
                  </a:moveTo>
                  <a:lnTo>
                    <a:pt x="521690" y="219151"/>
                  </a:lnTo>
                  <a:lnTo>
                    <a:pt x="508292" y="173888"/>
                  </a:lnTo>
                  <a:lnTo>
                    <a:pt x="487680" y="132257"/>
                  </a:lnTo>
                  <a:lnTo>
                    <a:pt x="460578" y="94996"/>
                  </a:lnTo>
                  <a:lnTo>
                    <a:pt x="427736" y="62852"/>
                  </a:lnTo>
                  <a:lnTo>
                    <a:pt x="389890" y="36550"/>
                  </a:lnTo>
                  <a:lnTo>
                    <a:pt x="347764" y="16814"/>
                  </a:lnTo>
                  <a:lnTo>
                    <a:pt x="302082" y="4368"/>
                  </a:lnTo>
                  <a:lnTo>
                    <a:pt x="253606" y="0"/>
                  </a:lnTo>
                  <a:lnTo>
                    <a:pt x="252387" y="0"/>
                  </a:lnTo>
                  <a:lnTo>
                    <a:pt x="204038" y="4356"/>
                  </a:lnTo>
                  <a:lnTo>
                    <a:pt x="158483" y="16725"/>
                  </a:lnTo>
                  <a:lnTo>
                    <a:pt x="116446" y="36360"/>
                  </a:lnTo>
                  <a:lnTo>
                    <a:pt x="78663" y="62560"/>
                  </a:lnTo>
                  <a:lnTo>
                    <a:pt x="45859" y="94576"/>
                  </a:lnTo>
                  <a:lnTo>
                    <a:pt x="18745" y="131686"/>
                  </a:lnTo>
                  <a:lnTo>
                    <a:pt x="0" y="169291"/>
                  </a:lnTo>
                  <a:lnTo>
                    <a:pt x="0" y="264452"/>
                  </a:lnTo>
                  <a:lnTo>
                    <a:pt x="26758" y="262191"/>
                  </a:lnTo>
                  <a:lnTo>
                    <a:pt x="71285" y="250532"/>
                  </a:lnTo>
                  <a:lnTo>
                    <a:pt x="112522" y="231927"/>
                  </a:lnTo>
                  <a:lnTo>
                    <a:pt x="149783" y="207060"/>
                  </a:lnTo>
                  <a:lnTo>
                    <a:pt x="182410" y="176593"/>
                  </a:lnTo>
                  <a:lnTo>
                    <a:pt x="209727" y="141224"/>
                  </a:lnTo>
                  <a:lnTo>
                    <a:pt x="231051" y="101600"/>
                  </a:lnTo>
                  <a:lnTo>
                    <a:pt x="245719" y="58407"/>
                  </a:lnTo>
                  <a:lnTo>
                    <a:pt x="253034" y="12369"/>
                  </a:lnTo>
                  <a:lnTo>
                    <a:pt x="260210" y="58572"/>
                  </a:lnTo>
                  <a:lnTo>
                    <a:pt x="269887" y="87388"/>
                  </a:lnTo>
                  <a:lnTo>
                    <a:pt x="274777" y="101955"/>
                  </a:lnTo>
                  <a:lnTo>
                    <a:pt x="296037" y="141744"/>
                  </a:lnTo>
                  <a:lnTo>
                    <a:pt x="323329" y="177279"/>
                  </a:lnTo>
                  <a:lnTo>
                    <a:pt x="355968" y="207873"/>
                  </a:lnTo>
                  <a:lnTo>
                    <a:pt x="393293" y="232867"/>
                  </a:lnTo>
                  <a:lnTo>
                    <a:pt x="434606" y="251548"/>
                  </a:lnTo>
                  <a:lnTo>
                    <a:pt x="479221" y="263271"/>
                  </a:lnTo>
                  <a:lnTo>
                    <a:pt x="527138" y="267322"/>
                  </a:lnTo>
                  <a:close/>
                </a:path>
              </a:pathLst>
            </a:custGeom>
            <a:solidFill>
              <a:srgbClr val="7ED3F1"/>
            </a:solidFill>
          </p:spPr>
          <p:txBody>
            <a:bodyPr wrap="square" lIns="0" tIns="0" rIns="0" bIns="0" rtlCol="0"/>
            <a:lstStyle/>
            <a:p>
              <a:endParaRPr dirty="0"/>
            </a:p>
          </p:txBody>
        </p:sp>
        <p:pic>
          <p:nvPicPr>
            <p:cNvPr id="503" name="object 264">
              <a:extLst>
                <a:ext uri="{FF2B5EF4-FFF2-40B4-BE49-F238E27FC236}">
                  <a16:creationId xmlns:a16="http://schemas.microsoft.com/office/drawing/2014/main" id="{492970EB-A972-DD21-72F9-17D6615E8F8C}"/>
                </a:ext>
              </a:extLst>
            </p:cNvPr>
            <p:cNvPicPr/>
            <p:nvPr/>
          </p:nvPicPr>
          <p:blipFill>
            <a:blip r:embed="rId17" cstate="print"/>
            <a:stretch>
              <a:fillRect/>
            </a:stretch>
          </p:blipFill>
          <p:spPr>
            <a:xfrm>
              <a:off x="7326865" y="3664400"/>
              <a:ext cx="106445" cy="107156"/>
            </a:xfrm>
            <a:prstGeom prst="rect">
              <a:avLst/>
            </a:prstGeom>
          </p:spPr>
        </p:pic>
        <p:sp>
          <p:nvSpPr>
            <p:cNvPr id="504" name="object 265">
              <a:extLst>
                <a:ext uri="{FF2B5EF4-FFF2-40B4-BE49-F238E27FC236}">
                  <a16:creationId xmlns:a16="http://schemas.microsoft.com/office/drawing/2014/main" id="{FC52833D-79A6-6352-714D-A1DFBBAE3D40}"/>
                </a:ext>
              </a:extLst>
            </p:cNvPr>
            <p:cNvSpPr/>
            <p:nvPr/>
          </p:nvSpPr>
          <p:spPr>
            <a:xfrm>
              <a:off x="7226300" y="1246203"/>
              <a:ext cx="319992" cy="477101"/>
            </a:xfrm>
            <a:custGeom>
              <a:avLst/>
              <a:gdLst/>
              <a:ahLst/>
              <a:cxnLst/>
              <a:rect l="l" t="t" r="r" b="b"/>
              <a:pathLst>
                <a:path w="527684" h="786764">
                  <a:moveTo>
                    <a:pt x="527126" y="786384"/>
                  </a:moveTo>
                  <a:lnTo>
                    <a:pt x="521677" y="738225"/>
                  </a:lnTo>
                  <a:lnTo>
                    <a:pt x="508279" y="692962"/>
                  </a:lnTo>
                  <a:lnTo>
                    <a:pt x="487667" y="651332"/>
                  </a:lnTo>
                  <a:lnTo>
                    <a:pt x="460578" y="614083"/>
                  </a:lnTo>
                  <a:lnTo>
                    <a:pt x="427736" y="581926"/>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47"/>
                  </a:lnTo>
                  <a:lnTo>
                    <a:pt x="45859" y="613664"/>
                  </a:lnTo>
                  <a:lnTo>
                    <a:pt x="18770" y="650760"/>
                  </a:lnTo>
                  <a:lnTo>
                    <a:pt x="0" y="688454"/>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59"/>
                  </a:lnTo>
                  <a:lnTo>
                    <a:pt x="274777" y="621030"/>
                  </a:lnTo>
                  <a:lnTo>
                    <a:pt x="296037" y="660831"/>
                  </a:lnTo>
                  <a:lnTo>
                    <a:pt x="323329" y="696366"/>
                  </a:lnTo>
                  <a:lnTo>
                    <a:pt x="355968" y="726960"/>
                  </a:lnTo>
                  <a:lnTo>
                    <a:pt x="393293" y="751941"/>
                  </a:lnTo>
                  <a:lnTo>
                    <a:pt x="434594" y="770623"/>
                  </a:lnTo>
                  <a:lnTo>
                    <a:pt x="479209" y="782332"/>
                  </a:lnTo>
                  <a:lnTo>
                    <a:pt x="527126" y="786384"/>
                  </a:lnTo>
                  <a:close/>
                </a:path>
                <a:path w="527684" h="786764">
                  <a:moveTo>
                    <a:pt x="527126" y="520852"/>
                  </a:moveTo>
                  <a:lnTo>
                    <a:pt x="521677" y="472694"/>
                  </a:lnTo>
                  <a:lnTo>
                    <a:pt x="508279" y="427431"/>
                  </a:lnTo>
                  <a:lnTo>
                    <a:pt x="487667" y="385813"/>
                  </a:lnTo>
                  <a:lnTo>
                    <a:pt x="460578" y="348551"/>
                  </a:lnTo>
                  <a:lnTo>
                    <a:pt x="427736" y="316395"/>
                  </a:lnTo>
                  <a:lnTo>
                    <a:pt x="389877" y="290093"/>
                  </a:lnTo>
                  <a:lnTo>
                    <a:pt x="347751" y="270357"/>
                  </a:lnTo>
                  <a:lnTo>
                    <a:pt x="302082" y="257937"/>
                  </a:lnTo>
                  <a:lnTo>
                    <a:pt x="253606" y="253555"/>
                  </a:lnTo>
                  <a:lnTo>
                    <a:pt x="252387" y="253555"/>
                  </a:lnTo>
                  <a:lnTo>
                    <a:pt x="204038" y="257911"/>
                  </a:lnTo>
                  <a:lnTo>
                    <a:pt x="158483" y="270281"/>
                  </a:lnTo>
                  <a:lnTo>
                    <a:pt x="116446" y="289928"/>
                  </a:lnTo>
                  <a:lnTo>
                    <a:pt x="78663" y="316115"/>
                  </a:lnTo>
                  <a:lnTo>
                    <a:pt x="45859" y="348132"/>
                  </a:lnTo>
                  <a:lnTo>
                    <a:pt x="18770" y="385241"/>
                  </a:lnTo>
                  <a:lnTo>
                    <a:pt x="0" y="422935"/>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27"/>
                  </a:lnTo>
                  <a:lnTo>
                    <a:pt x="274777" y="355511"/>
                  </a:lnTo>
                  <a:lnTo>
                    <a:pt x="296037" y="395300"/>
                  </a:lnTo>
                  <a:lnTo>
                    <a:pt x="323329" y="430834"/>
                  </a:lnTo>
                  <a:lnTo>
                    <a:pt x="355968" y="461429"/>
                  </a:lnTo>
                  <a:lnTo>
                    <a:pt x="393293" y="486410"/>
                  </a:lnTo>
                  <a:lnTo>
                    <a:pt x="434594" y="505091"/>
                  </a:lnTo>
                  <a:lnTo>
                    <a:pt x="479209" y="516801"/>
                  </a:lnTo>
                  <a:lnTo>
                    <a:pt x="527126" y="520852"/>
                  </a:lnTo>
                  <a:close/>
                </a:path>
                <a:path w="527684" h="786764">
                  <a:moveTo>
                    <a:pt x="527138" y="267322"/>
                  </a:moveTo>
                  <a:lnTo>
                    <a:pt x="521690" y="219151"/>
                  </a:lnTo>
                  <a:lnTo>
                    <a:pt x="508292" y="173875"/>
                  </a:lnTo>
                  <a:lnTo>
                    <a:pt x="487680" y="132257"/>
                  </a:lnTo>
                  <a:lnTo>
                    <a:pt x="460578" y="94996"/>
                  </a:lnTo>
                  <a:lnTo>
                    <a:pt x="427736" y="62852"/>
                  </a:lnTo>
                  <a:lnTo>
                    <a:pt x="389890" y="36550"/>
                  </a:lnTo>
                  <a:lnTo>
                    <a:pt x="347751" y="16789"/>
                  </a:lnTo>
                  <a:lnTo>
                    <a:pt x="302082" y="4368"/>
                  </a:lnTo>
                  <a:lnTo>
                    <a:pt x="253606" y="0"/>
                  </a:lnTo>
                  <a:lnTo>
                    <a:pt x="252387" y="0"/>
                  </a:lnTo>
                  <a:lnTo>
                    <a:pt x="204038" y="4356"/>
                  </a:lnTo>
                  <a:lnTo>
                    <a:pt x="158483" y="16713"/>
                  </a:lnTo>
                  <a:lnTo>
                    <a:pt x="116446" y="36360"/>
                  </a:lnTo>
                  <a:lnTo>
                    <a:pt x="78663" y="62560"/>
                  </a:lnTo>
                  <a:lnTo>
                    <a:pt x="45859" y="94576"/>
                  </a:lnTo>
                  <a:lnTo>
                    <a:pt x="18745" y="131686"/>
                  </a:lnTo>
                  <a:lnTo>
                    <a:pt x="0" y="169291"/>
                  </a:lnTo>
                  <a:lnTo>
                    <a:pt x="0" y="264452"/>
                  </a:lnTo>
                  <a:lnTo>
                    <a:pt x="26758" y="262178"/>
                  </a:lnTo>
                  <a:lnTo>
                    <a:pt x="71285" y="250520"/>
                  </a:lnTo>
                  <a:lnTo>
                    <a:pt x="112522" y="231927"/>
                  </a:lnTo>
                  <a:lnTo>
                    <a:pt x="149783" y="207060"/>
                  </a:lnTo>
                  <a:lnTo>
                    <a:pt x="182410" y="176593"/>
                  </a:lnTo>
                  <a:lnTo>
                    <a:pt x="209727" y="141224"/>
                  </a:lnTo>
                  <a:lnTo>
                    <a:pt x="231051" y="101600"/>
                  </a:lnTo>
                  <a:lnTo>
                    <a:pt x="245719" y="58407"/>
                  </a:lnTo>
                  <a:lnTo>
                    <a:pt x="253034" y="12357"/>
                  </a:lnTo>
                  <a:lnTo>
                    <a:pt x="260210" y="58572"/>
                  </a:lnTo>
                  <a:lnTo>
                    <a:pt x="274777" y="101942"/>
                  </a:lnTo>
                  <a:lnTo>
                    <a:pt x="296037" y="141744"/>
                  </a:lnTo>
                  <a:lnTo>
                    <a:pt x="323329" y="177279"/>
                  </a:lnTo>
                  <a:lnTo>
                    <a:pt x="355968" y="207873"/>
                  </a:lnTo>
                  <a:lnTo>
                    <a:pt x="393293" y="232867"/>
                  </a:lnTo>
                  <a:lnTo>
                    <a:pt x="434606" y="251548"/>
                  </a:lnTo>
                  <a:lnTo>
                    <a:pt x="479221" y="263271"/>
                  </a:lnTo>
                  <a:lnTo>
                    <a:pt x="527138" y="267322"/>
                  </a:lnTo>
                  <a:close/>
                </a:path>
              </a:pathLst>
            </a:custGeom>
            <a:solidFill>
              <a:srgbClr val="2DB7EA"/>
            </a:solidFill>
          </p:spPr>
          <p:txBody>
            <a:bodyPr wrap="square" lIns="0" tIns="0" rIns="0" bIns="0" rtlCol="0"/>
            <a:lstStyle/>
            <a:p>
              <a:endParaRPr dirty="0"/>
            </a:p>
          </p:txBody>
        </p:sp>
        <p:pic>
          <p:nvPicPr>
            <p:cNvPr id="505" name="object 266">
              <a:extLst>
                <a:ext uri="{FF2B5EF4-FFF2-40B4-BE49-F238E27FC236}">
                  <a16:creationId xmlns:a16="http://schemas.microsoft.com/office/drawing/2014/main" id="{302D5C57-5011-DBA6-B70C-9DCC62AC581B}"/>
                </a:ext>
              </a:extLst>
            </p:cNvPr>
            <p:cNvPicPr/>
            <p:nvPr/>
          </p:nvPicPr>
          <p:blipFill>
            <a:blip r:embed="rId16" cstate="print"/>
            <a:stretch>
              <a:fillRect/>
            </a:stretch>
          </p:blipFill>
          <p:spPr>
            <a:xfrm>
              <a:off x="7326865" y="1701903"/>
              <a:ext cx="106445" cy="107156"/>
            </a:xfrm>
            <a:prstGeom prst="rect">
              <a:avLst/>
            </a:prstGeom>
          </p:spPr>
        </p:pic>
        <p:sp>
          <p:nvSpPr>
            <p:cNvPr id="506" name="object 267">
              <a:extLst>
                <a:ext uri="{FF2B5EF4-FFF2-40B4-BE49-F238E27FC236}">
                  <a16:creationId xmlns:a16="http://schemas.microsoft.com/office/drawing/2014/main" id="{935114CD-E4D3-ECE2-8B8A-686862DB5926}"/>
                </a:ext>
              </a:extLst>
            </p:cNvPr>
            <p:cNvSpPr/>
            <p:nvPr/>
          </p:nvSpPr>
          <p:spPr>
            <a:xfrm>
              <a:off x="7226300" y="1900365"/>
              <a:ext cx="319992" cy="477101"/>
            </a:xfrm>
            <a:custGeom>
              <a:avLst/>
              <a:gdLst/>
              <a:ahLst/>
              <a:cxnLst/>
              <a:rect l="l" t="t" r="r" b="b"/>
              <a:pathLst>
                <a:path w="527684" h="786764">
                  <a:moveTo>
                    <a:pt x="527126" y="786396"/>
                  </a:moveTo>
                  <a:lnTo>
                    <a:pt x="521677" y="738225"/>
                  </a:lnTo>
                  <a:lnTo>
                    <a:pt x="508279" y="692962"/>
                  </a:lnTo>
                  <a:lnTo>
                    <a:pt x="487667" y="651344"/>
                  </a:lnTo>
                  <a:lnTo>
                    <a:pt x="460578" y="614083"/>
                  </a:lnTo>
                  <a:lnTo>
                    <a:pt x="427736" y="581939"/>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60"/>
                  </a:lnTo>
                  <a:lnTo>
                    <a:pt x="45859" y="613664"/>
                  </a:lnTo>
                  <a:lnTo>
                    <a:pt x="18770" y="650773"/>
                  </a:lnTo>
                  <a:lnTo>
                    <a:pt x="0" y="688467"/>
                  </a:lnTo>
                  <a:lnTo>
                    <a:pt x="0" y="783564"/>
                  </a:lnTo>
                  <a:lnTo>
                    <a:pt x="71285" y="769620"/>
                  </a:lnTo>
                  <a:lnTo>
                    <a:pt x="112522" y="751027"/>
                  </a:lnTo>
                  <a:lnTo>
                    <a:pt x="149783" y="726147"/>
                  </a:lnTo>
                  <a:lnTo>
                    <a:pt x="182410" y="695680"/>
                  </a:lnTo>
                  <a:lnTo>
                    <a:pt x="209715" y="660298"/>
                  </a:lnTo>
                  <a:lnTo>
                    <a:pt x="231038" y="620674"/>
                  </a:lnTo>
                  <a:lnTo>
                    <a:pt x="245706" y="577481"/>
                  </a:lnTo>
                  <a:lnTo>
                    <a:pt x="253034" y="531393"/>
                  </a:lnTo>
                  <a:lnTo>
                    <a:pt x="260210" y="577672"/>
                  </a:lnTo>
                  <a:lnTo>
                    <a:pt x="274777" y="621042"/>
                  </a:lnTo>
                  <a:lnTo>
                    <a:pt x="296037" y="660831"/>
                  </a:lnTo>
                  <a:lnTo>
                    <a:pt x="323329" y="696366"/>
                  </a:lnTo>
                  <a:lnTo>
                    <a:pt x="355968" y="726960"/>
                  </a:lnTo>
                  <a:lnTo>
                    <a:pt x="393293" y="751941"/>
                  </a:lnTo>
                  <a:lnTo>
                    <a:pt x="434594" y="770636"/>
                  </a:lnTo>
                  <a:lnTo>
                    <a:pt x="479209" y="782332"/>
                  </a:lnTo>
                  <a:lnTo>
                    <a:pt x="527126" y="786396"/>
                  </a:lnTo>
                  <a:close/>
                </a:path>
                <a:path w="527684" h="786764">
                  <a:moveTo>
                    <a:pt x="527126" y="520865"/>
                  </a:moveTo>
                  <a:lnTo>
                    <a:pt x="521677" y="472706"/>
                  </a:lnTo>
                  <a:lnTo>
                    <a:pt x="508279" y="427443"/>
                  </a:lnTo>
                  <a:lnTo>
                    <a:pt x="487667" y="385813"/>
                  </a:lnTo>
                  <a:lnTo>
                    <a:pt x="460578" y="348551"/>
                  </a:lnTo>
                  <a:lnTo>
                    <a:pt x="427736" y="316407"/>
                  </a:lnTo>
                  <a:lnTo>
                    <a:pt x="389877" y="290093"/>
                  </a:lnTo>
                  <a:lnTo>
                    <a:pt x="347751" y="270357"/>
                  </a:lnTo>
                  <a:lnTo>
                    <a:pt x="302082" y="257937"/>
                  </a:lnTo>
                  <a:lnTo>
                    <a:pt x="253606" y="253555"/>
                  </a:lnTo>
                  <a:lnTo>
                    <a:pt x="252387" y="253555"/>
                  </a:lnTo>
                  <a:lnTo>
                    <a:pt x="204038" y="257911"/>
                  </a:lnTo>
                  <a:lnTo>
                    <a:pt x="158483" y="270281"/>
                  </a:lnTo>
                  <a:lnTo>
                    <a:pt x="116446" y="289928"/>
                  </a:lnTo>
                  <a:lnTo>
                    <a:pt x="78663" y="316128"/>
                  </a:lnTo>
                  <a:lnTo>
                    <a:pt x="45859" y="348132"/>
                  </a:lnTo>
                  <a:lnTo>
                    <a:pt x="18770" y="385241"/>
                  </a:lnTo>
                  <a:lnTo>
                    <a:pt x="0" y="422935"/>
                  </a:lnTo>
                  <a:lnTo>
                    <a:pt x="0" y="518033"/>
                  </a:lnTo>
                  <a:lnTo>
                    <a:pt x="71285" y="504088"/>
                  </a:lnTo>
                  <a:lnTo>
                    <a:pt x="112522" y="485495"/>
                  </a:lnTo>
                  <a:lnTo>
                    <a:pt x="149783" y="460616"/>
                  </a:lnTo>
                  <a:lnTo>
                    <a:pt x="182410" y="430161"/>
                  </a:lnTo>
                  <a:lnTo>
                    <a:pt x="209715" y="394766"/>
                  </a:lnTo>
                  <a:lnTo>
                    <a:pt x="231038" y="355142"/>
                  </a:lnTo>
                  <a:lnTo>
                    <a:pt x="245706" y="311950"/>
                  </a:lnTo>
                  <a:lnTo>
                    <a:pt x="253034" y="265861"/>
                  </a:lnTo>
                  <a:lnTo>
                    <a:pt x="260210" y="312140"/>
                  </a:lnTo>
                  <a:lnTo>
                    <a:pt x="274777" y="355511"/>
                  </a:lnTo>
                  <a:lnTo>
                    <a:pt x="296037" y="395300"/>
                  </a:lnTo>
                  <a:lnTo>
                    <a:pt x="323329" y="430834"/>
                  </a:lnTo>
                  <a:lnTo>
                    <a:pt x="355968" y="461441"/>
                  </a:lnTo>
                  <a:lnTo>
                    <a:pt x="393293" y="486410"/>
                  </a:lnTo>
                  <a:lnTo>
                    <a:pt x="434594" y="505104"/>
                  </a:lnTo>
                  <a:lnTo>
                    <a:pt x="479209" y="516813"/>
                  </a:lnTo>
                  <a:lnTo>
                    <a:pt x="527126" y="520865"/>
                  </a:lnTo>
                  <a:close/>
                </a:path>
                <a:path w="527684" h="786764">
                  <a:moveTo>
                    <a:pt x="527138" y="267322"/>
                  </a:moveTo>
                  <a:lnTo>
                    <a:pt x="521690" y="219151"/>
                  </a:lnTo>
                  <a:lnTo>
                    <a:pt x="508292" y="173888"/>
                  </a:lnTo>
                  <a:lnTo>
                    <a:pt x="487680" y="132257"/>
                  </a:lnTo>
                  <a:lnTo>
                    <a:pt x="480275" y="122097"/>
                  </a:lnTo>
                  <a:lnTo>
                    <a:pt x="460578" y="95008"/>
                  </a:lnTo>
                  <a:lnTo>
                    <a:pt x="427736" y="62852"/>
                  </a:lnTo>
                  <a:lnTo>
                    <a:pt x="389890" y="36550"/>
                  </a:lnTo>
                  <a:lnTo>
                    <a:pt x="347764" y="16814"/>
                  </a:lnTo>
                  <a:lnTo>
                    <a:pt x="302082" y="4381"/>
                  </a:lnTo>
                  <a:lnTo>
                    <a:pt x="253606" y="0"/>
                  </a:lnTo>
                  <a:lnTo>
                    <a:pt x="252387" y="0"/>
                  </a:lnTo>
                  <a:lnTo>
                    <a:pt x="204038" y="4356"/>
                  </a:lnTo>
                  <a:lnTo>
                    <a:pt x="158483" y="16725"/>
                  </a:lnTo>
                  <a:lnTo>
                    <a:pt x="116446" y="36372"/>
                  </a:lnTo>
                  <a:lnTo>
                    <a:pt x="78663" y="62560"/>
                  </a:lnTo>
                  <a:lnTo>
                    <a:pt x="45859" y="94576"/>
                  </a:lnTo>
                  <a:lnTo>
                    <a:pt x="18745" y="131686"/>
                  </a:lnTo>
                  <a:lnTo>
                    <a:pt x="0" y="169303"/>
                  </a:lnTo>
                  <a:lnTo>
                    <a:pt x="0" y="264452"/>
                  </a:lnTo>
                  <a:lnTo>
                    <a:pt x="26758" y="262191"/>
                  </a:lnTo>
                  <a:lnTo>
                    <a:pt x="71285" y="250532"/>
                  </a:lnTo>
                  <a:lnTo>
                    <a:pt x="112522" y="231927"/>
                  </a:lnTo>
                  <a:lnTo>
                    <a:pt x="149783" y="207060"/>
                  </a:lnTo>
                  <a:lnTo>
                    <a:pt x="182410" y="176593"/>
                  </a:lnTo>
                  <a:lnTo>
                    <a:pt x="209727" y="141224"/>
                  </a:lnTo>
                  <a:lnTo>
                    <a:pt x="231051" y="101600"/>
                  </a:lnTo>
                  <a:lnTo>
                    <a:pt x="245719" y="58420"/>
                  </a:lnTo>
                  <a:lnTo>
                    <a:pt x="253034" y="12369"/>
                  </a:lnTo>
                  <a:lnTo>
                    <a:pt x="260210" y="58572"/>
                  </a:lnTo>
                  <a:lnTo>
                    <a:pt x="269887" y="87388"/>
                  </a:lnTo>
                  <a:lnTo>
                    <a:pt x="274777" y="101955"/>
                  </a:lnTo>
                  <a:lnTo>
                    <a:pt x="296037" y="141744"/>
                  </a:lnTo>
                  <a:lnTo>
                    <a:pt x="323329" y="177279"/>
                  </a:lnTo>
                  <a:lnTo>
                    <a:pt x="355981" y="207886"/>
                  </a:lnTo>
                  <a:lnTo>
                    <a:pt x="393293" y="232867"/>
                  </a:lnTo>
                  <a:lnTo>
                    <a:pt x="434606" y="251561"/>
                  </a:lnTo>
                  <a:lnTo>
                    <a:pt x="479221" y="263271"/>
                  </a:lnTo>
                  <a:lnTo>
                    <a:pt x="527138" y="267322"/>
                  </a:lnTo>
                  <a:close/>
                </a:path>
              </a:pathLst>
            </a:custGeom>
            <a:solidFill>
              <a:srgbClr val="7ED3F1"/>
            </a:solidFill>
          </p:spPr>
          <p:txBody>
            <a:bodyPr wrap="square" lIns="0" tIns="0" rIns="0" bIns="0" rtlCol="0"/>
            <a:lstStyle/>
            <a:p>
              <a:endParaRPr dirty="0"/>
            </a:p>
          </p:txBody>
        </p:sp>
        <p:pic>
          <p:nvPicPr>
            <p:cNvPr id="507" name="object 268">
              <a:extLst>
                <a:ext uri="{FF2B5EF4-FFF2-40B4-BE49-F238E27FC236}">
                  <a16:creationId xmlns:a16="http://schemas.microsoft.com/office/drawing/2014/main" id="{F304C6CE-F05F-84A0-3394-C86ECB3E48A2}"/>
                </a:ext>
              </a:extLst>
            </p:cNvPr>
            <p:cNvPicPr/>
            <p:nvPr/>
          </p:nvPicPr>
          <p:blipFill>
            <a:blip r:embed="rId17" cstate="print"/>
            <a:stretch>
              <a:fillRect/>
            </a:stretch>
          </p:blipFill>
          <p:spPr>
            <a:xfrm>
              <a:off x="7326865" y="2356067"/>
              <a:ext cx="106445" cy="107156"/>
            </a:xfrm>
            <a:prstGeom prst="rect">
              <a:avLst/>
            </a:prstGeom>
          </p:spPr>
        </p:pic>
        <p:sp>
          <p:nvSpPr>
            <p:cNvPr id="508" name="object 269">
              <a:extLst>
                <a:ext uri="{FF2B5EF4-FFF2-40B4-BE49-F238E27FC236}">
                  <a16:creationId xmlns:a16="http://schemas.microsoft.com/office/drawing/2014/main" id="{0AA31AA0-A043-B857-0472-98E8B00E2FF0}"/>
                </a:ext>
              </a:extLst>
            </p:cNvPr>
            <p:cNvSpPr/>
            <p:nvPr/>
          </p:nvSpPr>
          <p:spPr>
            <a:xfrm>
              <a:off x="7226307" y="123"/>
              <a:ext cx="319992" cy="100118"/>
            </a:xfrm>
            <a:custGeom>
              <a:avLst/>
              <a:gdLst/>
              <a:ahLst/>
              <a:cxnLst/>
              <a:rect l="l" t="t" r="r" b="b"/>
              <a:pathLst>
                <a:path w="527684" h="165100">
                  <a:moveTo>
                    <a:pt x="230473" y="0"/>
                  </a:moveTo>
                  <a:lnTo>
                    <a:pt x="39936" y="0"/>
                  </a:lnTo>
                  <a:lnTo>
                    <a:pt x="18738" y="29019"/>
                  </a:lnTo>
                  <a:lnTo>
                    <a:pt x="0" y="66629"/>
                  </a:lnTo>
                  <a:lnTo>
                    <a:pt x="0" y="161781"/>
                  </a:lnTo>
                  <a:lnTo>
                    <a:pt x="71285" y="147841"/>
                  </a:lnTo>
                  <a:lnTo>
                    <a:pt x="112519" y="129246"/>
                  </a:lnTo>
                  <a:lnTo>
                    <a:pt x="149785" y="104384"/>
                  </a:lnTo>
                  <a:lnTo>
                    <a:pt x="182410" y="73928"/>
                  </a:lnTo>
                  <a:lnTo>
                    <a:pt x="209722" y="38553"/>
                  </a:lnTo>
                  <a:lnTo>
                    <a:pt x="230473" y="0"/>
                  </a:lnTo>
                  <a:close/>
                </a:path>
                <a:path w="527684" h="165100">
                  <a:moveTo>
                    <a:pt x="466153" y="0"/>
                  </a:moveTo>
                  <a:lnTo>
                    <a:pt x="275154" y="0"/>
                  </a:lnTo>
                  <a:lnTo>
                    <a:pt x="296036" y="39074"/>
                  </a:lnTo>
                  <a:lnTo>
                    <a:pt x="323330" y="74611"/>
                  </a:lnTo>
                  <a:lnTo>
                    <a:pt x="355974" y="105212"/>
                  </a:lnTo>
                  <a:lnTo>
                    <a:pt x="393290" y="130198"/>
                  </a:lnTo>
                  <a:lnTo>
                    <a:pt x="434597" y="148888"/>
                  </a:lnTo>
                  <a:lnTo>
                    <a:pt x="479217" y="160601"/>
                  </a:lnTo>
                  <a:lnTo>
                    <a:pt x="526470" y="164656"/>
                  </a:lnTo>
                  <a:lnTo>
                    <a:pt x="527130" y="164656"/>
                  </a:lnTo>
                  <a:lnTo>
                    <a:pt x="521684" y="116483"/>
                  </a:lnTo>
                  <a:lnTo>
                    <a:pt x="508286" y="71216"/>
                  </a:lnTo>
                  <a:lnTo>
                    <a:pt x="487672" y="29587"/>
                  </a:lnTo>
                  <a:lnTo>
                    <a:pt x="466153" y="0"/>
                  </a:lnTo>
                  <a:close/>
                </a:path>
              </a:pathLst>
            </a:custGeom>
            <a:solidFill>
              <a:srgbClr val="2DB7EA"/>
            </a:solidFill>
          </p:spPr>
          <p:txBody>
            <a:bodyPr wrap="square" lIns="0" tIns="0" rIns="0" bIns="0" rtlCol="0"/>
            <a:lstStyle/>
            <a:p>
              <a:endParaRPr dirty="0"/>
            </a:p>
          </p:txBody>
        </p:sp>
        <p:pic>
          <p:nvPicPr>
            <p:cNvPr id="509" name="object 270">
              <a:extLst>
                <a:ext uri="{FF2B5EF4-FFF2-40B4-BE49-F238E27FC236}">
                  <a16:creationId xmlns:a16="http://schemas.microsoft.com/office/drawing/2014/main" id="{4255AF72-58EE-9CD7-91B6-AD2E8CBF9617}"/>
                </a:ext>
              </a:extLst>
            </p:cNvPr>
            <p:cNvPicPr/>
            <p:nvPr/>
          </p:nvPicPr>
          <p:blipFill>
            <a:blip r:embed="rId24" cstate="print"/>
            <a:stretch>
              <a:fillRect/>
            </a:stretch>
          </p:blipFill>
          <p:spPr>
            <a:xfrm>
              <a:off x="7226307" y="123"/>
              <a:ext cx="139752" cy="98125"/>
            </a:xfrm>
            <a:prstGeom prst="rect">
              <a:avLst/>
            </a:prstGeom>
          </p:spPr>
        </p:pic>
        <p:pic>
          <p:nvPicPr>
            <p:cNvPr id="510" name="object 271">
              <a:extLst>
                <a:ext uri="{FF2B5EF4-FFF2-40B4-BE49-F238E27FC236}">
                  <a16:creationId xmlns:a16="http://schemas.microsoft.com/office/drawing/2014/main" id="{859803EF-5CAC-7A2A-6169-E1F57CA2DF61}"/>
                </a:ext>
              </a:extLst>
            </p:cNvPr>
            <p:cNvPicPr/>
            <p:nvPr/>
          </p:nvPicPr>
          <p:blipFill>
            <a:blip r:embed="rId21" cstate="print"/>
            <a:stretch>
              <a:fillRect/>
            </a:stretch>
          </p:blipFill>
          <p:spPr>
            <a:xfrm>
              <a:off x="7393159" y="123"/>
              <a:ext cx="152798" cy="99837"/>
            </a:xfrm>
            <a:prstGeom prst="rect">
              <a:avLst/>
            </a:prstGeom>
          </p:spPr>
        </p:pic>
        <p:sp>
          <p:nvSpPr>
            <p:cNvPr id="511" name="object 272">
              <a:extLst>
                <a:ext uri="{FF2B5EF4-FFF2-40B4-BE49-F238E27FC236}">
                  <a16:creationId xmlns:a16="http://schemas.microsoft.com/office/drawing/2014/main" id="{98B37E3B-32B4-3FA3-A4E1-101BAB9B9E82}"/>
                </a:ext>
              </a:extLst>
            </p:cNvPr>
            <p:cNvSpPr/>
            <p:nvPr/>
          </p:nvSpPr>
          <p:spPr>
            <a:xfrm>
              <a:off x="7226300" y="91626"/>
              <a:ext cx="319992" cy="323458"/>
            </a:xfrm>
            <a:custGeom>
              <a:avLst/>
              <a:gdLst/>
              <a:ahLst/>
              <a:cxnLst/>
              <a:rect l="l" t="t" r="r" b="b"/>
              <a:pathLst>
                <a:path w="527684" h="533400">
                  <a:moveTo>
                    <a:pt x="527126" y="532841"/>
                  </a:moveTo>
                  <a:lnTo>
                    <a:pt x="521677" y="484682"/>
                  </a:lnTo>
                  <a:lnTo>
                    <a:pt x="508279" y="439420"/>
                  </a:lnTo>
                  <a:lnTo>
                    <a:pt x="487667" y="397789"/>
                  </a:lnTo>
                  <a:lnTo>
                    <a:pt x="460578" y="360527"/>
                  </a:lnTo>
                  <a:lnTo>
                    <a:pt x="427736" y="328383"/>
                  </a:lnTo>
                  <a:lnTo>
                    <a:pt x="389877" y="302069"/>
                  </a:lnTo>
                  <a:lnTo>
                    <a:pt x="347751" y="282333"/>
                  </a:lnTo>
                  <a:lnTo>
                    <a:pt x="302082" y="269913"/>
                  </a:lnTo>
                  <a:lnTo>
                    <a:pt x="253606" y="265544"/>
                  </a:lnTo>
                  <a:lnTo>
                    <a:pt x="252387" y="265544"/>
                  </a:lnTo>
                  <a:lnTo>
                    <a:pt x="204038" y="269900"/>
                  </a:lnTo>
                  <a:lnTo>
                    <a:pt x="158483" y="282257"/>
                  </a:lnTo>
                  <a:lnTo>
                    <a:pt x="116446" y="301904"/>
                  </a:lnTo>
                  <a:lnTo>
                    <a:pt x="78663" y="328104"/>
                  </a:lnTo>
                  <a:lnTo>
                    <a:pt x="45859" y="360121"/>
                  </a:lnTo>
                  <a:lnTo>
                    <a:pt x="18770" y="397217"/>
                  </a:lnTo>
                  <a:lnTo>
                    <a:pt x="0" y="434911"/>
                  </a:lnTo>
                  <a:lnTo>
                    <a:pt x="0" y="530021"/>
                  </a:lnTo>
                  <a:lnTo>
                    <a:pt x="71285" y="516064"/>
                  </a:lnTo>
                  <a:lnTo>
                    <a:pt x="112522" y="497471"/>
                  </a:lnTo>
                  <a:lnTo>
                    <a:pt x="149783" y="472592"/>
                  </a:lnTo>
                  <a:lnTo>
                    <a:pt x="182410" y="442137"/>
                  </a:lnTo>
                  <a:lnTo>
                    <a:pt x="209715" y="406755"/>
                  </a:lnTo>
                  <a:lnTo>
                    <a:pt x="231038" y="367118"/>
                  </a:lnTo>
                  <a:lnTo>
                    <a:pt x="245706" y="323926"/>
                  </a:lnTo>
                  <a:lnTo>
                    <a:pt x="253034" y="277837"/>
                  </a:lnTo>
                  <a:lnTo>
                    <a:pt x="260210" y="324116"/>
                  </a:lnTo>
                  <a:lnTo>
                    <a:pt x="274777" y="367487"/>
                  </a:lnTo>
                  <a:lnTo>
                    <a:pt x="296037" y="407276"/>
                  </a:lnTo>
                  <a:lnTo>
                    <a:pt x="323329" y="442810"/>
                  </a:lnTo>
                  <a:lnTo>
                    <a:pt x="355968" y="473417"/>
                  </a:lnTo>
                  <a:lnTo>
                    <a:pt x="393293" y="498398"/>
                  </a:lnTo>
                  <a:lnTo>
                    <a:pt x="434594" y="517080"/>
                  </a:lnTo>
                  <a:lnTo>
                    <a:pt x="479209" y="528789"/>
                  </a:lnTo>
                  <a:lnTo>
                    <a:pt x="527126" y="532841"/>
                  </a:lnTo>
                  <a:close/>
                </a:path>
                <a:path w="527684" h="533400">
                  <a:moveTo>
                    <a:pt x="527126" y="267309"/>
                  </a:moveTo>
                  <a:lnTo>
                    <a:pt x="521677" y="219138"/>
                  </a:lnTo>
                  <a:lnTo>
                    <a:pt x="508279" y="173888"/>
                  </a:lnTo>
                  <a:lnTo>
                    <a:pt x="487667" y="132257"/>
                  </a:lnTo>
                  <a:lnTo>
                    <a:pt x="460578" y="94996"/>
                  </a:lnTo>
                  <a:lnTo>
                    <a:pt x="427736" y="62852"/>
                  </a:lnTo>
                  <a:lnTo>
                    <a:pt x="389877" y="36537"/>
                  </a:lnTo>
                  <a:lnTo>
                    <a:pt x="347751" y="16802"/>
                  </a:lnTo>
                  <a:lnTo>
                    <a:pt x="302082" y="4381"/>
                  </a:lnTo>
                  <a:lnTo>
                    <a:pt x="253606" y="0"/>
                  </a:lnTo>
                  <a:lnTo>
                    <a:pt x="252387" y="0"/>
                  </a:lnTo>
                  <a:lnTo>
                    <a:pt x="204038" y="4356"/>
                  </a:lnTo>
                  <a:lnTo>
                    <a:pt x="158483" y="16725"/>
                  </a:lnTo>
                  <a:lnTo>
                    <a:pt x="116446" y="36372"/>
                  </a:lnTo>
                  <a:lnTo>
                    <a:pt x="78663" y="62572"/>
                  </a:lnTo>
                  <a:lnTo>
                    <a:pt x="45859" y="94576"/>
                  </a:lnTo>
                  <a:lnTo>
                    <a:pt x="18770" y="131686"/>
                  </a:lnTo>
                  <a:lnTo>
                    <a:pt x="0" y="169379"/>
                  </a:lnTo>
                  <a:lnTo>
                    <a:pt x="0" y="264477"/>
                  </a:lnTo>
                  <a:lnTo>
                    <a:pt x="71285" y="250532"/>
                  </a:lnTo>
                  <a:lnTo>
                    <a:pt x="112522" y="231940"/>
                  </a:lnTo>
                  <a:lnTo>
                    <a:pt x="149783" y="207060"/>
                  </a:lnTo>
                  <a:lnTo>
                    <a:pt x="182410" y="176593"/>
                  </a:lnTo>
                  <a:lnTo>
                    <a:pt x="209715" y="141211"/>
                  </a:lnTo>
                  <a:lnTo>
                    <a:pt x="231038" y="101587"/>
                  </a:lnTo>
                  <a:lnTo>
                    <a:pt x="245706" y="58394"/>
                  </a:lnTo>
                  <a:lnTo>
                    <a:pt x="253034" y="12306"/>
                  </a:lnTo>
                  <a:lnTo>
                    <a:pt x="260210" y="58585"/>
                  </a:lnTo>
                  <a:lnTo>
                    <a:pt x="274777" y="101955"/>
                  </a:lnTo>
                  <a:lnTo>
                    <a:pt x="296037" y="141744"/>
                  </a:lnTo>
                  <a:lnTo>
                    <a:pt x="323329" y="177279"/>
                  </a:lnTo>
                  <a:lnTo>
                    <a:pt x="355968" y="207873"/>
                  </a:lnTo>
                  <a:lnTo>
                    <a:pt x="393293" y="232854"/>
                  </a:lnTo>
                  <a:lnTo>
                    <a:pt x="434594" y="251548"/>
                  </a:lnTo>
                  <a:lnTo>
                    <a:pt x="479209" y="263258"/>
                  </a:lnTo>
                  <a:lnTo>
                    <a:pt x="527126" y="267309"/>
                  </a:lnTo>
                  <a:close/>
                </a:path>
              </a:pathLst>
            </a:custGeom>
            <a:solidFill>
              <a:srgbClr val="2DB7EA"/>
            </a:solidFill>
          </p:spPr>
          <p:txBody>
            <a:bodyPr wrap="square" lIns="0" tIns="0" rIns="0" bIns="0" rtlCol="0"/>
            <a:lstStyle/>
            <a:p>
              <a:endParaRPr dirty="0"/>
            </a:p>
          </p:txBody>
        </p:sp>
        <p:pic>
          <p:nvPicPr>
            <p:cNvPr id="512" name="object 273">
              <a:extLst>
                <a:ext uri="{FF2B5EF4-FFF2-40B4-BE49-F238E27FC236}">
                  <a16:creationId xmlns:a16="http://schemas.microsoft.com/office/drawing/2014/main" id="{62CF7553-588F-5DDC-1D95-246D6B13D64B}"/>
                </a:ext>
              </a:extLst>
            </p:cNvPr>
            <p:cNvPicPr/>
            <p:nvPr/>
          </p:nvPicPr>
          <p:blipFill>
            <a:blip r:embed="rId16" cstate="print"/>
            <a:stretch>
              <a:fillRect/>
            </a:stretch>
          </p:blipFill>
          <p:spPr>
            <a:xfrm>
              <a:off x="7326865" y="393572"/>
              <a:ext cx="106445" cy="107156"/>
            </a:xfrm>
            <a:prstGeom prst="rect">
              <a:avLst/>
            </a:prstGeom>
          </p:spPr>
        </p:pic>
        <p:sp>
          <p:nvSpPr>
            <p:cNvPr id="513" name="object 274">
              <a:extLst>
                <a:ext uri="{FF2B5EF4-FFF2-40B4-BE49-F238E27FC236}">
                  <a16:creationId xmlns:a16="http://schemas.microsoft.com/office/drawing/2014/main" id="{A66C4104-2B0B-47B0-A8C1-6D386995F221}"/>
                </a:ext>
              </a:extLst>
            </p:cNvPr>
            <p:cNvSpPr/>
            <p:nvPr/>
          </p:nvSpPr>
          <p:spPr>
            <a:xfrm>
              <a:off x="7226300" y="592039"/>
              <a:ext cx="319992" cy="477101"/>
            </a:xfrm>
            <a:custGeom>
              <a:avLst/>
              <a:gdLst/>
              <a:ahLst/>
              <a:cxnLst/>
              <a:rect l="l" t="t" r="r" b="b"/>
              <a:pathLst>
                <a:path w="527684" h="786764">
                  <a:moveTo>
                    <a:pt x="527126" y="786384"/>
                  </a:moveTo>
                  <a:lnTo>
                    <a:pt x="521677" y="738225"/>
                  </a:lnTo>
                  <a:lnTo>
                    <a:pt x="508279" y="692962"/>
                  </a:lnTo>
                  <a:lnTo>
                    <a:pt x="487667" y="651332"/>
                  </a:lnTo>
                  <a:lnTo>
                    <a:pt x="460578" y="614083"/>
                  </a:lnTo>
                  <a:lnTo>
                    <a:pt x="427736" y="581926"/>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47"/>
                  </a:lnTo>
                  <a:lnTo>
                    <a:pt x="45859" y="613664"/>
                  </a:lnTo>
                  <a:lnTo>
                    <a:pt x="18770" y="650760"/>
                  </a:lnTo>
                  <a:lnTo>
                    <a:pt x="0" y="688454"/>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59"/>
                  </a:lnTo>
                  <a:lnTo>
                    <a:pt x="274777" y="621030"/>
                  </a:lnTo>
                  <a:lnTo>
                    <a:pt x="296037" y="660831"/>
                  </a:lnTo>
                  <a:lnTo>
                    <a:pt x="323329" y="696366"/>
                  </a:lnTo>
                  <a:lnTo>
                    <a:pt x="355968" y="726960"/>
                  </a:lnTo>
                  <a:lnTo>
                    <a:pt x="393293" y="751941"/>
                  </a:lnTo>
                  <a:lnTo>
                    <a:pt x="434594" y="770623"/>
                  </a:lnTo>
                  <a:lnTo>
                    <a:pt x="479209" y="782332"/>
                  </a:lnTo>
                  <a:lnTo>
                    <a:pt x="527126" y="786384"/>
                  </a:lnTo>
                  <a:close/>
                </a:path>
                <a:path w="527684" h="786764">
                  <a:moveTo>
                    <a:pt x="527126" y="520852"/>
                  </a:moveTo>
                  <a:lnTo>
                    <a:pt x="521677" y="472694"/>
                  </a:lnTo>
                  <a:lnTo>
                    <a:pt x="508279" y="427431"/>
                  </a:lnTo>
                  <a:lnTo>
                    <a:pt x="487667" y="385800"/>
                  </a:lnTo>
                  <a:lnTo>
                    <a:pt x="460578" y="348551"/>
                  </a:lnTo>
                  <a:lnTo>
                    <a:pt x="427736" y="316395"/>
                  </a:lnTo>
                  <a:lnTo>
                    <a:pt x="389877" y="290080"/>
                  </a:lnTo>
                  <a:lnTo>
                    <a:pt x="347751" y="270357"/>
                  </a:lnTo>
                  <a:lnTo>
                    <a:pt x="302082" y="257924"/>
                  </a:lnTo>
                  <a:lnTo>
                    <a:pt x="253606" y="253555"/>
                  </a:lnTo>
                  <a:lnTo>
                    <a:pt x="252387" y="253555"/>
                  </a:lnTo>
                  <a:lnTo>
                    <a:pt x="204038" y="257911"/>
                  </a:lnTo>
                  <a:lnTo>
                    <a:pt x="158483" y="270281"/>
                  </a:lnTo>
                  <a:lnTo>
                    <a:pt x="116446" y="289915"/>
                  </a:lnTo>
                  <a:lnTo>
                    <a:pt x="78663" y="316115"/>
                  </a:lnTo>
                  <a:lnTo>
                    <a:pt x="45859" y="348132"/>
                  </a:lnTo>
                  <a:lnTo>
                    <a:pt x="18770" y="385229"/>
                  </a:lnTo>
                  <a:lnTo>
                    <a:pt x="0" y="422922"/>
                  </a:lnTo>
                  <a:lnTo>
                    <a:pt x="0" y="518033"/>
                  </a:lnTo>
                  <a:lnTo>
                    <a:pt x="71285" y="504088"/>
                  </a:lnTo>
                  <a:lnTo>
                    <a:pt x="112522" y="485482"/>
                  </a:lnTo>
                  <a:lnTo>
                    <a:pt x="149783" y="460616"/>
                  </a:lnTo>
                  <a:lnTo>
                    <a:pt x="182410" y="430149"/>
                  </a:lnTo>
                  <a:lnTo>
                    <a:pt x="209715" y="394766"/>
                  </a:lnTo>
                  <a:lnTo>
                    <a:pt x="231038" y="355142"/>
                  </a:lnTo>
                  <a:lnTo>
                    <a:pt x="245706" y="311937"/>
                  </a:lnTo>
                  <a:lnTo>
                    <a:pt x="253034" y="265861"/>
                  </a:lnTo>
                  <a:lnTo>
                    <a:pt x="260210" y="312127"/>
                  </a:lnTo>
                  <a:lnTo>
                    <a:pt x="274777" y="355498"/>
                  </a:lnTo>
                  <a:lnTo>
                    <a:pt x="296037" y="395300"/>
                  </a:lnTo>
                  <a:lnTo>
                    <a:pt x="323329" y="430834"/>
                  </a:lnTo>
                  <a:lnTo>
                    <a:pt x="355968" y="461429"/>
                  </a:lnTo>
                  <a:lnTo>
                    <a:pt x="393293" y="486410"/>
                  </a:lnTo>
                  <a:lnTo>
                    <a:pt x="434594" y="505091"/>
                  </a:lnTo>
                  <a:lnTo>
                    <a:pt x="479209" y="516801"/>
                  </a:lnTo>
                  <a:lnTo>
                    <a:pt x="527126" y="520852"/>
                  </a:lnTo>
                  <a:close/>
                </a:path>
                <a:path w="527684" h="786764">
                  <a:moveTo>
                    <a:pt x="527138" y="267322"/>
                  </a:moveTo>
                  <a:lnTo>
                    <a:pt x="521690" y="219138"/>
                  </a:lnTo>
                  <a:lnTo>
                    <a:pt x="508292" y="173875"/>
                  </a:lnTo>
                  <a:lnTo>
                    <a:pt x="487680" y="132245"/>
                  </a:lnTo>
                  <a:lnTo>
                    <a:pt x="471982" y="110680"/>
                  </a:lnTo>
                  <a:lnTo>
                    <a:pt x="460578" y="94996"/>
                  </a:lnTo>
                  <a:lnTo>
                    <a:pt x="427736" y="62839"/>
                  </a:lnTo>
                  <a:lnTo>
                    <a:pt x="389890" y="36537"/>
                  </a:lnTo>
                  <a:lnTo>
                    <a:pt x="347751" y="16789"/>
                  </a:lnTo>
                  <a:lnTo>
                    <a:pt x="302082" y="4368"/>
                  </a:lnTo>
                  <a:lnTo>
                    <a:pt x="253619" y="12"/>
                  </a:lnTo>
                  <a:lnTo>
                    <a:pt x="252387" y="0"/>
                  </a:lnTo>
                  <a:lnTo>
                    <a:pt x="204038" y="4356"/>
                  </a:lnTo>
                  <a:lnTo>
                    <a:pt x="158483" y="16713"/>
                  </a:lnTo>
                  <a:lnTo>
                    <a:pt x="116446" y="36360"/>
                  </a:lnTo>
                  <a:lnTo>
                    <a:pt x="78663" y="62560"/>
                  </a:lnTo>
                  <a:lnTo>
                    <a:pt x="45859" y="94576"/>
                  </a:lnTo>
                  <a:lnTo>
                    <a:pt x="18745" y="131686"/>
                  </a:lnTo>
                  <a:lnTo>
                    <a:pt x="0" y="169291"/>
                  </a:lnTo>
                  <a:lnTo>
                    <a:pt x="0" y="264439"/>
                  </a:lnTo>
                  <a:lnTo>
                    <a:pt x="26758" y="262178"/>
                  </a:lnTo>
                  <a:lnTo>
                    <a:pt x="71285" y="250520"/>
                  </a:lnTo>
                  <a:lnTo>
                    <a:pt x="112522" y="231927"/>
                  </a:lnTo>
                  <a:lnTo>
                    <a:pt x="149783" y="207048"/>
                  </a:lnTo>
                  <a:lnTo>
                    <a:pt x="182410" y="176593"/>
                  </a:lnTo>
                  <a:lnTo>
                    <a:pt x="209727" y="141211"/>
                  </a:lnTo>
                  <a:lnTo>
                    <a:pt x="231051" y="101600"/>
                  </a:lnTo>
                  <a:lnTo>
                    <a:pt x="245719" y="58407"/>
                  </a:lnTo>
                  <a:lnTo>
                    <a:pt x="253034" y="12357"/>
                  </a:lnTo>
                  <a:lnTo>
                    <a:pt x="260210" y="58572"/>
                  </a:lnTo>
                  <a:lnTo>
                    <a:pt x="274777" y="101942"/>
                  </a:lnTo>
                  <a:lnTo>
                    <a:pt x="296037" y="141732"/>
                  </a:lnTo>
                  <a:lnTo>
                    <a:pt x="323329" y="177266"/>
                  </a:lnTo>
                  <a:lnTo>
                    <a:pt x="355968" y="207873"/>
                  </a:lnTo>
                  <a:lnTo>
                    <a:pt x="393293" y="232854"/>
                  </a:lnTo>
                  <a:lnTo>
                    <a:pt x="434606" y="251548"/>
                  </a:lnTo>
                  <a:lnTo>
                    <a:pt x="479221" y="263258"/>
                  </a:lnTo>
                  <a:lnTo>
                    <a:pt x="527138" y="267322"/>
                  </a:lnTo>
                  <a:close/>
                </a:path>
              </a:pathLst>
            </a:custGeom>
            <a:solidFill>
              <a:srgbClr val="7ED3F1"/>
            </a:solidFill>
          </p:spPr>
          <p:txBody>
            <a:bodyPr wrap="square" lIns="0" tIns="0" rIns="0" bIns="0" rtlCol="0"/>
            <a:lstStyle/>
            <a:p>
              <a:endParaRPr dirty="0"/>
            </a:p>
          </p:txBody>
        </p:sp>
        <p:pic>
          <p:nvPicPr>
            <p:cNvPr id="514" name="object 275">
              <a:extLst>
                <a:ext uri="{FF2B5EF4-FFF2-40B4-BE49-F238E27FC236}">
                  <a16:creationId xmlns:a16="http://schemas.microsoft.com/office/drawing/2014/main" id="{D8F951C3-C0F8-FE50-015E-9336F22E7FAA}"/>
                </a:ext>
              </a:extLst>
            </p:cNvPr>
            <p:cNvPicPr/>
            <p:nvPr/>
          </p:nvPicPr>
          <p:blipFill>
            <a:blip r:embed="rId17" cstate="print"/>
            <a:stretch>
              <a:fillRect/>
            </a:stretch>
          </p:blipFill>
          <p:spPr>
            <a:xfrm>
              <a:off x="7326865" y="1047738"/>
              <a:ext cx="106445" cy="107156"/>
            </a:xfrm>
            <a:prstGeom prst="rect">
              <a:avLst/>
            </a:prstGeom>
          </p:spPr>
        </p:pic>
        <p:sp>
          <p:nvSpPr>
            <p:cNvPr id="515" name="object 276">
              <a:extLst>
                <a:ext uri="{FF2B5EF4-FFF2-40B4-BE49-F238E27FC236}">
                  <a16:creationId xmlns:a16="http://schemas.microsoft.com/office/drawing/2014/main" id="{C039F08D-5C80-BC8F-BEF5-F30B22EF3032}"/>
                </a:ext>
              </a:extLst>
            </p:cNvPr>
            <p:cNvSpPr/>
            <p:nvPr/>
          </p:nvSpPr>
          <p:spPr>
            <a:xfrm>
              <a:off x="8368808" y="804428"/>
              <a:ext cx="332700" cy="477101"/>
            </a:xfrm>
            <a:custGeom>
              <a:avLst/>
              <a:gdLst/>
              <a:ahLst/>
              <a:cxnLst/>
              <a:rect l="l" t="t" r="r" b="b"/>
              <a:pathLst>
                <a:path w="548640" h="786764">
                  <a:moveTo>
                    <a:pt x="548043" y="266598"/>
                  </a:moveTo>
                  <a:lnTo>
                    <a:pt x="500367" y="270637"/>
                  </a:lnTo>
                  <a:lnTo>
                    <a:pt x="455841" y="282295"/>
                  </a:lnTo>
                  <a:lnTo>
                    <a:pt x="414616" y="300901"/>
                  </a:lnTo>
                  <a:lnTo>
                    <a:pt x="377342" y="325767"/>
                  </a:lnTo>
                  <a:lnTo>
                    <a:pt x="344716" y="356235"/>
                  </a:lnTo>
                  <a:lnTo>
                    <a:pt x="317411" y="391617"/>
                  </a:lnTo>
                  <a:lnTo>
                    <a:pt x="296087" y="431241"/>
                  </a:lnTo>
                  <a:lnTo>
                    <a:pt x="281419" y="474433"/>
                  </a:lnTo>
                  <a:lnTo>
                    <a:pt x="274091" y="520522"/>
                  </a:lnTo>
                  <a:lnTo>
                    <a:pt x="266915" y="474256"/>
                  </a:lnTo>
                  <a:lnTo>
                    <a:pt x="252361" y="430872"/>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88"/>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42"/>
                  </a:lnTo>
                  <a:lnTo>
                    <a:pt x="529005" y="359689"/>
                  </a:lnTo>
                  <a:lnTo>
                    <a:pt x="542467" y="314591"/>
                  </a:lnTo>
                  <a:lnTo>
                    <a:pt x="548043" y="266598"/>
                  </a:lnTo>
                  <a:close/>
                </a:path>
                <a:path w="548640" h="786764">
                  <a:moveTo>
                    <a:pt x="548043" y="1079"/>
                  </a:moveTo>
                  <a:lnTo>
                    <a:pt x="500367" y="5105"/>
                  </a:lnTo>
                  <a:lnTo>
                    <a:pt x="455841" y="16764"/>
                  </a:lnTo>
                  <a:lnTo>
                    <a:pt x="414616" y="35369"/>
                  </a:lnTo>
                  <a:lnTo>
                    <a:pt x="377342" y="60236"/>
                  </a:lnTo>
                  <a:lnTo>
                    <a:pt x="344716"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67" y="49060"/>
                  </a:lnTo>
                  <a:lnTo>
                    <a:pt x="548043" y="1079"/>
                  </a:lnTo>
                  <a:close/>
                </a:path>
                <a:path w="548640" h="786764">
                  <a:moveTo>
                    <a:pt x="548093" y="520192"/>
                  </a:moveTo>
                  <a:lnTo>
                    <a:pt x="500367" y="524205"/>
                  </a:lnTo>
                  <a:lnTo>
                    <a:pt x="455841" y="535851"/>
                  </a:lnTo>
                  <a:lnTo>
                    <a:pt x="414616" y="554456"/>
                  </a:lnTo>
                  <a:lnTo>
                    <a:pt x="377342" y="579323"/>
                  </a:lnTo>
                  <a:lnTo>
                    <a:pt x="344716" y="609790"/>
                  </a:lnTo>
                  <a:lnTo>
                    <a:pt x="317411" y="645160"/>
                  </a:lnTo>
                  <a:lnTo>
                    <a:pt x="296087" y="684784"/>
                  </a:lnTo>
                  <a:lnTo>
                    <a:pt x="281419" y="727976"/>
                  </a:lnTo>
                  <a:lnTo>
                    <a:pt x="274091" y="774065"/>
                  </a:lnTo>
                  <a:lnTo>
                    <a:pt x="266915" y="727811"/>
                  </a:lnTo>
                  <a:lnTo>
                    <a:pt x="252361" y="684441"/>
                  </a:lnTo>
                  <a:lnTo>
                    <a:pt x="231089" y="644652"/>
                  </a:lnTo>
                  <a:lnTo>
                    <a:pt x="203796" y="609117"/>
                  </a:lnTo>
                  <a:lnTo>
                    <a:pt x="171157" y="578510"/>
                  </a:lnTo>
                  <a:lnTo>
                    <a:pt x="133845" y="553529"/>
                  </a:lnTo>
                  <a:lnTo>
                    <a:pt x="92532" y="534847"/>
                  </a:lnTo>
                  <a:lnTo>
                    <a:pt x="47917" y="523113"/>
                  </a:lnTo>
                  <a:lnTo>
                    <a:pt x="0" y="519061"/>
                  </a:lnTo>
                  <a:lnTo>
                    <a:pt x="5448" y="567245"/>
                  </a:lnTo>
                  <a:lnTo>
                    <a:pt x="18846" y="612508"/>
                  </a:lnTo>
                  <a:lnTo>
                    <a:pt x="39458" y="654138"/>
                  </a:lnTo>
                  <a:lnTo>
                    <a:pt x="66548" y="691388"/>
                  </a:lnTo>
                  <a:lnTo>
                    <a:pt x="98704" y="722871"/>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81266" y="691807"/>
                  </a:lnTo>
                  <a:lnTo>
                    <a:pt x="508393" y="654697"/>
                  </a:lnTo>
                  <a:lnTo>
                    <a:pt x="529043" y="613244"/>
                  </a:lnTo>
                  <a:lnTo>
                    <a:pt x="542518" y="568172"/>
                  </a:lnTo>
                  <a:lnTo>
                    <a:pt x="548093" y="520192"/>
                  </a:lnTo>
                  <a:close/>
                </a:path>
              </a:pathLst>
            </a:custGeom>
            <a:solidFill>
              <a:srgbClr val="2DB7EA"/>
            </a:solidFill>
          </p:spPr>
          <p:txBody>
            <a:bodyPr wrap="square" lIns="0" tIns="0" rIns="0" bIns="0" rtlCol="0"/>
            <a:lstStyle/>
            <a:p>
              <a:endParaRPr dirty="0"/>
            </a:p>
          </p:txBody>
        </p:sp>
        <p:pic>
          <p:nvPicPr>
            <p:cNvPr id="516" name="object 277">
              <a:extLst>
                <a:ext uri="{FF2B5EF4-FFF2-40B4-BE49-F238E27FC236}">
                  <a16:creationId xmlns:a16="http://schemas.microsoft.com/office/drawing/2014/main" id="{3C6C03F2-F62D-CD4F-E53A-E36EAC42D132}"/>
                </a:ext>
              </a:extLst>
            </p:cNvPr>
            <p:cNvPicPr/>
            <p:nvPr/>
          </p:nvPicPr>
          <p:blipFill>
            <a:blip r:embed="rId5" cstate="print"/>
            <a:stretch>
              <a:fillRect/>
            </a:stretch>
          </p:blipFill>
          <p:spPr>
            <a:xfrm>
              <a:off x="8481461" y="718433"/>
              <a:ext cx="106445" cy="107156"/>
            </a:xfrm>
            <a:prstGeom prst="rect">
              <a:avLst/>
            </a:prstGeom>
          </p:spPr>
        </p:pic>
        <p:sp>
          <p:nvSpPr>
            <p:cNvPr id="517" name="object 278">
              <a:extLst>
                <a:ext uri="{FF2B5EF4-FFF2-40B4-BE49-F238E27FC236}">
                  <a16:creationId xmlns:a16="http://schemas.microsoft.com/office/drawing/2014/main" id="{DC715EB8-8601-25A1-9E47-CD1177381800}"/>
                </a:ext>
              </a:extLst>
            </p:cNvPr>
            <p:cNvSpPr/>
            <p:nvPr/>
          </p:nvSpPr>
          <p:spPr>
            <a:xfrm>
              <a:off x="8368808" y="150257"/>
              <a:ext cx="332700" cy="477101"/>
            </a:xfrm>
            <a:custGeom>
              <a:avLst/>
              <a:gdLst/>
              <a:ahLst/>
              <a:cxnLst/>
              <a:rect l="l" t="t" r="r" b="b"/>
              <a:pathLst>
                <a:path w="548640" h="786765">
                  <a:moveTo>
                    <a:pt x="548043" y="266611"/>
                  </a:moveTo>
                  <a:lnTo>
                    <a:pt x="500367" y="270649"/>
                  </a:lnTo>
                  <a:lnTo>
                    <a:pt x="455841" y="282308"/>
                  </a:lnTo>
                  <a:lnTo>
                    <a:pt x="414616" y="300901"/>
                  </a:lnTo>
                  <a:lnTo>
                    <a:pt x="377342" y="325767"/>
                  </a:lnTo>
                  <a:lnTo>
                    <a:pt x="344716" y="356235"/>
                  </a:lnTo>
                  <a:lnTo>
                    <a:pt x="317411" y="391617"/>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39"/>
                  </a:lnTo>
                  <a:lnTo>
                    <a:pt x="225044" y="528459"/>
                  </a:lnTo>
                  <a:lnTo>
                    <a:pt x="273519" y="532828"/>
                  </a:lnTo>
                  <a:lnTo>
                    <a:pt x="274751" y="532828"/>
                  </a:lnTo>
                  <a:lnTo>
                    <a:pt x="323088" y="528472"/>
                  </a:lnTo>
                  <a:lnTo>
                    <a:pt x="368642" y="516115"/>
                  </a:lnTo>
                  <a:lnTo>
                    <a:pt x="410679" y="496468"/>
                  </a:lnTo>
                  <a:lnTo>
                    <a:pt x="448462" y="470268"/>
                  </a:lnTo>
                  <a:lnTo>
                    <a:pt x="481266" y="438251"/>
                  </a:lnTo>
                  <a:lnTo>
                    <a:pt x="508355" y="401154"/>
                  </a:lnTo>
                  <a:lnTo>
                    <a:pt x="529005" y="359689"/>
                  </a:lnTo>
                  <a:lnTo>
                    <a:pt x="542467" y="314604"/>
                  </a:lnTo>
                  <a:lnTo>
                    <a:pt x="548043" y="266611"/>
                  </a:lnTo>
                  <a:close/>
                </a:path>
                <a:path w="548640" h="786765">
                  <a:moveTo>
                    <a:pt x="548043" y="1079"/>
                  </a:moveTo>
                  <a:lnTo>
                    <a:pt x="500367" y="5118"/>
                  </a:lnTo>
                  <a:lnTo>
                    <a:pt x="455841" y="16776"/>
                  </a:lnTo>
                  <a:lnTo>
                    <a:pt x="414616" y="35369"/>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60"/>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36"/>
                  </a:lnTo>
                  <a:lnTo>
                    <a:pt x="481266" y="172732"/>
                  </a:lnTo>
                  <a:lnTo>
                    <a:pt x="508355" y="135623"/>
                  </a:lnTo>
                  <a:lnTo>
                    <a:pt x="529005" y="94157"/>
                  </a:lnTo>
                  <a:lnTo>
                    <a:pt x="542467" y="49072"/>
                  </a:lnTo>
                  <a:lnTo>
                    <a:pt x="548043" y="1079"/>
                  </a:lnTo>
                  <a:close/>
                </a:path>
                <a:path w="548640" h="786765">
                  <a:moveTo>
                    <a:pt x="548093" y="520204"/>
                  </a:moveTo>
                  <a:lnTo>
                    <a:pt x="500367" y="524205"/>
                  </a:lnTo>
                  <a:lnTo>
                    <a:pt x="455841" y="535863"/>
                  </a:lnTo>
                  <a:lnTo>
                    <a:pt x="414616" y="554469"/>
                  </a:lnTo>
                  <a:lnTo>
                    <a:pt x="377342" y="579335"/>
                  </a:lnTo>
                  <a:lnTo>
                    <a:pt x="344716" y="609803"/>
                  </a:lnTo>
                  <a:lnTo>
                    <a:pt x="317411" y="645172"/>
                  </a:lnTo>
                  <a:lnTo>
                    <a:pt x="296087" y="684796"/>
                  </a:lnTo>
                  <a:lnTo>
                    <a:pt x="281419" y="727976"/>
                  </a:lnTo>
                  <a:lnTo>
                    <a:pt x="274091" y="774065"/>
                  </a:lnTo>
                  <a:lnTo>
                    <a:pt x="266915" y="727824"/>
                  </a:lnTo>
                  <a:lnTo>
                    <a:pt x="252361" y="684453"/>
                  </a:lnTo>
                  <a:lnTo>
                    <a:pt x="231089"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51"/>
                  </a:lnTo>
                  <a:lnTo>
                    <a:pt x="66548" y="691388"/>
                  </a:lnTo>
                  <a:lnTo>
                    <a:pt x="99402" y="723557"/>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7ED3F1"/>
            </a:solidFill>
          </p:spPr>
          <p:txBody>
            <a:bodyPr wrap="square" lIns="0" tIns="0" rIns="0" bIns="0" rtlCol="0"/>
            <a:lstStyle/>
            <a:p>
              <a:endParaRPr dirty="0"/>
            </a:p>
          </p:txBody>
        </p:sp>
        <p:pic>
          <p:nvPicPr>
            <p:cNvPr id="518" name="object 279">
              <a:extLst>
                <a:ext uri="{FF2B5EF4-FFF2-40B4-BE49-F238E27FC236}">
                  <a16:creationId xmlns:a16="http://schemas.microsoft.com/office/drawing/2014/main" id="{B1A2E943-E400-8352-1EF9-D1A2546615FD}"/>
                </a:ext>
              </a:extLst>
            </p:cNvPr>
            <p:cNvPicPr/>
            <p:nvPr/>
          </p:nvPicPr>
          <p:blipFill>
            <a:blip r:embed="rId6" cstate="print"/>
            <a:stretch>
              <a:fillRect/>
            </a:stretch>
          </p:blipFill>
          <p:spPr>
            <a:xfrm>
              <a:off x="8481461" y="64269"/>
              <a:ext cx="106445" cy="107156"/>
            </a:xfrm>
            <a:prstGeom prst="rect">
              <a:avLst/>
            </a:prstGeom>
          </p:spPr>
        </p:pic>
        <p:sp>
          <p:nvSpPr>
            <p:cNvPr id="519" name="object 280">
              <a:extLst>
                <a:ext uri="{FF2B5EF4-FFF2-40B4-BE49-F238E27FC236}">
                  <a16:creationId xmlns:a16="http://schemas.microsoft.com/office/drawing/2014/main" id="{0E1CF17A-D384-B638-A4FF-975747358E68}"/>
                </a:ext>
              </a:extLst>
            </p:cNvPr>
            <p:cNvSpPr/>
            <p:nvPr/>
          </p:nvSpPr>
          <p:spPr>
            <a:xfrm>
              <a:off x="8368808" y="2112754"/>
              <a:ext cx="332700" cy="477101"/>
            </a:xfrm>
            <a:custGeom>
              <a:avLst/>
              <a:gdLst/>
              <a:ahLst/>
              <a:cxnLst/>
              <a:rect l="l" t="t" r="r" b="b"/>
              <a:pathLst>
                <a:path w="548640" h="786764">
                  <a:moveTo>
                    <a:pt x="548043" y="266611"/>
                  </a:moveTo>
                  <a:lnTo>
                    <a:pt x="500367" y="270649"/>
                  </a:lnTo>
                  <a:lnTo>
                    <a:pt x="455841" y="282308"/>
                  </a:lnTo>
                  <a:lnTo>
                    <a:pt x="414616" y="300901"/>
                  </a:lnTo>
                  <a:lnTo>
                    <a:pt x="377342" y="325780"/>
                  </a:lnTo>
                  <a:lnTo>
                    <a:pt x="344716"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74" y="516039"/>
                  </a:lnTo>
                  <a:lnTo>
                    <a:pt x="225044" y="528459"/>
                  </a:lnTo>
                  <a:lnTo>
                    <a:pt x="273519" y="532841"/>
                  </a:lnTo>
                  <a:lnTo>
                    <a:pt x="274751" y="532841"/>
                  </a:lnTo>
                  <a:lnTo>
                    <a:pt x="323088" y="528485"/>
                  </a:lnTo>
                  <a:lnTo>
                    <a:pt x="368642" y="516115"/>
                  </a:lnTo>
                  <a:lnTo>
                    <a:pt x="410679" y="496468"/>
                  </a:lnTo>
                  <a:lnTo>
                    <a:pt x="448462" y="470268"/>
                  </a:lnTo>
                  <a:lnTo>
                    <a:pt x="481266" y="438264"/>
                  </a:lnTo>
                  <a:lnTo>
                    <a:pt x="508355" y="401154"/>
                  </a:lnTo>
                  <a:lnTo>
                    <a:pt x="529005" y="359689"/>
                  </a:lnTo>
                  <a:lnTo>
                    <a:pt x="542467" y="314604"/>
                  </a:lnTo>
                  <a:lnTo>
                    <a:pt x="548043" y="266611"/>
                  </a:lnTo>
                  <a:close/>
                </a:path>
                <a:path w="548640" h="786764">
                  <a:moveTo>
                    <a:pt x="548043" y="1079"/>
                  </a:moveTo>
                  <a:lnTo>
                    <a:pt x="500367" y="5118"/>
                  </a:lnTo>
                  <a:lnTo>
                    <a:pt x="455841" y="16776"/>
                  </a:lnTo>
                  <a:lnTo>
                    <a:pt x="414616" y="35369"/>
                  </a:lnTo>
                  <a:lnTo>
                    <a:pt x="377342" y="60248"/>
                  </a:lnTo>
                  <a:lnTo>
                    <a:pt x="344716" y="90703"/>
                  </a:lnTo>
                  <a:lnTo>
                    <a:pt x="317411" y="126085"/>
                  </a:lnTo>
                  <a:lnTo>
                    <a:pt x="296087" y="165722"/>
                  </a:lnTo>
                  <a:lnTo>
                    <a:pt x="281419" y="208915"/>
                  </a:lnTo>
                  <a:lnTo>
                    <a:pt x="274091" y="255003"/>
                  </a:lnTo>
                  <a:lnTo>
                    <a:pt x="266915" y="208724"/>
                  </a:lnTo>
                  <a:lnTo>
                    <a:pt x="252361" y="165354"/>
                  </a:lnTo>
                  <a:lnTo>
                    <a:pt x="231089"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13"/>
                  </a:lnTo>
                  <a:lnTo>
                    <a:pt x="99402" y="204457"/>
                  </a:lnTo>
                  <a:lnTo>
                    <a:pt x="137248" y="230771"/>
                  </a:lnTo>
                  <a:lnTo>
                    <a:pt x="179374" y="250507"/>
                  </a:lnTo>
                  <a:lnTo>
                    <a:pt x="225044" y="262928"/>
                  </a:lnTo>
                  <a:lnTo>
                    <a:pt x="273519" y="267296"/>
                  </a:lnTo>
                  <a:lnTo>
                    <a:pt x="274751" y="267296"/>
                  </a:lnTo>
                  <a:lnTo>
                    <a:pt x="323088" y="262940"/>
                  </a:lnTo>
                  <a:lnTo>
                    <a:pt x="368642" y="250583"/>
                  </a:lnTo>
                  <a:lnTo>
                    <a:pt x="410679" y="230936"/>
                  </a:lnTo>
                  <a:lnTo>
                    <a:pt x="448462" y="204736"/>
                  </a:lnTo>
                  <a:lnTo>
                    <a:pt x="481266" y="172720"/>
                  </a:lnTo>
                  <a:lnTo>
                    <a:pt x="508355" y="135623"/>
                  </a:lnTo>
                  <a:lnTo>
                    <a:pt x="529005" y="94157"/>
                  </a:lnTo>
                  <a:lnTo>
                    <a:pt x="542467" y="49072"/>
                  </a:lnTo>
                  <a:lnTo>
                    <a:pt x="548043" y="1079"/>
                  </a:lnTo>
                  <a:close/>
                </a:path>
                <a:path w="548640" h="786764">
                  <a:moveTo>
                    <a:pt x="548093" y="520204"/>
                  </a:moveTo>
                  <a:lnTo>
                    <a:pt x="500367" y="524205"/>
                  </a:lnTo>
                  <a:lnTo>
                    <a:pt x="455841" y="535863"/>
                  </a:lnTo>
                  <a:lnTo>
                    <a:pt x="414616" y="554456"/>
                  </a:lnTo>
                  <a:lnTo>
                    <a:pt x="377342" y="579335"/>
                  </a:lnTo>
                  <a:lnTo>
                    <a:pt x="344716" y="609803"/>
                  </a:lnTo>
                  <a:lnTo>
                    <a:pt x="317411" y="645172"/>
                  </a:lnTo>
                  <a:lnTo>
                    <a:pt x="296087" y="684796"/>
                  </a:lnTo>
                  <a:lnTo>
                    <a:pt x="281419" y="727989"/>
                  </a:lnTo>
                  <a:lnTo>
                    <a:pt x="274091" y="774065"/>
                  </a:lnTo>
                  <a:lnTo>
                    <a:pt x="266915" y="727811"/>
                  </a:lnTo>
                  <a:lnTo>
                    <a:pt x="252361" y="684441"/>
                  </a:lnTo>
                  <a:lnTo>
                    <a:pt x="231089" y="644652"/>
                  </a:lnTo>
                  <a:lnTo>
                    <a:pt x="203796" y="609117"/>
                  </a:lnTo>
                  <a:lnTo>
                    <a:pt x="171157" y="578523"/>
                  </a:lnTo>
                  <a:lnTo>
                    <a:pt x="133845" y="553542"/>
                  </a:lnTo>
                  <a:lnTo>
                    <a:pt x="92532" y="534860"/>
                  </a:lnTo>
                  <a:lnTo>
                    <a:pt x="47917" y="523125"/>
                  </a:lnTo>
                  <a:lnTo>
                    <a:pt x="0" y="519099"/>
                  </a:lnTo>
                  <a:lnTo>
                    <a:pt x="5448" y="567258"/>
                  </a:lnTo>
                  <a:lnTo>
                    <a:pt x="18846" y="612521"/>
                  </a:lnTo>
                  <a:lnTo>
                    <a:pt x="39458" y="654138"/>
                  </a:lnTo>
                  <a:lnTo>
                    <a:pt x="66548" y="691400"/>
                  </a:lnTo>
                  <a:lnTo>
                    <a:pt x="99390" y="72354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2DB7EA"/>
            </a:solidFill>
          </p:spPr>
          <p:txBody>
            <a:bodyPr wrap="square" lIns="0" tIns="0" rIns="0" bIns="0" rtlCol="0"/>
            <a:lstStyle/>
            <a:p>
              <a:endParaRPr dirty="0"/>
            </a:p>
          </p:txBody>
        </p:sp>
        <p:pic>
          <p:nvPicPr>
            <p:cNvPr id="520" name="object 281">
              <a:extLst>
                <a:ext uri="{FF2B5EF4-FFF2-40B4-BE49-F238E27FC236}">
                  <a16:creationId xmlns:a16="http://schemas.microsoft.com/office/drawing/2014/main" id="{EF30E878-DE31-5D7A-C957-A3E19BB14309}"/>
                </a:ext>
              </a:extLst>
            </p:cNvPr>
            <p:cNvPicPr/>
            <p:nvPr/>
          </p:nvPicPr>
          <p:blipFill>
            <a:blip r:embed="rId5" cstate="print"/>
            <a:stretch>
              <a:fillRect/>
            </a:stretch>
          </p:blipFill>
          <p:spPr>
            <a:xfrm>
              <a:off x="8481461" y="2026765"/>
              <a:ext cx="106445" cy="107156"/>
            </a:xfrm>
            <a:prstGeom prst="rect">
              <a:avLst/>
            </a:prstGeom>
          </p:spPr>
        </p:pic>
        <p:sp>
          <p:nvSpPr>
            <p:cNvPr id="521" name="object 282">
              <a:extLst>
                <a:ext uri="{FF2B5EF4-FFF2-40B4-BE49-F238E27FC236}">
                  <a16:creationId xmlns:a16="http://schemas.microsoft.com/office/drawing/2014/main" id="{92E61334-ED15-0A55-8131-3B8C6EFE679F}"/>
                </a:ext>
              </a:extLst>
            </p:cNvPr>
            <p:cNvSpPr/>
            <p:nvPr/>
          </p:nvSpPr>
          <p:spPr>
            <a:xfrm>
              <a:off x="8368808" y="1458591"/>
              <a:ext cx="332700" cy="477101"/>
            </a:xfrm>
            <a:custGeom>
              <a:avLst/>
              <a:gdLst/>
              <a:ahLst/>
              <a:cxnLst/>
              <a:rect l="l" t="t" r="r" b="b"/>
              <a:pathLst>
                <a:path w="548640" h="786764">
                  <a:moveTo>
                    <a:pt x="548043" y="266611"/>
                  </a:moveTo>
                  <a:lnTo>
                    <a:pt x="500367" y="270649"/>
                  </a:lnTo>
                  <a:lnTo>
                    <a:pt x="455841" y="282295"/>
                  </a:lnTo>
                  <a:lnTo>
                    <a:pt x="414616" y="300901"/>
                  </a:lnTo>
                  <a:lnTo>
                    <a:pt x="377342" y="325767"/>
                  </a:lnTo>
                  <a:lnTo>
                    <a:pt x="344716" y="356235"/>
                  </a:lnTo>
                  <a:lnTo>
                    <a:pt x="317411" y="391617"/>
                  </a:lnTo>
                  <a:lnTo>
                    <a:pt x="296087" y="431241"/>
                  </a:lnTo>
                  <a:lnTo>
                    <a:pt x="281419" y="474446"/>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26"/>
                  </a:lnTo>
                  <a:lnTo>
                    <a:pt x="225044" y="528459"/>
                  </a:lnTo>
                  <a:lnTo>
                    <a:pt x="273519" y="532828"/>
                  </a:lnTo>
                  <a:lnTo>
                    <a:pt x="274751" y="532828"/>
                  </a:lnTo>
                  <a:lnTo>
                    <a:pt x="323088" y="528472"/>
                  </a:lnTo>
                  <a:lnTo>
                    <a:pt x="368642" y="516102"/>
                  </a:lnTo>
                  <a:lnTo>
                    <a:pt x="410679" y="496468"/>
                  </a:lnTo>
                  <a:lnTo>
                    <a:pt x="448462" y="470268"/>
                  </a:lnTo>
                  <a:lnTo>
                    <a:pt x="481266" y="438251"/>
                  </a:lnTo>
                  <a:lnTo>
                    <a:pt x="508355" y="401154"/>
                  </a:lnTo>
                  <a:lnTo>
                    <a:pt x="529005" y="359689"/>
                  </a:lnTo>
                  <a:lnTo>
                    <a:pt x="542467" y="314604"/>
                  </a:lnTo>
                  <a:lnTo>
                    <a:pt x="548043" y="266611"/>
                  </a:lnTo>
                  <a:close/>
                </a:path>
                <a:path w="548640" h="786764">
                  <a:moveTo>
                    <a:pt x="548043" y="1079"/>
                  </a:moveTo>
                  <a:lnTo>
                    <a:pt x="500367" y="5105"/>
                  </a:lnTo>
                  <a:lnTo>
                    <a:pt x="455841" y="16764"/>
                  </a:lnTo>
                  <a:lnTo>
                    <a:pt x="414616" y="35369"/>
                  </a:lnTo>
                  <a:lnTo>
                    <a:pt x="377342" y="60236"/>
                  </a:lnTo>
                  <a:lnTo>
                    <a:pt x="344716"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67" y="49060"/>
                  </a:lnTo>
                  <a:lnTo>
                    <a:pt x="548043" y="1079"/>
                  </a:lnTo>
                  <a:close/>
                </a:path>
                <a:path w="548640" h="786764">
                  <a:moveTo>
                    <a:pt x="548093" y="520192"/>
                  </a:moveTo>
                  <a:lnTo>
                    <a:pt x="500367" y="524205"/>
                  </a:lnTo>
                  <a:lnTo>
                    <a:pt x="455841" y="535863"/>
                  </a:lnTo>
                  <a:lnTo>
                    <a:pt x="414616" y="554456"/>
                  </a:lnTo>
                  <a:lnTo>
                    <a:pt x="377342" y="579335"/>
                  </a:lnTo>
                  <a:lnTo>
                    <a:pt x="344716" y="609790"/>
                  </a:lnTo>
                  <a:lnTo>
                    <a:pt x="317411" y="645172"/>
                  </a:lnTo>
                  <a:lnTo>
                    <a:pt x="296087" y="684784"/>
                  </a:lnTo>
                  <a:lnTo>
                    <a:pt x="281419" y="727976"/>
                  </a:lnTo>
                  <a:lnTo>
                    <a:pt x="274091" y="774065"/>
                  </a:lnTo>
                  <a:lnTo>
                    <a:pt x="266915" y="727811"/>
                  </a:lnTo>
                  <a:lnTo>
                    <a:pt x="252361" y="684441"/>
                  </a:lnTo>
                  <a:lnTo>
                    <a:pt x="231089" y="644652"/>
                  </a:lnTo>
                  <a:lnTo>
                    <a:pt x="203796" y="609117"/>
                  </a:lnTo>
                  <a:lnTo>
                    <a:pt x="171157" y="578510"/>
                  </a:lnTo>
                  <a:lnTo>
                    <a:pt x="133845" y="553529"/>
                  </a:lnTo>
                  <a:lnTo>
                    <a:pt x="92532" y="534847"/>
                  </a:lnTo>
                  <a:lnTo>
                    <a:pt x="47917" y="523138"/>
                  </a:lnTo>
                  <a:lnTo>
                    <a:pt x="0" y="519061"/>
                  </a:lnTo>
                  <a:lnTo>
                    <a:pt x="5448" y="567245"/>
                  </a:lnTo>
                  <a:lnTo>
                    <a:pt x="18846" y="612508"/>
                  </a:lnTo>
                  <a:lnTo>
                    <a:pt x="39458" y="654138"/>
                  </a:lnTo>
                  <a:lnTo>
                    <a:pt x="66548" y="691388"/>
                  </a:lnTo>
                  <a:lnTo>
                    <a:pt x="67246" y="692073"/>
                  </a:lnTo>
                  <a:lnTo>
                    <a:pt x="99390" y="723544"/>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81266" y="691807"/>
                  </a:lnTo>
                  <a:lnTo>
                    <a:pt x="508393" y="654697"/>
                  </a:lnTo>
                  <a:lnTo>
                    <a:pt x="529043" y="613244"/>
                  </a:lnTo>
                  <a:lnTo>
                    <a:pt x="542518" y="568172"/>
                  </a:lnTo>
                  <a:lnTo>
                    <a:pt x="548093" y="520192"/>
                  </a:lnTo>
                  <a:close/>
                </a:path>
              </a:pathLst>
            </a:custGeom>
            <a:solidFill>
              <a:srgbClr val="7ED3F1"/>
            </a:solidFill>
          </p:spPr>
          <p:txBody>
            <a:bodyPr wrap="square" lIns="0" tIns="0" rIns="0" bIns="0" rtlCol="0"/>
            <a:lstStyle/>
            <a:p>
              <a:endParaRPr dirty="0"/>
            </a:p>
          </p:txBody>
        </p:sp>
        <p:pic>
          <p:nvPicPr>
            <p:cNvPr id="522" name="object 283">
              <a:extLst>
                <a:ext uri="{FF2B5EF4-FFF2-40B4-BE49-F238E27FC236}">
                  <a16:creationId xmlns:a16="http://schemas.microsoft.com/office/drawing/2014/main" id="{F10DAD71-CBA4-67A4-E457-5585631BFE0F}"/>
                </a:ext>
              </a:extLst>
            </p:cNvPr>
            <p:cNvPicPr/>
            <p:nvPr/>
          </p:nvPicPr>
          <p:blipFill>
            <a:blip r:embed="rId6" cstate="print"/>
            <a:stretch>
              <a:fillRect/>
            </a:stretch>
          </p:blipFill>
          <p:spPr>
            <a:xfrm>
              <a:off x="8481461" y="1372599"/>
              <a:ext cx="106445" cy="107156"/>
            </a:xfrm>
            <a:prstGeom prst="rect">
              <a:avLst/>
            </a:prstGeom>
          </p:spPr>
        </p:pic>
        <p:sp>
          <p:nvSpPr>
            <p:cNvPr id="523" name="object 284">
              <a:extLst>
                <a:ext uri="{FF2B5EF4-FFF2-40B4-BE49-F238E27FC236}">
                  <a16:creationId xmlns:a16="http://schemas.microsoft.com/office/drawing/2014/main" id="{496E3962-8F0A-1E8E-CB97-058BB652B032}"/>
                </a:ext>
              </a:extLst>
            </p:cNvPr>
            <p:cNvSpPr/>
            <p:nvPr/>
          </p:nvSpPr>
          <p:spPr>
            <a:xfrm>
              <a:off x="8368808" y="3421088"/>
              <a:ext cx="332700" cy="477101"/>
            </a:xfrm>
            <a:custGeom>
              <a:avLst/>
              <a:gdLst/>
              <a:ahLst/>
              <a:cxnLst/>
              <a:rect l="l" t="t" r="r" b="b"/>
              <a:pathLst>
                <a:path w="548640" h="786764">
                  <a:moveTo>
                    <a:pt x="548043" y="266611"/>
                  </a:moveTo>
                  <a:lnTo>
                    <a:pt x="500367" y="270637"/>
                  </a:lnTo>
                  <a:lnTo>
                    <a:pt x="455841" y="282295"/>
                  </a:lnTo>
                  <a:lnTo>
                    <a:pt x="414616" y="300901"/>
                  </a:lnTo>
                  <a:lnTo>
                    <a:pt x="377342" y="325767"/>
                  </a:lnTo>
                  <a:lnTo>
                    <a:pt x="344716" y="356235"/>
                  </a:lnTo>
                  <a:lnTo>
                    <a:pt x="317411" y="391617"/>
                  </a:lnTo>
                  <a:lnTo>
                    <a:pt x="296087" y="431241"/>
                  </a:lnTo>
                  <a:lnTo>
                    <a:pt x="281419" y="474433"/>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55"/>
                  </a:lnTo>
                  <a:lnTo>
                    <a:pt x="481266" y="438251"/>
                  </a:lnTo>
                  <a:lnTo>
                    <a:pt x="508355" y="401142"/>
                  </a:lnTo>
                  <a:lnTo>
                    <a:pt x="529005" y="359689"/>
                  </a:lnTo>
                  <a:lnTo>
                    <a:pt x="542467" y="314591"/>
                  </a:lnTo>
                  <a:lnTo>
                    <a:pt x="548043" y="266611"/>
                  </a:lnTo>
                  <a:close/>
                </a:path>
                <a:path w="548640" h="786764">
                  <a:moveTo>
                    <a:pt x="548043" y="1079"/>
                  </a:moveTo>
                  <a:lnTo>
                    <a:pt x="500367" y="5118"/>
                  </a:lnTo>
                  <a:lnTo>
                    <a:pt x="455841" y="16764"/>
                  </a:lnTo>
                  <a:lnTo>
                    <a:pt x="414616" y="35369"/>
                  </a:lnTo>
                  <a:lnTo>
                    <a:pt x="377342" y="60236"/>
                  </a:lnTo>
                  <a:lnTo>
                    <a:pt x="344716" y="90703"/>
                  </a:lnTo>
                  <a:lnTo>
                    <a:pt x="317411" y="126085"/>
                  </a:lnTo>
                  <a:lnTo>
                    <a:pt x="296087" y="165709"/>
                  </a:lnTo>
                  <a:lnTo>
                    <a:pt x="281419" y="208915"/>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67" y="49072"/>
                  </a:lnTo>
                  <a:lnTo>
                    <a:pt x="548043" y="1079"/>
                  </a:lnTo>
                  <a:close/>
                </a:path>
                <a:path w="548640" h="786764">
                  <a:moveTo>
                    <a:pt x="548093" y="520192"/>
                  </a:moveTo>
                  <a:lnTo>
                    <a:pt x="500367" y="524217"/>
                  </a:lnTo>
                  <a:lnTo>
                    <a:pt x="455841" y="535863"/>
                  </a:lnTo>
                  <a:lnTo>
                    <a:pt x="414616" y="554469"/>
                  </a:lnTo>
                  <a:lnTo>
                    <a:pt x="377342" y="579335"/>
                  </a:lnTo>
                  <a:lnTo>
                    <a:pt x="344716" y="609790"/>
                  </a:lnTo>
                  <a:lnTo>
                    <a:pt x="317411" y="645172"/>
                  </a:lnTo>
                  <a:lnTo>
                    <a:pt x="296087" y="684784"/>
                  </a:lnTo>
                  <a:lnTo>
                    <a:pt x="281419" y="727976"/>
                  </a:lnTo>
                  <a:lnTo>
                    <a:pt x="274091" y="774065"/>
                  </a:lnTo>
                  <a:lnTo>
                    <a:pt x="266915" y="727811"/>
                  </a:lnTo>
                  <a:lnTo>
                    <a:pt x="252361" y="684441"/>
                  </a:lnTo>
                  <a:lnTo>
                    <a:pt x="231089" y="644652"/>
                  </a:lnTo>
                  <a:lnTo>
                    <a:pt x="203796" y="609117"/>
                  </a:lnTo>
                  <a:lnTo>
                    <a:pt x="171157" y="578510"/>
                  </a:lnTo>
                  <a:lnTo>
                    <a:pt x="133845" y="553529"/>
                  </a:lnTo>
                  <a:lnTo>
                    <a:pt x="92532" y="534847"/>
                  </a:lnTo>
                  <a:lnTo>
                    <a:pt x="47917" y="523138"/>
                  </a:lnTo>
                  <a:lnTo>
                    <a:pt x="0" y="519061"/>
                  </a:lnTo>
                  <a:lnTo>
                    <a:pt x="5448" y="567245"/>
                  </a:lnTo>
                  <a:lnTo>
                    <a:pt x="18846" y="612508"/>
                  </a:lnTo>
                  <a:lnTo>
                    <a:pt x="39458" y="654138"/>
                  </a:lnTo>
                  <a:lnTo>
                    <a:pt x="66548" y="691388"/>
                  </a:lnTo>
                  <a:lnTo>
                    <a:pt x="99402" y="723544"/>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79691" y="693356"/>
                  </a:lnTo>
                  <a:lnTo>
                    <a:pt x="481266" y="691819"/>
                  </a:lnTo>
                  <a:lnTo>
                    <a:pt x="508393" y="654697"/>
                  </a:lnTo>
                  <a:lnTo>
                    <a:pt x="529043" y="613244"/>
                  </a:lnTo>
                  <a:lnTo>
                    <a:pt x="542518" y="568172"/>
                  </a:lnTo>
                  <a:lnTo>
                    <a:pt x="548093" y="520192"/>
                  </a:lnTo>
                  <a:close/>
                </a:path>
              </a:pathLst>
            </a:custGeom>
            <a:solidFill>
              <a:srgbClr val="2DB7EA"/>
            </a:solidFill>
          </p:spPr>
          <p:txBody>
            <a:bodyPr wrap="square" lIns="0" tIns="0" rIns="0" bIns="0" rtlCol="0"/>
            <a:lstStyle/>
            <a:p>
              <a:endParaRPr dirty="0"/>
            </a:p>
          </p:txBody>
        </p:sp>
        <p:pic>
          <p:nvPicPr>
            <p:cNvPr id="524" name="object 285">
              <a:extLst>
                <a:ext uri="{FF2B5EF4-FFF2-40B4-BE49-F238E27FC236}">
                  <a16:creationId xmlns:a16="http://schemas.microsoft.com/office/drawing/2014/main" id="{8A4AAAF5-608F-9276-B586-00A02E7E6A45}"/>
                </a:ext>
              </a:extLst>
            </p:cNvPr>
            <p:cNvPicPr/>
            <p:nvPr/>
          </p:nvPicPr>
          <p:blipFill>
            <a:blip r:embed="rId5" cstate="print"/>
            <a:stretch>
              <a:fillRect/>
            </a:stretch>
          </p:blipFill>
          <p:spPr>
            <a:xfrm>
              <a:off x="8481461" y="3335097"/>
              <a:ext cx="106445" cy="107156"/>
            </a:xfrm>
            <a:prstGeom prst="rect">
              <a:avLst/>
            </a:prstGeom>
          </p:spPr>
        </p:pic>
        <p:sp>
          <p:nvSpPr>
            <p:cNvPr id="525" name="object 286">
              <a:extLst>
                <a:ext uri="{FF2B5EF4-FFF2-40B4-BE49-F238E27FC236}">
                  <a16:creationId xmlns:a16="http://schemas.microsoft.com/office/drawing/2014/main" id="{50AE9F3A-345C-0F98-27D5-11F1DB6A833B}"/>
                </a:ext>
              </a:extLst>
            </p:cNvPr>
            <p:cNvSpPr/>
            <p:nvPr/>
          </p:nvSpPr>
          <p:spPr>
            <a:xfrm>
              <a:off x="8368808" y="2766918"/>
              <a:ext cx="332700" cy="477101"/>
            </a:xfrm>
            <a:custGeom>
              <a:avLst/>
              <a:gdLst/>
              <a:ahLst/>
              <a:cxnLst/>
              <a:rect l="l" t="t" r="r" b="b"/>
              <a:pathLst>
                <a:path w="548640" h="786764">
                  <a:moveTo>
                    <a:pt x="548043" y="266611"/>
                  </a:moveTo>
                  <a:lnTo>
                    <a:pt x="500367" y="270649"/>
                  </a:lnTo>
                  <a:lnTo>
                    <a:pt x="455841" y="282308"/>
                  </a:lnTo>
                  <a:lnTo>
                    <a:pt x="414616" y="300901"/>
                  </a:lnTo>
                  <a:lnTo>
                    <a:pt x="377342" y="325780"/>
                  </a:lnTo>
                  <a:lnTo>
                    <a:pt x="344716"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74" y="516039"/>
                  </a:lnTo>
                  <a:lnTo>
                    <a:pt x="225044" y="528459"/>
                  </a:lnTo>
                  <a:lnTo>
                    <a:pt x="273519" y="532841"/>
                  </a:lnTo>
                  <a:lnTo>
                    <a:pt x="274751" y="532841"/>
                  </a:lnTo>
                  <a:lnTo>
                    <a:pt x="323088" y="528485"/>
                  </a:lnTo>
                  <a:lnTo>
                    <a:pt x="368642" y="516115"/>
                  </a:lnTo>
                  <a:lnTo>
                    <a:pt x="410679" y="496468"/>
                  </a:lnTo>
                  <a:lnTo>
                    <a:pt x="448462" y="470268"/>
                  </a:lnTo>
                  <a:lnTo>
                    <a:pt x="481266" y="438264"/>
                  </a:lnTo>
                  <a:lnTo>
                    <a:pt x="508355" y="401154"/>
                  </a:lnTo>
                  <a:lnTo>
                    <a:pt x="529005" y="359689"/>
                  </a:lnTo>
                  <a:lnTo>
                    <a:pt x="542467" y="314604"/>
                  </a:lnTo>
                  <a:lnTo>
                    <a:pt x="548043" y="266611"/>
                  </a:lnTo>
                  <a:close/>
                </a:path>
                <a:path w="548640" h="786764">
                  <a:moveTo>
                    <a:pt x="548043" y="1079"/>
                  </a:moveTo>
                  <a:lnTo>
                    <a:pt x="500367" y="5118"/>
                  </a:lnTo>
                  <a:lnTo>
                    <a:pt x="455841" y="16776"/>
                  </a:lnTo>
                  <a:lnTo>
                    <a:pt x="414616" y="35369"/>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49"/>
                  </a:lnTo>
                  <a:lnTo>
                    <a:pt x="481266" y="172732"/>
                  </a:lnTo>
                  <a:lnTo>
                    <a:pt x="508355" y="135623"/>
                  </a:lnTo>
                  <a:lnTo>
                    <a:pt x="529005" y="94157"/>
                  </a:lnTo>
                  <a:lnTo>
                    <a:pt x="542467" y="49072"/>
                  </a:lnTo>
                  <a:lnTo>
                    <a:pt x="548043" y="1079"/>
                  </a:lnTo>
                  <a:close/>
                </a:path>
                <a:path w="548640" h="786764">
                  <a:moveTo>
                    <a:pt x="548093" y="520204"/>
                  </a:moveTo>
                  <a:lnTo>
                    <a:pt x="500367" y="524205"/>
                  </a:lnTo>
                  <a:lnTo>
                    <a:pt x="455841" y="535863"/>
                  </a:lnTo>
                  <a:lnTo>
                    <a:pt x="414616" y="554469"/>
                  </a:lnTo>
                  <a:lnTo>
                    <a:pt x="377342" y="579335"/>
                  </a:lnTo>
                  <a:lnTo>
                    <a:pt x="344716" y="609803"/>
                  </a:lnTo>
                  <a:lnTo>
                    <a:pt x="317411" y="645172"/>
                  </a:lnTo>
                  <a:lnTo>
                    <a:pt x="296087" y="684796"/>
                  </a:lnTo>
                  <a:lnTo>
                    <a:pt x="281419" y="727989"/>
                  </a:lnTo>
                  <a:lnTo>
                    <a:pt x="274091" y="774065"/>
                  </a:lnTo>
                  <a:lnTo>
                    <a:pt x="266915" y="727824"/>
                  </a:lnTo>
                  <a:lnTo>
                    <a:pt x="252361" y="684453"/>
                  </a:lnTo>
                  <a:lnTo>
                    <a:pt x="231089"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51"/>
                  </a:lnTo>
                  <a:lnTo>
                    <a:pt x="66548" y="691400"/>
                  </a:lnTo>
                  <a:lnTo>
                    <a:pt x="98704" y="72288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7ED3F1"/>
            </a:solidFill>
          </p:spPr>
          <p:txBody>
            <a:bodyPr wrap="square" lIns="0" tIns="0" rIns="0" bIns="0" rtlCol="0"/>
            <a:lstStyle/>
            <a:p>
              <a:endParaRPr dirty="0"/>
            </a:p>
          </p:txBody>
        </p:sp>
        <p:pic>
          <p:nvPicPr>
            <p:cNvPr id="526" name="object 287">
              <a:extLst>
                <a:ext uri="{FF2B5EF4-FFF2-40B4-BE49-F238E27FC236}">
                  <a16:creationId xmlns:a16="http://schemas.microsoft.com/office/drawing/2014/main" id="{D16E6EE1-ACF3-27D4-2B17-A4D024538C7E}"/>
                </a:ext>
              </a:extLst>
            </p:cNvPr>
            <p:cNvPicPr/>
            <p:nvPr/>
          </p:nvPicPr>
          <p:blipFill>
            <a:blip r:embed="rId6" cstate="print"/>
            <a:stretch>
              <a:fillRect/>
            </a:stretch>
          </p:blipFill>
          <p:spPr>
            <a:xfrm>
              <a:off x="8481461" y="2680931"/>
              <a:ext cx="106445" cy="107156"/>
            </a:xfrm>
            <a:prstGeom prst="rect">
              <a:avLst/>
            </a:prstGeom>
          </p:spPr>
        </p:pic>
        <p:sp>
          <p:nvSpPr>
            <p:cNvPr id="527" name="object 288">
              <a:extLst>
                <a:ext uri="{FF2B5EF4-FFF2-40B4-BE49-F238E27FC236}">
                  <a16:creationId xmlns:a16="http://schemas.microsoft.com/office/drawing/2014/main" id="{BECF8840-23CE-8B73-DF66-AEDCF8CD52F4}"/>
                </a:ext>
              </a:extLst>
            </p:cNvPr>
            <p:cNvSpPr/>
            <p:nvPr/>
          </p:nvSpPr>
          <p:spPr>
            <a:xfrm>
              <a:off x="8368808" y="4729423"/>
              <a:ext cx="332700" cy="477101"/>
            </a:xfrm>
            <a:custGeom>
              <a:avLst/>
              <a:gdLst/>
              <a:ahLst/>
              <a:cxnLst/>
              <a:rect l="l" t="t" r="r" b="b"/>
              <a:pathLst>
                <a:path w="548640" h="786765">
                  <a:moveTo>
                    <a:pt x="548043" y="266611"/>
                  </a:moveTo>
                  <a:lnTo>
                    <a:pt x="500367" y="270649"/>
                  </a:lnTo>
                  <a:lnTo>
                    <a:pt x="455841" y="282308"/>
                  </a:lnTo>
                  <a:lnTo>
                    <a:pt x="414616" y="300901"/>
                  </a:lnTo>
                  <a:lnTo>
                    <a:pt x="377342" y="325767"/>
                  </a:lnTo>
                  <a:lnTo>
                    <a:pt x="344716" y="356235"/>
                  </a:lnTo>
                  <a:lnTo>
                    <a:pt x="317411" y="391617"/>
                  </a:lnTo>
                  <a:lnTo>
                    <a:pt x="296087" y="431241"/>
                  </a:lnTo>
                  <a:lnTo>
                    <a:pt x="281419" y="474433"/>
                  </a:lnTo>
                  <a:lnTo>
                    <a:pt x="274091" y="520522"/>
                  </a:lnTo>
                  <a:lnTo>
                    <a:pt x="266915" y="474243"/>
                  </a:lnTo>
                  <a:lnTo>
                    <a:pt x="252361" y="430872"/>
                  </a:lnTo>
                  <a:lnTo>
                    <a:pt x="231089" y="391083"/>
                  </a:lnTo>
                  <a:lnTo>
                    <a:pt x="203796" y="355549"/>
                  </a:lnTo>
                  <a:lnTo>
                    <a:pt x="171157" y="324954"/>
                  </a:lnTo>
                  <a:lnTo>
                    <a:pt x="133845" y="299974"/>
                  </a:lnTo>
                  <a:lnTo>
                    <a:pt x="92532" y="281292"/>
                  </a:lnTo>
                  <a:lnTo>
                    <a:pt x="47917" y="269582"/>
                  </a:lnTo>
                  <a:lnTo>
                    <a:pt x="0" y="265518"/>
                  </a:lnTo>
                  <a:lnTo>
                    <a:pt x="5448" y="313690"/>
                  </a:lnTo>
                  <a:lnTo>
                    <a:pt x="18846" y="358952"/>
                  </a:lnTo>
                  <a:lnTo>
                    <a:pt x="39458" y="400570"/>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54"/>
                  </a:lnTo>
                  <a:lnTo>
                    <a:pt x="529005" y="359689"/>
                  </a:lnTo>
                  <a:lnTo>
                    <a:pt x="542467" y="314604"/>
                  </a:lnTo>
                  <a:lnTo>
                    <a:pt x="548043" y="266611"/>
                  </a:lnTo>
                  <a:close/>
                </a:path>
                <a:path w="548640" h="786765">
                  <a:moveTo>
                    <a:pt x="548043" y="1079"/>
                  </a:moveTo>
                  <a:lnTo>
                    <a:pt x="500367" y="5105"/>
                  </a:lnTo>
                  <a:lnTo>
                    <a:pt x="455841" y="16764"/>
                  </a:lnTo>
                  <a:lnTo>
                    <a:pt x="414616" y="35369"/>
                  </a:lnTo>
                  <a:lnTo>
                    <a:pt x="377342" y="60236"/>
                  </a:lnTo>
                  <a:lnTo>
                    <a:pt x="344716"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39"/>
                  </a:lnTo>
                  <a:lnTo>
                    <a:pt x="66560" y="172300"/>
                  </a:lnTo>
                  <a:lnTo>
                    <a:pt x="99402" y="204444"/>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24"/>
                  </a:lnTo>
                  <a:lnTo>
                    <a:pt x="481266" y="172720"/>
                  </a:lnTo>
                  <a:lnTo>
                    <a:pt x="508355" y="135610"/>
                  </a:lnTo>
                  <a:lnTo>
                    <a:pt x="529005" y="94157"/>
                  </a:lnTo>
                  <a:lnTo>
                    <a:pt x="542467" y="49060"/>
                  </a:lnTo>
                  <a:lnTo>
                    <a:pt x="548043" y="1079"/>
                  </a:lnTo>
                  <a:close/>
                </a:path>
                <a:path w="548640" h="786765">
                  <a:moveTo>
                    <a:pt x="548093" y="520192"/>
                  </a:moveTo>
                  <a:lnTo>
                    <a:pt x="500367" y="524205"/>
                  </a:lnTo>
                  <a:lnTo>
                    <a:pt x="455841" y="535863"/>
                  </a:lnTo>
                  <a:lnTo>
                    <a:pt x="414616" y="554469"/>
                  </a:lnTo>
                  <a:lnTo>
                    <a:pt x="377342" y="579335"/>
                  </a:lnTo>
                  <a:lnTo>
                    <a:pt x="344716" y="609790"/>
                  </a:lnTo>
                  <a:lnTo>
                    <a:pt x="317411" y="645160"/>
                  </a:lnTo>
                  <a:lnTo>
                    <a:pt x="296087" y="684784"/>
                  </a:lnTo>
                  <a:lnTo>
                    <a:pt x="281419" y="727976"/>
                  </a:lnTo>
                  <a:lnTo>
                    <a:pt x="274091" y="774065"/>
                  </a:lnTo>
                  <a:lnTo>
                    <a:pt x="266915" y="727811"/>
                  </a:lnTo>
                  <a:lnTo>
                    <a:pt x="252361" y="684441"/>
                  </a:lnTo>
                  <a:lnTo>
                    <a:pt x="231089" y="644639"/>
                  </a:lnTo>
                  <a:lnTo>
                    <a:pt x="203796" y="609104"/>
                  </a:lnTo>
                  <a:lnTo>
                    <a:pt x="171157" y="578510"/>
                  </a:lnTo>
                  <a:lnTo>
                    <a:pt x="133845" y="553529"/>
                  </a:lnTo>
                  <a:lnTo>
                    <a:pt x="92532" y="534847"/>
                  </a:lnTo>
                  <a:lnTo>
                    <a:pt x="47917" y="523113"/>
                  </a:lnTo>
                  <a:lnTo>
                    <a:pt x="0" y="519061"/>
                  </a:lnTo>
                  <a:lnTo>
                    <a:pt x="5448" y="567245"/>
                  </a:lnTo>
                  <a:lnTo>
                    <a:pt x="18846" y="612508"/>
                  </a:lnTo>
                  <a:lnTo>
                    <a:pt x="39458" y="654138"/>
                  </a:lnTo>
                  <a:lnTo>
                    <a:pt x="66548" y="691388"/>
                  </a:lnTo>
                  <a:lnTo>
                    <a:pt x="98704" y="722871"/>
                  </a:lnTo>
                  <a:lnTo>
                    <a:pt x="137248" y="749858"/>
                  </a:lnTo>
                  <a:lnTo>
                    <a:pt x="179374" y="769581"/>
                  </a:lnTo>
                  <a:lnTo>
                    <a:pt x="225044" y="782015"/>
                  </a:lnTo>
                  <a:lnTo>
                    <a:pt x="273519" y="786384"/>
                  </a:lnTo>
                  <a:lnTo>
                    <a:pt x="274751" y="786384"/>
                  </a:lnTo>
                  <a:lnTo>
                    <a:pt x="323088" y="782027"/>
                  </a:lnTo>
                  <a:lnTo>
                    <a:pt x="368642" y="769670"/>
                  </a:lnTo>
                  <a:lnTo>
                    <a:pt x="410679" y="750023"/>
                  </a:lnTo>
                  <a:lnTo>
                    <a:pt x="448462" y="723823"/>
                  </a:lnTo>
                  <a:lnTo>
                    <a:pt x="481266" y="691807"/>
                  </a:lnTo>
                  <a:lnTo>
                    <a:pt x="508393" y="654697"/>
                  </a:lnTo>
                  <a:lnTo>
                    <a:pt x="529043" y="613244"/>
                  </a:lnTo>
                  <a:lnTo>
                    <a:pt x="542518" y="568172"/>
                  </a:lnTo>
                  <a:lnTo>
                    <a:pt x="548093" y="520192"/>
                  </a:lnTo>
                  <a:close/>
                </a:path>
              </a:pathLst>
            </a:custGeom>
            <a:solidFill>
              <a:srgbClr val="2DB7EA"/>
            </a:solidFill>
          </p:spPr>
          <p:txBody>
            <a:bodyPr wrap="square" lIns="0" tIns="0" rIns="0" bIns="0" rtlCol="0"/>
            <a:lstStyle/>
            <a:p>
              <a:endParaRPr dirty="0"/>
            </a:p>
          </p:txBody>
        </p:sp>
        <p:pic>
          <p:nvPicPr>
            <p:cNvPr id="528" name="object 289">
              <a:extLst>
                <a:ext uri="{FF2B5EF4-FFF2-40B4-BE49-F238E27FC236}">
                  <a16:creationId xmlns:a16="http://schemas.microsoft.com/office/drawing/2014/main" id="{05FBB54E-3172-9F79-9CC4-53D2F69F1B54}"/>
                </a:ext>
              </a:extLst>
            </p:cNvPr>
            <p:cNvPicPr/>
            <p:nvPr/>
          </p:nvPicPr>
          <p:blipFill>
            <a:blip r:embed="rId5" cstate="print"/>
            <a:stretch>
              <a:fillRect/>
            </a:stretch>
          </p:blipFill>
          <p:spPr>
            <a:xfrm>
              <a:off x="8481461" y="4643430"/>
              <a:ext cx="106445" cy="107156"/>
            </a:xfrm>
            <a:prstGeom prst="rect">
              <a:avLst/>
            </a:prstGeom>
          </p:spPr>
        </p:pic>
        <p:sp>
          <p:nvSpPr>
            <p:cNvPr id="529" name="object 290">
              <a:extLst>
                <a:ext uri="{FF2B5EF4-FFF2-40B4-BE49-F238E27FC236}">
                  <a16:creationId xmlns:a16="http://schemas.microsoft.com/office/drawing/2014/main" id="{DAC6C5AF-7C3F-43FE-C784-C8176E31DD25}"/>
                </a:ext>
              </a:extLst>
            </p:cNvPr>
            <p:cNvSpPr/>
            <p:nvPr/>
          </p:nvSpPr>
          <p:spPr>
            <a:xfrm>
              <a:off x="8368808" y="4075252"/>
              <a:ext cx="332700" cy="477101"/>
            </a:xfrm>
            <a:custGeom>
              <a:avLst/>
              <a:gdLst/>
              <a:ahLst/>
              <a:cxnLst/>
              <a:rect l="l" t="t" r="r" b="b"/>
              <a:pathLst>
                <a:path w="548640" h="786765">
                  <a:moveTo>
                    <a:pt x="548043" y="266623"/>
                  </a:moveTo>
                  <a:lnTo>
                    <a:pt x="500367" y="270662"/>
                  </a:lnTo>
                  <a:lnTo>
                    <a:pt x="455841" y="282308"/>
                  </a:lnTo>
                  <a:lnTo>
                    <a:pt x="414616" y="300913"/>
                  </a:lnTo>
                  <a:lnTo>
                    <a:pt x="377342" y="325780"/>
                  </a:lnTo>
                  <a:lnTo>
                    <a:pt x="344716"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39"/>
                  </a:lnTo>
                  <a:lnTo>
                    <a:pt x="225044" y="528459"/>
                  </a:lnTo>
                  <a:lnTo>
                    <a:pt x="273519" y="532828"/>
                  </a:lnTo>
                  <a:lnTo>
                    <a:pt x="274751" y="532828"/>
                  </a:lnTo>
                  <a:lnTo>
                    <a:pt x="323088" y="528472"/>
                  </a:lnTo>
                  <a:lnTo>
                    <a:pt x="368642" y="516115"/>
                  </a:lnTo>
                  <a:lnTo>
                    <a:pt x="410679" y="496468"/>
                  </a:lnTo>
                  <a:lnTo>
                    <a:pt x="448462" y="470268"/>
                  </a:lnTo>
                  <a:lnTo>
                    <a:pt x="481266" y="438264"/>
                  </a:lnTo>
                  <a:lnTo>
                    <a:pt x="508355" y="401154"/>
                  </a:lnTo>
                  <a:lnTo>
                    <a:pt x="529005" y="359702"/>
                  </a:lnTo>
                  <a:lnTo>
                    <a:pt x="542467" y="314604"/>
                  </a:lnTo>
                  <a:lnTo>
                    <a:pt x="548043" y="266623"/>
                  </a:lnTo>
                  <a:close/>
                </a:path>
                <a:path w="548640" h="786765">
                  <a:moveTo>
                    <a:pt x="548043" y="1092"/>
                  </a:moveTo>
                  <a:lnTo>
                    <a:pt x="500367" y="5130"/>
                  </a:lnTo>
                  <a:lnTo>
                    <a:pt x="455841" y="16776"/>
                  </a:lnTo>
                  <a:lnTo>
                    <a:pt x="414616" y="35382"/>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60"/>
                  </a:lnTo>
                  <a:lnTo>
                    <a:pt x="47917" y="4051"/>
                  </a:lnTo>
                  <a:lnTo>
                    <a:pt x="0" y="0"/>
                  </a:lnTo>
                  <a:lnTo>
                    <a:pt x="5448" y="48158"/>
                  </a:lnTo>
                  <a:lnTo>
                    <a:pt x="18846" y="93421"/>
                  </a:lnTo>
                  <a:lnTo>
                    <a:pt x="39458" y="135051"/>
                  </a:lnTo>
                  <a:lnTo>
                    <a:pt x="66560" y="172300"/>
                  </a:lnTo>
                  <a:lnTo>
                    <a:pt x="99402" y="204457"/>
                  </a:lnTo>
                  <a:lnTo>
                    <a:pt x="137248" y="230771"/>
                  </a:lnTo>
                  <a:lnTo>
                    <a:pt x="179374" y="250494"/>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70"/>
                  </a:lnTo>
                  <a:lnTo>
                    <a:pt x="542467" y="49072"/>
                  </a:lnTo>
                  <a:lnTo>
                    <a:pt x="548043" y="1092"/>
                  </a:lnTo>
                  <a:close/>
                </a:path>
                <a:path w="548640" h="786765">
                  <a:moveTo>
                    <a:pt x="548093" y="520204"/>
                  </a:moveTo>
                  <a:lnTo>
                    <a:pt x="500367" y="524217"/>
                  </a:lnTo>
                  <a:lnTo>
                    <a:pt x="455841" y="535876"/>
                  </a:lnTo>
                  <a:lnTo>
                    <a:pt x="414616" y="554469"/>
                  </a:lnTo>
                  <a:lnTo>
                    <a:pt x="377342" y="579335"/>
                  </a:lnTo>
                  <a:lnTo>
                    <a:pt x="344716" y="609803"/>
                  </a:lnTo>
                  <a:lnTo>
                    <a:pt x="317411" y="645172"/>
                  </a:lnTo>
                  <a:lnTo>
                    <a:pt x="296087" y="684796"/>
                  </a:lnTo>
                  <a:lnTo>
                    <a:pt x="281419" y="727976"/>
                  </a:lnTo>
                  <a:lnTo>
                    <a:pt x="274091" y="774065"/>
                  </a:lnTo>
                  <a:lnTo>
                    <a:pt x="266915" y="727824"/>
                  </a:lnTo>
                  <a:lnTo>
                    <a:pt x="252361" y="684441"/>
                  </a:lnTo>
                  <a:lnTo>
                    <a:pt x="231089"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38"/>
                  </a:lnTo>
                  <a:lnTo>
                    <a:pt x="66548" y="691388"/>
                  </a:lnTo>
                  <a:lnTo>
                    <a:pt x="99402" y="723557"/>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7ED3F1"/>
            </a:solidFill>
          </p:spPr>
          <p:txBody>
            <a:bodyPr wrap="square" lIns="0" tIns="0" rIns="0" bIns="0" rtlCol="0"/>
            <a:lstStyle/>
            <a:p>
              <a:endParaRPr dirty="0"/>
            </a:p>
          </p:txBody>
        </p:sp>
        <p:pic>
          <p:nvPicPr>
            <p:cNvPr id="530" name="object 291">
              <a:extLst>
                <a:ext uri="{FF2B5EF4-FFF2-40B4-BE49-F238E27FC236}">
                  <a16:creationId xmlns:a16="http://schemas.microsoft.com/office/drawing/2014/main" id="{8232D96C-36F8-1CF3-1906-D90D588DB8E6}"/>
                </a:ext>
              </a:extLst>
            </p:cNvPr>
            <p:cNvPicPr/>
            <p:nvPr/>
          </p:nvPicPr>
          <p:blipFill>
            <a:blip r:embed="rId6" cstate="print"/>
            <a:stretch>
              <a:fillRect/>
            </a:stretch>
          </p:blipFill>
          <p:spPr>
            <a:xfrm>
              <a:off x="8481461" y="3989263"/>
              <a:ext cx="106445" cy="107156"/>
            </a:xfrm>
            <a:prstGeom prst="rect">
              <a:avLst/>
            </a:prstGeom>
          </p:spPr>
        </p:pic>
        <p:sp>
          <p:nvSpPr>
            <p:cNvPr id="531" name="object 292">
              <a:extLst>
                <a:ext uri="{FF2B5EF4-FFF2-40B4-BE49-F238E27FC236}">
                  <a16:creationId xmlns:a16="http://schemas.microsoft.com/office/drawing/2014/main" id="{60CA0659-1408-3178-2A2A-AA72334D3A6A}"/>
                </a:ext>
              </a:extLst>
            </p:cNvPr>
            <p:cNvSpPr/>
            <p:nvPr/>
          </p:nvSpPr>
          <p:spPr>
            <a:xfrm>
              <a:off x="7983731" y="3862863"/>
              <a:ext cx="332700" cy="477101"/>
            </a:xfrm>
            <a:custGeom>
              <a:avLst/>
              <a:gdLst/>
              <a:ahLst/>
              <a:cxnLst/>
              <a:rect l="l" t="t" r="r" b="b"/>
              <a:pathLst>
                <a:path w="548640" h="786765">
                  <a:moveTo>
                    <a:pt x="548068" y="786396"/>
                  </a:moveTo>
                  <a:lnTo>
                    <a:pt x="542632" y="738238"/>
                  </a:lnTo>
                  <a:lnTo>
                    <a:pt x="529234" y="692975"/>
                  </a:lnTo>
                  <a:lnTo>
                    <a:pt x="508609" y="651344"/>
                  </a:lnTo>
                  <a:lnTo>
                    <a:pt x="481520" y="614083"/>
                  </a:lnTo>
                  <a:lnTo>
                    <a:pt x="448678" y="581939"/>
                  </a:lnTo>
                  <a:lnTo>
                    <a:pt x="410819" y="555625"/>
                  </a:lnTo>
                  <a:lnTo>
                    <a:pt x="368693" y="535889"/>
                  </a:lnTo>
                  <a:lnTo>
                    <a:pt x="323024" y="523468"/>
                  </a:lnTo>
                  <a:lnTo>
                    <a:pt x="274548" y="519099"/>
                  </a:lnTo>
                  <a:lnTo>
                    <a:pt x="273329" y="519099"/>
                  </a:lnTo>
                  <a:lnTo>
                    <a:pt x="224980" y="523455"/>
                  </a:lnTo>
                  <a:lnTo>
                    <a:pt x="179438" y="535813"/>
                  </a:lnTo>
                  <a:lnTo>
                    <a:pt x="137401" y="555459"/>
                  </a:lnTo>
                  <a:lnTo>
                    <a:pt x="99618" y="581660"/>
                  </a:lnTo>
                  <a:lnTo>
                    <a:pt x="66814" y="613664"/>
                  </a:lnTo>
                  <a:lnTo>
                    <a:pt x="39725" y="650773"/>
                  </a:lnTo>
                  <a:lnTo>
                    <a:pt x="19075" y="692226"/>
                  </a:lnTo>
                  <a:lnTo>
                    <a:pt x="5600" y="737323"/>
                  </a:lnTo>
                  <a:lnTo>
                    <a:pt x="38" y="785304"/>
                  </a:lnTo>
                  <a:lnTo>
                    <a:pt x="47713" y="781265"/>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72"/>
                  </a:lnTo>
                  <a:lnTo>
                    <a:pt x="295719" y="621042"/>
                  </a:lnTo>
                  <a:lnTo>
                    <a:pt x="316979" y="660831"/>
                  </a:lnTo>
                  <a:lnTo>
                    <a:pt x="344271" y="696366"/>
                  </a:lnTo>
                  <a:lnTo>
                    <a:pt x="376923" y="726973"/>
                  </a:lnTo>
                  <a:lnTo>
                    <a:pt x="414235" y="751954"/>
                  </a:lnTo>
                  <a:lnTo>
                    <a:pt x="455536" y="770636"/>
                  </a:lnTo>
                  <a:lnTo>
                    <a:pt x="500164" y="782345"/>
                  </a:lnTo>
                  <a:lnTo>
                    <a:pt x="548068" y="786396"/>
                  </a:lnTo>
                  <a:close/>
                </a:path>
                <a:path w="548640" h="786765">
                  <a:moveTo>
                    <a:pt x="548068" y="520865"/>
                  </a:moveTo>
                  <a:lnTo>
                    <a:pt x="542632" y="472706"/>
                  </a:lnTo>
                  <a:lnTo>
                    <a:pt x="529234" y="427443"/>
                  </a:lnTo>
                  <a:lnTo>
                    <a:pt x="508609" y="385813"/>
                  </a:lnTo>
                  <a:lnTo>
                    <a:pt x="481520" y="348564"/>
                  </a:lnTo>
                  <a:lnTo>
                    <a:pt x="448678" y="316407"/>
                  </a:lnTo>
                  <a:lnTo>
                    <a:pt x="410819" y="290106"/>
                  </a:lnTo>
                  <a:lnTo>
                    <a:pt x="368693" y="270370"/>
                  </a:lnTo>
                  <a:lnTo>
                    <a:pt x="323024" y="257949"/>
                  </a:lnTo>
                  <a:lnTo>
                    <a:pt x="274548" y="253568"/>
                  </a:lnTo>
                  <a:lnTo>
                    <a:pt x="273329" y="253568"/>
                  </a:lnTo>
                  <a:lnTo>
                    <a:pt x="224980" y="257924"/>
                  </a:lnTo>
                  <a:lnTo>
                    <a:pt x="179438" y="270294"/>
                  </a:lnTo>
                  <a:lnTo>
                    <a:pt x="137401" y="289941"/>
                  </a:lnTo>
                  <a:lnTo>
                    <a:pt x="99618" y="316128"/>
                  </a:lnTo>
                  <a:lnTo>
                    <a:pt x="66814" y="348145"/>
                  </a:lnTo>
                  <a:lnTo>
                    <a:pt x="39725" y="385241"/>
                  </a:lnTo>
                  <a:lnTo>
                    <a:pt x="19075" y="426707"/>
                  </a:lnTo>
                  <a:lnTo>
                    <a:pt x="5600" y="471792"/>
                  </a:lnTo>
                  <a:lnTo>
                    <a:pt x="38" y="519785"/>
                  </a:lnTo>
                  <a:lnTo>
                    <a:pt x="47713" y="515747"/>
                  </a:lnTo>
                  <a:lnTo>
                    <a:pt x="92227" y="504101"/>
                  </a:lnTo>
                  <a:lnTo>
                    <a:pt x="133464" y="485495"/>
                  </a:lnTo>
                  <a:lnTo>
                    <a:pt x="170726" y="460629"/>
                  </a:lnTo>
                  <a:lnTo>
                    <a:pt x="203352" y="430161"/>
                  </a:lnTo>
                  <a:lnTo>
                    <a:pt x="230670" y="394779"/>
                  </a:lnTo>
                  <a:lnTo>
                    <a:pt x="251993" y="355142"/>
                  </a:lnTo>
                  <a:lnTo>
                    <a:pt x="266649" y="311950"/>
                  </a:lnTo>
                  <a:lnTo>
                    <a:pt x="273989" y="265874"/>
                  </a:lnTo>
                  <a:lnTo>
                    <a:pt x="281165" y="312140"/>
                  </a:lnTo>
                  <a:lnTo>
                    <a:pt x="295719" y="355511"/>
                  </a:lnTo>
                  <a:lnTo>
                    <a:pt x="316979" y="395300"/>
                  </a:lnTo>
                  <a:lnTo>
                    <a:pt x="344271" y="430847"/>
                  </a:lnTo>
                  <a:lnTo>
                    <a:pt x="376923" y="461441"/>
                  </a:lnTo>
                  <a:lnTo>
                    <a:pt x="414235" y="486422"/>
                  </a:lnTo>
                  <a:lnTo>
                    <a:pt x="455536" y="505104"/>
                  </a:lnTo>
                  <a:lnTo>
                    <a:pt x="500164" y="516813"/>
                  </a:lnTo>
                  <a:lnTo>
                    <a:pt x="548068" y="520865"/>
                  </a:lnTo>
                  <a:close/>
                </a:path>
                <a:path w="548640" h="786765">
                  <a:moveTo>
                    <a:pt x="548081" y="267322"/>
                  </a:moveTo>
                  <a:lnTo>
                    <a:pt x="543242" y="224586"/>
                  </a:lnTo>
                  <a:lnTo>
                    <a:pt x="542632" y="219151"/>
                  </a:lnTo>
                  <a:lnTo>
                    <a:pt x="529234" y="173888"/>
                  </a:lnTo>
                  <a:lnTo>
                    <a:pt x="522401" y="160096"/>
                  </a:lnTo>
                  <a:lnTo>
                    <a:pt x="508622" y="132257"/>
                  </a:lnTo>
                  <a:lnTo>
                    <a:pt x="481533" y="95008"/>
                  </a:lnTo>
                  <a:lnTo>
                    <a:pt x="480834" y="94335"/>
                  </a:lnTo>
                  <a:lnTo>
                    <a:pt x="448691" y="62852"/>
                  </a:lnTo>
                  <a:lnTo>
                    <a:pt x="422376" y="44577"/>
                  </a:lnTo>
                  <a:lnTo>
                    <a:pt x="410832" y="36550"/>
                  </a:lnTo>
                  <a:lnTo>
                    <a:pt x="368693" y="16802"/>
                  </a:lnTo>
                  <a:lnTo>
                    <a:pt x="323024" y="4381"/>
                  </a:lnTo>
                  <a:lnTo>
                    <a:pt x="274548" y="0"/>
                  </a:lnTo>
                  <a:lnTo>
                    <a:pt x="273329" y="0"/>
                  </a:lnTo>
                  <a:lnTo>
                    <a:pt x="224980" y="4356"/>
                  </a:lnTo>
                  <a:lnTo>
                    <a:pt x="179438" y="16725"/>
                  </a:lnTo>
                  <a:lnTo>
                    <a:pt x="137401" y="36372"/>
                  </a:lnTo>
                  <a:lnTo>
                    <a:pt x="99618" y="62560"/>
                  </a:lnTo>
                  <a:lnTo>
                    <a:pt x="98018" y="64122"/>
                  </a:lnTo>
                  <a:lnTo>
                    <a:pt x="66814" y="94576"/>
                  </a:lnTo>
                  <a:lnTo>
                    <a:pt x="39687" y="131686"/>
                  </a:lnTo>
                  <a:lnTo>
                    <a:pt x="19037" y="173139"/>
                  </a:lnTo>
                  <a:lnTo>
                    <a:pt x="5562" y="218224"/>
                  </a:lnTo>
                  <a:lnTo>
                    <a:pt x="0" y="266192"/>
                  </a:lnTo>
                  <a:lnTo>
                    <a:pt x="47713" y="262178"/>
                  </a:lnTo>
                  <a:lnTo>
                    <a:pt x="92227" y="250520"/>
                  </a:lnTo>
                  <a:lnTo>
                    <a:pt x="133464" y="231927"/>
                  </a:lnTo>
                  <a:lnTo>
                    <a:pt x="170738" y="207060"/>
                  </a:lnTo>
                  <a:lnTo>
                    <a:pt x="203365" y="176593"/>
                  </a:lnTo>
                  <a:lnTo>
                    <a:pt x="230670" y="141224"/>
                  </a:lnTo>
                  <a:lnTo>
                    <a:pt x="251993" y="101600"/>
                  </a:lnTo>
                  <a:lnTo>
                    <a:pt x="266661" y="58420"/>
                  </a:lnTo>
                  <a:lnTo>
                    <a:pt x="273989" y="12331"/>
                  </a:lnTo>
                  <a:lnTo>
                    <a:pt x="281165" y="58585"/>
                  </a:lnTo>
                  <a:lnTo>
                    <a:pt x="295719" y="101955"/>
                  </a:lnTo>
                  <a:lnTo>
                    <a:pt x="316979" y="141744"/>
                  </a:lnTo>
                  <a:lnTo>
                    <a:pt x="344271" y="177279"/>
                  </a:lnTo>
                  <a:lnTo>
                    <a:pt x="360070" y="192087"/>
                  </a:lnTo>
                  <a:lnTo>
                    <a:pt x="376923" y="207886"/>
                  </a:lnTo>
                  <a:lnTo>
                    <a:pt x="414235" y="232867"/>
                  </a:lnTo>
                  <a:lnTo>
                    <a:pt x="455549" y="251561"/>
                  </a:lnTo>
                  <a:lnTo>
                    <a:pt x="500164" y="263271"/>
                  </a:lnTo>
                  <a:lnTo>
                    <a:pt x="548081" y="267322"/>
                  </a:lnTo>
                  <a:close/>
                </a:path>
              </a:pathLst>
            </a:custGeom>
            <a:solidFill>
              <a:srgbClr val="2DB7EA"/>
            </a:solidFill>
          </p:spPr>
          <p:txBody>
            <a:bodyPr wrap="square" lIns="0" tIns="0" rIns="0" bIns="0" rtlCol="0"/>
            <a:lstStyle/>
            <a:p>
              <a:endParaRPr dirty="0"/>
            </a:p>
          </p:txBody>
        </p:sp>
        <p:pic>
          <p:nvPicPr>
            <p:cNvPr id="532" name="object 293">
              <a:extLst>
                <a:ext uri="{FF2B5EF4-FFF2-40B4-BE49-F238E27FC236}">
                  <a16:creationId xmlns:a16="http://schemas.microsoft.com/office/drawing/2014/main" id="{EABD97FD-8916-9E3C-7364-0FB8BC69EEE1}"/>
                </a:ext>
              </a:extLst>
            </p:cNvPr>
            <p:cNvPicPr/>
            <p:nvPr/>
          </p:nvPicPr>
          <p:blipFill>
            <a:blip r:embed="rId16" cstate="print"/>
            <a:stretch>
              <a:fillRect/>
            </a:stretch>
          </p:blipFill>
          <p:spPr>
            <a:xfrm>
              <a:off x="8096998" y="4318566"/>
              <a:ext cx="106445" cy="107156"/>
            </a:xfrm>
            <a:prstGeom prst="rect">
              <a:avLst/>
            </a:prstGeom>
          </p:spPr>
        </p:pic>
        <p:sp>
          <p:nvSpPr>
            <p:cNvPr id="533" name="object 294">
              <a:extLst>
                <a:ext uri="{FF2B5EF4-FFF2-40B4-BE49-F238E27FC236}">
                  <a16:creationId xmlns:a16="http://schemas.microsoft.com/office/drawing/2014/main" id="{603F58BF-ACFD-F2F9-C5A7-1A2CD5AF08A3}"/>
                </a:ext>
              </a:extLst>
            </p:cNvPr>
            <p:cNvSpPr/>
            <p:nvPr/>
          </p:nvSpPr>
          <p:spPr>
            <a:xfrm>
              <a:off x="7983731" y="4517034"/>
              <a:ext cx="332700" cy="477101"/>
            </a:xfrm>
            <a:custGeom>
              <a:avLst/>
              <a:gdLst/>
              <a:ahLst/>
              <a:cxnLst/>
              <a:rect l="l" t="t" r="r" b="b"/>
              <a:pathLst>
                <a:path w="548640" h="786765">
                  <a:moveTo>
                    <a:pt x="548068" y="786384"/>
                  </a:moveTo>
                  <a:lnTo>
                    <a:pt x="542632" y="738225"/>
                  </a:lnTo>
                  <a:lnTo>
                    <a:pt x="529234" y="692962"/>
                  </a:lnTo>
                  <a:lnTo>
                    <a:pt x="508609" y="651332"/>
                  </a:lnTo>
                  <a:lnTo>
                    <a:pt x="481520" y="614083"/>
                  </a:lnTo>
                  <a:lnTo>
                    <a:pt x="448678" y="581926"/>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47"/>
                  </a:lnTo>
                  <a:lnTo>
                    <a:pt x="66814" y="613664"/>
                  </a:lnTo>
                  <a:lnTo>
                    <a:pt x="39725" y="650760"/>
                  </a:lnTo>
                  <a:lnTo>
                    <a:pt x="19075" y="692226"/>
                  </a:lnTo>
                  <a:lnTo>
                    <a:pt x="5600" y="737323"/>
                  </a:lnTo>
                  <a:lnTo>
                    <a:pt x="38" y="785304"/>
                  </a:lnTo>
                  <a:lnTo>
                    <a:pt x="47713" y="781265"/>
                  </a:lnTo>
                  <a:lnTo>
                    <a:pt x="92227" y="769620"/>
                  </a:lnTo>
                  <a:lnTo>
                    <a:pt x="133464" y="751014"/>
                  </a:lnTo>
                  <a:lnTo>
                    <a:pt x="170726" y="726147"/>
                  </a:lnTo>
                  <a:lnTo>
                    <a:pt x="203352" y="695680"/>
                  </a:lnTo>
                  <a:lnTo>
                    <a:pt x="230670" y="660298"/>
                  </a:lnTo>
                  <a:lnTo>
                    <a:pt x="251993" y="620674"/>
                  </a:lnTo>
                  <a:lnTo>
                    <a:pt x="266649" y="577469"/>
                  </a:lnTo>
                  <a:lnTo>
                    <a:pt x="273989" y="531393"/>
                  </a:lnTo>
                  <a:lnTo>
                    <a:pt x="281165" y="577659"/>
                  </a:lnTo>
                  <a:lnTo>
                    <a:pt x="295719" y="621030"/>
                  </a:lnTo>
                  <a:lnTo>
                    <a:pt x="316979" y="660831"/>
                  </a:lnTo>
                  <a:lnTo>
                    <a:pt x="344271" y="696366"/>
                  </a:lnTo>
                  <a:lnTo>
                    <a:pt x="376923" y="726960"/>
                  </a:lnTo>
                  <a:lnTo>
                    <a:pt x="414235" y="751941"/>
                  </a:lnTo>
                  <a:lnTo>
                    <a:pt x="455536" y="770623"/>
                  </a:lnTo>
                  <a:lnTo>
                    <a:pt x="500164" y="782332"/>
                  </a:lnTo>
                  <a:lnTo>
                    <a:pt x="548068" y="786384"/>
                  </a:lnTo>
                  <a:close/>
                </a:path>
                <a:path w="548640" h="786765">
                  <a:moveTo>
                    <a:pt x="548068" y="520852"/>
                  </a:moveTo>
                  <a:lnTo>
                    <a:pt x="542632" y="472694"/>
                  </a:lnTo>
                  <a:lnTo>
                    <a:pt x="529234" y="427431"/>
                  </a:lnTo>
                  <a:lnTo>
                    <a:pt x="508609" y="385813"/>
                  </a:lnTo>
                  <a:lnTo>
                    <a:pt x="481520" y="348551"/>
                  </a:lnTo>
                  <a:lnTo>
                    <a:pt x="448678" y="316407"/>
                  </a:lnTo>
                  <a:lnTo>
                    <a:pt x="410819" y="290093"/>
                  </a:lnTo>
                  <a:lnTo>
                    <a:pt x="368693" y="270357"/>
                  </a:lnTo>
                  <a:lnTo>
                    <a:pt x="323024" y="257937"/>
                  </a:lnTo>
                  <a:lnTo>
                    <a:pt x="274548" y="253555"/>
                  </a:lnTo>
                  <a:lnTo>
                    <a:pt x="273329" y="253555"/>
                  </a:lnTo>
                  <a:lnTo>
                    <a:pt x="224980" y="257911"/>
                  </a:lnTo>
                  <a:lnTo>
                    <a:pt x="179438" y="270281"/>
                  </a:lnTo>
                  <a:lnTo>
                    <a:pt x="137401" y="289928"/>
                  </a:lnTo>
                  <a:lnTo>
                    <a:pt x="99618" y="316128"/>
                  </a:lnTo>
                  <a:lnTo>
                    <a:pt x="66814" y="348132"/>
                  </a:lnTo>
                  <a:lnTo>
                    <a:pt x="39725" y="385241"/>
                  </a:lnTo>
                  <a:lnTo>
                    <a:pt x="19075" y="426694"/>
                  </a:lnTo>
                  <a:lnTo>
                    <a:pt x="5600" y="471779"/>
                  </a:lnTo>
                  <a:lnTo>
                    <a:pt x="38" y="519772"/>
                  </a:lnTo>
                  <a:lnTo>
                    <a:pt x="47713" y="515734"/>
                  </a:lnTo>
                  <a:lnTo>
                    <a:pt x="92227" y="504075"/>
                  </a:lnTo>
                  <a:lnTo>
                    <a:pt x="133464" y="485482"/>
                  </a:lnTo>
                  <a:lnTo>
                    <a:pt x="170726" y="460616"/>
                  </a:lnTo>
                  <a:lnTo>
                    <a:pt x="203352" y="430149"/>
                  </a:lnTo>
                  <a:lnTo>
                    <a:pt x="230670" y="394766"/>
                  </a:lnTo>
                  <a:lnTo>
                    <a:pt x="251993" y="355142"/>
                  </a:lnTo>
                  <a:lnTo>
                    <a:pt x="266649" y="311950"/>
                  </a:lnTo>
                  <a:lnTo>
                    <a:pt x="273989" y="265861"/>
                  </a:lnTo>
                  <a:lnTo>
                    <a:pt x="281165" y="312127"/>
                  </a:lnTo>
                  <a:lnTo>
                    <a:pt x="295719" y="355511"/>
                  </a:lnTo>
                  <a:lnTo>
                    <a:pt x="316979" y="395300"/>
                  </a:lnTo>
                  <a:lnTo>
                    <a:pt x="344271" y="430834"/>
                  </a:lnTo>
                  <a:lnTo>
                    <a:pt x="376923" y="461429"/>
                  </a:lnTo>
                  <a:lnTo>
                    <a:pt x="414235" y="486410"/>
                  </a:lnTo>
                  <a:lnTo>
                    <a:pt x="455536" y="505091"/>
                  </a:lnTo>
                  <a:lnTo>
                    <a:pt x="500164" y="516801"/>
                  </a:lnTo>
                  <a:lnTo>
                    <a:pt x="548068" y="520852"/>
                  </a:lnTo>
                  <a:close/>
                </a:path>
                <a:path w="548640" h="786765">
                  <a:moveTo>
                    <a:pt x="548081" y="267322"/>
                  </a:moveTo>
                  <a:lnTo>
                    <a:pt x="543318" y="225285"/>
                  </a:lnTo>
                  <a:lnTo>
                    <a:pt x="542632" y="219151"/>
                  </a:lnTo>
                  <a:lnTo>
                    <a:pt x="529234" y="173875"/>
                  </a:lnTo>
                  <a:lnTo>
                    <a:pt x="508622" y="132245"/>
                  </a:lnTo>
                  <a:lnTo>
                    <a:pt x="481533" y="94996"/>
                  </a:lnTo>
                  <a:lnTo>
                    <a:pt x="449376" y="63525"/>
                  </a:lnTo>
                  <a:lnTo>
                    <a:pt x="448691" y="62852"/>
                  </a:lnTo>
                  <a:lnTo>
                    <a:pt x="437134" y="54825"/>
                  </a:lnTo>
                  <a:lnTo>
                    <a:pt x="410832" y="36537"/>
                  </a:lnTo>
                  <a:lnTo>
                    <a:pt x="391096" y="27305"/>
                  </a:lnTo>
                  <a:lnTo>
                    <a:pt x="368706" y="16814"/>
                  </a:lnTo>
                  <a:lnTo>
                    <a:pt x="323024" y="4368"/>
                  </a:lnTo>
                  <a:lnTo>
                    <a:pt x="274548" y="0"/>
                  </a:lnTo>
                  <a:lnTo>
                    <a:pt x="273329" y="0"/>
                  </a:lnTo>
                  <a:lnTo>
                    <a:pt x="224980" y="4356"/>
                  </a:lnTo>
                  <a:lnTo>
                    <a:pt x="179438" y="16725"/>
                  </a:lnTo>
                  <a:lnTo>
                    <a:pt x="137401" y="36372"/>
                  </a:lnTo>
                  <a:lnTo>
                    <a:pt x="120650" y="47980"/>
                  </a:lnTo>
                  <a:lnTo>
                    <a:pt x="99618" y="62560"/>
                  </a:lnTo>
                  <a:lnTo>
                    <a:pt x="66814" y="94576"/>
                  </a:lnTo>
                  <a:lnTo>
                    <a:pt x="39687" y="131686"/>
                  </a:lnTo>
                  <a:lnTo>
                    <a:pt x="19037" y="173139"/>
                  </a:lnTo>
                  <a:lnTo>
                    <a:pt x="5562" y="218211"/>
                  </a:lnTo>
                  <a:lnTo>
                    <a:pt x="0" y="266192"/>
                  </a:lnTo>
                  <a:lnTo>
                    <a:pt x="47713" y="262166"/>
                  </a:lnTo>
                  <a:lnTo>
                    <a:pt x="92227" y="250520"/>
                  </a:lnTo>
                  <a:lnTo>
                    <a:pt x="133464" y="231914"/>
                  </a:lnTo>
                  <a:lnTo>
                    <a:pt x="170738" y="207048"/>
                  </a:lnTo>
                  <a:lnTo>
                    <a:pt x="203365" y="176593"/>
                  </a:lnTo>
                  <a:lnTo>
                    <a:pt x="230670" y="141211"/>
                  </a:lnTo>
                  <a:lnTo>
                    <a:pt x="251993" y="101600"/>
                  </a:lnTo>
                  <a:lnTo>
                    <a:pt x="266661" y="58407"/>
                  </a:lnTo>
                  <a:lnTo>
                    <a:pt x="273989" y="12319"/>
                  </a:lnTo>
                  <a:lnTo>
                    <a:pt x="281165" y="58585"/>
                  </a:lnTo>
                  <a:lnTo>
                    <a:pt x="295719" y="101942"/>
                  </a:lnTo>
                  <a:lnTo>
                    <a:pt x="316979" y="141732"/>
                  </a:lnTo>
                  <a:lnTo>
                    <a:pt x="344271" y="177266"/>
                  </a:lnTo>
                  <a:lnTo>
                    <a:pt x="376923" y="207873"/>
                  </a:lnTo>
                  <a:lnTo>
                    <a:pt x="414235" y="232867"/>
                  </a:lnTo>
                  <a:lnTo>
                    <a:pt x="455549" y="251548"/>
                  </a:lnTo>
                  <a:lnTo>
                    <a:pt x="500164" y="263258"/>
                  </a:lnTo>
                  <a:lnTo>
                    <a:pt x="548081" y="267322"/>
                  </a:lnTo>
                  <a:close/>
                </a:path>
              </a:pathLst>
            </a:custGeom>
            <a:solidFill>
              <a:srgbClr val="7ED3F1"/>
            </a:solidFill>
          </p:spPr>
          <p:txBody>
            <a:bodyPr wrap="square" lIns="0" tIns="0" rIns="0" bIns="0" rtlCol="0"/>
            <a:lstStyle/>
            <a:p>
              <a:endParaRPr dirty="0"/>
            </a:p>
          </p:txBody>
        </p:sp>
        <p:pic>
          <p:nvPicPr>
            <p:cNvPr id="534" name="object 295">
              <a:extLst>
                <a:ext uri="{FF2B5EF4-FFF2-40B4-BE49-F238E27FC236}">
                  <a16:creationId xmlns:a16="http://schemas.microsoft.com/office/drawing/2014/main" id="{AE1DE182-DFF7-67F1-46DC-40D082132AB3}"/>
                </a:ext>
              </a:extLst>
            </p:cNvPr>
            <p:cNvPicPr/>
            <p:nvPr/>
          </p:nvPicPr>
          <p:blipFill>
            <a:blip r:embed="rId17" cstate="print"/>
            <a:stretch>
              <a:fillRect/>
            </a:stretch>
          </p:blipFill>
          <p:spPr>
            <a:xfrm>
              <a:off x="8096998" y="4972731"/>
              <a:ext cx="106445" cy="107156"/>
            </a:xfrm>
            <a:prstGeom prst="rect">
              <a:avLst/>
            </a:prstGeom>
          </p:spPr>
        </p:pic>
        <p:sp>
          <p:nvSpPr>
            <p:cNvPr id="535" name="object 296">
              <a:extLst>
                <a:ext uri="{FF2B5EF4-FFF2-40B4-BE49-F238E27FC236}">
                  <a16:creationId xmlns:a16="http://schemas.microsoft.com/office/drawing/2014/main" id="{66991E52-862B-5CFC-4AFD-1947FE94D512}"/>
                </a:ext>
              </a:extLst>
            </p:cNvPr>
            <p:cNvSpPr/>
            <p:nvPr/>
          </p:nvSpPr>
          <p:spPr>
            <a:xfrm>
              <a:off x="7983731" y="2554529"/>
              <a:ext cx="332700" cy="477101"/>
            </a:xfrm>
            <a:custGeom>
              <a:avLst/>
              <a:gdLst/>
              <a:ahLst/>
              <a:cxnLst/>
              <a:rect l="l" t="t" r="r" b="b"/>
              <a:pathLst>
                <a:path w="548640" h="786764">
                  <a:moveTo>
                    <a:pt x="548068" y="786396"/>
                  </a:moveTo>
                  <a:lnTo>
                    <a:pt x="542632" y="738238"/>
                  </a:lnTo>
                  <a:lnTo>
                    <a:pt x="529234" y="692975"/>
                  </a:lnTo>
                  <a:lnTo>
                    <a:pt x="508609" y="651344"/>
                  </a:lnTo>
                  <a:lnTo>
                    <a:pt x="481520" y="614095"/>
                  </a:lnTo>
                  <a:lnTo>
                    <a:pt x="448678" y="581939"/>
                  </a:lnTo>
                  <a:lnTo>
                    <a:pt x="410819" y="555625"/>
                  </a:lnTo>
                  <a:lnTo>
                    <a:pt x="368693" y="535901"/>
                  </a:lnTo>
                  <a:lnTo>
                    <a:pt x="323024" y="523468"/>
                  </a:lnTo>
                  <a:lnTo>
                    <a:pt x="274548" y="519099"/>
                  </a:lnTo>
                  <a:lnTo>
                    <a:pt x="273329" y="519099"/>
                  </a:lnTo>
                  <a:lnTo>
                    <a:pt x="224980" y="523455"/>
                  </a:lnTo>
                  <a:lnTo>
                    <a:pt x="179438" y="535813"/>
                  </a:lnTo>
                  <a:lnTo>
                    <a:pt x="137401" y="555459"/>
                  </a:lnTo>
                  <a:lnTo>
                    <a:pt x="99618" y="581660"/>
                  </a:lnTo>
                  <a:lnTo>
                    <a:pt x="66814" y="613676"/>
                  </a:lnTo>
                  <a:lnTo>
                    <a:pt x="39725" y="650773"/>
                  </a:lnTo>
                  <a:lnTo>
                    <a:pt x="19075" y="692238"/>
                  </a:lnTo>
                  <a:lnTo>
                    <a:pt x="5600" y="737323"/>
                  </a:lnTo>
                  <a:lnTo>
                    <a:pt x="38" y="785317"/>
                  </a:lnTo>
                  <a:lnTo>
                    <a:pt x="47713" y="781278"/>
                  </a:lnTo>
                  <a:lnTo>
                    <a:pt x="92227" y="769632"/>
                  </a:lnTo>
                  <a:lnTo>
                    <a:pt x="133464" y="751027"/>
                  </a:lnTo>
                  <a:lnTo>
                    <a:pt x="170726" y="726160"/>
                  </a:lnTo>
                  <a:lnTo>
                    <a:pt x="203352" y="695693"/>
                  </a:lnTo>
                  <a:lnTo>
                    <a:pt x="230670" y="660311"/>
                  </a:lnTo>
                  <a:lnTo>
                    <a:pt x="251993" y="620687"/>
                  </a:lnTo>
                  <a:lnTo>
                    <a:pt x="266649" y="577481"/>
                  </a:lnTo>
                  <a:lnTo>
                    <a:pt x="273989" y="531406"/>
                  </a:lnTo>
                  <a:lnTo>
                    <a:pt x="281165" y="577672"/>
                  </a:lnTo>
                  <a:lnTo>
                    <a:pt x="295719" y="621042"/>
                  </a:lnTo>
                  <a:lnTo>
                    <a:pt x="316979" y="660844"/>
                  </a:lnTo>
                  <a:lnTo>
                    <a:pt x="344271" y="696379"/>
                  </a:lnTo>
                  <a:lnTo>
                    <a:pt x="376923" y="726973"/>
                  </a:lnTo>
                  <a:lnTo>
                    <a:pt x="414235" y="751954"/>
                  </a:lnTo>
                  <a:lnTo>
                    <a:pt x="455536" y="770636"/>
                  </a:lnTo>
                  <a:lnTo>
                    <a:pt x="500164" y="782345"/>
                  </a:lnTo>
                  <a:lnTo>
                    <a:pt x="548068" y="786396"/>
                  </a:lnTo>
                  <a:close/>
                </a:path>
                <a:path w="548640" h="786764">
                  <a:moveTo>
                    <a:pt x="548068" y="520865"/>
                  </a:moveTo>
                  <a:lnTo>
                    <a:pt x="542632" y="472706"/>
                  </a:lnTo>
                  <a:lnTo>
                    <a:pt x="529234" y="427443"/>
                  </a:lnTo>
                  <a:lnTo>
                    <a:pt x="508609" y="385813"/>
                  </a:lnTo>
                  <a:lnTo>
                    <a:pt x="481520" y="348564"/>
                  </a:lnTo>
                  <a:lnTo>
                    <a:pt x="448678" y="316407"/>
                  </a:lnTo>
                  <a:lnTo>
                    <a:pt x="410819" y="290106"/>
                  </a:lnTo>
                  <a:lnTo>
                    <a:pt x="368693" y="270370"/>
                  </a:lnTo>
                  <a:lnTo>
                    <a:pt x="323024" y="257949"/>
                  </a:lnTo>
                  <a:lnTo>
                    <a:pt x="274548" y="253568"/>
                  </a:lnTo>
                  <a:lnTo>
                    <a:pt x="273329" y="253568"/>
                  </a:lnTo>
                  <a:lnTo>
                    <a:pt x="224980" y="257924"/>
                  </a:lnTo>
                  <a:lnTo>
                    <a:pt x="179438" y="270294"/>
                  </a:lnTo>
                  <a:lnTo>
                    <a:pt x="137401" y="289941"/>
                  </a:lnTo>
                  <a:lnTo>
                    <a:pt x="99618" y="316128"/>
                  </a:lnTo>
                  <a:lnTo>
                    <a:pt x="66814" y="348145"/>
                  </a:lnTo>
                  <a:lnTo>
                    <a:pt x="39725" y="385254"/>
                  </a:lnTo>
                  <a:lnTo>
                    <a:pt x="19075" y="426707"/>
                  </a:lnTo>
                  <a:lnTo>
                    <a:pt x="5600" y="471805"/>
                  </a:lnTo>
                  <a:lnTo>
                    <a:pt x="38" y="519785"/>
                  </a:lnTo>
                  <a:lnTo>
                    <a:pt x="47713" y="515759"/>
                  </a:lnTo>
                  <a:lnTo>
                    <a:pt x="92227" y="504101"/>
                  </a:lnTo>
                  <a:lnTo>
                    <a:pt x="133464" y="485495"/>
                  </a:lnTo>
                  <a:lnTo>
                    <a:pt x="170726" y="460629"/>
                  </a:lnTo>
                  <a:lnTo>
                    <a:pt x="203352" y="430161"/>
                  </a:lnTo>
                  <a:lnTo>
                    <a:pt x="230670" y="394779"/>
                  </a:lnTo>
                  <a:lnTo>
                    <a:pt x="251993" y="355155"/>
                  </a:lnTo>
                  <a:lnTo>
                    <a:pt x="266649" y="311962"/>
                  </a:lnTo>
                  <a:lnTo>
                    <a:pt x="273989" y="265874"/>
                  </a:lnTo>
                  <a:lnTo>
                    <a:pt x="281165" y="312140"/>
                  </a:lnTo>
                  <a:lnTo>
                    <a:pt x="295719" y="355511"/>
                  </a:lnTo>
                  <a:lnTo>
                    <a:pt x="316979" y="395312"/>
                  </a:lnTo>
                  <a:lnTo>
                    <a:pt x="344271" y="430847"/>
                  </a:lnTo>
                  <a:lnTo>
                    <a:pt x="376923" y="461441"/>
                  </a:lnTo>
                  <a:lnTo>
                    <a:pt x="414235" y="486422"/>
                  </a:lnTo>
                  <a:lnTo>
                    <a:pt x="455536" y="505104"/>
                  </a:lnTo>
                  <a:lnTo>
                    <a:pt x="500164" y="516813"/>
                  </a:lnTo>
                  <a:lnTo>
                    <a:pt x="548068" y="520865"/>
                  </a:lnTo>
                  <a:close/>
                </a:path>
                <a:path w="548640" h="786764">
                  <a:moveTo>
                    <a:pt x="548081" y="267335"/>
                  </a:moveTo>
                  <a:lnTo>
                    <a:pt x="543852" y="230035"/>
                  </a:lnTo>
                  <a:lnTo>
                    <a:pt x="542632" y="219163"/>
                  </a:lnTo>
                  <a:lnTo>
                    <a:pt x="529234" y="173888"/>
                  </a:lnTo>
                  <a:lnTo>
                    <a:pt x="508622" y="132257"/>
                  </a:lnTo>
                  <a:lnTo>
                    <a:pt x="481533" y="95008"/>
                  </a:lnTo>
                  <a:lnTo>
                    <a:pt x="448691" y="62865"/>
                  </a:lnTo>
                  <a:lnTo>
                    <a:pt x="410832" y="36563"/>
                  </a:lnTo>
                  <a:lnTo>
                    <a:pt x="368693" y="16802"/>
                  </a:lnTo>
                  <a:lnTo>
                    <a:pt x="323024" y="4381"/>
                  </a:lnTo>
                  <a:lnTo>
                    <a:pt x="274548" y="0"/>
                  </a:lnTo>
                  <a:lnTo>
                    <a:pt x="273329" y="0"/>
                  </a:lnTo>
                  <a:lnTo>
                    <a:pt x="224980" y="4356"/>
                  </a:lnTo>
                  <a:lnTo>
                    <a:pt x="179438" y="16725"/>
                  </a:lnTo>
                  <a:lnTo>
                    <a:pt x="137401" y="36372"/>
                  </a:lnTo>
                  <a:lnTo>
                    <a:pt x="99618" y="62572"/>
                  </a:lnTo>
                  <a:lnTo>
                    <a:pt x="66814" y="94576"/>
                  </a:lnTo>
                  <a:lnTo>
                    <a:pt x="39687" y="131699"/>
                  </a:lnTo>
                  <a:lnTo>
                    <a:pt x="19037" y="173151"/>
                  </a:lnTo>
                  <a:lnTo>
                    <a:pt x="5562" y="218224"/>
                  </a:lnTo>
                  <a:lnTo>
                    <a:pt x="0" y="266204"/>
                  </a:lnTo>
                  <a:lnTo>
                    <a:pt x="47713" y="262191"/>
                  </a:lnTo>
                  <a:lnTo>
                    <a:pt x="92227" y="250532"/>
                  </a:lnTo>
                  <a:lnTo>
                    <a:pt x="133464" y="231940"/>
                  </a:lnTo>
                  <a:lnTo>
                    <a:pt x="161404" y="213283"/>
                  </a:lnTo>
                  <a:lnTo>
                    <a:pt x="170738" y="207060"/>
                  </a:lnTo>
                  <a:lnTo>
                    <a:pt x="203365" y="176606"/>
                  </a:lnTo>
                  <a:lnTo>
                    <a:pt x="230670" y="141224"/>
                  </a:lnTo>
                  <a:lnTo>
                    <a:pt x="251993" y="101612"/>
                  </a:lnTo>
                  <a:lnTo>
                    <a:pt x="266661" y="58420"/>
                  </a:lnTo>
                  <a:lnTo>
                    <a:pt x="273989" y="12331"/>
                  </a:lnTo>
                  <a:lnTo>
                    <a:pt x="281165" y="58597"/>
                  </a:lnTo>
                  <a:lnTo>
                    <a:pt x="295719" y="101955"/>
                  </a:lnTo>
                  <a:lnTo>
                    <a:pt x="316979" y="141744"/>
                  </a:lnTo>
                  <a:lnTo>
                    <a:pt x="344271" y="177279"/>
                  </a:lnTo>
                  <a:lnTo>
                    <a:pt x="360070" y="192087"/>
                  </a:lnTo>
                  <a:lnTo>
                    <a:pt x="376923" y="207886"/>
                  </a:lnTo>
                  <a:lnTo>
                    <a:pt x="414235" y="232867"/>
                  </a:lnTo>
                  <a:lnTo>
                    <a:pt x="455549" y="251561"/>
                  </a:lnTo>
                  <a:lnTo>
                    <a:pt x="500164" y="263271"/>
                  </a:lnTo>
                  <a:lnTo>
                    <a:pt x="548081" y="267335"/>
                  </a:lnTo>
                  <a:close/>
                </a:path>
              </a:pathLst>
            </a:custGeom>
            <a:solidFill>
              <a:srgbClr val="2DB7EA"/>
            </a:solidFill>
          </p:spPr>
          <p:txBody>
            <a:bodyPr wrap="square" lIns="0" tIns="0" rIns="0" bIns="0" rtlCol="0"/>
            <a:lstStyle/>
            <a:p>
              <a:endParaRPr dirty="0"/>
            </a:p>
          </p:txBody>
        </p:sp>
        <p:pic>
          <p:nvPicPr>
            <p:cNvPr id="536" name="object 297">
              <a:extLst>
                <a:ext uri="{FF2B5EF4-FFF2-40B4-BE49-F238E27FC236}">
                  <a16:creationId xmlns:a16="http://schemas.microsoft.com/office/drawing/2014/main" id="{7C4DF7C8-1341-7124-C770-891254CEAB98}"/>
                </a:ext>
              </a:extLst>
            </p:cNvPr>
            <p:cNvPicPr/>
            <p:nvPr/>
          </p:nvPicPr>
          <p:blipFill>
            <a:blip r:embed="rId16" cstate="print"/>
            <a:stretch>
              <a:fillRect/>
            </a:stretch>
          </p:blipFill>
          <p:spPr>
            <a:xfrm>
              <a:off x="8096998" y="3010234"/>
              <a:ext cx="106445" cy="107156"/>
            </a:xfrm>
            <a:prstGeom prst="rect">
              <a:avLst/>
            </a:prstGeom>
          </p:spPr>
        </p:pic>
        <p:sp>
          <p:nvSpPr>
            <p:cNvPr id="537" name="object 298">
              <a:extLst>
                <a:ext uri="{FF2B5EF4-FFF2-40B4-BE49-F238E27FC236}">
                  <a16:creationId xmlns:a16="http://schemas.microsoft.com/office/drawing/2014/main" id="{D5D65F74-F280-EC5C-B375-A432AC142C19}"/>
                </a:ext>
              </a:extLst>
            </p:cNvPr>
            <p:cNvSpPr/>
            <p:nvPr/>
          </p:nvSpPr>
          <p:spPr>
            <a:xfrm>
              <a:off x="7983731" y="3208700"/>
              <a:ext cx="332700" cy="477101"/>
            </a:xfrm>
            <a:custGeom>
              <a:avLst/>
              <a:gdLst/>
              <a:ahLst/>
              <a:cxnLst/>
              <a:rect l="l" t="t" r="r" b="b"/>
              <a:pathLst>
                <a:path w="548640" h="786764">
                  <a:moveTo>
                    <a:pt x="548068" y="786384"/>
                  </a:moveTo>
                  <a:lnTo>
                    <a:pt x="542632" y="738225"/>
                  </a:lnTo>
                  <a:lnTo>
                    <a:pt x="529234" y="692962"/>
                  </a:lnTo>
                  <a:lnTo>
                    <a:pt x="508609" y="651344"/>
                  </a:lnTo>
                  <a:lnTo>
                    <a:pt x="481520" y="614083"/>
                  </a:lnTo>
                  <a:lnTo>
                    <a:pt x="448678" y="581926"/>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47"/>
                  </a:lnTo>
                  <a:lnTo>
                    <a:pt x="66814" y="613664"/>
                  </a:lnTo>
                  <a:lnTo>
                    <a:pt x="39725" y="650773"/>
                  </a:lnTo>
                  <a:lnTo>
                    <a:pt x="19075" y="692226"/>
                  </a:lnTo>
                  <a:lnTo>
                    <a:pt x="5600" y="737323"/>
                  </a:lnTo>
                  <a:lnTo>
                    <a:pt x="38" y="785317"/>
                  </a:lnTo>
                  <a:lnTo>
                    <a:pt x="47713" y="781278"/>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59"/>
                  </a:lnTo>
                  <a:lnTo>
                    <a:pt x="295719" y="621042"/>
                  </a:lnTo>
                  <a:lnTo>
                    <a:pt x="316979" y="660831"/>
                  </a:lnTo>
                  <a:lnTo>
                    <a:pt x="344271" y="696366"/>
                  </a:lnTo>
                  <a:lnTo>
                    <a:pt x="376923" y="726960"/>
                  </a:lnTo>
                  <a:lnTo>
                    <a:pt x="414235" y="751941"/>
                  </a:lnTo>
                  <a:lnTo>
                    <a:pt x="455536" y="770623"/>
                  </a:lnTo>
                  <a:lnTo>
                    <a:pt x="500164" y="782332"/>
                  </a:lnTo>
                  <a:lnTo>
                    <a:pt x="548068" y="786384"/>
                  </a:lnTo>
                  <a:close/>
                </a:path>
                <a:path w="548640" h="786764">
                  <a:moveTo>
                    <a:pt x="548068" y="520865"/>
                  </a:moveTo>
                  <a:lnTo>
                    <a:pt x="542632" y="472694"/>
                  </a:lnTo>
                  <a:lnTo>
                    <a:pt x="529234" y="427431"/>
                  </a:lnTo>
                  <a:lnTo>
                    <a:pt x="508609" y="385813"/>
                  </a:lnTo>
                  <a:lnTo>
                    <a:pt x="481520" y="348551"/>
                  </a:lnTo>
                  <a:lnTo>
                    <a:pt x="448678" y="316407"/>
                  </a:lnTo>
                  <a:lnTo>
                    <a:pt x="410819" y="290093"/>
                  </a:lnTo>
                  <a:lnTo>
                    <a:pt x="368693" y="270357"/>
                  </a:lnTo>
                  <a:lnTo>
                    <a:pt x="323024" y="257937"/>
                  </a:lnTo>
                  <a:lnTo>
                    <a:pt x="274548" y="253555"/>
                  </a:lnTo>
                  <a:lnTo>
                    <a:pt x="273329" y="253555"/>
                  </a:lnTo>
                  <a:lnTo>
                    <a:pt x="224980" y="257911"/>
                  </a:lnTo>
                  <a:lnTo>
                    <a:pt x="179438" y="270281"/>
                  </a:lnTo>
                  <a:lnTo>
                    <a:pt x="137401" y="289928"/>
                  </a:lnTo>
                  <a:lnTo>
                    <a:pt x="99618" y="316115"/>
                  </a:lnTo>
                  <a:lnTo>
                    <a:pt x="66814" y="348132"/>
                  </a:lnTo>
                  <a:lnTo>
                    <a:pt x="39725" y="385241"/>
                  </a:lnTo>
                  <a:lnTo>
                    <a:pt x="19075" y="426694"/>
                  </a:lnTo>
                  <a:lnTo>
                    <a:pt x="5600" y="471792"/>
                  </a:lnTo>
                  <a:lnTo>
                    <a:pt x="38" y="519785"/>
                  </a:lnTo>
                  <a:lnTo>
                    <a:pt x="47713" y="515747"/>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40"/>
                  </a:lnTo>
                  <a:lnTo>
                    <a:pt x="295719" y="355511"/>
                  </a:lnTo>
                  <a:lnTo>
                    <a:pt x="316979" y="395300"/>
                  </a:lnTo>
                  <a:lnTo>
                    <a:pt x="344271" y="430834"/>
                  </a:lnTo>
                  <a:lnTo>
                    <a:pt x="376923" y="461429"/>
                  </a:lnTo>
                  <a:lnTo>
                    <a:pt x="414235" y="486410"/>
                  </a:lnTo>
                  <a:lnTo>
                    <a:pt x="455536" y="505091"/>
                  </a:lnTo>
                  <a:lnTo>
                    <a:pt x="500164" y="516801"/>
                  </a:lnTo>
                  <a:lnTo>
                    <a:pt x="548068" y="520865"/>
                  </a:lnTo>
                  <a:close/>
                </a:path>
                <a:path w="548640" h="786764">
                  <a:moveTo>
                    <a:pt x="548081" y="267322"/>
                  </a:moveTo>
                  <a:lnTo>
                    <a:pt x="543318" y="225285"/>
                  </a:lnTo>
                  <a:lnTo>
                    <a:pt x="542632" y="219151"/>
                  </a:lnTo>
                  <a:lnTo>
                    <a:pt x="529234" y="173888"/>
                  </a:lnTo>
                  <a:lnTo>
                    <a:pt x="519010" y="153263"/>
                  </a:lnTo>
                  <a:lnTo>
                    <a:pt x="508622" y="132257"/>
                  </a:lnTo>
                  <a:lnTo>
                    <a:pt x="481533" y="94996"/>
                  </a:lnTo>
                  <a:lnTo>
                    <a:pt x="449376" y="63525"/>
                  </a:lnTo>
                  <a:lnTo>
                    <a:pt x="448691" y="62852"/>
                  </a:lnTo>
                  <a:lnTo>
                    <a:pt x="410832" y="36550"/>
                  </a:lnTo>
                  <a:lnTo>
                    <a:pt x="368706" y="16814"/>
                  </a:lnTo>
                  <a:lnTo>
                    <a:pt x="323024" y="4368"/>
                  </a:lnTo>
                  <a:lnTo>
                    <a:pt x="274548" y="0"/>
                  </a:lnTo>
                  <a:lnTo>
                    <a:pt x="273329" y="0"/>
                  </a:lnTo>
                  <a:lnTo>
                    <a:pt x="224980" y="4356"/>
                  </a:lnTo>
                  <a:lnTo>
                    <a:pt x="179438" y="16725"/>
                  </a:lnTo>
                  <a:lnTo>
                    <a:pt x="137401" y="36360"/>
                  </a:lnTo>
                  <a:lnTo>
                    <a:pt x="99618" y="62560"/>
                  </a:lnTo>
                  <a:lnTo>
                    <a:pt x="98018" y="64122"/>
                  </a:lnTo>
                  <a:lnTo>
                    <a:pt x="66814" y="94576"/>
                  </a:lnTo>
                  <a:lnTo>
                    <a:pt x="39687" y="131686"/>
                  </a:lnTo>
                  <a:lnTo>
                    <a:pt x="19037" y="173139"/>
                  </a:lnTo>
                  <a:lnTo>
                    <a:pt x="5562" y="218224"/>
                  </a:lnTo>
                  <a:lnTo>
                    <a:pt x="0" y="266192"/>
                  </a:lnTo>
                  <a:lnTo>
                    <a:pt x="47713" y="262178"/>
                  </a:lnTo>
                  <a:lnTo>
                    <a:pt x="92227" y="250532"/>
                  </a:lnTo>
                  <a:lnTo>
                    <a:pt x="133464" y="231927"/>
                  </a:lnTo>
                  <a:lnTo>
                    <a:pt x="170726" y="207060"/>
                  </a:lnTo>
                  <a:lnTo>
                    <a:pt x="172897" y="205041"/>
                  </a:lnTo>
                  <a:lnTo>
                    <a:pt x="203365" y="176593"/>
                  </a:lnTo>
                  <a:lnTo>
                    <a:pt x="230670" y="141224"/>
                  </a:lnTo>
                  <a:lnTo>
                    <a:pt x="251993" y="101600"/>
                  </a:lnTo>
                  <a:lnTo>
                    <a:pt x="266661" y="58407"/>
                  </a:lnTo>
                  <a:lnTo>
                    <a:pt x="273989" y="12331"/>
                  </a:lnTo>
                  <a:lnTo>
                    <a:pt x="281165" y="58585"/>
                  </a:lnTo>
                  <a:lnTo>
                    <a:pt x="295719" y="101942"/>
                  </a:lnTo>
                  <a:lnTo>
                    <a:pt x="316979" y="141744"/>
                  </a:lnTo>
                  <a:lnTo>
                    <a:pt x="344271" y="177279"/>
                  </a:lnTo>
                  <a:lnTo>
                    <a:pt x="376923" y="207873"/>
                  </a:lnTo>
                  <a:lnTo>
                    <a:pt x="414235" y="232867"/>
                  </a:lnTo>
                  <a:lnTo>
                    <a:pt x="455549" y="251548"/>
                  </a:lnTo>
                  <a:lnTo>
                    <a:pt x="500164" y="263271"/>
                  </a:lnTo>
                  <a:lnTo>
                    <a:pt x="548081" y="267322"/>
                  </a:lnTo>
                  <a:close/>
                </a:path>
              </a:pathLst>
            </a:custGeom>
            <a:solidFill>
              <a:srgbClr val="7ED3F1"/>
            </a:solidFill>
          </p:spPr>
          <p:txBody>
            <a:bodyPr wrap="square" lIns="0" tIns="0" rIns="0" bIns="0" rtlCol="0"/>
            <a:lstStyle/>
            <a:p>
              <a:endParaRPr dirty="0"/>
            </a:p>
          </p:txBody>
        </p:sp>
        <p:pic>
          <p:nvPicPr>
            <p:cNvPr id="538" name="object 299">
              <a:extLst>
                <a:ext uri="{FF2B5EF4-FFF2-40B4-BE49-F238E27FC236}">
                  <a16:creationId xmlns:a16="http://schemas.microsoft.com/office/drawing/2014/main" id="{BBB1BD4E-9D4A-1F54-82CF-B9DDD0914A57}"/>
                </a:ext>
              </a:extLst>
            </p:cNvPr>
            <p:cNvPicPr/>
            <p:nvPr/>
          </p:nvPicPr>
          <p:blipFill>
            <a:blip r:embed="rId17" cstate="print"/>
            <a:stretch>
              <a:fillRect/>
            </a:stretch>
          </p:blipFill>
          <p:spPr>
            <a:xfrm>
              <a:off x="8096998" y="3664400"/>
              <a:ext cx="106445" cy="107156"/>
            </a:xfrm>
            <a:prstGeom prst="rect">
              <a:avLst/>
            </a:prstGeom>
          </p:spPr>
        </p:pic>
        <p:sp>
          <p:nvSpPr>
            <p:cNvPr id="539" name="object 300">
              <a:extLst>
                <a:ext uri="{FF2B5EF4-FFF2-40B4-BE49-F238E27FC236}">
                  <a16:creationId xmlns:a16="http://schemas.microsoft.com/office/drawing/2014/main" id="{292661B2-7BC0-BF3C-4D7D-B297B4C63B3E}"/>
                </a:ext>
              </a:extLst>
            </p:cNvPr>
            <p:cNvSpPr/>
            <p:nvPr/>
          </p:nvSpPr>
          <p:spPr>
            <a:xfrm>
              <a:off x="7983731" y="1246203"/>
              <a:ext cx="332700" cy="477101"/>
            </a:xfrm>
            <a:custGeom>
              <a:avLst/>
              <a:gdLst/>
              <a:ahLst/>
              <a:cxnLst/>
              <a:rect l="l" t="t" r="r" b="b"/>
              <a:pathLst>
                <a:path w="548640" h="786764">
                  <a:moveTo>
                    <a:pt x="548068" y="786384"/>
                  </a:moveTo>
                  <a:lnTo>
                    <a:pt x="542632" y="738225"/>
                  </a:lnTo>
                  <a:lnTo>
                    <a:pt x="529234" y="692962"/>
                  </a:lnTo>
                  <a:lnTo>
                    <a:pt x="508609" y="651332"/>
                  </a:lnTo>
                  <a:lnTo>
                    <a:pt x="481520" y="614083"/>
                  </a:lnTo>
                  <a:lnTo>
                    <a:pt x="448678" y="581926"/>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47"/>
                  </a:lnTo>
                  <a:lnTo>
                    <a:pt x="66814" y="613664"/>
                  </a:lnTo>
                  <a:lnTo>
                    <a:pt x="39725" y="650760"/>
                  </a:lnTo>
                  <a:lnTo>
                    <a:pt x="19075" y="692226"/>
                  </a:lnTo>
                  <a:lnTo>
                    <a:pt x="5600" y="737323"/>
                  </a:lnTo>
                  <a:lnTo>
                    <a:pt x="38" y="785304"/>
                  </a:lnTo>
                  <a:lnTo>
                    <a:pt x="47713" y="781278"/>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59"/>
                  </a:lnTo>
                  <a:lnTo>
                    <a:pt x="295719" y="621030"/>
                  </a:lnTo>
                  <a:lnTo>
                    <a:pt x="316979" y="660831"/>
                  </a:lnTo>
                  <a:lnTo>
                    <a:pt x="344271" y="696366"/>
                  </a:lnTo>
                  <a:lnTo>
                    <a:pt x="376923" y="726960"/>
                  </a:lnTo>
                  <a:lnTo>
                    <a:pt x="414235" y="751941"/>
                  </a:lnTo>
                  <a:lnTo>
                    <a:pt x="455536" y="770623"/>
                  </a:lnTo>
                  <a:lnTo>
                    <a:pt x="500164" y="782332"/>
                  </a:lnTo>
                  <a:lnTo>
                    <a:pt x="548068" y="786384"/>
                  </a:lnTo>
                  <a:close/>
                </a:path>
                <a:path w="548640" h="786764">
                  <a:moveTo>
                    <a:pt x="548068" y="520852"/>
                  </a:moveTo>
                  <a:lnTo>
                    <a:pt x="542632" y="472694"/>
                  </a:lnTo>
                  <a:lnTo>
                    <a:pt x="529234" y="427431"/>
                  </a:lnTo>
                  <a:lnTo>
                    <a:pt x="508609" y="385813"/>
                  </a:lnTo>
                  <a:lnTo>
                    <a:pt x="481520" y="348551"/>
                  </a:lnTo>
                  <a:lnTo>
                    <a:pt x="448678" y="316395"/>
                  </a:lnTo>
                  <a:lnTo>
                    <a:pt x="410819" y="290093"/>
                  </a:lnTo>
                  <a:lnTo>
                    <a:pt x="368693" y="270357"/>
                  </a:lnTo>
                  <a:lnTo>
                    <a:pt x="323024" y="257937"/>
                  </a:lnTo>
                  <a:lnTo>
                    <a:pt x="274548" y="253555"/>
                  </a:lnTo>
                  <a:lnTo>
                    <a:pt x="273329" y="253555"/>
                  </a:lnTo>
                  <a:lnTo>
                    <a:pt x="224980" y="257911"/>
                  </a:lnTo>
                  <a:lnTo>
                    <a:pt x="179438" y="270281"/>
                  </a:lnTo>
                  <a:lnTo>
                    <a:pt x="137401" y="289928"/>
                  </a:lnTo>
                  <a:lnTo>
                    <a:pt x="99618" y="316115"/>
                  </a:lnTo>
                  <a:lnTo>
                    <a:pt x="66814" y="348132"/>
                  </a:lnTo>
                  <a:lnTo>
                    <a:pt x="39725" y="385241"/>
                  </a:lnTo>
                  <a:lnTo>
                    <a:pt x="19075" y="426694"/>
                  </a:lnTo>
                  <a:lnTo>
                    <a:pt x="5600" y="471792"/>
                  </a:lnTo>
                  <a:lnTo>
                    <a:pt x="38" y="519785"/>
                  </a:lnTo>
                  <a:lnTo>
                    <a:pt x="47713" y="515747"/>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27"/>
                  </a:lnTo>
                  <a:lnTo>
                    <a:pt x="295719" y="355511"/>
                  </a:lnTo>
                  <a:lnTo>
                    <a:pt x="316979" y="395300"/>
                  </a:lnTo>
                  <a:lnTo>
                    <a:pt x="344271" y="430834"/>
                  </a:lnTo>
                  <a:lnTo>
                    <a:pt x="376923" y="461429"/>
                  </a:lnTo>
                  <a:lnTo>
                    <a:pt x="414235" y="486410"/>
                  </a:lnTo>
                  <a:lnTo>
                    <a:pt x="455536" y="505091"/>
                  </a:lnTo>
                  <a:lnTo>
                    <a:pt x="500164" y="516801"/>
                  </a:lnTo>
                  <a:lnTo>
                    <a:pt x="548068" y="520852"/>
                  </a:lnTo>
                  <a:close/>
                </a:path>
                <a:path w="548640" h="786764">
                  <a:moveTo>
                    <a:pt x="548081" y="267322"/>
                  </a:moveTo>
                  <a:lnTo>
                    <a:pt x="543318" y="225285"/>
                  </a:lnTo>
                  <a:lnTo>
                    <a:pt x="542632" y="219151"/>
                  </a:lnTo>
                  <a:lnTo>
                    <a:pt x="529234" y="173875"/>
                  </a:lnTo>
                  <a:lnTo>
                    <a:pt x="508622" y="132257"/>
                  </a:lnTo>
                  <a:lnTo>
                    <a:pt x="481533" y="94996"/>
                  </a:lnTo>
                  <a:lnTo>
                    <a:pt x="449376" y="63525"/>
                  </a:lnTo>
                  <a:lnTo>
                    <a:pt x="448691" y="62852"/>
                  </a:lnTo>
                  <a:lnTo>
                    <a:pt x="410832" y="36550"/>
                  </a:lnTo>
                  <a:lnTo>
                    <a:pt x="368693" y="16789"/>
                  </a:lnTo>
                  <a:lnTo>
                    <a:pt x="323024" y="4368"/>
                  </a:lnTo>
                  <a:lnTo>
                    <a:pt x="274548" y="0"/>
                  </a:lnTo>
                  <a:lnTo>
                    <a:pt x="273329" y="0"/>
                  </a:lnTo>
                  <a:lnTo>
                    <a:pt x="224980" y="4356"/>
                  </a:lnTo>
                  <a:lnTo>
                    <a:pt x="179438" y="16713"/>
                  </a:lnTo>
                  <a:lnTo>
                    <a:pt x="137401" y="36360"/>
                  </a:lnTo>
                  <a:lnTo>
                    <a:pt x="99618" y="62560"/>
                  </a:lnTo>
                  <a:lnTo>
                    <a:pt x="66814" y="94576"/>
                  </a:lnTo>
                  <a:lnTo>
                    <a:pt x="39687" y="131686"/>
                  </a:lnTo>
                  <a:lnTo>
                    <a:pt x="19037" y="173139"/>
                  </a:lnTo>
                  <a:lnTo>
                    <a:pt x="5562" y="218211"/>
                  </a:lnTo>
                  <a:lnTo>
                    <a:pt x="0" y="266192"/>
                  </a:lnTo>
                  <a:lnTo>
                    <a:pt x="47713" y="262178"/>
                  </a:lnTo>
                  <a:lnTo>
                    <a:pt x="92227" y="250532"/>
                  </a:lnTo>
                  <a:lnTo>
                    <a:pt x="133464" y="231927"/>
                  </a:lnTo>
                  <a:lnTo>
                    <a:pt x="170726" y="207060"/>
                  </a:lnTo>
                  <a:lnTo>
                    <a:pt x="172897" y="205041"/>
                  </a:lnTo>
                  <a:lnTo>
                    <a:pt x="203365" y="176593"/>
                  </a:lnTo>
                  <a:lnTo>
                    <a:pt x="230670" y="141224"/>
                  </a:lnTo>
                  <a:lnTo>
                    <a:pt x="251993" y="101600"/>
                  </a:lnTo>
                  <a:lnTo>
                    <a:pt x="266661" y="58407"/>
                  </a:lnTo>
                  <a:lnTo>
                    <a:pt x="273989" y="12319"/>
                  </a:lnTo>
                  <a:lnTo>
                    <a:pt x="281165" y="58585"/>
                  </a:lnTo>
                  <a:lnTo>
                    <a:pt x="295719" y="101942"/>
                  </a:lnTo>
                  <a:lnTo>
                    <a:pt x="316979" y="141732"/>
                  </a:lnTo>
                  <a:lnTo>
                    <a:pt x="344271" y="177266"/>
                  </a:lnTo>
                  <a:lnTo>
                    <a:pt x="376923" y="207873"/>
                  </a:lnTo>
                  <a:lnTo>
                    <a:pt x="414235" y="232867"/>
                  </a:lnTo>
                  <a:lnTo>
                    <a:pt x="455549" y="251548"/>
                  </a:lnTo>
                  <a:lnTo>
                    <a:pt x="500164" y="263271"/>
                  </a:lnTo>
                  <a:lnTo>
                    <a:pt x="548081" y="267322"/>
                  </a:lnTo>
                  <a:close/>
                </a:path>
              </a:pathLst>
            </a:custGeom>
            <a:solidFill>
              <a:srgbClr val="2DB7EA"/>
            </a:solidFill>
          </p:spPr>
          <p:txBody>
            <a:bodyPr wrap="square" lIns="0" tIns="0" rIns="0" bIns="0" rtlCol="0"/>
            <a:lstStyle/>
            <a:p>
              <a:endParaRPr dirty="0"/>
            </a:p>
          </p:txBody>
        </p:sp>
        <p:pic>
          <p:nvPicPr>
            <p:cNvPr id="540" name="object 301">
              <a:extLst>
                <a:ext uri="{FF2B5EF4-FFF2-40B4-BE49-F238E27FC236}">
                  <a16:creationId xmlns:a16="http://schemas.microsoft.com/office/drawing/2014/main" id="{2F86094E-0130-E391-93DC-14D66C6944BB}"/>
                </a:ext>
              </a:extLst>
            </p:cNvPr>
            <p:cNvPicPr/>
            <p:nvPr/>
          </p:nvPicPr>
          <p:blipFill>
            <a:blip r:embed="rId16" cstate="print"/>
            <a:stretch>
              <a:fillRect/>
            </a:stretch>
          </p:blipFill>
          <p:spPr>
            <a:xfrm>
              <a:off x="8096998" y="1701903"/>
              <a:ext cx="106445" cy="107156"/>
            </a:xfrm>
            <a:prstGeom prst="rect">
              <a:avLst/>
            </a:prstGeom>
          </p:spPr>
        </p:pic>
        <p:sp>
          <p:nvSpPr>
            <p:cNvPr id="541" name="object 302">
              <a:extLst>
                <a:ext uri="{FF2B5EF4-FFF2-40B4-BE49-F238E27FC236}">
                  <a16:creationId xmlns:a16="http://schemas.microsoft.com/office/drawing/2014/main" id="{BD39A18D-5CC5-8917-FE48-E10D274512DF}"/>
                </a:ext>
              </a:extLst>
            </p:cNvPr>
            <p:cNvSpPr/>
            <p:nvPr/>
          </p:nvSpPr>
          <p:spPr>
            <a:xfrm>
              <a:off x="7983731" y="1900365"/>
              <a:ext cx="332700" cy="477101"/>
            </a:xfrm>
            <a:custGeom>
              <a:avLst/>
              <a:gdLst/>
              <a:ahLst/>
              <a:cxnLst/>
              <a:rect l="l" t="t" r="r" b="b"/>
              <a:pathLst>
                <a:path w="548640" h="786764">
                  <a:moveTo>
                    <a:pt x="548068" y="786396"/>
                  </a:moveTo>
                  <a:lnTo>
                    <a:pt x="542632" y="738225"/>
                  </a:lnTo>
                  <a:lnTo>
                    <a:pt x="529234" y="692962"/>
                  </a:lnTo>
                  <a:lnTo>
                    <a:pt x="508609" y="651344"/>
                  </a:lnTo>
                  <a:lnTo>
                    <a:pt x="481520" y="614083"/>
                  </a:lnTo>
                  <a:lnTo>
                    <a:pt x="448678" y="581939"/>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60"/>
                  </a:lnTo>
                  <a:lnTo>
                    <a:pt x="66814" y="613664"/>
                  </a:lnTo>
                  <a:lnTo>
                    <a:pt x="39725" y="650773"/>
                  </a:lnTo>
                  <a:lnTo>
                    <a:pt x="19075" y="692238"/>
                  </a:lnTo>
                  <a:lnTo>
                    <a:pt x="5600" y="737323"/>
                  </a:lnTo>
                  <a:lnTo>
                    <a:pt x="38" y="785317"/>
                  </a:lnTo>
                  <a:lnTo>
                    <a:pt x="47713" y="781278"/>
                  </a:lnTo>
                  <a:lnTo>
                    <a:pt x="92227" y="769620"/>
                  </a:lnTo>
                  <a:lnTo>
                    <a:pt x="133464" y="751027"/>
                  </a:lnTo>
                  <a:lnTo>
                    <a:pt x="170726" y="726147"/>
                  </a:lnTo>
                  <a:lnTo>
                    <a:pt x="203352" y="695680"/>
                  </a:lnTo>
                  <a:lnTo>
                    <a:pt x="230670" y="660298"/>
                  </a:lnTo>
                  <a:lnTo>
                    <a:pt x="251993" y="620674"/>
                  </a:lnTo>
                  <a:lnTo>
                    <a:pt x="266649" y="577481"/>
                  </a:lnTo>
                  <a:lnTo>
                    <a:pt x="273989" y="531393"/>
                  </a:lnTo>
                  <a:lnTo>
                    <a:pt x="281165" y="577672"/>
                  </a:lnTo>
                  <a:lnTo>
                    <a:pt x="295719" y="621042"/>
                  </a:lnTo>
                  <a:lnTo>
                    <a:pt x="316979" y="660831"/>
                  </a:lnTo>
                  <a:lnTo>
                    <a:pt x="344271" y="696366"/>
                  </a:lnTo>
                  <a:lnTo>
                    <a:pt x="376923" y="726960"/>
                  </a:lnTo>
                  <a:lnTo>
                    <a:pt x="414235" y="751941"/>
                  </a:lnTo>
                  <a:lnTo>
                    <a:pt x="455536" y="770636"/>
                  </a:lnTo>
                  <a:lnTo>
                    <a:pt x="500164" y="782332"/>
                  </a:lnTo>
                  <a:lnTo>
                    <a:pt x="548068" y="786396"/>
                  </a:lnTo>
                  <a:close/>
                </a:path>
                <a:path w="548640" h="786764">
                  <a:moveTo>
                    <a:pt x="548068" y="520865"/>
                  </a:moveTo>
                  <a:lnTo>
                    <a:pt x="542632" y="472706"/>
                  </a:lnTo>
                  <a:lnTo>
                    <a:pt x="529234" y="427443"/>
                  </a:lnTo>
                  <a:lnTo>
                    <a:pt x="508609" y="385813"/>
                  </a:lnTo>
                  <a:lnTo>
                    <a:pt x="481520" y="348551"/>
                  </a:lnTo>
                  <a:lnTo>
                    <a:pt x="448678" y="316407"/>
                  </a:lnTo>
                  <a:lnTo>
                    <a:pt x="410819" y="290093"/>
                  </a:lnTo>
                  <a:lnTo>
                    <a:pt x="368693" y="270357"/>
                  </a:lnTo>
                  <a:lnTo>
                    <a:pt x="323024" y="257937"/>
                  </a:lnTo>
                  <a:lnTo>
                    <a:pt x="274548" y="253555"/>
                  </a:lnTo>
                  <a:lnTo>
                    <a:pt x="273329" y="253555"/>
                  </a:lnTo>
                  <a:lnTo>
                    <a:pt x="224980" y="257924"/>
                  </a:lnTo>
                  <a:lnTo>
                    <a:pt x="179438" y="270281"/>
                  </a:lnTo>
                  <a:lnTo>
                    <a:pt x="137401" y="289928"/>
                  </a:lnTo>
                  <a:lnTo>
                    <a:pt x="99618" y="316128"/>
                  </a:lnTo>
                  <a:lnTo>
                    <a:pt x="66814" y="348132"/>
                  </a:lnTo>
                  <a:lnTo>
                    <a:pt x="39725" y="385241"/>
                  </a:lnTo>
                  <a:lnTo>
                    <a:pt x="19075" y="426707"/>
                  </a:lnTo>
                  <a:lnTo>
                    <a:pt x="5600" y="471792"/>
                  </a:lnTo>
                  <a:lnTo>
                    <a:pt x="38" y="519785"/>
                  </a:lnTo>
                  <a:lnTo>
                    <a:pt x="47713" y="515747"/>
                  </a:lnTo>
                  <a:lnTo>
                    <a:pt x="92227" y="504088"/>
                  </a:lnTo>
                  <a:lnTo>
                    <a:pt x="133464" y="485495"/>
                  </a:lnTo>
                  <a:lnTo>
                    <a:pt x="170726" y="460616"/>
                  </a:lnTo>
                  <a:lnTo>
                    <a:pt x="203352" y="430161"/>
                  </a:lnTo>
                  <a:lnTo>
                    <a:pt x="230670" y="394766"/>
                  </a:lnTo>
                  <a:lnTo>
                    <a:pt x="251993" y="355142"/>
                  </a:lnTo>
                  <a:lnTo>
                    <a:pt x="266649" y="311950"/>
                  </a:lnTo>
                  <a:lnTo>
                    <a:pt x="273989" y="265861"/>
                  </a:lnTo>
                  <a:lnTo>
                    <a:pt x="281165" y="312140"/>
                  </a:lnTo>
                  <a:lnTo>
                    <a:pt x="295719" y="355511"/>
                  </a:lnTo>
                  <a:lnTo>
                    <a:pt x="316979" y="395300"/>
                  </a:lnTo>
                  <a:lnTo>
                    <a:pt x="344271" y="430834"/>
                  </a:lnTo>
                  <a:lnTo>
                    <a:pt x="376923" y="461441"/>
                  </a:lnTo>
                  <a:lnTo>
                    <a:pt x="414235" y="486410"/>
                  </a:lnTo>
                  <a:lnTo>
                    <a:pt x="455536" y="505104"/>
                  </a:lnTo>
                  <a:lnTo>
                    <a:pt x="500164" y="516813"/>
                  </a:lnTo>
                  <a:lnTo>
                    <a:pt x="548068" y="520865"/>
                  </a:lnTo>
                  <a:close/>
                </a:path>
                <a:path w="548640" h="786764">
                  <a:moveTo>
                    <a:pt x="548081" y="267322"/>
                  </a:moveTo>
                  <a:lnTo>
                    <a:pt x="543318" y="225285"/>
                  </a:lnTo>
                  <a:lnTo>
                    <a:pt x="542632" y="219151"/>
                  </a:lnTo>
                  <a:lnTo>
                    <a:pt x="529234" y="173888"/>
                  </a:lnTo>
                  <a:lnTo>
                    <a:pt x="519010" y="153263"/>
                  </a:lnTo>
                  <a:lnTo>
                    <a:pt x="508622" y="132257"/>
                  </a:lnTo>
                  <a:lnTo>
                    <a:pt x="481533" y="95008"/>
                  </a:lnTo>
                  <a:lnTo>
                    <a:pt x="448691" y="62852"/>
                  </a:lnTo>
                  <a:lnTo>
                    <a:pt x="410832" y="36550"/>
                  </a:lnTo>
                  <a:lnTo>
                    <a:pt x="368706" y="16814"/>
                  </a:lnTo>
                  <a:lnTo>
                    <a:pt x="323024" y="4381"/>
                  </a:lnTo>
                  <a:lnTo>
                    <a:pt x="274548" y="0"/>
                  </a:lnTo>
                  <a:lnTo>
                    <a:pt x="273329" y="0"/>
                  </a:lnTo>
                  <a:lnTo>
                    <a:pt x="224980" y="4356"/>
                  </a:lnTo>
                  <a:lnTo>
                    <a:pt x="179438" y="16725"/>
                  </a:lnTo>
                  <a:lnTo>
                    <a:pt x="137401" y="36372"/>
                  </a:lnTo>
                  <a:lnTo>
                    <a:pt x="99618" y="62560"/>
                  </a:lnTo>
                  <a:lnTo>
                    <a:pt x="98018" y="64122"/>
                  </a:lnTo>
                  <a:lnTo>
                    <a:pt x="66814" y="94576"/>
                  </a:lnTo>
                  <a:lnTo>
                    <a:pt x="39687" y="131686"/>
                  </a:lnTo>
                  <a:lnTo>
                    <a:pt x="19037" y="173139"/>
                  </a:lnTo>
                  <a:lnTo>
                    <a:pt x="5562" y="218224"/>
                  </a:lnTo>
                  <a:lnTo>
                    <a:pt x="0" y="266192"/>
                  </a:lnTo>
                  <a:lnTo>
                    <a:pt x="47713" y="262191"/>
                  </a:lnTo>
                  <a:lnTo>
                    <a:pt x="92227" y="250532"/>
                  </a:lnTo>
                  <a:lnTo>
                    <a:pt x="133464" y="231927"/>
                  </a:lnTo>
                  <a:lnTo>
                    <a:pt x="170738" y="207060"/>
                  </a:lnTo>
                  <a:lnTo>
                    <a:pt x="203365" y="176593"/>
                  </a:lnTo>
                  <a:lnTo>
                    <a:pt x="230670" y="141224"/>
                  </a:lnTo>
                  <a:lnTo>
                    <a:pt x="251993" y="101600"/>
                  </a:lnTo>
                  <a:lnTo>
                    <a:pt x="266661" y="58420"/>
                  </a:lnTo>
                  <a:lnTo>
                    <a:pt x="273989" y="12331"/>
                  </a:lnTo>
                  <a:lnTo>
                    <a:pt x="281165" y="58585"/>
                  </a:lnTo>
                  <a:lnTo>
                    <a:pt x="295719" y="101955"/>
                  </a:lnTo>
                  <a:lnTo>
                    <a:pt x="303123" y="115811"/>
                  </a:lnTo>
                  <a:lnTo>
                    <a:pt x="316979" y="141744"/>
                  </a:lnTo>
                  <a:lnTo>
                    <a:pt x="344271" y="177279"/>
                  </a:lnTo>
                  <a:lnTo>
                    <a:pt x="360070" y="192087"/>
                  </a:lnTo>
                  <a:lnTo>
                    <a:pt x="376923" y="207886"/>
                  </a:lnTo>
                  <a:lnTo>
                    <a:pt x="414235" y="232867"/>
                  </a:lnTo>
                  <a:lnTo>
                    <a:pt x="455549" y="251561"/>
                  </a:lnTo>
                  <a:lnTo>
                    <a:pt x="500164" y="263271"/>
                  </a:lnTo>
                  <a:lnTo>
                    <a:pt x="548081" y="267322"/>
                  </a:lnTo>
                  <a:close/>
                </a:path>
              </a:pathLst>
            </a:custGeom>
            <a:solidFill>
              <a:srgbClr val="7ED3F1"/>
            </a:solidFill>
          </p:spPr>
          <p:txBody>
            <a:bodyPr wrap="square" lIns="0" tIns="0" rIns="0" bIns="0" rtlCol="0"/>
            <a:lstStyle/>
            <a:p>
              <a:endParaRPr dirty="0"/>
            </a:p>
          </p:txBody>
        </p:sp>
        <p:pic>
          <p:nvPicPr>
            <p:cNvPr id="542" name="object 303">
              <a:extLst>
                <a:ext uri="{FF2B5EF4-FFF2-40B4-BE49-F238E27FC236}">
                  <a16:creationId xmlns:a16="http://schemas.microsoft.com/office/drawing/2014/main" id="{CEBE2136-A349-484A-0DC6-FEAE2F488EB7}"/>
                </a:ext>
              </a:extLst>
            </p:cNvPr>
            <p:cNvPicPr/>
            <p:nvPr/>
          </p:nvPicPr>
          <p:blipFill>
            <a:blip r:embed="rId17" cstate="print"/>
            <a:stretch>
              <a:fillRect/>
            </a:stretch>
          </p:blipFill>
          <p:spPr>
            <a:xfrm>
              <a:off x="8096998" y="2356067"/>
              <a:ext cx="106445" cy="107156"/>
            </a:xfrm>
            <a:prstGeom prst="rect">
              <a:avLst/>
            </a:prstGeom>
          </p:spPr>
        </p:pic>
        <p:sp>
          <p:nvSpPr>
            <p:cNvPr id="543" name="object 304">
              <a:extLst>
                <a:ext uri="{FF2B5EF4-FFF2-40B4-BE49-F238E27FC236}">
                  <a16:creationId xmlns:a16="http://schemas.microsoft.com/office/drawing/2014/main" id="{30A2FB28-A1D2-E01F-4402-4DF22311B65F}"/>
                </a:ext>
              </a:extLst>
            </p:cNvPr>
            <p:cNvSpPr/>
            <p:nvPr/>
          </p:nvSpPr>
          <p:spPr>
            <a:xfrm>
              <a:off x="7983731"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544" name="object 305">
              <a:extLst>
                <a:ext uri="{FF2B5EF4-FFF2-40B4-BE49-F238E27FC236}">
                  <a16:creationId xmlns:a16="http://schemas.microsoft.com/office/drawing/2014/main" id="{96E581F3-5427-BE13-2A44-D5F644971F1B}"/>
                </a:ext>
              </a:extLst>
            </p:cNvPr>
            <p:cNvPicPr/>
            <p:nvPr/>
          </p:nvPicPr>
          <p:blipFill>
            <a:blip r:embed="rId20" cstate="print"/>
            <a:stretch>
              <a:fillRect/>
            </a:stretch>
          </p:blipFill>
          <p:spPr>
            <a:xfrm>
              <a:off x="7983758" y="123"/>
              <a:ext cx="152433" cy="99184"/>
            </a:xfrm>
            <a:prstGeom prst="rect">
              <a:avLst/>
            </a:prstGeom>
          </p:spPr>
        </p:pic>
        <p:pic>
          <p:nvPicPr>
            <p:cNvPr id="545" name="object 306">
              <a:extLst>
                <a:ext uri="{FF2B5EF4-FFF2-40B4-BE49-F238E27FC236}">
                  <a16:creationId xmlns:a16="http://schemas.microsoft.com/office/drawing/2014/main" id="{13302AF0-FABE-E098-950C-967052F3E502}"/>
                </a:ext>
              </a:extLst>
            </p:cNvPr>
            <p:cNvPicPr/>
            <p:nvPr/>
          </p:nvPicPr>
          <p:blipFill>
            <a:blip r:embed="rId21" cstate="print"/>
            <a:stretch>
              <a:fillRect/>
            </a:stretch>
          </p:blipFill>
          <p:spPr>
            <a:xfrm>
              <a:off x="8163292" y="123"/>
              <a:ext cx="152798" cy="99837"/>
            </a:xfrm>
            <a:prstGeom prst="rect">
              <a:avLst/>
            </a:prstGeom>
          </p:spPr>
        </p:pic>
        <p:sp>
          <p:nvSpPr>
            <p:cNvPr id="546" name="object 307">
              <a:extLst>
                <a:ext uri="{FF2B5EF4-FFF2-40B4-BE49-F238E27FC236}">
                  <a16:creationId xmlns:a16="http://schemas.microsoft.com/office/drawing/2014/main" id="{DE84E4A0-1AF8-D194-C5C1-7C2D1D88B71A}"/>
                </a:ext>
              </a:extLst>
            </p:cNvPr>
            <p:cNvSpPr/>
            <p:nvPr/>
          </p:nvSpPr>
          <p:spPr>
            <a:xfrm>
              <a:off x="7983754" y="91626"/>
              <a:ext cx="332700" cy="323458"/>
            </a:xfrm>
            <a:custGeom>
              <a:avLst/>
              <a:gdLst/>
              <a:ahLst/>
              <a:cxnLst/>
              <a:rect l="l" t="t" r="r" b="b"/>
              <a:pathLst>
                <a:path w="548640" h="533400">
                  <a:moveTo>
                    <a:pt x="548030" y="532841"/>
                  </a:moveTo>
                  <a:lnTo>
                    <a:pt x="542594" y="484682"/>
                  </a:lnTo>
                  <a:lnTo>
                    <a:pt x="529196" y="439420"/>
                  </a:lnTo>
                  <a:lnTo>
                    <a:pt x="508571" y="397789"/>
                  </a:lnTo>
                  <a:lnTo>
                    <a:pt x="481482" y="360527"/>
                  </a:lnTo>
                  <a:lnTo>
                    <a:pt x="448640" y="328383"/>
                  </a:lnTo>
                  <a:lnTo>
                    <a:pt x="410781" y="302069"/>
                  </a:lnTo>
                  <a:lnTo>
                    <a:pt x="368655" y="282333"/>
                  </a:lnTo>
                  <a:lnTo>
                    <a:pt x="322986" y="269913"/>
                  </a:lnTo>
                  <a:lnTo>
                    <a:pt x="274510" y="265544"/>
                  </a:lnTo>
                  <a:lnTo>
                    <a:pt x="273291" y="265544"/>
                  </a:lnTo>
                  <a:lnTo>
                    <a:pt x="224942" y="269900"/>
                  </a:lnTo>
                  <a:lnTo>
                    <a:pt x="179400" y="282257"/>
                  </a:lnTo>
                  <a:lnTo>
                    <a:pt x="137363" y="301904"/>
                  </a:lnTo>
                  <a:lnTo>
                    <a:pt x="99580" y="328104"/>
                  </a:lnTo>
                  <a:lnTo>
                    <a:pt x="66776" y="360121"/>
                  </a:lnTo>
                  <a:lnTo>
                    <a:pt x="39687" y="397217"/>
                  </a:lnTo>
                  <a:lnTo>
                    <a:pt x="19037" y="438683"/>
                  </a:lnTo>
                  <a:lnTo>
                    <a:pt x="5562" y="483768"/>
                  </a:lnTo>
                  <a:lnTo>
                    <a:pt x="0" y="531761"/>
                  </a:lnTo>
                  <a:lnTo>
                    <a:pt x="47675" y="527723"/>
                  </a:lnTo>
                  <a:lnTo>
                    <a:pt x="92189" y="516064"/>
                  </a:lnTo>
                  <a:lnTo>
                    <a:pt x="133426" y="497471"/>
                  </a:lnTo>
                  <a:lnTo>
                    <a:pt x="170688" y="472592"/>
                  </a:lnTo>
                  <a:lnTo>
                    <a:pt x="203314" y="442137"/>
                  </a:lnTo>
                  <a:lnTo>
                    <a:pt x="230632" y="406755"/>
                  </a:lnTo>
                  <a:lnTo>
                    <a:pt x="251955" y="367118"/>
                  </a:lnTo>
                  <a:lnTo>
                    <a:pt x="266611" y="323926"/>
                  </a:lnTo>
                  <a:lnTo>
                    <a:pt x="273951" y="277837"/>
                  </a:lnTo>
                  <a:lnTo>
                    <a:pt x="281127" y="324116"/>
                  </a:lnTo>
                  <a:lnTo>
                    <a:pt x="295681" y="367487"/>
                  </a:lnTo>
                  <a:lnTo>
                    <a:pt x="316941" y="407276"/>
                  </a:lnTo>
                  <a:lnTo>
                    <a:pt x="344233" y="442810"/>
                  </a:lnTo>
                  <a:lnTo>
                    <a:pt x="376885" y="473417"/>
                  </a:lnTo>
                  <a:lnTo>
                    <a:pt x="414197" y="498398"/>
                  </a:lnTo>
                  <a:lnTo>
                    <a:pt x="455498" y="517080"/>
                  </a:lnTo>
                  <a:lnTo>
                    <a:pt x="500126" y="528789"/>
                  </a:lnTo>
                  <a:lnTo>
                    <a:pt x="548030" y="532841"/>
                  </a:lnTo>
                  <a:close/>
                </a:path>
                <a:path w="548640" h="533400">
                  <a:moveTo>
                    <a:pt x="548030" y="267309"/>
                  </a:moveTo>
                  <a:lnTo>
                    <a:pt x="542594" y="219138"/>
                  </a:lnTo>
                  <a:lnTo>
                    <a:pt x="529196" y="173888"/>
                  </a:lnTo>
                  <a:lnTo>
                    <a:pt x="508571" y="132257"/>
                  </a:lnTo>
                  <a:lnTo>
                    <a:pt x="481482" y="94996"/>
                  </a:lnTo>
                  <a:lnTo>
                    <a:pt x="448640" y="62852"/>
                  </a:lnTo>
                  <a:lnTo>
                    <a:pt x="410781" y="36537"/>
                  </a:lnTo>
                  <a:lnTo>
                    <a:pt x="368655" y="16802"/>
                  </a:lnTo>
                  <a:lnTo>
                    <a:pt x="322986" y="4381"/>
                  </a:lnTo>
                  <a:lnTo>
                    <a:pt x="274510" y="0"/>
                  </a:lnTo>
                  <a:lnTo>
                    <a:pt x="273291" y="0"/>
                  </a:lnTo>
                  <a:lnTo>
                    <a:pt x="224942" y="4356"/>
                  </a:lnTo>
                  <a:lnTo>
                    <a:pt x="179400" y="16725"/>
                  </a:lnTo>
                  <a:lnTo>
                    <a:pt x="137363" y="36372"/>
                  </a:lnTo>
                  <a:lnTo>
                    <a:pt x="99580" y="62572"/>
                  </a:lnTo>
                  <a:lnTo>
                    <a:pt x="66776" y="94576"/>
                  </a:lnTo>
                  <a:lnTo>
                    <a:pt x="39687" y="131686"/>
                  </a:lnTo>
                  <a:lnTo>
                    <a:pt x="19037" y="173151"/>
                  </a:lnTo>
                  <a:lnTo>
                    <a:pt x="5562" y="218236"/>
                  </a:lnTo>
                  <a:lnTo>
                    <a:pt x="0" y="266230"/>
                  </a:lnTo>
                  <a:lnTo>
                    <a:pt x="47675" y="262191"/>
                  </a:lnTo>
                  <a:lnTo>
                    <a:pt x="92189" y="250532"/>
                  </a:lnTo>
                  <a:lnTo>
                    <a:pt x="133426" y="231940"/>
                  </a:lnTo>
                  <a:lnTo>
                    <a:pt x="170688" y="207060"/>
                  </a:lnTo>
                  <a:lnTo>
                    <a:pt x="203314" y="176593"/>
                  </a:lnTo>
                  <a:lnTo>
                    <a:pt x="230632" y="141211"/>
                  </a:lnTo>
                  <a:lnTo>
                    <a:pt x="251955" y="101587"/>
                  </a:lnTo>
                  <a:lnTo>
                    <a:pt x="266611" y="58394"/>
                  </a:lnTo>
                  <a:lnTo>
                    <a:pt x="273951" y="12306"/>
                  </a:lnTo>
                  <a:lnTo>
                    <a:pt x="281127" y="58585"/>
                  </a:lnTo>
                  <a:lnTo>
                    <a:pt x="295681" y="101955"/>
                  </a:lnTo>
                  <a:lnTo>
                    <a:pt x="316941" y="141744"/>
                  </a:lnTo>
                  <a:lnTo>
                    <a:pt x="344233" y="177279"/>
                  </a:lnTo>
                  <a:lnTo>
                    <a:pt x="376885" y="207873"/>
                  </a:lnTo>
                  <a:lnTo>
                    <a:pt x="414197" y="232854"/>
                  </a:lnTo>
                  <a:lnTo>
                    <a:pt x="455498" y="251548"/>
                  </a:lnTo>
                  <a:lnTo>
                    <a:pt x="500126" y="263258"/>
                  </a:lnTo>
                  <a:lnTo>
                    <a:pt x="548030" y="267309"/>
                  </a:lnTo>
                  <a:close/>
                </a:path>
              </a:pathLst>
            </a:custGeom>
            <a:solidFill>
              <a:srgbClr val="2DB7EA"/>
            </a:solidFill>
          </p:spPr>
          <p:txBody>
            <a:bodyPr wrap="square" lIns="0" tIns="0" rIns="0" bIns="0" rtlCol="0"/>
            <a:lstStyle/>
            <a:p>
              <a:endParaRPr dirty="0"/>
            </a:p>
          </p:txBody>
        </p:sp>
        <p:pic>
          <p:nvPicPr>
            <p:cNvPr id="547" name="object 308">
              <a:extLst>
                <a:ext uri="{FF2B5EF4-FFF2-40B4-BE49-F238E27FC236}">
                  <a16:creationId xmlns:a16="http://schemas.microsoft.com/office/drawing/2014/main" id="{396D4132-FE1A-033A-9CDE-87069E605000}"/>
                </a:ext>
              </a:extLst>
            </p:cNvPr>
            <p:cNvPicPr/>
            <p:nvPr/>
          </p:nvPicPr>
          <p:blipFill>
            <a:blip r:embed="rId16" cstate="print"/>
            <a:stretch>
              <a:fillRect/>
            </a:stretch>
          </p:blipFill>
          <p:spPr>
            <a:xfrm>
              <a:off x="8096998" y="393572"/>
              <a:ext cx="106445" cy="107156"/>
            </a:xfrm>
            <a:prstGeom prst="rect">
              <a:avLst/>
            </a:prstGeom>
          </p:spPr>
        </p:pic>
        <p:sp>
          <p:nvSpPr>
            <p:cNvPr id="548" name="object 309">
              <a:extLst>
                <a:ext uri="{FF2B5EF4-FFF2-40B4-BE49-F238E27FC236}">
                  <a16:creationId xmlns:a16="http://schemas.microsoft.com/office/drawing/2014/main" id="{2733D509-CA6F-C937-FE53-C72F4688D442}"/>
                </a:ext>
              </a:extLst>
            </p:cNvPr>
            <p:cNvSpPr/>
            <p:nvPr/>
          </p:nvSpPr>
          <p:spPr>
            <a:xfrm>
              <a:off x="7983731" y="592039"/>
              <a:ext cx="332700" cy="477101"/>
            </a:xfrm>
            <a:custGeom>
              <a:avLst/>
              <a:gdLst/>
              <a:ahLst/>
              <a:cxnLst/>
              <a:rect l="l" t="t" r="r" b="b"/>
              <a:pathLst>
                <a:path w="548640" h="786764">
                  <a:moveTo>
                    <a:pt x="548068" y="786384"/>
                  </a:moveTo>
                  <a:lnTo>
                    <a:pt x="542632" y="738225"/>
                  </a:lnTo>
                  <a:lnTo>
                    <a:pt x="529234" y="692962"/>
                  </a:lnTo>
                  <a:lnTo>
                    <a:pt x="508609" y="651332"/>
                  </a:lnTo>
                  <a:lnTo>
                    <a:pt x="481520" y="614083"/>
                  </a:lnTo>
                  <a:lnTo>
                    <a:pt x="448678" y="581926"/>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47"/>
                  </a:lnTo>
                  <a:lnTo>
                    <a:pt x="66814" y="613664"/>
                  </a:lnTo>
                  <a:lnTo>
                    <a:pt x="39725" y="650760"/>
                  </a:lnTo>
                  <a:lnTo>
                    <a:pt x="19075" y="692226"/>
                  </a:lnTo>
                  <a:lnTo>
                    <a:pt x="5600" y="737323"/>
                  </a:lnTo>
                  <a:lnTo>
                    <a:pt x="38" y="785304"/>
                  </a:lnTo>
                  <a:lnTo>
                    <a:pt x="47713" y="781278"/>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59"/>
                  </a:lnTo>
                  <a:lnTo>
                    <a:pt x="295719" y="621030"/>
                  </a:lnTo>
                  <a:lnTo>
                    <a:pt x="316979" y="660831"/>
                  </a:lnTo>
                  <a:lnTo>
                    <a:pt x="344271" y="696366"/>
                  </a:lnTo>
                  <a:lnTo>
                    <a:pt x="376923" y="726960"/>
                  </a:lnTo>
                  <a:lnTo>
                    <a:pt x="414235" y="751941"/>
                  </a:lnTo>
                  <a:lnTo>
                    <a:pt x="455536" y="770623"/>
                  </a:lnTo>
                  <a:lnTo>
                    <a:pt x="500164" y="782332"/>
                  </a:lnTo>
                  <a:lnTo>
                    <a:pt x="548068" y="786384"/>
                  </a:lnTo>
                  <a:close/>
                </a:path>
                <a:path w="548640" h="786764">
                  <a:moveTo>
                    <a:pt x="548068" y="520852"/>
                  </a:moveTo>
                  <a:lnTo>
                    <a:pt x="542632" y="472694"/>
                  </a:lnTo>
                  <a:lnTo>
                    <a:pt x="529234" y="427431"/>
                  </a:lnTo>
                  <a:lnTo>
                    <a:pt x="508609" y="385800"/>
                  </a:lnTo>
                  <a:lnTo>
                    <a:pt x="481520" y="348551"/>
                  </a:lnTo>
                  <a:lnTo>
                    <a:pt x="448678" y="316395"/>
                  </a:lnTo>
                  <a:lnTo>
                    <a:pt x="410819" y="290080"/>
                  </a:lnTo>
                  <a:lnTo>
                    <a:pt x="368693" y="270357"/>
                  </a:lnTo>
                  <a:lnTo>
                    <a:pt x="323024" y="257924"/>
                  </a:lnTo>
                  <a:lnTo>
                    <a:pt x="274548" y="253555"/>
                  </a:lnTo>
                  <a:lnTo>
                    <a:pt x="273329" y="253555"/>
                  </a:lnTo>
                  <a:lnTo>
                    <a:pt x="224980" y="257911"/>
                  </a:lnTo>
                  <a:lnTo>
                    <a:pt x="179438" y="270281"/>
                  </a:lnTo>
                  <a:lnTo>
                    <a:pt x="137401" y="289915"/>
                  </a:lnTo>
                  <a:lnTo>
                    <a:pt x="99618" y="316115"/>
                  </a:lnTo>
                  <a:lnTo>
                    <a:pt x="66814" y="348132"/>
                  </a:lnTo>
                  <a:lnTo>
                    <a:pt x="39725" y="385229"/>
                  </a:lnTo>
                  <a:lnTo>
                    <a:pt x="19075" y="426694"/>
                  </a:lnTo>
                  <a:lnTo>
                    <a:pt x="5600" y="471779"/>
                  </a:lnTo>
                  <a:lnTo>
                    <a:pt x="38" y="519772"/>
                  </a:lnTo>
                  <a:lnTo>
                    <a:pt x="47713" y="515734"/>
                  </a:lnTo>
                  <a:lnTo>
                    <a:pt x="92227" y="504088"/>
                  </a:lnTo>
                  <a:lnTo>
                    <a:pt x="133464" y="485482"/>
                  </a:lnTo>
                  <a:lnTo>
                    <a:pt x="170726" y="460616"/>
                  </a:lnTo>
                  <a:lnTo>
                    <a:pt x="203352" y="430149"/>
                  </a:lnTo>
                  <a:lnTo>
                    <a:pt x="230670" y="394766"/>
                  </a:lnTo>
                  <a:lnTo>
                    <a:pt x="251993" y="355142"/>
                  </a:lnTo>
                  <a:lnTo>
                    <a:pt x="266649" y="311937"/>
                  </a:lnTo>
                  <a:lnTo>
                    <a:pt x="273989" y="265861"/>
                  </a:lnTo>
                  <a:lnTo>
                    <a:pt x="281165" y="312127"/>
                  </a:lnTo>
                  <a:lnTo>
                    <a:pt x="295719" y="355498"/>
                  </a:lnTo>
                  <a:lnTo>
                    <a:pt x="316979" y="395300"/>
                  </a:lnTo>
                  <a:lnTo>
                    <a:pt x="344271" y="430834"/>
                  </a:lnTo>
                  <a:lnTo>
                    <a:pt x="376923" y="461429"/>
                  </a:lnTo>
                  <a:lnTo>
                    <a:pt x="414235" y="486410"/>
                  </a:lnTo>
                  <a:lnTo>
                    <a:pt x="455536" y="505091"/>
                  </a:lnTo>
                  <a:lnTo>
                    <a:pt x="500164" y="516801"/>
                  </a:lnTo>
                  <a:lnTo>
                    <a:pt x="548068" y="520852"/>
                  </a:lnTo>
                  <a:close/>
                </a:path>
                <a:path w="548640" h="786764">
                  <a:moveTo>
                    <a:pt x="548081" y="267322"/>
                  </a:moveTo>
                  <a:lnTo>
                    <a:pt x="542632" y="219138"/>
                  </a:lnTo>
                  <a:lnTo>
                    <a:pt x="529234" y="173875"/>
                  </a:lnTo>
                  <a:lnTo>
                    <a:pt x="508622" y="132245"/>
                  </a:lnTo>
                  <a:lnTo>
                    <a:pt x="481533" y="94996"/>
                  </a:lnTo>
                  <a:lnTo>
                    <a:pt x="480834" y="94322"/>
                  </a:lnTo>
                  <a:lnTo>
                    <a:pt x="448691" y="62839"/>
                  </a:lnTo>
                  <a:lnTo>
                    <a:pt x="422376" y="44564"/>
                  </a:lnTo>
                  <a:lnTo>
                    <a:pt x="410832" y="36537"/>
                  </a:lnTo>
                  <a:lnTo>
                    <a:pt x="368693" y="16789"/>
                  </a:lnTo>
                  <a:lnTo>
                    <a:pt x="323024" y="4368"/>
                  </a:lnTo>
                  <a:lnTo>
                    <a:pt x="274561" y="12"/>
                  </a:lnTo>
                  <a:lnTo>
                    <a:pt x="273329" y="0"/>
                  </a:lnTo>
                  <a:lnTo>
                    <a:pt x="224980" y="4356"/>
                  </a:lnTo>
                  <a:lnTo>
                    <a:pt x="179438" y="16713"/>
                  </a:lnTo>
                  <a:lnTo>
                    <a:pt x="137401" y="36360"/>
                  </a:lnTo>
                  <a:lnTo>
                    <a:pt x="108216" y="56591"/>
                  </a:lnTo>
                  <a:lnTo>
                    <a:pt x="99618" y="62560"/>
                  </a:lnTo>
                  <a:lnTo>
                    <a:pt x="66814" y="94576"/>
                  </a:lnTo>
                  <a:lnTo>
                    <a:pt x="39687" y="131686"/>
                  </a:lnTo>
                  <a:lnTo>
                    <a:pt x="19037" y="173139"/>
                  </a:lnTo>
                  <a:lnTo>
                    <a:pt x="5562" y="218211"/>
                  </a:lnTo>
                  <a:lnTo>
                    <a:pt x="0" y="266192"/>
                  </a:lnTo>
                  <a:lnTo>
                    <a:pt x="47713" y="262178"/>
                  </a:lnTo>
                  <a:lnTo>
                    <a:pt x="92227" y="250520"/>
                  </a:lnTo>
                  <a:lnTo>
                    <a:pt x="133464" y="231927"/>
                  </a:lnTo>
                  <a:lnTo>
                    <a:pt x="161404" y="213271"/>
                  </a:lnTo>
                  <a:lnTo>
                    <a:pt x="170738" y="207048"/>
                  </a:lnTo>
                  <a:lnTo>
                    <a:pt x="203365" y="176593"/>
                  </a:lnTo>
                  <a:lnTo>
                    <a:pt x="230670" y="141211"/>
                  </a:lnTo>
                  <a:lnTo>
                    <a:pt x="251993" y="101587"/>
                  </a:lnTo>
                  <a:lnTo>
                    <a:pt x="266661" y="58407"/>
                  </a:lnTo>
                  <a:lnTo>
                    <a:pt x="273989" y="12319"/>
                  </a:lnTo>
                  <a:lnTo>
                    <a:pt x="281165" y="58572"/>
                  </a:lnTo>
                  <a:lnTo>
                    <a:pt x="295719" y="101942"/>
                  </a:lnTo>
                  <a:lnTo>
                    <a:pt x="316979" y="141732"/>
                  </a:lnTo>
                  <a:lnTo>
                    <a:pt x="344271" y="177266"/>
                  </a:lnTo>
                  <a:lnTo>
                    <a:pt x="376923" y="207873"/>
                  </a:lnTo>
                  <a:lnTo>
                    <a:pt x="414235" y="232854"/>
                  </a:lnTo>
                  <a:lnTo>
                    <a:pt x="455549" y="251548"/>
                  </a:lnTo>
                  <a:lnTo>
                    <a:pt x="500164" y="263258"/>
                  </a:lnTo>
                  <a:lnTo>
                    <a:pt x="548081" y="267322"/>
                  </a:lnTo>
                  <a:close/>
                </a:path>
              </a:pathLst>
            </a:custGeom>
            <a:solidFill>
              <a:srgbClr val="7ED3F1"/>
            </a:solidFill>
          </p:spPr>
          <p:txBody>
            <a:bodyPr wrap="square" lIns="0" tIns="0" rIns="0" bIns="0" rtlCol="0"/>
            <a:lstStyle/>
            <a:p>
              <a:endParaRPr dirty="0"/>
            </a:p>
          </p:txBody>
        </p:sp>
        <p:pic>
          <p:nvPicPr>
            <p:cNvPr id="549" name="object 310">
              <a:extLst>
                <a:ext uri="{FF2B5EF4-FFF2-40B4-BE49-F238E27FC236}">
                  <a16:creationId xmlns:a16="http://schemas.microsoft.com/office/drawing/2014/main" id="{9837F0D7-7560-827F-143A-519F84075874}"/>
                </a:ext>
              </a:extLst>
            </p:cNvPr>
            <p:cNvPicPr/>
            <p:nvPr/>
          </p:nvPicPr>
          <p:blipFill>
            <a:blip r:embed="rId17" cstate="print"/>
            <a:stretch>
              <a:fillRect/>
            </a:stretch>
          </p:blipFill>
          <p:spPr>
            <a:xfrm>
              <a:off x="8096998" y="1047738"/>
              <a:ext cx="106445" cy="107156"/>
            </a:xfrm>
            <a:prstGeom prst="rect">
              <a:avLst/>
            </a:prstGeom>
          </p:spPr>
        </p:pic>
        <p:sp>
          <p:nvSpPr>
            <p:cNvPr id="550" name="object 311">
              <a:extLst>
                <a:ext uri="{FF2B5EF4-FFF2-40B4-BE49-F238E27FC236}">
                  <a16:creationId xmlns:a16="http://schemas.microsoft.com/office/drawing/2014/main" id="{8CCEA0DE-562C-C385-FC50-A9D694232C8C}"/>
                </a:ext>
              </a:extLst>
            </p:cNvPr>
            <p:cNvSpPr/>
            <p:nvPr/>
          </p:nvSpPr>
          <p:spPr>
            <a:xfrm>
              <a:off x="9138939" y="804428"/>
              <a:ext cx="332700" cy="477101"/>
            </a:xfrm>
            <a:custGeom>
              <a:avLst/>
              <a:gdLst/>
              <a:ahLst/>
              <a:cxnLst/>
              <a:rect l="l" t="t" r="r" b="b"/>
              <a:pathLst>
                <a:path w="548640" h="786764">
                  <a:moveTo>
                    <a:pt x="548081" y="520166"/>
                  </a:moveTo>
                  <a:lnTo>
                    <a:pt x="500367" y="524205"/>
                  </a:lnTo>
                  <a:lnTo>
                    <a:pt x="455841" y="535851"/>
                  </a:lnTo>
                  <a:lnTo>
                    <a:pt x="414616" y="554456"/>
                  </a:lnTo>
                  <a:lnTo>
                    <a:pt x="377355" y="579323"/>
                  </a:lnTo>
                  <a:lnTo>
                    <a:pt x="375183" y="581355"/>
                  </a:lnTo>
                  <a:lnTo>
                    <a:pt x="344728" y="609790"/>
                  </a:lnTo>
                  <a:lnTo>
                    <a:pt x="317411" y="645160"/>
                  </a:lnTo>
                  <a:lnTo>
                    <a:pt x="296087" y="684784"/>
                  </a:lnTo>
                  <a:lnTo>
                    <a:pt x="281419" y="727976"/>
                  </a:lnTo>
                  <a:lnTo>
                    <a:pt x="274078" y="774039"/>
                  </a:lnTo>
                  <a:lnTo>
                    <a:pt x="268224" y="736295"/>
                  </a:lnTo>
                  <a:lnTo>
                    <a:pt x="266915" y="727811"/>
                  </a:lnTo>
                  <a:lnTo>
                    <a:pt x="252361" y="684441"/>
                  </a:lnTo>
                  <a:lnTo>
                    <a:pt x="231101" y="644652"/>
                  </a:lnTo>
                  <a:lnTo>
                    <a:pt x="224764" y="636409"/>
                  </a:lnTo>
                  <a:lnTo>
                    <a:pt x="203796" y="609117"/>
                  </a:lnTo>
                  <a:lnTo>
                    <a:pt x="171157" y="578510"/>
                  </a:lnTo>
                  <a:lnTo>
                    <a:pt x="133845" y="553529"/>
                  </a:lnTo>
                  <a:lnTo>
                    <a:pt x="92532" y="534847"/>
                  </a:lnTo>
                  <a:lnTo>
                    <a:pt x="47917" y="523113"/>
                  </a:lnTo>
                  <a:lnTo>
                    <a:pt x="0" y="519061"/>
                  </a:lnTo>
                  <a:lnTo>
                    <a:pt x="5448" y="567245"/>
                  </a:lnTo>
                  <a:lnTo>
                    <a:pt x="18846" y="612508"/>
                  </a:lnTo>
                  <a:lnTo>
                    <a:pt x="39458" y="654138"/>
                  </a:lnTo>
                  <a:lnTo>
                    <a:pt x="66548" y="691388"/>
                  </a:lnTo>
                  <a:lnTo>
                    <a:pt x="98704" y="722871"/>
                  </a:lnTo>
                  <a:lnTo>
                    <a:pt x="137248" y="749858"/>
                  </a:lnTo>
                  <a:lnTo>
                    <a:pt x="179387" y="769594"/>
                  </a:lnTo>
                  <a:lnTo>
                    <a:pt x="225056" y="782015"/>
                  </a:lnTo>
                  <a:lnTo>
                    <a:pt x="273532" y="786384"/>
                  </a:lnTo>
                  <a:lnTo>
                    <a:pt x="274751" y="786384"/>
                  </a:lnTo>
                  <a:lnTo>
                    <a:pt x="323088" y="782027"/>
                  </a:lnTo>
                  <a:lnTo>
                    <a:pt x="368642" y="769670"/>
                  </a:lnTo>
                  <a:lnTo>
                    <a:pt x="410679" y="750023"/>
                  </a:lnTo>
                  <a:lnTo>
                    <a:pt x="448475" y="723823"/>
                  </a:lnTo>
                  <a:lnTo>
                    <a:pt x="481279" y="691807"/>
                  </a:lnTo>
                  <a:lnTo>
                    <a:pt x="508393" y="654697"/>
                  </a:lnTo>
                  <a:lnTo>
                    <a:pt x="529043" y="613244"/>
                  </a:lnTo>
                  <a:lnTo>
                    <a:pt x="542518" y="568172"/>
                  </a:lnTo>
                  <a:lnTo>
                    <a:pt x="548068" y="520204"/>
                  </a:lnTo>
                  <a:close/>
                </a:path>
                <a:path w="548640" h="786764">
                  <a:moveTo>
                    <a:pt x="548081" y="266598"/>
                  </a:moveTo>
                  <a:lnTo>
                    <a:pt x="500367" y="270637"/>
                  </a:lnTo>
                  <a:lnTo>
                    <a:pt x="455841" y="282295"/>
                  </a:lnTo>
                  <a:lnTo>
                    <a:pt x="414616" y="300901"/>
                  </a:lnTo>
                  <a:lnTo>
                    <a:pt x="377355" y="325767"/>
                  </a:lnTo>
                  <a:lnTo>
                    <a:pt x="344728" y="356235"/>
                  </a:lnTo>
                  <a:lnTo>
                    <a:pt x="317411" y="391617"/>
                  </a:lnTo>
                  <a:lnTo>
                    <a:pt x="296087" y="431241"/>
                  </a:lnTo>
                  <a:lnTo>
                    <a:pt x="281419" y="474433"/>
                  </a:lnTo>
                  <a:lnTo>
                    <a:pt x="274091" y="520522"/>
                  </a:lnTo>
                  <a:lnTo>
                    <a:pt x="266915" y="474256"/>
                  </a:lnTo>
                  <a:lnTo>
                    <a:pt x="252361" y="430872"/>
                  </a:lnTo>
                  <a:lnTo>
                    <a:pt x="231101"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88"/>
                  </a:lnTo>
                  <a:lnTo>
                    <a:pt x="137248" y="496290"/>
                  </a:lnTo>
                  <a:lnTo>
                    <a:pt x="179387" y="516026"/>
                  </a:lnTo>
                  <a:lnTo>
                    <a:pt x="225056" y="528447"/>
                  </a:lnTo>
                  <a:lnTo>
                    <a:pt x="273532" y="532828"/>
                  </a:lnTo>
                  <a:lnTo>
                    <a:pt x="274751" y="532828"/>
                  </a:lnTo>
                  <a:lnTo>
                    <a:pt x="323088" y="528472"/>
                  </a:lnTo>
                  <a:lnTo>
                    <a:pt x="368642" y="516102"/>
                  </a:lnTo>
                  <a:lnTo>
                    <a:pt x="410679" y="496455"/>
                  </a:lnTo>
                  <a:lnTo>
                    <a:pt x="448475" y="470268"/>
                  </a:lnTo>
                  <a:lnTo>
                    <a:pt x="481279" y="438251"/>
                  </a:lnTo>
                  <a:lnTo>
                    <a:pt x="508368" y="401142"/>
                  </a:lnTo>
                  <a:lnTo>
                    <a:pt x="529031" y="359689"/>
                  </a:lnTo>
                  <a:lnTo>
                    <a:pt x="542505" y="314591"/>
                  </a:lnTo>
                  <a:lnTo>
                    <a:pt x="548081" y="266598"/>
                  </a:lnTo>
                  <a:close/>
                </a:path>
                <a:path w="548640" h="786764">
                  <a:moveTo>
                    <a:pt x="548081" y="1079"/>
                  </a:moveTo>
                  <a:lnTo>
                    <a:pt x="500367" y="5105"/>
                  </a:lnTo>
                  <a:lnTo>
                    <a:pt x="455841" y="16764"/>
                  </a:lnTo>
                  <a:lnTo>
                    <a:pt x="414616" y="35369"/>
                  </a:lnTo>
                  <a:lnTo>
                    <a:pt x="377355" y="60236"/>
                  </a:lnTo>
                  <a:lnTo>
                    <a:pt x="344728" y="90703"/>
                  </a:lnTo>
                  <a:lnTo>
                    <a:pt x="317411" y="126085"/>
                  </a:lnTo>
                  <a:lnTo>
                    <a:pt x="296087" y="165709"/>
                  </a:lnTo>
                  <a:lnTo>
                    <a:pt x="281419" y="208902"/>
                  </a:lnTo>
                  <a:lnTo>
                    <a:pt x="274091" y="254990"/>
                  </a:lnTo>
                  <a:lnTo>
                    <a:pt x="266915" y="208724"/>
                  </a:lnTo>
                  <a:lnTo>
                    <a:pt x="252361" y="165354"/>
                  </a:lnTo>
                  <a:lnTo>
                    <a:pt x="231101"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36"/>
                  </a:lnTo>
                  <a:lnTo>
                    <a:pt x="481279" y="172720"/>
                  </a:lnTo>
                  <a:lnTo>
                    <a:pt x="508368" y="135623"/>
                  </a:lnTo>
                  <a:lnTo>
                    <a:pt x="529031" y="94157"/>
                  </a:lnTo>
                  <a:lnTo>
                    <a:pt x="542505" y="49060"/>
                  </a:lnTo>
                  <a:lnTo>
                    <a:pt x="548081" y="1079"/>
                  </a:lnTo>
                  <a:close/>
                </a:path>
              </a:pathLst>
            </a:custGeom>
            <a:solidFill>
              <a:srgbClr val="2DB7EA"/>
            </a:solidFill>
          </p:spPr>
          <p:txBody>
            <a:bodyPr wrap="square" lIns="0" tIns="0" rIns="0" bIns="0" rtlCol="0"/>
            <a:lstStyle/>
            <a:p>
              <a:endParaRPr dirty="0"/>
            </a:p>
          </p:txBody>
        </p:sp>
        <p:pic>
          <p:nvPicPr>
            <p:cNvPr id="551" name="object 312">
              <a:extLst>
                <a:ext uri="{FF2B5EF4-FFF2-40B4-BE49-F238E27FC236}">
                  <a16:creationId xmlns:a16="http://schemas.microsoft.com/office/drawing/2014/main" id="{CB7EE108-01F9-96BE-9F73-44C048445720}"/>
                </a:ext>
              </a:extLst>
            </p:cNvPr>
            <p:cNvPicPr/>
            <p:nvPr/>
          </p:nvPicPr>
          <p:blipFill>
            <a:blip r:embed="rId10" cstate="print"/>
            <a:stretch>
              <a:fillRect/>
            </a:stretch>
          </p:blipFill>
          <p:spPr>
            <a:xfrm>
              <a:off x="9251594" y="718433"/>
              <a:ext cx="106445" cy="107156"/>
            </a:xfrm>
            <a:prstGeom prst="rect">
              <a:avLst/>
            </a:prstGeom>
          </p:spPr>
        </p:pic>
        <p:sp>
          <p:nvSpPr>
            <p:cNvPr id="552" name="object 313">
              <a:extLst>
                <a:ext uri="{FF2B5EF4-FFF2-40B4-BE49-F238E27FC236}">
                  <a16:creationId xmlns:a16="http://schemas.microsoft.com/office/drawing/2014/main" id="{14BD61CE-65F5-7584-0718-6708A0340713}"/>
                </a:ext>
              </a:extLst>
            </p:cNvPr>
            <p:cNvSpPr/>
            <p:nvPr/>
          </p:nvSpPr>
          <p:spPr>
            <a:xfrm>
              <a:off x="9138939" y="150257"/>
              <a:ext cx="332700" cy="477101"/>
            </a:xfrm>
            <a:custGeom>
              <a:avLst/>
              <a:gdLst/>
              <a:ahLst/>
              <a:cxnLst/>
              <a:rect l="l" t="t" r="r" b="b"/>
              <a:pathLst>
                <a:path w="548640" h="786765">
                  <a:moveTo>
                    <a:pt x="548081" y="520179"/>
                  </a:moveTo>
                  <a:lnTo>
                    <a:pt x="500367" y="524205"/>
                  </a:lnTo>
                  <a:lnTo>
                    <a:pt x="455841" y="535863"/>
                  </a:lnTo>
                  <a:lnTo>
                    <a:pt x="414616" y="554469"/>
                  </a:lnTo>
                  <a:lnTo>
                    <a:pt x="402209" y="562749"/>
                  </a:lnTo>
                  <a:lnTo>
                    <a:pt x="377355" y="579335"/>
                  </a:lnTo>
                  <a:lnTo>
                    <a:pt x="344728" y="609803"/>
                  </a:lnTo>
                  <a:lnTo>
                    <a:pt x="317411" y="645172"/>
                  </a:lnTo>
                  <a:lnTo>
                    <a:pt x="296087" y="684796"/>
                  </a:lnTo>
                  <a:lnTo>
                    <a:pt x="281419" y="727976"/>
                  </a:lnTo>
                  <a:lnTo>
                    <a:pt x="274078" y="774039"/>
                  </a:lnTo>
                  <a:lnTo>
                    <a:pt x="268224" y="736307"/>
                  </a:lnTo>
                  <a:lnTo>
                    <a:pt x="266915" y="727824"/>
                  </a:lnTo>
                  <a:lnTo>
                    <a:pt x="252361" y="684453"/>
                  </a:lnTo>
                  <a:lnTo>
                    <a:pt x="244944" y="670598"/>
                  </a:lnTo>
                  <a:lnTo>
                    <a:pt x="231101"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51"/>
                  </a:lnTo>
                  <a:lnTo>
                    <a:pt x="66548" y="691388"/>
                  </a:lnTo>
                  <a:lnTo>
                    <a:pt x="99402" y="723557"/>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5">
                  <a:moveTo>
                    <a:pt x="548081" y="266611"/>
                  </a:moveTo>
                  <a:lnTo>
                    <a:pt x="500367" y="270649"/>
                  </a:lnTo>
                  <a:lnTo>
                    <a:pt x="455841" y="282308"/>
                  </a:lnTo>
                  <a:lnTo>
                    <a:pt x="414616" y="300901"/>
                  </a:lnTo>
                  <a:lnTo>
                    <a:pt x="377355" y="325767"/>
                  </a:lnTo>
                  <a:lnTo>
                    <a:pt x="344728" y="356235"/>
                  </a:lnTo>
                  <a:lnTo>
                    <a:pt x="317411" y="391617"/>
                  </a:lnTo>
                  <a:lnTo>
                    <a:pt x="296087" y="431253"/>
                  </a:lnTo>
                  <a:lnTo>
                    <a:pt x="281419" y="474446"/>
                  </a:lnTo>
                  <a:lnTo>
                    <a:pt x="274091" y="520534"/>
                  </a:lnTo>
                  <a:lnTo>
                    <a:pt x="266915" y="474256"/>
                  </a:lnTo>
                  <a:lnTo>
                    <a:pt x="252361" y="430885"/>
                  </a:lnTo>
                  <a:lnTo>
                    <a:pt x="231101"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87" y="516039"/>
                  </a:lnTo>
                  <a:lnTo>
                    <a:pt x="225056" y="528459"/>
                  </a:lnTo>
                  <a:lnTo>
                    <a:pt x="273532" y="532828"/>
                  </a:lnTo>
                  <a:lnTo>
                    <a:pt x="274751" y="532828"/>
                  </a:lnTo>
                  <a:lnTo>
                    <a:pt x="323088" y="528472"/>
                  </a:lnTo>
                  <a:lnTo>
                    <a:pt x="368642" y="516115"/>
                  </a:lnTo>
                  <a:lnTo>
                    <a:pt x="410679" y="496468"/>
                  </a:lnTo>
                  <a:lnTo>
                    <a:pt x="448475" y="470268"/>
                  </a:lnTo>
                  <a:lnTo>
                    <a:pt x="481279" y="438251"/>
                  </a:lnTo>
                  <a:lnTo>
                    <a:pt x="508368" y="401154"/>
                  </a:lnTo>
                  <a:lnTo>
                    <a:pt x="529031" y="359689"/>
                  </a:lnTo>
                  <a:lnTo>
                    <a:pt x="542505" y="314604"/>
                  </a:lnTo>
                  <a:lnTo>
                    <a:pt x="548081" y="266611"/>
                  </a:lnTo>
                  <a:close/>
                </a:path>
                <a:path w="548640" h="786765">
                  <a:moveTo>
                    <a:pt x="548081" y="1079"/>
                  </a:moveTo>
                  <a:lnTo>
                    <a:pt x="500367" y="5118"/>
                  </a:lnTo>
                  <a:lnTo>
                    <a:pt x="455841" y="16776"/>
                  </a:lnTo>
                  <a:lnTo>
                    <a:pt x="414616" y="35369"/>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60"/>
                  </a:lnTo>
                  <a:lnTo>
                    <a:pt x="47917" y="4064"/>
                  </a:lnTo>
                  <a:lnTo>
                    <a:pt x="0" y="0"/>
                  </a:lnTo>
                  <a:lnTo>
                    <a:pt x="5448" y="48171"/>
                  </a:lnTo>
                  <a:lnTo>
                    <a:pt x="18846" y="93433"/>
                  </a:lnTo>
                  <a:lnTo>
                    <a:pt x="39458" y="135051"/>
                  </a:lnTo>
                  <a:lnTo>
                    <a:pt x="66560" y="172313"/>
                  </a:lnTo>
                  <a:lnTo>
                    <a:pt x="99402" y="204457"/>
                  </a:lnTo>
                  <a:lnTo>
                    <a:pt x="137248" y="230771"/>
                  </a:lnTo>
                  <a:lnTo>
                    <a:pt x="179387" y="250507"/>
                  </a:lnTo>
                  <a:lnTo>
                    <a:pt x="225056" y="262928"/>
                  </a:lnTo>
                  <a:lnTo>
                    <a:pt x="273532" y="267309"/>
                  </a:lnTo>
                  <a:lnTo>
                    <a:pt x="274751" y="267309"/>
                  </a:lnTo>
                  <a:lnTo>
                    <a:pt x="323088" y="262953"/>
                  </a:lnTo>
                  <a:lnTo>
                    <a:pt x="368642" y="250583"/>
                  </a:lnTo>
                  <a:lnTo>
                    <a:pt x="410679" y="230936"/>
                  </a:lnTo>
                  <a:lnTo>
                    <a:pt x="448475" y="204736"/>
                  </a:lnTo>
                  <a:lnTo>
                    <a:pt x="481279" y="172732"/>
                  </a:lnTo>
                  <a:lnTo>
                    <a:pt x="508368" y="135623"/>
                  </a:lnTo>
                  <a:lnTo>
                    <a:pt x="529031" y="94157"/>
                  </a:lnTo>
                  <a:lnTo>
                    <a:pt x="542505" y="49072"/>
                  </a:lnTo>
                  <a:lnTo>
                    <a:pt x="548081" y="1079"/>
                  </a:lnTo>
                  <a:close/>
                </a:path>
              </a:pathLst>
            </a:custGeom>
            <a:solidFill>
              <a:srgbClr val="7ED3F1"/>
            </a:solidFill>
          </p:spPr>
          <p:txBody>
            <a:bodyPr wrap="square" lIns="0" tIns="0" rIns="0" bIns="0" rtlCol="0"/>
            <a:lstStyle/>
            <a:p>
              <a:endParaRPr dirty="0"/>
            </a:p>
          </p:txBody>
        </p:sp>
        <p:pic>
          <p:nvPicPr>
            <p:cNvPr id="553" name="object 314">
              <a:extLst>
                <a:ext uri="{FF2B5EF4-FFF2-40B4-BE49-F238E27FC236}">
                  <a16:creationId xmlns:a16="http://schemas.microsoft.com/office/drawing/2014/main" id="{03001CF2-1E1F-D570-EDF6-8263BE3CE896}"/>
                </a:ext>
              </a:extLst>
            </p:cNvPr>
            <p:cNvPicPr/>
            <p:nvPr/>
          </p:nvPicPr>
          <p:blipFill>
            <a:blip r:embed="rId11" cstate="print"/>
            <a:stretch>
              <a:fillRect/>
            </a:stretch>
          </p:blipFill>
          <p:spPr>
            <a:xfrm>
              <a:off x="9251594" y="64269"/>
              <a:ext cx="106445" cy="107156"/>
            </a:xfrm>
            <a:prstGeom prst="rect">
              <a:avLst/>
            </a:prstGeom>
          </p:spPr>
        </p:pic>
        <p:sp>
          <p:nvSpPr>
            <p:cNvPr id="554" name="object 315">
              <a:extLst>
                <a:ext uri="{FF2B5EF4-FFF2-40B4-BE49-F238E27FC236}">
                  <a16:creationId xmlns:a16="http://schemas.microsoft.com/office/drawing/2014/main" id="{C35879A7-CA6C-958F-C887-BA8496255ED2}"/>
                </a:ext>
              </a:extLst>
            </p:cNvPr>
            <p:cNvSpPr/>
            <p:nvPr/>
          </p:nvSpPr>
          <p:spPr>
            <a:xfrm>
              <a:off x="9138939" y="2112754"/>
              <a:ext cx="332700" cy="477101"/>
            </a:xfrm>
            <a:custGeom>
              <a:avLst/>
              <a:gdLst/>
              <a:ahLst/>
              <a:cxnLst/>
              <a:rect l="l" t="t" r="r" b="b"/>
              <a:pathLst>
                <a:path w="548640" h="786764">
                  <a:moveTo>
                    <a:pt x="548081" y="520166"/>
                  </a:moveTo>
                  <a:lnTo>
                    <a:pt x="500367" y="524205"/>
                  </a:lnTo>
                  <a:lnTo>
                    <a:pt x="455841" y="535863"/>
                  </a:lnTo>
                  <a:lnTo>
                    <a:pt x="414616" y="554456"/>
                  </a:lnTo>
                  <a:lnTo>
                    <a:pt x="377355" y="579335"/>
                  </a:lnTo>
                  <a:lnTo>
                    <a:pt x="375183" y="581367"/>
                  </a:lnTo>
                  <a:lnTo>
                    <a:pt x="344728" y="609803"/>
                  </a:lnTo>
                  <a:lnTo>
                    <a:pt x="317411" y="645172"/>
                  </a:lnTo>
                  <a:lnTo>
                    <a:pt x="296087" y="684796"/>
                  </a:lnTo>
                  <a:lnTo>
                    <a:pt x="281419" y="727989"/>
                  </a:lnTo>
                  <a:lnTo>
                    <a:pt x="274078" y="774039"/>
                  </a:lnTo>
                  <a:lnTo>
                    <a:pt x="266915" y="727811"/>
                  </a:lnTo>
                  <a:lnTo>
                    <a:pt x="252361" y="684441"/>
                  </a:lnTo>
                  <a:lnTo>
                    <a:pt x="231101" y="644652"/>
                  </a:lnTo>
                  <a:lnTo>
                    <a:pt x="203796" y="609117"/>
                  </a:lnTo>
                  <a:lnTo>
                    <a:pt x="171157" y="578523"/>
                  </a:lnTo>
                  <a:lnTo>
                    <a:pt x="133845" y="553542"/>
                  </a:lnTo>
                  <a:lnTo>
                    <a:pt x="92532" y="534860"/>
                  </a:lnTo>
                  <a:lnTo>
                    <a:pt x="47917" y="523125"/>
                  </a:lnTo>
                  <a:lnTo>
                    <a:pt x="0" y="519099"/>
                  </a:lnTo>
                  <a:lnTo>
                    <a:pt x="5448" y="567258"/>
                  </a:lnTo>
                  <a:lnTo>
                    <a:pt x="18846" y="612521"/>
                  </a:lnTo>
                  <a:lnTo>
                    <a:pt x="39458" y="654138"/>
                  </a:lnTo>
                  <a:lnTo>
                    <a:pt x="66548" y="691400"/>
                  </a:lnTo>
                  <a:lnTo>
                    <a:pt x="99390" y="723544"/>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4">
                  <a:moveTo>
                    <a:pt x="548081" y="266611"/>
                  </a:moveTo>
                  <a:lnTo>
                    <a:pt x="500367" y="270649"/>
                  </a:lnTo>
                  <a:lnTo>
                    <a:pt x="455841" y="282308"/>
                  </a:lnTo>
                  <a:lnTo>
                    <a:pt x="414616" y="300901"/>
                  </a:lnTo>
                  <a:lnTo>
                    <a:pt x="377355" y="325780"/>
                  </a:lnTo>
                  <a:lnTo>
                    <a:pt x="344728" y="356247"/>
                  </a:lnTo>
                  <a:lnTo>
                    <a:pt x="317411" y="391629"/>
                  </a:lnTo>
                  <a:lnTo>
                    <a:pt x="296087" y="431253"/>
                  </a:lnTo>
                  <a:lnTo>
                    <a:pt x="281419" y="474446"/>
                  </a:lnTo>
                  <a:lnTo>
                    <a:pt x="274091" y="520534"/>
                  </a:lnTo>
                  <a:lnTo>
                    <a:pt x="266915" y="474256"/>
                  </a:lnTo>
                  <a:lnTo>
                    <a:pt x="252361" y="430885"/>
                  </a:lnTo>
                  <a:lnTo>
                    <a:pt x="231101"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87" y="516039"/>
                  </a:lnTo>
                  <a:lnTo>
                    <a:pt x="225056" y="528459"/>
                  </a:lnTo>
                  <a:lnTo>
                    <a:pt x="273532" y="532841"/>
                  </a:lnTo>
                  <a:lnTo>
                    <a:pt x="274751" y="532841"/>
                  </a:lnTo>
                  <a:lnTo>
                    <a:pt x="323088" y="528485"/>
                  </a:lnTo>
                  <a:lnTo>
                    <a:pt x="368642" y="516115"/>
                  </a:lnTo>
                  <a:lnTo>
                    <a:pt x="410679" y="496468"/>
                  </a:lnTo>
                  <a:lnTo>
                    <a:pt x="448475" y="470268"/>
                  </a:lnTo>
                  <a:lnTo>
                    <a:pt x="481279" y="438264"/>
                  </a:lnTo>
                  <a:lnTo>
                    <a:pt x="508368" y="401154"/>
                  </a:lnTo>
                  <a:lnTo>
                    <a:pt x="529031" y="359689"/>
                  </a:lnTo>
                  <a:lnTo>
                    <a:pt x="542505" y="314604"/>
                  </a:lnTo>
                  <a:lnTo>
                    <a:pt x="548081" y="266611"/>
                  </a:lnTo>
                  <a:close/>
                </a:path>
                <a:path w="548640" h="786764">
                  <a:moveTo>
                    <a:pt x="548081" y="1079"/>
                  </a:moveTo>
                  <a:lnTo>
                    <a:pt x="500367" y="5118"/>
                  </a:lnTo>
                  <a:lnTo>
                    <a:pt x="455841" y="16776"/>
                  </a:lnTo>
                  <a:lnTo>
                    <a:pt x="414616" y="35369"/>
                  </a:lnTo>
                  <a:lnTo>
                    <a:pt x="377355" y="60248"/>
                  </a:lnTo>
                  <a:lnTo>
                    <a:pt x="344728" y="90703"/>
                  </a:lnTo>
                  <a:lnTo>
                    <a:pt x="317411" y="126085"/>
                  </a:lnTo>
                  <a:lnTo>
                    <a:pt x="296087" y="165722"/>
                  </a:lnTo>
                  <a:lnTo>
                    <a:pt x="281419" y="208915"/>
                  </a:lnTo>
                  <a:lnTo>
                    <a:pt x="274091" y="255003"/>
                  </a:lnTo>
                  <a:lnTo>
                    <a:pt x="266915" y="208724"/>
                  </a:lnTo>
                  <a:lnTo>
                    <a:pt x="252361" y="165354"/>
                  </a:lnTo>
                  <a:lnTo>
                    <a:pt x="231101"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13"/>
                  </a:lnTo>
                  <a:lnTo>
                    <a:pt x="99402" y="204457"/>
                  </a:lnTo>
                  <a:lnTo>
                    <a:pt x="137248" y="230771"/>
                  </a:lnTo>
                  <a:lnTo>
                    <a:pt x="179387" y="250507"/>
                  </a:lnTo>
                  <a:lnTo>
                    <a:pt x="225056" y="262928"/>
                  </a:lnTo>
                  <a:lnTo>
                    <a:pt x="273532" y="267296"/>
                  </a:lnTo>
                  <a:lnTo>
                    <a:pt x="274751" y="267296"/>
                  </a:lnTo>
                  <a:lnTo>
                    <a:pt x="323088" y="262940"/>
                  </a:lnTo>
                  <a:lnTo>
                    <a:pt x="368642" y="250583"/>
                  </a:lnTo>
                  <a:lnTo>
                    <a:pt x="410679" y="230936"/>
                  </a:lnTo>
                  <a:lnTo>
                    <a:pt x="448475" y="204736"/>
                  </a:lnTo>
                  <a:lnTo>
                    <a:pt x="481279" y="172720"/>
                  </a:lnTo>
                  <a:lnTo>
                    <a:pt x="508368" y="135623"/>
                  </a:lnTo>
                  <a:lnTo>
                    <a:pt x="529031" y="94157"/>
                  </a:lnTo>
                  <a:lnTo>
                    <a:pt x="542505" y="49072"/>
                  </a:lnTo>
                  <a:lnTo>
                    <a:pt x="548081" y="1079"/>
                  </a:lnTo>
                  <a:close/>
                </a:path>
              </a:pathLst>
            </a:custGeom>
            <a:solidFill>
              <a:srgbClr val="2DB7EA"/>
            </a:solidFill>
          </p:spPr>
          <p:txBody>
            <a:bodyPr wrap="square" lIns="0" tIns="0" rIns="0" bIns="0" rtlCol="0"/>
            <a:lstStyle/>
            <a:p>
              <a:endParaRPr dirty="0"/>
            </a:p>
          </p:txBody>
        </p:sp>
        <p:pic>
          <p:nvPicPr>
            <p:cNvPr id="555" name="object 316">
              <a:extLst>
                <a:ext uri="{FF2B5EF4-FFF2-40B4-BE49-F238E27FC236}">
                  <a16:creationId xmlns:a16="http://schemas.microsoft.com/office/drawing/2014/main" id="{A1D18BE6-5FC7-AF59-9F61-64F7672F49D9}"/>
                </a:ext>
              </a:extLst>
            </p:cNvPr>
            <p:cNvPicPr/>
            <p:nvPr/>
          </p:nvPicPr>
          <p:blipFill>
            <a:blip r:embed="rId10" cstate="print"/>
            <a:stretch>
              <a:fillRect/>
            </a:stretch>
          </p:blipFill>
          <p:spPr>
            <a:xfrm>
              <a:off x="9251594" y="2026765"/>
              <a:ext cx="106445" cy="107156"/>
            </a:xfrm>
            <a:prstGeom prst="rect">
              <a:avLst/>
            </a:prstGeom>
          </p:spPr>
        </p:pic>
        <p:sp>
          <p:nvSpPr>
            <p:cNvPr id="556" name="object 317">
              <a:extLst>
                <a:ext uri="{FF2B5EF4-FFF2-40B4-BE49-F238E27FC236}">
                  <a16:creationId xmlns:a16="http://schemas.microsoft.com/office/drawing/2014/main" id="{DB687490-1005-B428-BDB5-7F29BAE0B05A}"/>
                </a:ext>
              </a:extLst>
            </p:cNvPr>
            <p:cNvSpPr/>
            <p:nvPr/>
          </p:nvSpPr>
          <p:spPr>
            <a:xfrm>
              <a:off x="9138939" y="1458591"/>
              <a:ext cx="332700" cy="477101"/>
            </a:xfrm>
            <a:custGeom>
              <a:avLst/>
              <a:gdLst/>
              <a:ahLst/>
              <a:cxnLst/>
              <a:rect l="l" t="t" r="r" b="b"/>
              <a:pathLst>
                <a:path w="548640" h="786764">
                  <a:moveTo>
                    <a:pt x="548081" y="520166"/>
                  </a:moveTo>
                  <a:lnTo>
                    <a:pt x="500367" y="524205"/>
                  </a:lnTo>
                  <a:lnTo>
                    <a:pt x="455841" y="535863"/>
                  </a:lnTo>
                  <a:lnTo>
                    <a:pt x="414616" y="554456"/>
                  </a:lnTo>
                  <a:lnTo>
                    <a:pt x="389775" y="571042"/>
                  </a:lnTo>
                  <a:lnTo>
                    <a:pt x="377355" y="579335"/>
                  </a:lnTo>
                  <a:lnTo>
                    <a:pt x="344728" y="609790"/>
                  </a:lnTo>
                  <a:lnTo>
                    <a:pt x="317411" y="645172"/>
                  </a:lnTo>
                  <a:lnTo>
                    <a:pt x="296087" y="684784"/>
                  </a:lnTo>
                  <a:lnTo>
                    <a:pt x="281419" y="727976"/>
                  </a:lnTo>
                  <a:lnTo>
                    <a:pt x="274078" y="774039"/>
                  </a:lnTo>
                  <a:lnTo>
                    <a:pt x="266915" y="727811"/>
                  </a:lnTo>
                  <a:lnTo>
                    <a:pt x="252361" y="684441"/>
                  </a:lnTo>
                  <a:lnTo>
                    <a:pt x="231101" y="644652"/>
                  </a:lnTo>
                  <a:lnTo>
                    <a:pt x="203796" y="609117"/>
                  </a:lnTo>
                  <a:lnTo>
                    <a:pt x="171157" y="578510"/>
                  </a:lnTo>
                  <a:lnTo>
                    <a:pt x="133845" y="553529"/>
                  </a:lnTo>
                  <a:lnTo>
                    <a:pt x="92532" y="534847"/>
                  </a:lnTo>
                  <a:lnTo>
                    <a:pt x="47917" y="523138"/>
                  </a:lnTo>
                  <a:lnTo>
                    <a:pt x="0" y="519061"/>
                  </a:lnTo>
                  <a:lnTo>
                    <a:pt x="5448" y="567245"/>
                  </a:lnTo>
                  <a:lnTo>
                    <a:pt x="18846" y="612508"/>
                  </a:lnTo>
                  <a:lnTo>
                    <a:pt x="39458" y="654138"/>
                  </a:lnTo>
                  <a:lnTo>
                    <a:pt x="66548" y="691388"/>
                  </a:lnTo>
                  <a:lnTo>
                    <a:pt x="67246" y="692073"/>
                  </a:lnTo>
                  <a:lnTo>
                    <a:pt x="99390" y="723544"/>
                  </a:lnTo>
                  <a:lnTo>
                    <a:pt x="137248" y="749858"/>
                  </a:lnTo>
                  <a:lnTo>
                    <a:pt x="179387" y="769594"/>
                  </a:lnTo>
                  <a:lnTo>
                    <a:pt x="225056" y="782015"/>
                  </a:lnTo>
                  <a:lnTo>
                    <a:pt x="273532" y="786384"/>
                  </a:lnTo>
                  <a:lnTo>
                    <a:pt x="274751" y="786384"/>
                  </a:lnTo>
                  <a:lnTo>
                    <a:pt x="323088" y="782027"/>
                  </a:lnTo>
                  <a:lnTo>
                    <a:pt x="368642" y="769670"/>
                  </a:lnTo>
                  <a:lnTo>
                    <a:pt x="410679" y="750023"/>
                  </a:lnTo>
                  <a:lnTo>
                    <a:pt x="448475" y="723823"/>
                  </a:lnTo>
                  <a:lnTo>
                    <a:pt x="481279" y="691807"/>
                  </a:lnTo>
                  <a:lnTo>
                    <a:pt x="508393" y="654697"/>
                  </a:lnTo>
                  <a:lnTo>
                    <a:pt x="529043" y="613244"/>
                  </a:lnTo>
                  <a:lnTo>
                    <a:pt x="542518" y="568172"/>
                  </a:lnTo>
                  <a:lnTo>
                    <a:pt x="548068" y="520204"/>
                  </a:lnTo>
                  <a:close/>
                </a:path>
                <a:path w="548640" h="786764">
                  <a:moveTo>
                    <a:pt x="548081" y="266611"/>
                  </a:moveTo>
                  <a:lnTo>
                    <a:pt x="500367" y="270649"/>
                  </a:lnTo>
                  <a:lnTo>
                    <a:pt x="455841" y="282295"/>
                  </a:lnTo>
                  <a:lnTo>
                    <a:pt x="414616" y="300901"/>
                  </a:lnTo>
                  <a:lnTo>
                    <a:pt x="377355" y="325767"/>
                  </a:lnTo>
                  <a:lnTo>
                    <a:pt x="344728" y="356235"/>
                  </a:lnTo>
                  <a:lnTo>
                    <a:pt x="317411" y="391617"/>
                  </a:lnTo>
                  <a:lnTo>
                    <a:pt x="296087" y="431241"/>
                  </a:lnTo>
                  <a:lnTo>
                    <a:pt x="281419" y="474446"/>
                  </a:lnTo>
                  <a:lnTo>
                    <a:pt x="274091" y="520522"/>
                  </a:lnTo>
                  <a:lnTo>
                    <a:pt x="266915" y="474256"/>
                  </a:lnTo>
                  <a:lnTo>
                    <a:pt x="252361" y="430885"/>
                  </a:lnTo>
                  <a:lnTo>
                    <a:pt x="231101"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87" y="516026"/>
                  </a:lnTo>
                  <a:lnTo>
                    <a:pt x="225056" y="528459"/>
                  </a:lnTo>
                  <a:lnTo>
                    <a:pt x="273532" y="532828"/>
                  </a:lnTo>
                  <a:lnTo>
                    <a:pt x="274751" y="532828"/>
                  </a:lnTo>
                  <a:lnTo>
                    <a:pt x="323088" y="528472"/>
                  </a:lnTo>
                  <a:lnTo>
                    <a:pt x="368642" y="516102"/>
                  </a:lnTo>
                  <a:lnTo>
                    <a:pt x="410679" y="496468"/>
                  </a:lnTo>
                  <a:lnTo>
                    <a:pt x="448475" y="470268"/>
                  </a:lnTo>
                  <a:lnTo>
                    <a:pt x="481279" y="438251"/>
                  </a:lnTo>
                  <a:lnTo>
                    <a:pt x="508368" y="401154"/>
                  </a:lnTo>
                  <a:lnTo>
                    <a:pt x="529031" y="359689"/>
                  </a:lnTo>
                  <a:lnTo>
                    <a:pt x="542505" y="314604"/>
                  </a:lnTo>
                  <a:lnTo>
                    <a:pt x="548081" y="266611"/>
                  </a:lnTo>
                  <a:close/>
                </a:path>
                <a:path w="548640" h="786764">
                  <a:moveTo>
                    <a:pt x="548081" y="1079"/>
                  </a:moveTo>
                  <a:lnTo>
                    <a:pt x="500367" y="5105"/>
                  </a:lnTo>
                  <a:lnTo>
                    <a:pt x="455841" y="16764"/>
                  </a:lnTo>
                  <a:lnTo>
                    <a:pt x="414616" y="35369"/>
                  </a:lnTo>
                  <a:lnTo>
                    <a:pt x="377355" y="60236"/>
                  </a:lnTo>
                  <a:lnTo>
                    <a:pt x="344728" y="90703"/>
                  </a:lnTo>
                  <a:lnTo>
                    <a:pt x="317411" y="126085"/>
                  </a:lnTo>
                  <a:lnTo>
                    <a:pt x="296087" y="165709"/>
                  </a:lnTo>
                  <a:lnTo>
                    <a:pt x="281419" y="208902"/>
                  </a:lnTo>
                  <a:lnTo>
                    <a:pt x="274091" y="254990"/>
                  </a:lnTo>
                  <a:lnTo>
                    <a:pt x="266915" y="208724"/>
                  </a:lnTo>
                  <a:lnTo>
                    <a:pt x="252361" y="165354"/>
                  </a:lnTo>
                  <a:lnTo>
                    <a:pt x="231101"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36"/>
                  </a:lnTo>
                  <a:lnTo>
                    <a:pt x="481279" y="172720"/>
                  </a:lnTo>
                  <a:lnTo>
                    <a:pt x="508368" y="135623"/>
                  </a:lnTo>
                  <a:lnTo>
                    <a:pt x="529031" y="94157"/>
                  </a:lnTo>
                  <a:lnTo>
                    <a:pt x="542505" y="49060"/>
                  </a:lnTo>
                  <a:lnTo>
                    <a:pt x="548081" y="1079"/>
                  </a:lnTo>
                  <a:close/>
                </a:path>
              </a:pathLst>
            </a:custGeom>
            <a:solidFill>
              <a:srgbClr val="7ED3F1"/>
            </a:solidFill>
          </p:spPr>
          <p:txBody>
            <a:bodyPr wrap="square" lIns="0" tIns="0" rIns="0" bIns="0" rtlCol="0"/>
            <a:lstStyle/>
            <a:p>
              <a:endParaRPr dirty="0"/>
            </a:p>
          </p:txBody>
        </p:sp>
        <p:pic>
          <p:nvPicPr>
            <p:cNvPr id="557" name="object 318">
              <a:extLst>
                <a:ext uri="{FF2B5EF4-FFF2-40B4-BE49-F238E27FC236}">
                  <a16:creationId xmlns:a16="http://schemas.microsoft.com/office/drawing/2014/main" id="{A4C6B498-0029-0963-0883-D67A9C575AE6}"/>
                </a:ext>
              </a:extLst>
            </p:cNvPr>
            <p:cNvPicPr/>
            <p:nvPr/>
          </p:nvPicPr>
          <p:blipFill>
            <a:blip r:embed="rId11" cstate="print"/>
            <a:stretch>
              <a:fillRect/>
            </a:stretch>
          </p:blipFill>
          <p:spPr>
            <a:xfrm>
              <a:off x="9251594" y="1372599"/>
              <a:ext cx="106445" cy="107156"/>
            </a:xfrm>
            <a:prstGeom prst="rect">
              <a:avLst/>
            </a:prstGeom>
          </p:spPr>
        </p:pic>
        <p:sp>
          <p:nvSpPr>
            <p:cNvPr id="558" name="object 319">
              <a:extLst>
                <a:ext uri="{FF2B5EF4-FFF2-40B4-BE49-F238E27FC236}">
                  <a16:creationId xmlns:a16="http://schemas.microsoft.com/office/drawing/2014/main" id="{C8682E30-5106-198F-8F84-3F1C9CB0F0E5}"/>
                </a:ext>
              </a:extLst>
            </p:cNvPr>
            <p:cNvSpPr/>
            <p:nvPr/>
          </p:nvSpPr>
          <p:spPr>
            <a:xfrm>
              <a:off x="9138939" y="3421088"/>
              <a:ext cx="332700" cy="477101"/>
            </a:xfrm>
            <a:custGeom>
              <a:avLst/>
              <a:gdLst/>
              <a:ahLst/>
              <a:cxnLst/>
              <a:rect l="l" t="t" r="r" b="b"/>
              <a:pathLst>
                <a:path w="548640" h="786764">
                  <a:moveTo>
                    <a:pt x="548081" y="520179"/>
                  </a:moveTo>
                  <a:lnTo>
                    <a:pt x="500367" y="524217"/>
                  </a:lnTo>
                  <a:lnTo>
                    <a:pt x="455841" y="535863"/>
                  </a:lnTo>
                  <a:lnTo>
                    <a:pt x="427418" y="548690"/>
                  </a:lnTo>
                  <a:lnTo>
                    <a:pt x="414616" y="554469"/>
                  </a:lnTo>
                  <a:lnTo>
                    <a:pt x="377355" y="579335"/>
                  </a:lnTo>
                  <a:lnTo>
                    <a:pt x="344716" y="609790"/>
                  </a:lnTo>
                  <a:lnTo>
                    <a:pt x="317411" y="645172"/>
                  </a:lnTo>
                  <a:lnTo>
                    <a:pt x="296087" y="684784"/>
                  </a:lnTo>
                  <a:lnTo>
                    <a:pt x="281419" y="727976"/>
                  </a:lnTo>
                  <a:lnTo>
                    <a:pt x="274078" y="774039"/>
                  </a:lnTo>
                  <a:lnTo>
                    <a:pt x="268224" y="736295"/>
                  </a:lnTo>
                  <a:lnTo>
                    <a:pt x="266915" y="727811"/>
                  </a:lnTo>
                  <a:lnTo>
                    <a:pt x="252361" y="684441"/>
                  </a:lnTo>
                  <a:lnTo>
                    <a:pt x="231101" y="644652"/>
                  </a:lnTo>
                  <a:lnTo>
                    <a:pt x="215646" y="624560"/>
                  </a:lnTo>
                  <a:lnTo>
                    <a:pt x="203796" y="609117"/>
                  </a:lnTo>
                  <a:lnTo>
                    <a:pt x="171157" y="578510"/>
                  </a:lnTo>
                  <a:lnTo>
                    <a:pt x="133845" y="553529"/>
                  </a:lnTo>
                  <a:lnTo>
                    <a:pt x="92532" y="534847"/>
                  </a:lnTo>
                  <a:lnTo>
                    <a:pt x="47917" y="523138"/>
                  </a:lnTo>
                  <a:lnTo>
                    <a:pt x="0" y="519061"/>
                  </a:lnTo>
                  <a:lnTo>
                    <a:pt x="5448" y="567245"/>
                  </a:lnTo>
                  <a:lnTo>
                    <a:pt x="18846" y="612508"/>
                  </a:lnTo>
                  <a:lnTo>
                    <a:pt x="39458" y="654138"/>
                  </a:lnTo>
                  <a:lnTo>
                    <a:pt x="66548" y="691388"/>
                  </a:lnTo>
                  <a:lnTo>
                    <a:pt x="99402" y="723544"/>
                  </a:lnTo>
                  <a:lnTo>
                    <a:pt x="137248" y="749858"/>
                  </a:lnTo>
                  <a:lnTo>
                    <a:pt x="179387" y="769594"/>
                  </a:lnTo>
                  <a:lnTo>
                    <a:pt x="225056" y="782015"/>
                  </a:lnTo>
                  <a:lnTo>
                    <a:pt x="273532" y="786384"/>
                  </a:lnTo>
                  <a:lnTo>
                    <a:pt x="274751" y="786384"/>
                  </a:lnTo>
                  <a:lnTo>
                    <a:pt x="323088" y="782027"/>
                  </a:lnTo>
                  <a:lnTo>
                    <a:pt x="368642" y="769670"/>
                  </a:lnTo>
                  <a:lnTo>
                    <a:pt x="410679" y="750023"/>
                  </a:lnTo>
                  <a:lnTo>
                    <a:pt x="448475" y="723823"/>
                  </a:lnTo>
                  <a:lnTo>
                    <a:pt x="481279" y="691819"/>
                  </a:lnTo>
                  <a:lnTo>
                    <a:pt x="488492" y="681939"/>
                  </a:lnTo>
                  <a:lnTo>
                    <a:pt x="508393" y="654697"/>
                  </a:lnTo>
                  <a:lnTo>
                    <a:pt x="529031" y="613257"/>
                  </a:lnTo>
                  <a:lnTo>
                    <a:pt x="542518" y="568172"/>
                  </a:lnTo>
                  <a:lnTo>
                    <a:pt x="548068" y="520204"/>
                  </a:lnTo>
                  <a:close/>
                </a:path>
                <a:path w="548640" h="786764">
                  <a:moveTo>
                    <a:pt x="548081" y="266611"/>
                  </a:moveTo>
                  <a:lnTo>
                    <a:pt x="500367" y="270637"/>
                  </a:lnTo>
                  <a:lnTo>
                    <a:pt x="455841" y="282295"/>
                  </a:lnTo>
                  <a:lnTo>
                    <a:pt x="414616" y="300901"/>
                  </a:lnTo>
                  <a:lnTo>
                    <a:pt x="377355" y="325767"/>
                  </a:lnTo>
                  <a:lnTo>
                    <a:pt x="344728" y="356235"/>
                  </a:lnTo>
                  <a:lnTo>
                    <a:pt x="317411" y="391617"/>
                  </a:lnTo>
                  <a:lnTo>
                    <a:pt x="296087" y="431241"/>
                  </a:lnTo>
                  <a:lnTo>
                    <a:pt x="281419" y="474433"/>
                  </a:lnTo>
                  <a:lnTo>
                    <a:pt x="274091" y="520522"/>
                  </a:lnTo>
                  <a:lnTo>
                    <a:pt x="266915" y="474256"/>
                  </a:lnTo>
                  <a:lnTo>
                    <a:pt x="252361" y="430885"/>
                  </a:lnTo>
                  <a:lnTo>
                    <a:pt x="231101"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76"/>
                  </a:lnTo>
                  <a:lnTo>
                    <a:pt x="137248" y="496290"/>
                  </a:lnTo>
                  <a:lnTo>
                    <a:pt x="179387" y="516026"/>
                  </a:lnTo>
                  <a:lnTo>
                    <a:pt x="225056" y="528447"/>
                  </a:lnTo>
                  <a:lnTo>
                    <a:pt x="273532" y="532828"/>
                  </a:lnTo>
                  <a:lnTo>
                    <a:pt x="274751" y="532828"/>
                  </a:lnTo>
                  <a:lnTo>
                    <a:pt x="323088" y="528472"/>
                  </a:lnTo>
                  <a:lnTo>
                    <a:pt x="368642" y="516102"/>
                  </a:lnTo>
                  <a:lnTo>
                    <a:pt x="410679" y="496455"/>
                  </a:lnTo>
                  <a:lnTo>
                    <a:pt x="448475" y="470255"/>
                  </a:lnTo>
                  <a:lnTo>
                    <a:pt x="481279" y="438251"/>
                  </a:lnTo>
                  <a:lnTo>
                    <a:pt x="508368" y="401142"/>
                  </a:lnTo>
                  <a:lnTo>
                    <a:pt x="529031" y="359689"/>
                  </a:lnTo>
                  <a:lnTo>
                    <a:pt x="542505" y="314591"/>
                  </a:lnTo>
                  <a:lnTo>
                    <a:pt x="548081" y="266611"/>
                  </a:lnTo>
                  <a:close/>
                </a:path>
                <a:path w="548640" h="786764">
                  <a:moveTo>
                    <a:pt x="548081" y="1079"/>
                  </a:moveTo>
                  <a:lnTo>
                    <a:pt x="500367" y="5118"/>
                  </a:lnTo>
                  <a:lnTo>
                    <a:pt x="455841" y="16764"/>
                  </a:lnTo>
                  <a:lnTo>
                    <a:pt x="414616" y="35369"/>
                  </a:lnTo>
                  <a:lnTo>
                    <a:pt x="377355" y="60236"/>
                  </a:lnTo>
                  <a:lnTo>
                    <a:pt x="344728" y="90703"/>
                  </a:lnTo>
                  <a:lnTo>
                    <a:pt x="317411" y="126085"/>
                  </a:lnTo>
                  <a:lnTo>
                    <a:pt x="296087" y="165709"/>
                  </a:lnTo>
                  <a:lnTo>
                    <a:pt x="281419" y="208915"/>
                  </a:lnTo>
                  <a:lnTo>
                    <a:pt x="274091" y="254990"/>
                  </a:lnTo>
                  <a:lnTo>
                    <a:pt x="266915" y="208724"/>
                  </a:lnTo>
                  <a:lnTo>
                    <a:pt x="252361" y="165354"/>
                  </a:lnTo>
                  <a:lnTo>
                    <a:pt x="231101"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36"/>
                  </a:lnTo>
                  <a:lnTo>
                    <a:pt x="481279" y="172720"/>
                  </a:lnTo>
                  <a:lnTo>
                    <a:pt x="508368" y="135623"/>
                  </a:lnTo>
                  <a:lnTo>
                    <a:pt x="529031" y="94157"/>
                  </a:lnTo>
                  <a:lnTo>
                    <a:pt x="542505" y="49072"/>
                  </a:lnTo>
                  <a:lnTo>
                    <a:pt x="548081" y="1079"/>
                  </a:lnTo>
                  <a:close/>
                </a:path>
              </a:pathLst>
            </a:custGeom>
            <a:solidFill>
              <a:srgbClr val="2DB7EA"/>
            </a:solidFill>
          </p:spPr>
          <p:txBody>
            <a:bodyPr wrap="square" lIns="0" tIns="0" rIns="0" bIns="0" rtlCol="0"/>
            <a:lstStyle/>
            <a:p>
              <a:endParaRPr dirty="0"/>
            </a:p>
          </p:txBody>
        </p:sp>
        <p:pic>
          <p:nvPicPr>
            <p:cNvPr id="559" name="object 320">
              <a:extLst>
                <a:ext uri="{FF2B5EF4-FFF2-40B4-BE49-F238E27FC236}">
                  <a16:creationId xmlns:a16="http://schemas.microsoft.com/office/drawing/2014/main" id="{67B39346-0BB1-931F-979E-E8E8BC2745B2}"/>
                </a:ext>
              </a:extLst>
            </p:cNvPr>
            <p:cNvPicPr/>
            <p:nvPr/>
          </p:nvPicPr>
          <p:blipFill>
            <a:blip r:embed="rId10" cstate="print"/>
            <a:stretch>
              <a:fillRect/>
            </a:stretch>
          </p:blipFill>
          <p:spPr>
            <a:xfrm>
              <a:off x="9251594" y="3335097"/>
              <a:ext cx="106445" cy="107156"/>
            </a:xfrm>
            <a:prstGeom prst="rect">
              <a:avLst/>
            </a:prstGeom>
          </p:spPr>
        </p:pic>
        <p:sp>
          <p:nvSpPr>
            <p:cNvPr id="560" name="object 321">
              <a:extLst>
                <a:ext uri="{FF2B5EF4-FFF2-40B4-BE49-F238E27FC236}">
                  <a16:creationId xmlns:a16="http://schemas.microsoft.com/office/drawing/2014/main" id="{FCE92EC5-436F-F00C-7072-2CC8BBDBAC99}"/>
                </a:ext>
              </a:extLst>
            </p:cNvPr>
            <p:cNvSpPr/>
            <p:nvPr/>
          </p:nvSpPr>
          <p:spPr>
            <a:xfrm>
              <a:off x="9138939" y="2766918"/>
              <a:ext cx="332700" cy="477101"/>
            </a:xfrm>
            <a:custGeom>
              <a:avLst/>
              <a:gdLst/>
              <a:ahLst/>
              <a:cxnLst/>
              <a:rect l="l" t="t" r="r" b="b"/>
              <a:pathLst>
                <a:path w="548640" h="786764">
                  <a:moveTo>
                    <a:pt x="548081" y="520179"/>
                  </a:moveTo>
                  <a:lnTo>
                    <a:pt x="500367" y="524205"/>
                  </a:lnTo>
                  <a:lnTo>
                    <a:pt x="455841" y="535863"/>
                  </a:lnTo>
                  <a:lnTo>
                    <a:pt x="414616" y="554469"/>
                  </a:lnTo>
                  <a:lnTo>
                    <a:pt x="377355" y="579335"/>
                  </a:lnTo>
                  <a:lnTo>
                    <a:pt x="375183" y="581367"/>
                  </a:lnTo>
                  <a:lnTo>
                    <a:pt x="344728" y="609803"/>
                  </a:lnTo>
                  <a:lnTo>
                    <a:pt x="317411" y="645172"/>
                  </a:lnTo>
                  <a:lnTo>
                    <a:pt x="296087" y="684796"/>
                  </a:lnTo>
                  <a:lnTo>
                    <a:pt x="281419" y="727989"/>
                  </a:lnTo>
                  <a:lnTo>
                    <a:pt x="274078" y="774039"/>
                  </a:lnTo>
                  <a:lnTo>
                    <a:pt x="268224" y="736307"/>
                  </a:lnTo>
                  <a:lnTo>
                    <a:pt x="266915" y="727824"/>
                  </a:lnTo>
                  <a:lnTo>
                    <a:pt x="252361" y="684453"/>
                  </a:lnTo>
                  <a:lnTo>
                    <a:pt x="244944" y="670598"/>
                  </a:lnTo>
                  <a:lnTo>
                    <a:pt x="231101"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51"/>
                  </a:lnTo>
                  <a:lnTo>
                    <a:pt x="66548" y="691400"/>
                  </a:lnTo>
                  <a:lnTo>
                    <a:pt x="98704" y="722884"/>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4">
                  <a:moveTo>
                    <a:pt x="548081" y="266611"/>
                  </a:moveTo>
                  <a:lnTo>
                    <a:pt x="500367" y="270649"/>
                  </a:lnTo>
                  <a:lnTo>
                    <a:pt x="455841" y="282308"/>
                  </a:lnTo>
                  <a:lnTo>
                    <a:pt x="414616" y="300901"/>
                  </a:lnTo>
                  <a:lnTo>
                    <a:pt x="377355" y="325780"/>
                  </a:lnTo>
                  <a:lnTo>
                    <a:pt x="344728" y="356247"/>
                  </a:lnTo>
                  <a:lnTo>
                    <a:pt x="317411" y="391629"/>
                  </a:lnTo>
                  <a:lnTo>
                    <a:pt x="296087" y="431253"/>
                  </a:lnTo>
                  <a:lnTo>
                    <a:pt x="281419" y="474446"/>
                  </a:lnTo>
                  <a:lnTo>
                    <a:pt x="274091" y="520534"/>
                  </a:lnTo>
                  <a:lnTo>
                    <a:pt x="266915" y="474256"/>
                  </a:lnTo>
                  <a:lnTo>
                    <a:pt x="252361" y="430885"/>
                  </a:lnTo>
                  <a:lnTo>
                    <a:pt x="231101"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87" y="516039"/>
                  </a:lnTo>
                  <a:lnTo>
                    <a:pt x="225056" y="528459"/>
                  </a:lnTo>
                  <a:lnTo>
                    <a:pt x="273532" y="532841"/>
                  </a:lnTo>
                  <a:lnTo>
                    <a:pt x="274751" y="532841"/>
                  </a:lnTo>
                  <a:lnTo>
                    <a:pt x="323088" y="528485"/>
                  </a:lnTo>
                  <a:lnTo>
                    <a:pt x="368642" y="516115"/>
                  </a:lnTo>
                  <a:lnTo>
                    <a:pt x="410679" y="496468"/>
                  </a:lnTo>
                  <a:lnTo>
                    <a:pt x="448475" y="470268"/>
                  </a:lnTo>
                  <a:lnTo>
                    <a:pt x="481279" y="438264"/>
                  </a:lnTo>
                  <a:lnTo>
                    <a:pt x="508368" y="401154"/>
                  </a:lnTo>
                  <a:lnTo>
                    <a:pt x="529031" y="359689"/>
                  </a:lnTo>
                  <a:lnTo>
                    <a:pt x="542505" y="314604"/>
                  </a:lnTo>
                  <a:lnTo>
                    <a:pt x="548081" y="266611"/>
                  </a:lnTo>
                  <a:close/>
                </a:path>
                <a:path w="548640" h="786764">
                  <a:moveTo>
                    <a:pt x="548081" y="1079"/>
                  </a:moveTo>
                  <a:lnTo>
                    <a:pt x="500367" y="5118"/>
                  </a:lnTo>
                  <a:lnTo>
                    <a:pt x="455841" y="16776"/>
                  </a:lnTo>
                  <a:lnTo>
                    <a:pt x="414616" y="35369"/>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87" y="250507"/>
                  </a:lnTo>
                  <a:lnTo>
                    <a:pt x="225056" y="262928"/>
                  </a:lnTo>
                  <a:lnTo>
                    <a:pt x="273532" y="267309"/>
                  </a:lnTo>
                  <a:lnTo>
                    <a:pt x="274751" y="267309"/>
                  </a:lnTo>
                  <a:lnTo>
                    <a:pt x="323088" y="262953"/>
                  </a:lnTo>
                  <a:lnTo>
                    <a:pt x="368642" y="250583"/>
                  </a:lnTo>
                  <a:lnTo>
                    <a:pt x="410679" y="230936"/>
                  </a:lnTo>
                  <a:lnTo>
                    <a:pt x="448475" y="204749"/>
                  </a:lnTo>
                  <a:lnTo>
                    <a:pt x="481279" y="172732"/>
                  </a:lnTo>
                  <a:lnTo>
                    <a:pt x="508368" y="135623"/>
                  </a:lnTo>
                  <a:lnTo>
                    <a:pt x="529031" y="94157"/>
                  </a:lnTo>
                  <a:lnTo>
                    <a:pt x="542505" y="49072"/>
                  </a:lnTo>
                  <a:lnTo>
                    <a:pt x="548081" y="1079"/>
                  </a:lnTo>
                  <a:close/>
                </a:path>
              </a:pathLst>
            </a:custGeom>
            <a:solidFill>
              <a:srgbClr val="7ED3F1"/>
            </a:solidFill>
          </p:spPr>
          <p:txBody>
            <a:bodyPr wrap="square" lIns="0" tIns="0" rIns="0" bIns="0" rtlCol="0"/>
            <a:lstStyle/>
            <a:p>
              <a:endParaRPr dirty="0"/>
            </a:p>
          </p:txBody>
        </p:sp>
        <p:pic>
          <p:nvPicPr>
            <p:cNvPr id="561" name="object 322">
              <a:extLst>
                <a:ext uri="{FF2B5EF4-FFF2-40B4-BE49-F238E27FC236}">
                  <a16:creationId xmlns:a16="http://schemas.microsoft.com/office/drawing/2014/main" id="{12B7805F-C145-CBAC-CA59-E02C753BCAEE}"/>
                </a:ext>
              </a:extLst>
            </p:cNvPr>
            <p:cNvPicPr/>
            <p:nvPr/>
          </p:nvPicPr>
          <p:blipFill>
            <a:blip r:embed="rId11" cstate="print"/>
            <a:stretch>
              <a:fillRect/>
            </a:stretch>
          </p:blipFill>
          <p:spPr>
            <a:xfrm>
              <a:off x="9251594" y="2680931"/>
              <a:ext cx="106445" cy="107156"/>
            </a:xfrm>
            <a:prstGeom prst="rect">
              <a:avLst/>
            </a:prstGeom>
          </p:spPr>
        </p:pic>
        <p:sp>
          <p:nvSpPr>
            <p:cNvPr id="562" name="object 323">
              <a:extLst>
                <a:ext uri="{FF2B5EF4-FFF2-40B4-BE49-F238E27FC236}">
                  <a16:creationId xmlns:a16="http://schemas.microsoft.com/office/drawing/2014/main" id="{CDC275F5-66BA-C00E-F487-5BE6048A3B2D}"/>
                </a:ext>
              </a:extLst>
            </p:cNvPr>
            <p:cNvSpPr/>
            <p:nvPr/>
          </p:nvSpPr>
          <p:spPr>
            <a:xfrm>
              <a:off x="9138939" y="4729423"/>
              <a:ext cx="332700" cy="477101"/>
            </a:xfrm>
            <a:custGeom>
              <a:avLst/>
              <a:gdLst/>
              <a:ahLst/>
              <a:cxnLst/>
              <a:rect l="l" t="t" r="r" b="b"/>
              <a:pathLst>
                <a:path w="548640" h="786765">
                  <a:moveTo>
                    <a:pt x="548081" y="520179"/>
                  </a:moveTo>
                  <a:lnTo>
                    <a:pt x="500367" y="524205"/>
                  </a:lnTo>
                  <a:lnTo>
                    <a:pt x="455841" y="535863"/>
                  </a:lnTo>
                  <a:lnTo>
                    <a:pt x="427418" y="548690"/>
                  </a:lnTo>
                  <a:lnTo>
                    <a:pt x="414616" y="554469"/>
                  </a:lnTo>
                  <a:lnTo>
                    <a:pt x="377355" y="579335"/>
                  </a:lnTo>
                  <a:lnTo>
                    <a:pt x="344716" y="609790"/>
                  </a:lnTo>
                  <a:lnTo>
                    <a:pt x="317411" y="645160"/>
                  </a:lnTo>
                  <a:lnTo>
                    <a:pt x="296087" y="684784"/>
                  </a:lnTo>
                  <a:lnTo>
                    <a:pt x="281419" y="727976"/>
                  </a:lnTo>
                  <a:lnTo>
                    <a:pt x="274078" y="774039"/>
                  </a:lnTo>
                  <a:lnTo>
                    <a:pt x="268020" y="734974"/>
                  </a:lnTo>
                  <a:lnTo>
                    <a:pt x="266915" y="727811"/>
                  </a:lnTo>
                  <a:lnTo>
                    <a:pt x="252361" y="684441"/>
                  </a:lnTo>
                  <a:lnTo>
                    <a:pt x="231101" y="644639"/>
                  </a:lnTo>
                  <a:lnTo>
                    <a:pt x="203796" y="609104"/>
                  </a:lnTo>
                  <a:lnTo>
                    <a:pt x="171157" y="578510"/>
                  </a:lnTo>
                  <a:lnTo>
                    <a:pt x="133845" y="553529"/>
                  </a:lnTo>
                  <a:lnTo>
                    <a:pt x="92532" y="534847"/>
                  </a:lnTo>
                  <a:lnTo>
                    <a:pt x="47917" y="523113"/>
                  </a:lnTo>
                  <a:lnTo>
                    <a:pt x="0" y="519061"/>
                  </a:lnTo>
                  <a:lnTo>
                    <a:pt x="5448" y="567245"/>
                  </a:lnTo>
                  <a:lnTo>
                    <a:pt x="18846" y="612508"/>
                  </a:lnTo>
                  <a:lnTo>
                    <a:pt x="39458" y="654138"/>
                  </a:lnTo>
                  <a:lnTo>
                    <a:pt x="66548" y="691388"/>
                  </a:lnTo>
                  <a:lnTo>
                    <a:pt x="98704" y="722871"/>
                  </a:lnTo>
                  <a:lnTo>
                    <a:pt x="137248" y="749858"/>
                  </a:lnTo>
                  <a:lnTo>
                    <a:pt x="179387" y="769581"/>
                  </a:lnTo>
                  <a:lnTo>
                    <a:pt x="225056" y="782015"/>
                  </a:lnTo>
                  <a:lnTo>
                    <a:pt x="273532" y="786384"/>
                  </a:lnTo>
                  <a:lnTo>
                    <a:pt x="274751" y="786384"/>
                  </a:lnTo>
                  <a:lnTo>
                    <a:pt x="323088" y="782027"/>
                  </a:lnTo>
                  <a:lnTo>
                    <a:pt x="368642" y="769670"/>
                  </a:lnTo>
                  <a:lnTo>
                    <a:pt x="410679" y="750023"/>
                  </a:lnTo>
                  <a:lnTo>
                    <a:pt x="448475" y="723823"/>
                  </a:lnTo>
                  <a:lnTo>
                    <a:pt x="481279" y="691807"/>
                  </a:lnTo>
                  <a:lnTo>
                    <a:pt x="508393" y="654697"/>
                  </a:lnTo>
                  <a:lnTo>
                    <a:pt x="529043" y="613244"/>
                  </a:lnTo>
                  <a:lnTo>
                    <a:pt x="542518" y="568172"/>
                  </a:lnTo>
                  <a:lnTo>
                    <a:pt x="548068" y="520204"/>
                  </a:lnTo>
                  <a:close/>
                </a:path>
                <a:path w="548640" h="786765">
                  <a:moveTo>
                    <a:pt x="548081" y="266611"/>
                  </a:moveTo>
                  <a:lnTo>
                    <a:pt x="500367" y="270649"/>
                  </a:lnTo>
                  <a:lnTo>
                    <a:pt x="455841" y="282308"/>
                  </a:lnTo>
                  <a:lnTo>
                    <a:pt x="414616" y="300901"/>
                  </a:lnTo>
                  <a:lnTo>
                    <a:pt x="377355" y="325767"/>
                  </a:lnTo>
                  <a:lnTo>
                    <a:pt x="344728" y="356235"/>
                  </a:lnTo>
                  <a:lnTo>
                    <a:pt x="317411" y="391617"/>
                  </a:lnTo>
                  <a:lnTo>
                    <a:pt x="296087" y="431241"/>
                  </a:lnTo>
                  <a:lnTo>
                    <a:pt x="281419" y="474433"/>
                  </a:lnTo>
                  <a:lnTo>
                    <a:pt x="274091" y="520522"/>
                  </a:lnTo>
                  <a:lnTo>
                    <a:pt x="266915" y="474243"/>
                  </a:lnTo>
                  <a:lnTo>
                    <a:pt x="252361" y="430872"/>
                  </a:lnTo>
                  <a:lnTo>
                    <a:pt x="231101" y="391083"/>
                  </a:lnTo>
                  <a:lnTo>
                    <a:pt x="203796" y="355549"/>
                  </a:lnTo>
                  <a:lnTo>
                    <a:pt x="171157" y="324954"/>
                  </a:lnTo>
                  <a:lnTo>
                    <a:pt x="133845" y="299974"/>
                  </a:lnTo>
                  <a:lnTo>
                    <a:pt x="92532" y="281292"/>
                  </a:lnTo>
                  <a:lnTo>
                    <a:pt x="47917" y="269582"/>
                  </a:lnTo>
                  <a:lnTo>
                    <a:pt x="0" y="265518"/>
                  </a:lnTo>
                  <a:lnTo>
                    <a:pt x="5448" y="313690"/>
                  </a:lnTo>
                  <a:lnTo>
                    <a:pt x="18846" y="358952"/>
                  </a:lnTo>
                  <a:lnTo>
                    <a:pt x="39458" y="400570"/>
                  </a:lnTo>
                  <a:lnTo>
                    <a:pt x="66560" y="437832"/>
                  </a:lnTo>
                  <a:lnTo>
                    <a:pt x="99402" y="469976"/>
                  </a:lnTo>
                  <a:lnTo>
                    <a:pt x="137248" y="496290"/>
                  </a:lnTo>
                  <a:lnTo>
                    <a:pt x="179387" y="516026"/>
                  </a:lnTo>
                  <a:lnTo>
                    <a:pt x="225056" y="528447"/>
                  </a:lnTo>
                  <a:lnTo>
                    <a:pt x="273532" y="532828"/>
                  </a:lnTo>
                  <a:lnTo>
                    <a:pt x="274751" y="532828"/>
                  </a:lnTo>
                  <a:lnTo>
                    <a:pt x="323088" y="528472"/>
                  </a:lnTo>
                  <a:lnTo>
                    <a:pt x="368642" y="516102"/>
                  </a:lnTo>
                  <a:lnTo>
                    <a:pt x="410679" y="496455"/>
                  </a:lnTo>
                  <a:lnTo>
                    <a:pt x="448475" y="470268"/>
                  </a:lnTo>
                  <a:lnTo>
                    <a:pt x="481279" y="438251"/>
                  </a:lnTo>
                  <a:lnTo>
                    <a:pt x="508368" y="401154"/>
                  </a:lnTo>
                  <a:lnTo>
                    <a:pt x="529031" y="359689"/>
                  </a:lnTo>
                  <a:lnTo>
                    <a:pt x="542505" y="314604"/>
                  </a:lnTo>
                  <a:lnTo>
                    <a:pt x="548081" y="266611"/>
                  </a:lnTo>
                  <a:close/>
                </a:path>
                <a:path w="548640" h="786765">
                  <a:moveTo>
                    <a:pt x="548081" y="1079"/>
                  </a:moveTo>
                  <a:lnTo>
                    <a:pt x="500367" y="5105"/>
                  </a:lnTo>
                  <a:lnTo>
                    <a:pt x="455841" y="16764"/>
                  </a:lnTo>
                  <a:lnTo>
                    <a:pt x="414616" y="35369"/>
                  </a:lnTo>
                  <a:lnTo>
                    <a:pt x="377355" y="60236"/>
                  </a:lnTo>
                  <a:lnTo>
                    <a:pt x="344728" y="90703"/>
                  </a:lnTo>
                  <a:lnTo>
                    <a:pt x="317411" y="126085"/>
                  </a:lnTo>
                  <a:lnTo>
                    <a:pt x="296087" y="165709"/>
                  </a:lnTo>
                  <a:lnTo>
                    <a:pt x="281419" y="208902"/>
                  </a:lnTo>
                  <a:lnTo>
                    <a:pt x="274091" y="254990"/>
                  </a:lnTo>
                  <a:lnTo>
                    <a:pt x="266915" y="208724"/>
                  </a:lnTo>
                  <a:lnTo>
                    <a:pt x="252361" y="165354"/>
                  </a:lnTo>
                  <a:lnTo>
                    <a:pt x="231101" y="125552"/>
                  </a:lnTo>
                  <a:lnTo>
                    <a:pt x="203796" y="90017"/>
                  </a:lnTo>
                  <a:lnTo>
                    <a:pt x="171157" y="59423"/>
                  </a:lnTo>
                  <a:lnTo>
                    <a:pt x="133845" y="34442"/>
                  </a:lnTo>
                  <a:lnTo>
                    <a:pt x="92532" y="15760"/>
                  </a:lnTo>
                  <a:lnTo>
                    <a:pt x="47917" y="4051"/>
                  </a:lnTo>
                  <a:lnTo>
                    <a:pt x="0" y="0"/>
                  </a:lnTo>
                  <a:lnTo>
                    <a:pt x="5448" y="48158"/>
                  </a:lnTo>
                  <a:lnTo>
                    <a:pt x="18846" y="93421"/>
                  </a:lnTo>
                  <a:lnTo>
                    <a:pt x="39458" y="135039"/>
                  </a:lnTo>
                  <a:lnTo>
                    <a:pt x="66560" y="172300"/>
                  </a:lnTo>
                  <a:lnTo>
                    <a:pt x="99402" y="204444"/>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24"/>
                  </a:lnTo>
                  <a:lnTo>
                    <a:pt x="481279" y="172720"/>
                  </a:lnTo>
                  <a:lnTo>
                    <a:pt x="508368" y="135610"/>
                  </a:lnTo>
                  <a:lnTo>
                    <a:pt x="529031" y="94157"/>
                  </a:lnTo>
                  <a:lnTo>
                    <a:pt x="542505" y="49060"/>
                  </a:lnTo>
                  <a:lnTo>
                    <a:pt x="548081" y="1079"/>
                  </a:lnTo>
                  <a:close/>
                </a:path>
              </a:pathLst>
            </a:custGeom>
            <a:solidFill>
              <a:srgbClr val="2DB7EA"/>
            </a:solidFill>
          </p:spPr>
          <p:txBody>
            <a:bodyPr wrap="square" lIns="0" tIns="0" rIns="0" bIns="0" rtlCol="0"/>
            <a:lstStyle/>
            <a:p>
              <a:endParaRPr dirty="0"/>
            </a:p>
          </p:txBody>
        </p:sp>
        <p:pic>
          <p:nvPicPr>
            <p:cNvPr id="563" name="object 324">
              <a:extLst>
                <a:ext uri="{FF2B5EF4-FFF2-40B4-BE49-F238E27FC236}">
                  <a16:creationId xmlns:a16="http://schemas.microsoft.com/office/drawing/2014/main" id="{CF975A73-389A-897C-168E-AB8A9CE0E779}"/>
                </a:ext>
              </a:extLst>
            </p:cNvPr>
            <p:cNvPicPr/>
            <p:nvPr/>
          </p:nvPicPr>
          <p:blipFill>
            <a:blip r:embed="rId10" cstate="print"/>
            <a:stretch>
              <a:fillRect/>
            </a:stretch>
          </p:blipFill>
          <p:spPr>
            <a:xfrm>
              <a:off x="9251594" y="4643430"/>
              <a:ext cx="106445" cy="107156"/>
            </a:xfrm>
            <a:prstGeom prst="rect">
              <a:avLst/>
            </a:prstGeom>
          </p:spPr>
        </p:pic>
        <p:sp>
          <p:nvSpPr>
            <p:cNvPr id="564" name="object 325">
              <a:extLst>
                <a:ext uri="{FF2B5EF4-FFF2-40B4-BE49-F238E27FC236}">
                  <a16:creationId xmlns:a16="http://schemas.microsoft.com/office/drawing/2014/main" id="{0BC6A614-9C43-FB41-B8C2-CEC937F37FBF}"/>
                </a:ext>
              </a:extLst>
            </p:cNvPr>
            <p:cNvSpPr/>
            <p:nvPr/>
          </p:nvSpPr>
          <p:spPr>
            <a:xfrm>
              <a:off x="9138939" y="4075252"/>
              <a:ext cx="332700" cy="477101"/>
            </a:xfrm>
            <a:custGeom>
              <a:avLst/>
              <a:gdLst/>
              <a:ahLst/>
              <a:cxnLst/>
              <a:rect l="l" t="t" r="r" b="b"/>
              <a:pathLst>
                <a:path w="548640" h="786765">
                  <a:moveTo>
                    <a:pt x="548081" y="520179"/>
                  </a:moveTo>
                  <a:lnTo>
                    <a:pt x="500367" y="524217"/>
                  </a:lnTo>
                  <a:lnTo>
                    <a:pt x="455841" y="535876"/>
                  </a:lnTo>
                  <a:lnTo>
                    <a:pt x="414616" y="554469"/>
                  </a:lnTo>
                  <a:lnTo>
                    <a:pt x="402209" y="562749"/>
                  </a:lnTo>
                  <a:lnTo>
                    <a:pt x="377355" y="579335"/>
                  </a:lnTo>
                  <a:lnTo>
                    <a:pt x="344728" y="609803"/>
                  </a:lnTo>
                  <a:lnTo>
                    <a:pt x="317411" y="645172"/>
                  </a:lnTo>
                  <a:lnTo>
                    <a:pt x="296087" y="684796"/>
                  </a:lnTo>
                  <a:lnTo>
                    <a:pt x="281419" y="727976"/>
                  </a:lnTo>
                  <a:lnTo>
                    <a:pt x="274078" y="774039"/>
                  </a:lnTo>
                  <a:lnTo>
                    <a:pt x="268224" y="736307"/>
                  </a:lnTo>
                  <a:lnTo>
                    <a:pt x="266915" y="727824"/>
                  </a:lnTo>
                  <a:lnTo>
                    <a:pt x="252361" y="684441"/>
                  </a:lnTo>
                  <a:lnTo>
                    <a:pt x="231101"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38"/>
                  </a:lnTo>
                  <a:lnTo>
                    <a:pt x="66548" y="691388"/>
                  </a:lnTo>
                  <a:lnTo>
                    <a:pt x="99402" y="723557"/>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5">
                  <a:moveTo>
                    <a:pt x="548081" y="266623"/>
                  </a:moveTo>
                  <a:lnTo>
                    <a:pt x="500367" y="270662"/>
                  </a:lnTo>
                  <a:lnTo>
                    <a:pt x="455841" y="282308"/>
                  </a:lnTo>
                  <a:lnTo>
                    <a:pt x="414616" y="300913"/>
                  </a:lnTo>
                  <a:lnTo>
                    <a:pt x="377355" y="325780"/>
                  </a:lnTo>
                  <a:lnTo>
                    <a:pt x="344728" y="356247"/>
                  </a:lnTo>
                  <a:lnTo>
                    <a:pt x="317411" y="391629"/>
                  </a:lnTo>
                  <a:lnTo>
                    <a:pt x="296087" y="431253"/>
                  </a:lnTo>
                  <a:lnTo>
                    <a:pt x="281419" y="474446"/>
                  </a:lnTo>
                  <a:lnTo>
                    <a:pt x="274091" y="520534"/>
                  </a:lnTo>
                  <a:lnTo>
                    <a:pt x="266915" y="474256"/>
                  </a:lnTo>
                  <a:lnTo>
                    <a:pt x="252361" y="430885"/>
                  </a:lnTo>
                  <a:lnTo>
                    <a:pt x="231101"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87" y="516039"/>
                  </a:lnTo>
                  <a:lnTo>
                    <a:pt x="225056" y="528459"/>
                  </a:lnTo>
                  <a:lnTo>
                    <a:pt x="273532" y="532828"/>
                  </a:lnTo>
                  <a:lnTo>
                    <a:pt x="274751" y="532828"/>
                  </a:lnTo>
                  <a:lnTo>
                    <a:pt x="323088" y="528472"/>
                  </a:lnTo>
                  <a:lnTo>
                    <a:pt x="368642" y="516115"/>
                  </a:lnTo>
                  <a:lnTo>
                    <a:pt x="410679" y="496468"/>
                  </a:lnTo>
                  <a:lnTo>
                    <a:pt x="448475" y="470268"/>
                  </a:lnTo>
                  <a:lnTo>
                    <a:pt x="481279" y="438264"/>
                  </a:lnTo>
                  <a:lnTo>
                    <a:pt x="508368" y="401154"/>
                  </a:lnTo>
                  <a:lnTo>
                    <a:pt x="529031" y="359702"/>
                  </a:lnTo>
                  <a:lnTo>
                    <a:pt x="542505" y="314604"/>
                  </a:lnTo>
                  <a:lnTo>
                    <a:pt x="548081" y="266623"/>
                  </a:lnTo>
                  <a:close/>
                </a:path>
                <a:path w="548640" h="786765">
                  <a:moveTo>
                    <a:pt x="548081" y="1092"/>
                  </a:moveTo>
                  <a:lnTo>
                    <a:pt x="500367" y="5130"/>
                  </a:lnTo>
                  <a:lnTo>
                    <a:pt x="455841" y="16776"/>
                  </a:lnTo>
                  <a:lnTo>
                    <a:pt x="414616" y="35382"/>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60"/>
                  </a:lnTo>
                  <a:lnTo>
                    <a:pt x="47917" y="4051"/>
                  </a:lnTo>
                  <a:lnTo>
                    <a:pt x="0" y="0"/>
                  </a:lnTo>
                  <a:lnTo>
                    <a:pt x="5448" y="48158"/>
                  </a:lnTo>
                  <a:lnTo>
                    <a:pt x="18846" y="93421"/>
                  </a:lnTo>
                  <a:lnTo>
                    <a:pt x="39458" y="135051"/>
                  </a:lnTo>
                  <a:lnTo>
                    <a:pt x="66560" y="172300"/>
                  </a:lnTo>
                  <a:lnTo>
                    <a:pt x="99402" y="204457"/>
                  </a:lnTo>
                  <a:lnTo>
                    <a:pt x="137248" y="230771"/>
                  </a:lnTo>
                  <a:lnTo>
                    <a:pt x="179387" y="250494"/>
                  </a:lnTo>
                  <a:lnTo>
                    <a:pt x="225056" y="262928"/>
                  </a:lnTo>
                  <a:lnTo>
                    <a:pt x="273532" y="267309"/>
                  </a:lnTo>
                  <a:lnTo>
                    <a:pt x="274751" y="267309"/>
                  </a:lnTo>
                  <a:lnTo>
                    <a:pt x="323088" y="262940"/>
                  </a:lnTo>
                  <a:lnTo>
                    <a:pt x="368642" y="250583"/>
                  </a:lnTo>
                  <a:lnTo>
                    <a:pt x="410679" y="230936"/>
                  </a:lnTo>
                  <a:lnTo>
                    <a:pt x="448475" y="204736"/>
                  </a:lnTo>
                  <a:lnTo>
                    <a:pt x="481279" y="172720"/>
                  </a:lnTo>
                  <a:lnTo>
                    <a:pt x="508368" y="135623"/>
                  </a:lnTo>
                  <a:lnTo>
                    <a:pt x="529031" y="94170"/>
                  </a:lnTo>
                  <a:lnTo>
                    <a:pt x="542505" y="49072"/>
                  </a:lnTo>
                  <a:lnTo>
                    <a:pt x="548081" y="1092"/>
                  </a:lnTo>
                  <a:close/>
                </a:path>
              </a:pathLst>
            </a:custGeom>
            <a:solidFill>
              <a:srgbClr val="7ED3F1"/>
            </a:solidFill>
          </p:spPr>
          <p:txBody>
            <a:bodyPr wrap="square" lIns="0" tIns="0" rIns="0" bIns="0" rtlCol="0"/>
            <a:lstStyle/>
            <a:p>
              <a:endParaRPr dirty="0"/>
            </a:p>
          </p:txBody>
        </p:sp>
        <p:pic>
          <p:nvPicPr>
            <p:cNvPr id="565" name="object 326">
              <a:extLst>
                <a:ext uri="{FF2B5EF4-FFF2-40B4-BE49-F238E27FC236}">
                  <a16:creationId xmlns:a16="http://schemas.microsoft.com/office/drawing/2014/main" id="{6642D26C-1D1D-C62B-2F2B-ED7F501FFD7B}"/>
                </a:ext>
              </a:extLst>
            </p:cNvPr>
            <p:cNvPicPr/>
            <p:nvPr/>
          </p:nvPicPr>
          <p:blipFill>
            <a:blip r:embed="rId11" cstate="print"/>
            <a:stretch>
              <a:fillRect/>
            </a:stretch>
          </p:blipFill>
          <p:spPr>
            <a:xfrm>
              <a:off x="9251594" y="3989263"/>
              <a:ext cx="106445" cy="107156"/>
            </a:xfrm>
            <a:prstGeom prst="rect">
              <a:avLst/>
            </a:prstGeom>
          </p:spPr>
        </p:pic>
        <p:sp>
          <p:nvSpPr>
            <p:cNvPr id="566" name="object 327">
              <a:extLst>
                <a:ext uri="{FF2B5EF4-FFF2-40B4-BE49-F238E27FC236}">
                  <a16:creationId xmlns:a16="http://schemas.microsoft.com/office/drawing/2014/main" id="{23EDDD35-1D8F-1FC1-6153-B67750C8E77E}"/>
                </a:ext>
              </a:extLst>
            </p:cNvPr>
            <p:cNvSpPr/>
            <p:nvPr/>
          </p:nvSpPr>
          <p:spPr>
            <a:xfrm>
              <a:off x="8753854" y="3862863"/>
              <a:ext cx="332700" cy="477101"/>
            </a:xfrm>
            <a:custGeom>
              <a:avLst/>
              <a:gdLst/>
              <a:ahLst/>
              <a:cxnLst/>
              <a:rect l="l" t="t" r="r" b="b"/>
              <a:pathLst>
                <a:path w="548640" h="786765">
                  <a:moveTo>
                    <a:pt x="548081" y="786396"/>
                  </a:moveTo>
                  <a:lnTo>
                    <a:pt x="542645" y="738238"/>
                  </a:lnTo>
                  <a:lnTo>
                    <a:pt x="529247" y="692975"/>
                  </a:lnTo>
                  <a:lnTo>
                    <a:pt x="508622" y="651344"/>
                  </a:lnTo>
                  <a:lnTo>
                    <a:pt x="481533" y="614083"/>
                  </a:lnTo>
                  <a:lnTo>
                    <a:pt x="448691" y="581939"/>
                  </a:lnTo>
                  <a:lnTo>
                    <a:pt x="410832" y="555625"/>
                  </a:lnTo>
                  <a:lnTo>
                    <a:pt x="368706" y="535889"/>
                  </a:lnTo>
                  <a:lnTo>
                    <a:pt x="323037" y="523468"/>
                  </a:lnTo>
                  <a:lnTo>
                    <a:pt x="274561" y="519099"/>
                  </a:lnTo>
                  <a:lnTo>
                    <a:pt x="273342" y="519099"/>
                  </a:lnTo>
                  <a:lnTo>
                    <a:pt x="224993" y="523455"/>
                  </a:lnTo>
                  <a:lnTo>
                    <a:pt x="179438" y="535813"/>
                  </a:lnTo>
                  <a:lnTo>
                    <a:pt x="137414" y="555459"/>
                  </a:lnTo>
                  <a:lnTo>
                    <a:pt x="99618" y="581660"/>
                  </a:lnTo>
                  <a:lnTo>
                    <a:pt x="66827" y="613664"/>
                  </a:lnTo>
                  <a:lnTo>
                    <a:pt x="39738" y="650773"/>
                  </a:lnTo>
                  <a:lnTo>
                    <a:pt x="19088" y="692226"/>
                  </a:lnTo>
                  <a:lnTo>
                    <a:pt x="5613" y="737323"/>
                  </a:lnTo>
                  <a:lnTo>
                    <a:pt x="50" y="785304"/>
                  </a:lnTo>
                  <a:lnTo>
                    <a:pt x="47713" y="781265"/>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72"/>
                  </a:lnTo>
                  <a:lnTo>
                    <a:pt x="295732" y="621042"/>
                  </a:lnTo>
                  <a:lnTo>
                    <a:pt x="316992" y="660831"/>
                  </a:lnTo>
                  <a:lnTo>
                    <a:pt x="344284" y="696366"/>
                  </a:lnTo>
                  <a:lnTo>
                    <a:pt x="376936" y="726973"/>
                  </a:lnTo>
                  <a:lnTo>
                    <a:pt x="414248" y="751954"/>
                  </a:lnTo>
                  <a:lnTo>
                    <a:pt x="455549" y="770636"/>
                  </a:lnTo>
                  <a:lnTo>
                    <a:pt x="500176" y="782345"/>
                  </a:lnTo>
                  <a:lnTo>
                    <a:pt x="548081" y="786396"/>
                  </a:lnTo>
                  <a:close/>
                </a:path>
                <a:path w="548640" h="786765">
                  <a:moveTo>
                    <a:pt x="548081" y="520865"/>
                  </a:moveTo>
                  <a:lnTo>
                    <a:pt x="542645" y="472706"/>
                  </a:lnTo>
                  <a:lnTo>
                    <a:pt x="529247" y="427443"/>
                  </a:lnTo>
                  <a:lnTo>
                    <a:pt x="508622" y="385813"/>
                  </a:lnTo>
                  <a:lnTo>
                    <a:pt x="481533" y="348564"/>
                  </a:lnTo>
                  <a:lnTo>
                    <a:pt x="448691" y="316407"/>
                  </a:lnTo>
                  <a:lnTo>
                    <a:pt x="410832" y="290106"/>
                  </a:lnTo>
                  <a:lnTo>
                    <a:pt x="368706" y="270370"/>
                  </a:lnTo>
                  <a:lnTo>
                    <a:pt x="323037" y="257949"/>
                  </a:lnTo>
                  <a:lnTo>
                    <a:pt x="274561" y="253568"/>
                  </a:lnTo>
                  <a:lnTo>
                    <a:pt x="273342" y="253568"/>
                  </a:lnTo>
                  <a:lnTo>
                    <a:pt x="224993" y="257924"/>
                  </a:lnTo>
                  <a:lnTo>
                    <a:pt x="179438" y="270294"/>
                  </a:lnTo>
                  <a:lnTo>
                    <a:pt x="137414" y="289941"/>
                  </a:lnTo>
                  <a:lnTo>
                    <a:pt x="99618" y="316128"/>
                  </a:lnTo>
                  <a:lnTo>
                    <a:pt x="66827" y="348145"/>
                  </a:lnTo>
                  <a:lnTo>
                    <a:pt x="39738" y="385241"/>
                  </a:lnTo>
                  <a:lnTo>
                    <a:pt x="19088" y="426707"/>
                  </a:lnTo>
                  <a:lnTo>
                    <a:pt x="5613" y="471792"/>
                  </a:lnTo>
                  <a:lnTo>
                    <a:pt x="50" y="519785"/>
                  </a:lnTo>
                  <a:lnTo>
                    <a:pt x="47713" y="515747"/>
                  </a:lnTo>
                  <a:lnTo>
                    <a:pt x="92240" y="504101"/>
                  </a:lnTo>
                  <a:lnTo>
                    <a:pt x="133477" y="485495"/>
                  </a:lnTo>
                  <a:lnTo>
                    <a:pt x="170738" y="460629"/>
                  </a:lnTo>
                  <a:lnTo>
                    <a:pt x="203365" y="430161"/>
                  </a:lnTo>
                  <a:lnTo>
                    <a:pt x="230682" y="394779"/>
                  </a:lnTo>
                  <a:lnTo>
                    <a:pt x="252006" y="355142"/>
                  </a:lnTo>
                  <a:lnTo>
                    <a:pt x="266661" y="311950"/>
                  </a:lnTo>
                  <a:lnTo>
                    <a:pt x="274002" y="265874"/>
                  </a:lnTo>
                  <a:lnTo>
                    <a:pt x="281178" y="312140"/>
                  </a:lnTo>
                  <a:lnTo>
                    <a:pt x="295732" y="355511"/>
                  </a:lnTo>
                  <a:lnTo>
                    <a:pt x="316992" y="395300"/>
                  </a:lnTo>
                  <a:lnTo>
                    <a:pt x="344284" y="430847"/>
                  </a:lnTo>
                  <a:lnTo>
                    <a:pt x="376936" y="461441"/>
                  </a:lnTo>
                  <a:lnTo>
                    <a:pt x="414248" y="486422"/>
                  </a:lnTo>
                  <a:lnTo>
                    <a:pt x="455549" y="505104"/>
                  </a:lnTo>
                  <a:lnTo>
                    <a:pt x="500176" y="516813"/>
                  </a:lnTo>
                  <a:lnTo>
                    <a:pt x="548081" y="520865"/>
                  </a:lnTo>
                  <a:close/>
                </a:path>
                <a:path w="548640" h="786765">
                  <a:moveTo>
                    <a:pt x="548093" y="267322"/>
                  </a:moveTo>
                  <a:lnTo>
                    <a:pt x="543255" y="224586"/>
                  </a:lnTo>
                  <a:lnTo>
                    <a:pt x="542645" y="219151"/>
                  </a:lnTo>
                  <a:lnTo>
                    <a:pt x="529247" y="173888"/>
                  </a:lnTo>
                  <a:lnTo>
                    <a:pt x="522414" y="160096"/>
                  </a:lnTo>
                  <a:lnTo>
                    <a:pt x="508635" y="132257"/>
                  </a:lnTo>
                  <a:lnTo>
                    <a:pt x="492937" y="110693"/>
                  </a:lnTo>
                  <a:lnTo>
                    <a:pt x="481533" y="95008"/>
                  </a:lnTo>
                  <a:lnTo>
                    <a:pt x="448691" y="62852"/>
                  </a:lnTo>
                  <a:lnTo>
                    <a:pt x="410845" y="36550"/>
                  </a:lnTo>
                  <a:lnTo>
                    <a:pt x="368706" y="16802"/>
                  </a:lnTo>
                  <a:lnTo>
                    <a:pt x="323037" y="4381"/>
                  </a:lnTo>
                  <a:lnTo>
                    <a:pt x="274561" y="0"/>
                  </a:lnTo>
                  <a:lnTo>
                    <a:pt x="273342" y="0"/>
                  </a:lnTo>
                  <a:lnTo>
                    <a:pt x="224993" y="4356"/>
                  </a:lnTo>
                  <a:lnTo>
                    <a:pt x="179438" y="16725"/>
                  </a:lnTo>
                  <a:lnTo>
                    <a:pt x="137414" y="36372"/>
                  </a:lnTo>
                  <a:lnTo>
                    <a:pt x="99618" y="62560"/>
                  </a:lnTo>
                  <a:lnTo>
                    <a:pt x="82613" y="79171"/>
                  </a:lnTo>
                  <a:lnTo>
                    <a:pt x="66827" y="94576"/>
                  </a:lnTo>
                  <a:lnTo>
                    <a:pt x="39700" y="131686"/>
                  </a:lnTo>
                  <a:lnTo>
                    <a:pt x="19050" y="173139"/>
                  </a:lnTo>
                  <a:lnTo>
                    <a:pt x="5575" y="218224"/>
                  </a:lnTo>
                  <a:lnTo>
                    <a:pt x="0" y="266192"/>
                  </a:lnTo>
                  <a:lnTo>
                    <a:pt x="47713" y="262178"/>
                  </a:lnTo>
                  <a:lnTo>
                    <a:pt x="92240" y="250520"/>
                  </a:lnTo>
                  <a:lnTo>
                    <a:pt x="133477" y="231927"/>
                  </a:lnTo>
                  <a:lnTo>
                    <a:pt x="170751" y="207060"/>
                  </a:lnTo>
                  <a:lnTo>
                    <a:pt x="203377" y="176593"/>
                  </a:lnTo>
                  <a:lnTo>
                    <a:pt x="230682" y="141224"/>
                  </a:lnTo>
                  <a:lnTo>
                    <a:pt x="252006" y="101600"/>
                  </a:lnTo>
                  <a:lnTo>
                    <a:pt x="266674" y="58420"/>
                  </a:lnTo>
                  <a:lnTo>
                    <a:pt x="274002" y="12331"/>
                  </a:lnTo>
                  <a:lnTo>
                    <a:pt x="281178" y="58585"/>
                  </a:lnTo>
                  <a:lnTo>
                    <a:pt x="295732" y="101955"/>
                  </a:lnTo>
                  <a:lnTo>
                    <a:pt x="316992" y="141744"/>
                  </a:lnTo>
                  <a:lnTo>
                    <a:pt x="344284" y="177279"/>
                  </a:lnTo>
                  <a:lnTo>
                    <a:pt x="360083" y="192087"/>
                  </a:lnTo>
                  <a:lnTo>
                    <a:pt x="376936" y="207886"/>
                  </a:lnTo>
                  <a:lnTo>
                    <a:pt x="414248" y="232867"/>
                  </a:lnTo>
                  <a:lnTo>
                    <a:pt x="455561" y="251561"/>
                  </a:lnTo>
                  <a:lnTo>
                    <a:pt x="500176" y="263271"/>
                  </a:lnTo>
                  <a:lnTo>
                    <a:pt x="548093" y="267322"/>
                  </a:lnTo>
                  <a:close/>
                </a:path>
              </a:pathLst>
            </a:custGeom>
            <a:solidFill>
              <a:srgbClr val="2DB7EA"/>
            </a:solidFill>
          </p:spPr>
          <p:txBody>
            <a:bodyPr wrap="square" lIns="0" tIns="0" rIns="0" bIns="0" rtlCol="0"/>
            <a:lstStyle/>
            <a:p>
              <a:endParaRPr dirty="0"/>
            </a:p>
          </p:txBody>
        </p:sp>
        <p:pic>
          <p:nvPicPr>
            <p:cNvPr id="567" name="object 328">
              <a:extLst>
                <a:ext uri="{FF2B5EF4-FFF2-40B4-BE49-F238E27FC236}">
                  <a16:creationId xmlns:a16="http://schemas.microsoft.com/office/drawing/2014/main" id="{D1542F85-6E60-B6F3-387F-6B0B82764FAE}"/>
                </a:ext>
              </a:extLst>
            </p:cNvPr>
            <p:cNvPicPr/>
            <p:nvPr/>
          </p:nvPicPr>
          <p:blipFill>
            <a:blip r:embed="rId13" cstate="print"/>
            <a:stretch>
              <a:fillRect/>
            </a:stretch>
          </p:blipFill>
          <p:spPr>
            <a:xfrm>
              <a:off x="8867131" y="4318566"/>
              <a:ext cx="106445" cy="107156"/>
            </a:xfrm>
            <a:prstGeom prst="rect">
              <a:avLst/>
            </a:prstGeom>
          </p:spPr>
        </p:pic>
        <p:sp>
          <p:nvSpPr>
            <p:cNvPr id="568" name="object 329">
              <a:extLst>
                <a:ext uri="{FF2B5EF4-FFF2-40B4-BE49-F238E27FC236}">
                  <a16:creationId xmlns:a16="http://schemas.microsoft.com/office/drawing/2014/main" id="{7A2D2E47-502B-FCF6-06B5-CDB346B4068D}"/>
                </a:ext>
              </a:extLst>
            </p:cNvPr>
            <p:cNvSpPr/>
            <p:nvPr/>
          </p:nvSpPr>
          <p:spPr>
            <a:xfrm>
              <a:off x="8753854" y="4517034"/>
              <a:ext cx="332700" cy="477101"/>
            </a:xfrm>
            <a:custGeom>
              <a:avLst/>
              <a:gdLst/>
              <a:ahLst/>
              <a:cxnLst/>
              <a:rect l="l" t="t" r="r" b="b"/>
              <a:pathLst>
                <a:path w="548640" h="786765">
                  <a:moveTo>
                    <a:pt x="548081" y="786384"/>
                  </a:moveTo>
                  <a:lnTo>
                    <a:pt x="542645" y="738225"/>
                  </a:lnTo>
                  <a:lnTo>
                    <a:pt x="529247"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47"/>
                  </a:lnTo>
                  <a:lnTo>
                    <a:pt x="66827" y="613664"/>
                  </a:lnTo>
                  <a:lnTo>
                    <a:pt x="39738" y="650760"/>
                  </a:lnTo>
                  <a:lnTo>
                    <a:pt x="19088" y="692226"/>
                  </a:lnTo>
                  <a:lnTo>
                    <a:pt x="5613" y="737323"/>
                  </a:lnTo>
                  <a:lnTo>
                    <a:pt x="50" y="785304"/>
                  </a:lnTo>
                  <a:lnTo>
                    <a:pt x="47713" y="781265"/>
                  </a:lnTo>
                  <a:lnTo>
                    <a:pt x="92240" y="769620"/>
                  </a:lnTo>
                  <a:lnTo>
                    <a:pt x="133477" y="751014"/>
                  </a:lnTo>
                  <a:lnTo>
                    <a:pt x="170738" y="726147"/>
                  </a:lnTo>
                  <a:lnTo>
                    <a:pt x="203365" y="695680"/>
                  </a:lnTo>
                  <a:lnTo>
                    <a:pt x="230682" y="660298"/>
                  </a:lnTo>
                  <a:lnTo>
                    <a:pt x="252006" y="620674"/>
                  </a:lnTo>
                  <a:lnTo>
                    <a:pt x="266661" y="577469"/>
                  </a:lnTo>
                  <a:lnTo>
                    <a:pt x="274002" y="531393"/>
                  </a:lnTo>
                  <a:lnTo>
                    <a:pt x="281178" y="577659"/>
                  </a:lnTo>
                  <a:lnTo>
                    <a:pt x="295732" y="621030"/>
                  </a:lnTo>
                  <a:lnTo>
                    <a:pt x="316992" y="660831"/>
                  </a:lnTo>
                  <a:lnTo>
                    <a:pt x="344284" y="696366"/>
                  </a:lnTo>
                  <a:lnTo>
                    <a:pt x="376936" y="726960"/>
                  </a:lnTo>
                  <a:lnTo>
                    <a:pt x="414248" y="751941"/>
                  </a:lnTo>
                  <a:lnTo>
                    <a:pt x="455549" y="770623"/>
                  </a:lnTo>
                  <a:lnTo>
                    <a:pt x="500176" y="782332"/>
                  </a:lnTo>
                  <a:lnTo>
                    <a:pt x="548081" y="786384"/>
                  </a:lnTo>
                  <a:close/>
                </a:path>
                <a:path w="548640" h="786765">
                  <a:moveTo>
                    <a:pt x="548081" y="520852"/>
                  </a:moveTo>
                  <a:lnTo>
                    <a:pt x="542645" y="472694"/>
                  </a:lnTo>
                  <a:lnTo>
                    <a:pt x="529247" y="427431"/>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11"/>
                  </a:lnTo>
                  <a:lnTo>
                    <a:pt x="179438" y="270281"/>
                  </a:lnTo>
                  <a:lnTo>
                    <a:pt x="137414" y="289928"/>
                  </a:lnTo>
                  <a:lnTo>
                    <a:pt x="99618" y="316128"/>
                  </a:lnTo>
                  <a:lnTo>
                    <a:pt x="66827" y="348132"/>
                  </a:lnTo>
                  <a:lnTo>
                    <a:pt x="39738" y="385241"/>
                  </a:lnTo>
                  <a:lnTo>
                    <a:pt x="19088" y="426694"/>
                  </a:lnTo>
                  <a:lnTo>
                    <a:pt x="5613" y="471779"/>
                  </a:lnTo>
                  <a:lnTo>
                    <a:pt x="50" y="519772"/>
                  </a:lnTo>
                  <a:lnTo>
                    <a:pt x="47713" y="515734"/>
                  </a:lnTo>
                  <a:lnTo>
                    <a:pt x="92240" y="504075"/>
                  </a:lnTo>
                  <a:lnTo>
                    <a:pt x="133477" y="485482"/>
                  </a:lnTo>
                  <a:lnTo>
                    <a:pt x="170738" y="460616"/>
                  </a:lnTo>
                  <a:lnTo>
                    <a:pt x="203365" y="430149"/>
                  </a:lnTo>
                  <a:lnTo>
                    <a:pt x="230682" y="394766"/>
                  </a:lnTo>
                  <a:lnTo>
                    <a:pt x="252006" y="355142"/>
                  </a:lnTo>
                  <a:lnTo>
                    <a:pt x="266661" y="311950"/>
                  </a:lnTo>
                  <a:lnTo>
                    <a:pt x="274002" y="265861"/>
                  </a:lnTo>
                  <a:lnTo>
                    <a:pt x="281178" y="312127"/>
                  </a:lnTo>
                  <a:lnTo>
                    <a:pt x="295732" y="355511"/>
                  </a:lnTo>
                  <a:lnTo>
                    <a:pt x="316992" y="395300"/>
                  </a:lnTo>
                  <a:lnTo>
                    <a:pt x="344284" y="430834"/>
                  </a:lnTo>
                  <a:lnTo>
                    <a:pt x="376936" y="461429"/>
                  </a:lnTo>
                  <a:lnTo>
                    <a:pt x="414248" y="486410"/>
                  </a:lnTo>
                  <a:lnTo>
                    <a:pt x="455549" y="505091"/>
                  </a:lnTo>
                  <a:lnTo>
                    <a:pt x="500176" y="516801"/>
                  </a:lnTo>
                  <a:lnTo>
                    <a:pt x="548081" y="520852"/>
                  </a:lnTo>
                  <a:close/>
                </a:path>
                <a:path w="548640" h="786765">
                  <a:moveTo>
                    <a:pt x="548093" y="267322"/>
                  </a:moveTo>
                  <a:lnTo>
                    <a:pt x="543331" y="225285"/>
                  </a:lnTo>
                  <a:lnTo>
                    <a:pt x="542645" y="219151"/>
                  </a:lnTo>
                  <a:lnTo>
                    <a:pt x="529247" y="173875"/>
                  </a:lnTo>
                  <a:lnTo>
                    <a:pt x="508635" y="132245"/>
                  </a:lnTo>
                  <a:lnTo>
                    <a:pt x="481533" y="94996"/>
                  </a:lnTo>
                  <a:lnTo>
                    <a:pt x="448691" y="62852"/>
                  </a:lnTo>
                  <a:lnTo>
                    <a:pt x="426351" y="47332"/>
                  </a:lnTo>
                  <a:lnTo>
                    <a:pt x="410845" y="36537"/>
                  </a:lnTo>
                  <a:lnTo>
                    <a:pt x="391109" y="27305"/>
                  </a:lnTo>
                  <a:lnTo>
                    <a:pt x="368719" y="16814"/>
                  </a:lnTo>
                  <a:lnTo>
                    <a:pt x="323037" y="4368"/>
                  </a:lnTo>
                  <a:lnTo>
                    <a:pt x="274561" y="0"/>
                  </a:lnTo>
                  <a:lnTo>
                    <a:pt x="273342" y="0"/>
                  </a:lnTo>
                  <a:lnTo>
                    <a:pt x="224993" y="4356"/>
                  </a:lnTo>
                  <a:lnTo>
                    <a:pt x="179438" y="16725"/>
                  </a:lnTo>
                  <a:lnTo>
                    <a:pt x="137414" y="36372"/>
                  </a:lnTo>
                  <a:lnTo>
                    <a:pt x="99618" y="62560"/>
                  </a:lnTo>
                  <a:lnTo>
                    <a:pt x="98806" y="63347"/>
                  </a:lnTo>
                  <a:lnTo>
                    <a:pt x="66827" y="94576"/>
                  </a:lnTo>
                  <a:lnTo>
                    <a:pt x="39700" y="131686"/>
                  </a:lnTo>
                  <a:lnTo>
                    <a:pt x="19050" y="173139"/>
                  </a:lnTo>
                  <a:lnTo>
                    <a:pt x="5575" y="218211"/>
                  </a:lnTo>
                  <a:lnTo>
                    <a:pt x="0" y="266192"/>
                  </a:lnTo>
                  <a:lnTo>
                    <a:pt x="47713" y="262166"/>
                  </a:lnTo>
                  <a:lnTo>
                    <a:pt x="92240" y="250520"/>
                  </a:lnTo>
                  <a:lnTo>
                    <a:pt x="133477" y="231914"/>
                  </a:lnTo>
                  <a:lnTo>
                    <a:pt x="170751" y="207048"/>
                  </a:lnTo>
                  <a:lnTo>
                    <a:pt x="203377" y="176593"/>
                  </a:lnTo>
                  <a:lnTo>
                    <a:pt x="230682" y="141211"/>
                  </a:lnTo>
                  <a:lnTo>
                    <a:pt x="252006" y="101600"/>
                  </a:lnTo>
                  <a:lnTo>
                    <a:pt x="266674" y="58407"/>
                  </a:lnTo>
                  <a:lnTo>
                    <a:pt x="274002" y="12319"/>
                  </a:lnTo>
                  <a:lnTo>
                    <a:pt x="281178" y="58585"/>
                  </a:lnTo>
                  <a:lnTo>
                    <a:pt x="295732" y="101942"/>
                  </a:lnTo>
                  <a:lnTo>
                    <a:pt x="316992" y="141732"/>
                  </a:lnTo>
                  <a:lnTo>
                    <a:pt x="344284" y="177266"/>
                  </a:lnTo>
                  <a:lnTo>
                    <a:pt x="376936" y="207873"/>
                  </a:lnTo>
                  <a:lnTo>
                    <a:pt x="414248" y="232867"/>
                  </a:lnTo>
                  <a:lnTo>
                    <a:pt x="455561"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569" name="object 330">
              <a:extLst>
                <a:ext uri="{FF2B5EF4-FFF2-40B4-BE49-F238E27FC236}">
                  <a16:creationId xmlns:a16="http://schemas.microsoft.com/office/drawing/2014/main" id="{01C80AE8-8364-3021-33CA-43E966E0FE8D}"/>
                </a:ext>
              </a:extLst>
            </p:cNvPr>
            <p:cNvPicPr/>
            <p:nvPr/>
          </p:nvPicPr>
          <p:blipFill>
            <a:blip r:embed="rId14" cstate="print"/>
            <a:stretch>
              <a:fillRect/>
            </a:stretch>
          </p:blipFill>
          <p:spPr>
            <a:xfrm>
              <a:off x="8867131" y="4972731"/>
              <a:ext cx="106445" cy="107156"/>
            </a:xfrm>
            <a:prstGeom prst="rect">
              <a:avLst/>
            </a:prstGeom>
          </p:spPr>
        </p:pic>
        <p:sp>
          <p:nvSpPr>
            <p:cNvPr id="570" name="object 331">
              <a:extLst>
                <a:ext uri="{FF2B5EF4-FFF2-40B4-BE49-F238E27FC236}">
                  <a16:creationId xmlns:a16="http://schemas.microsoft.com/office/drawing/2014/main" id="{23C1B2CE-19FA-D837-FE22-27E6901AFD4A}"/>
                </a:ext>
              </a:extLst>
            </p:cNvPr>
            <p:cNvSpPr/>
            <p:nvPr/>
          </p:nvSpPr>
          <p:spPr>
            <a:xfrm>
              <a:off x="8753854" y="2554529"/>
              <a:ext cx="332700" cy="477101"/>
            </a:xfrm>
            <a:custGeom>
              <a:avLst/>
              <a:gdLst/>
              <a:ahLst/>
              <a:cxnLst/>
              <a:rect l="l" t="t" r="r" b="b"/>
              <a:pathLst>
                <a:path w="548640" h="786764">
                  <a:moveTo>
                    <a:pt x="548081" y="786396"/>
                  </a:moveTo>
                  <a:lnTo>
                    <a:pt x="542645" y="738238"/>
                  </a:lnTo>
                  <a:lnTo>
                    <a:pt x="529247" y="692975"/>
                  </a:lnTo>
                  <a:lnTo>
                    <a:pt x="508622" y="651344"/>
                  </a:lnTo>
                  <a:lnTo>
                    <a:pt x="481533" y="614095"/>
                  </a:lnTo>
                  <a:lnTo>
                    <a:pt x="448691" y="581939"/>
                  </a:lnTo>
                  <a:lnTo>
                    <a:pt x="410832" y="555625"/>
                  </a:lnTo>
                  <a:lnTo>
                    <a:pt x="368706" y="535901"/>
                  </a:lnTo>
                  <a:lnTo>
                    <a:pt x="323037" y="523468"/>
                  </a:lnTo>
                  <a:lnTo>
                    <a:pt x="274561" y="519099"/>
                  </a:lnTo>
                  <a:lnTo>
                    <a:pt x="273342" y="519099"/>
                  </a:lnTo>
                  <a:lnTo>
                    <a:pt x="224993" y="523455"/>
                  </a:lnTo>
                  <a:lnTo>
                    <a:pt x="179438" y="535813"/>
                  </a:lnTo>
                  <a:lnTo>
                    <a:pt x="137414" y="555459"/>
                  </a:lnTo>
                  <a:lnTo>
                    <a:pt x="99618" y="581660"/>
                  </a:lnTo>
                  <a:lnTo>
                    <a:pt x="66827" y="613676"/>
                  </a:lnTo>
                  <a:lnTo>
                    <a:pt x="39738" y="650773"/>
                  </a:lnTo>
                  <a:lnTo>
                    <a:pt x="19088" y="692238"/>
                  </a:lnTo>
                  <a:lnTo>
                    <a:pt x="5613" y="737323"/>
                  </a:lnTo>
                  <a:lnTo>
                    <a:pt x="50" y="785317"/>
                  </a:lnTo>
                  <a:lnTo>
                    <a:pt x="47713" y="781278"/>
                  </a:lnTo>
                  <a:lnTo>
                    <a:pt x="92240" y="769632"/>
                  </a:lnTo>
                  <a:lnTo>
                    <a:pt x="133477" y="751027"/>
                  </a:lnTo>
                  <a:lnTo>
                    <a:pt x="170738" y="726160"/>
                  </a:lnTo>
                  <a:lnTo>
                    <a:pt x="203365" y="695693"/>
                  </a:lnTo>
                  <a:lnTo>
                    <a:pt x="230682" y="660311"/>
                  </a:lnTo>
                  <a:lnTo>
                    <a:pt x="252006" y="620687"/>
                  </a:lnTo>
                  <a:lnTo>
                    <a:pt x="266661" y="577481"/>
                  </a:lnTo>
                  <a:lnTo>
                    <a:pt x="274002" y="531406"/>
                  </a:lnTo>
                  <a:lnTo>
                    <a:pt x="281178" y="577672"/>
                  </a:lnTo>
                  <a:lnTo>
                    <a:pt x="295732" y="621042"/>
                  </a:lnTo>
                  <a:lnTo>
                    <a:pt x="316992" y="660844"/>
                  </a:lnTo>
                  <a:lnTo>
                    <a:pt x="344284" y="696379"/>
                  </a:lnTo>
                  <a:lnTo>
                    <a:pt x="376936" y="726973"/>
                  </a:lnTo>
                  <a:lnTo>
                    <a:pt x="414248" y="751954"/>
                  </a:lnTo>
                  <a:lnTo>
                    <a:pt x="455549" y="770636"/>
                  </a:lnTo>
                  <a:lnTo>
                    <a:pt x="500176" y="782345"/>
                  </a:lnTo>
                  <a:lnTo>
                    <a:pt x="548081" y="786396"/>
                  </a:lnTo>
                  <a:close/>
                </a:path>
                <a:path w="548640" h="786764">
                  <a:moveTo>
                    <a:pt x="548081" y="520865"/>
                  </a:moveTo>
                  <a:lnTo>
                    <a:pt x="542645" y="472706"/>
                  </a:lnTo>
                  <a:lnTo>
                    <a:pt x="529247" y="427443"/>
                  </a:lnTo>
                  <a:lnTo>
                    <a:pt x="508622" y="385813"/>
                  </a:lnTo>
                  <a:lnTo>
                    <a:pt x="481533" y="348564"/>
                  </a:lnTo>
                  <a:lnTo>
                    <a:pt x="448691" y="316407"/>
                  </a:lnTo>
                  <a:lnTo>
                    <a:pt x="410832" y="290106"/>
                  </a:lnTo>
                  <a:lnTo>
                    <a:pt x="368706" y="270370"/>
                  </a:lnTo>
                  <a:lnTo>
                    <a:pt x="323037" y="257949"/>
                  </a:lnTo>
                  <a:lnTo>
                    <a:pt x="274561" y="253568"/>
                  </a:lnTo>
                  <a:lnTo>
                    <a:pt x="273342" y="253568"/>
                  </a:lnTo>
                  <a:lnTo>
                    <a:pt x="224993" y="257924"/>
                  </a:lnTo>
                  <a:lnTo>
                    <a:pt x="179438" y="270294"/>
                  </a:lnTo>
                  <a:lnTo>
                    <a:pt x="137414" y="289941"/>
                  </a:lnTo>
                  <a:lnTo>
                    <a:pt x="99618" y="316128"/>
                  </a:lnTo>
                  <a:lnTo>
                    <a:pt x="66827" y="348145"/>
                  </a:lnTo>
                  <a:lnTo>
                    <a:pt x="39738" y="385254"/>
                  </a:lnTo>
                  <a:lnTo>
                    <a:pt x="19088" y="426707"/>
                  </a:lnTo>
                  <a:lnTo>
                    <a:pt x="5613" y="471805"/>
                  </a:lnTo>
                  <a:lnTo>
                    <a:pt x="50" y="519785"/>
                  </a:lnTo>
                  <a:lnTo>
                    <a:pt x="47713" y="515759"/>
                  </a:lnTo>
                  <a:lnTo>
                    <a:pt x="92240" y="504101"/>
                  </a:lnTo>
                  <a:lnTo>
                    <a:pt x="133477" y="485495"/>
                  </a:lnTo>
                  <a:lnTo>
                    <a:pt x="170738" y="460629"/>
                  </a:lnTo>
                  <a:lnTo>
                    <a:pt x="203365" y="430161"/>
                  </a:lnTo>
                  <a:lnTo>
                    <a:pt x="230682" y="394779"/>
                  </a:lnTo>
                  <a:lnTo>
                    <a:pt x="252006" y="355155"/>
                  </a:lnTo>
                  <a:lnTo>
                    <a:pt x="266661" y="311962"/>
                  </a:lnTo>
                  <a:lnTo>
                    <a:pt x="274002" y="265874"/>
                  </a:lnTo>
                  <a:lnTo>
                    <a:pt x="281178" y="312140"/>
                  </a:lnTo>
                  <a:lnTo>
                    <a:pt x="295732" y="355511"/>
                  </a:lnTo>
                  <a:lnTo>
                    <a:pt x="316992" y="395312"/>
                  </a:lnTo>
                  <a:lnTo>
                    <a:pt x="344284" y="430847"/>
                  </a:lnTo>
                  <a:lnTo>
                    <a:pt x="376936" y="461441"/>
                  </a:lnTo>
                  <a:lnTo>
                    <a:pt x="414248" y="486422"/>
                  </a:lnTo>
                  <a:lnTo>
                    <a:pt x="455549" y="505104"/>
                  </a:lnTo>
                  <a:lnTo>
                    <a:pt x="500176" y="516813"/>
                  </a:lnTo>
                  <a:lnTo>
                    <a:pt x="548081" y="520865"/>
                  </a:lnTo>
                  <a:close/>
                </a:path>
                <a:path w="548640" h="786764">
                  <a:moveTo>
                    <a:pt x="548093" y="267335"/>
                  </a:moveTo>
                  <a:lnTo>
                    <a:pt x="543864" y="230035"/>
                  </a:lnTo>
                  <a:lnTo>
                    <a:pt x="542645" y="219163"/>
                  </a:lnTo>
                  <a:lnTo>
                    <a:pt x="529247" y="173888"/>
                  </a:lnTo>
                  <a:lnTo>
                    <a:pt x="508635" y="132257"/>
                  </a:lnTo>
                  <a:lnTo>
                    <a:pt x="492937" y="110693"/>
                  </a:lnTo>
                  <a:lnTo>
                    <a:pt x="481533" y="95008"/>
                  </a:lnTo>
                  <a:lnTo>
                    <a:pt x="448691" y="62865"/>
                  </a:lnTo>
                  <a:lnTo>
                    <a:pt x="410845" y="36563"/>
                  </a:lnTo>
                  <a:lnTo>
                    <a:pt x="368706" y="16802"/>
                  </a:lnTo>
                  <a:lnTo>
                    <a:pt x="323037" y="4381"/>
                  </a:lnTo>
                  <a:lnTo>
                    <a:pt x="274561" y="0"/>
                  </a:lnTo>
                  <a:lnTo>
                    <a:pt x="273342" y="0"/>
                  </a:lnTo>
                  <a:lnTo>
                    <a:pt x="224993" y="4356"/>
                  </a:lnTo>
                  <a:lnTo>
                    <a:pt x="179438" y="16725"/>
                  </a:lnTo>
                  <a:lnTo>
                    <a:pt x="137414" y="36372"/>
                  </a:lnTo>
                  <a:lnTo>
                    <a:pt x="99618" y="62572"/>
                  </a:lnTo>
                  <a:lnTo>
                    <a:pt x="66827" y="94576"/>
                  </a:lnTo>
                  <a:lnTo>
                    <a:pt x="39700" y="131699"/>
                  </a:lnTo>
                  <a:lnTo>
                    <a:pt x="19050" y="173151"/>
                  </a:lnTo>
                  <a:lnTo>
                    <a:pt x="5575" y="218224"/>
                  </a:lnTo>
                  <a:lnTo>
                    <a:pt x="0" y="266204"/>
                  </a:lnTo>
                  <a:lnTo>
                    <a:pt x="47713" y="262191"/>
                  </a:lnTo>
                  <a:lnTo>
                    <a:pt x="92240" y="250532"/>
                  </a:lnTo>
                  <a:lnTo>
                    <a:pt x="133477" y="231940"/>
                  </a:lnTo>
                  <a:lnTo>
                    <a:pt x="161417" y="213283"/>
                  </a:lnTo>
                  <a:lnTo>
                    <a:pt x="170751" y="207060"/>
                  </a:lnTo>
                  <a:lnTo>
                    <a:pt x="203377" y="176606"/>
                  </a:lnTo>
                  <a:lnTo>
                    <a:pt x="230682" y="141224"/>
                  </a:lnTo>
                  <a:lnTo>
                    <a:pt x="252006" y="101612"/>
                  </a:lnTo>
                  <a:lnTo>
                    <a:pt x="266674" y="58420"/>
                  </a:lnTo>
                  <a:lnTo>
                    <a:pt x="274002" y="12331"/>
                  </a:lnTo>
                  <a:lnTo>
                    <a:pt x="281178" y="58597"/>
                  </a:lnTo>
                  <a:lnTo>
                    <a:pt x="295732" y="101955"/>
                  </a:lnTo>
                  <a:lnTo>
                    <a:pt x="316992" y="141744"/>
                  </a:lnTo>
                  <a:lnTo>
                    <a:pt x="344284" y="177279"/>
                  </a:lnTo>
                  <a:lnTo>
                    <a:pt x="360083" y="192087"/>
                  </a:lnTo>
                  <a:lnTo>
                    <a:pt x="376936" y="207886"/>
                  </a:lnTo>
                  <a:lnTo>
                    <a:pt x="414248" y="232867"/>
                  </a:lnTo>
                  <a:lnTo>
                    <a:pt x="455561" y="251561"/>
                  </a:lnTo>
                  <a:lnTo>
                    <a:pt x="500176" y="263271"/>
                  </a:lnTo>
                  <a:lnTo>
                    <a:pt x="548093" y="267335"/>
                  </a:lnTo>
                  <a:close/>
                </a:path>
              </a:pathLst>
            </a:custGeom>
            <a:solidFill>
              <a:srgbClr val="2DB7EA"/>
            </a:solidFill>
          </p:spPr>
          <p:txBody>
            <a:bodyPr wrap="square" lIns="0" tIns="0" rIns="0" bIns="0" rtlCol="0"/>
            <a:lstStyle/>
            <a:p>
              <a:endParaRPr dirty="0"/>
            </a:p>
          </p:txBody>
        </p:sp>
        <p:pic>
          <p:nvPicPr>
            <p:cNvPr id="571" name="object 332">
              <a:extLst>
                <a:ext uri="{FF2B5EF4-FFF2-40B4-BE49-F238E27FC236}">
                  <a16:creationId xmlns:a16="http://schemas.microsoft.com/office/drawing/2014/main" id="{E1F30996-930E-1B18-AE06-9552655D2624}"/>
                </a:ext>
              </a:extLst>
            </p:cNvPr>
            <p:cNvPicPr/>
            <p:nvPr/>
          </p:nvPicPr>
          <p:blipFill>
            <a:blip r:embed="rId13" cstate="print"/>
            <a:stretch>
              <a:fillRect/>
            </a:stretch>
          </p:blipFill>
          <p:spPr>
            <a:xfrm>
              <a:off x="8867131" y="3010234"/>
              <a:ext cx="106445" cy="107156"/>
            </a:xfrm>
            <a:prstGeom prst="rect">
              <a:avLst/>
            </a:prstGeom>
          </p:spPr>
        </p:pic>
        <p:sp>
          <p:nvSpPr>
            <p:cNvPr id="572" name="object 333">
              <a:extLst>
                <a:ext uri="{FF2B5EF4-FFF2-40B4-BE49-F238E27FC236}">
                  <a16:creationId xmlns:a16="http://schemas.microsoft.com/office/drawing/2014/main" id="{E7B8E38E-3D40-142E-A7C6-D015435D5794}"/>
                </a:ext>
              </a:extLst>
            </p:cNvPr>
            <p:cNvSpPr/>
            <p:nvPr/>
          </p:nvSpPr>
          <p:spPr>
            <a:xfrm>
              <a:off x="8753854" y="3208700"/>
              <a:ext cx="332700" cy="477101"/>
            </a:xfrm>
            <a:custGeom>
              <a:avLst/>
              <a:gdLst/>
              <a:ahLst/>
              <a:cxnLst/>
              <a:rect l="l" t="t" r="r" b="b"/>
              <a:pathLst>
                <a:path w="548640" h="786764">
                  <a:moveTo>
                    <a:pt x="548081" y="786384"/>
                  </a:moveTo>
                  <a:lnTo>
                    <a:pt x="542645" y="738225"/>
                  </a:lnTo>
                  <a:lnTo>
                    <a:pt x="529247" y="692962"/>
                  </a:lnTo>
                  <a:lnTo>
                    <a:pt x="508622" y="651344"/>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47"/>
                  </a:lnTo>
                  <a:lnTo>
                    <a:pt x="66827" y="613664"/>
                  </a:lnTo>
                  <a:lnTo>
                    <a:pt x="39738" y="650773"/>
                  </a:lnTo>
                  <a:lnTo>
                    <a:pt x="19088" y="692226"/>
                  </a:lnTo>
                  <a:lnTo>
                    <a:pt x="5613" y="737323"/>
                  </a:lnTo>
                  <a:lnTo>
                    <a:pt x="50" y="785317"/>
                  </a:lnTo>
                  <a:lnTo>
                    <a:pt x="47713" y="781278"/>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59"/>
                  </a:lnTo>
                  <a:lnTo>
                    <a:pt x="295732" y="621042"/>
                  </a:lnTo>
                  <a:lnTo>
                    <a:pt x="316992" y="660831"/>
                  </a:lnTo>
                  <a:lnTo>
                    <a:pt x="344284" y="696366"/>
                  </a:lnTo>
                  <a:lnTo>
                    <a:pt x="376936" y="726960"/>
                  </a:lnTo>
                  <a:lnTo>
                    <a:pt x="414248" y="751941"/>
                  </a:lnTo>
                  <a:lnTo>
                    <a:pt x="455549" y="770623"/>
                  </a:lnTo>
                  <a:lnTo>
                    <a:pt x="500176" y="782332"/>
                  </a:lnTo>
                  <a:lnTo>
                    <a:pt x="548081" y="786384"/>
                  </a:lnTo>
                  <a:close/>
                </a:path>
                <a:path w="548640" h="786764">
                  <a:moveTo>
                    <a:pt x="548081" y="520865"/>
                  </a:moveTo>
                  <a:lnTo>
                    <a:pt x="542645" y="472694"/>
                  </a:lnTo>
                  <a:lnTo>
                    <a:pt x="529247" y="427431"/>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11"/>
                  </a:lnTo>
                  <a:lnTo>
                    <a:pt x="179438" y="270281"/>
                  </a:lnTo>
                  <a:lnTo>
                    <a:pt x="137414" y="289928"/>
                  </a:lnTo>
                  <a:lnTo>
                    <a:pt x="99618" y="316115"/>
                  </a:lnTo>
                  <a:lnTo>
                    <a:pt x="66827" y="348132"/>
                  </a:lnTo>
                  <a:lnTo>
                    <a:pt x="39738" y="385241"/>
                  </a:lnTo>
                  <a:lnTo>
                    <a:pt x="19088" y="426694"/>
                  </a:lnTo>
                  <a:lnTo>
                    <a:pt x="5613" y="471792"/>
                  </a:lnTo>
                  <a:lnTo>
                    <a:pt x="50" y="519785"/>
                  </a:lnTo>
                  <a:lnTo>
                    <a:pt x="47713" y="515747"/>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40"/>
                  </a:lnTo>
                  <a:lnTo>
                    <a:pt x="295732" y="355511"/>
                  </a:lnTo>
                  <a:lnTo>
                    <a:pt x="316992" y="395300"/>
                  </a:lnTo>
                  <a:lnTo>
                    <a:pt x="344284" y="430834"/>
                  </a:lnTo>
                  <a:lnTo>
                    <a:pt x="376936" y="461429"/>
                  </a:lnTo>
                  <a:lnTo>
                    <a:pt x="414248" y="486410"/>
                  </a:lnTo>
                  <a:lnTo>
                    <a:pt x="455549" y="505091"/>
                  </a:lnTo>
                  <a:lnTo>
                    <a:pt x="500176" y="516801"/>
                  </a:lnTo>
                  <a:lnTo>
                    <a:pt x="548081" y="520865"/>
                  </a:lnTo>
                  <a:close/>
                </a:path>
                <a:path w="548640" h="786764">
                  <a:moveTo>
                    <a:pt x="548093" y="267322"/>
                  </a:moveTo>
                  <a:lnTo>
                    <a:pt x="543331" y="225285"/>
                  </a:lnTo>
                  <a:lnTo>
                    <a:pt x="542645" y="219151"/>
                  </a:lnTo>
                  <a:lnTo>
                    <a:pt x="529247" y="173888"/>
                  </a:lnTo>
                  <a:lnTo>
                    <a:pt x="519023" y="153263"/>
                  </a:lnTo>
                  <a:lnTo>
                    <a:pt x="508635" y="132257"/>
                  </a:lnTo>
                  <a:lnTo>
                    <a:pt x="481533" y="94996"/>
                  </a:lnTo>
                  <a:lnTo>
                    <a:pt x="448691" y="62852"/>
                  </a:lnTo>
                  <a:lnTo>
                    <a:pt x="410845" y="36550"/>
                  </a:lnTo>
                  <a:lnTo>
                    <a:pt x="368719" y="16814"/>
                  </a:lnTo>
                  <a:lnTo>
                    <a:pt x="323037" y="4368"/>
                  </a:lnTo>
                  <a:lnTo>
                    <a:pt x="274561" y="0"/>
                  </a:lnTo>
                  <a:lnTo>
                    <a:pt x="273342" y="0"/>
                  </a:lnTo>
                  <a:lnTo>
                    <a:pt x="224993" y="4356"/>
                  </a:lnTo>
                  <a:lnTo>
                    <a:pt x="179438" y="16725"/>
                  </a:lnTo>
                  <a:lnTo>
                    <a:pt x="137414" y="36360"/>
                  </a:lnTo>
                  <a:lnTo>
                    <a:pt x="99618" y="62560"/>
                  </a:lnTo>
                  <a:lnTo>
                    <a:pt x="82613" y="79171"/>
                  </a:lnTo>
                  <a:lnTo>
                    <a:pt x="66827" y="94576"/>
                  </a:lnTo>
                  <a:lnTo>
                    <a:pt x="39700" y="131686"/>
                  </a:lnTo>
                  <a:lnTo>
                    <a:pt x="19050" y="173139"/>
                  </a:lnTo>
                  <a:lnTo>
                    <a:pt x="5575" y="218224"/>
                  </a:lnTo>
                  <a:lnTo>
                    <a:pt x="0" y="266192"/>
                  </a:lnTo>
                  <a:lnTo>
                    <a:pt x="47713" y="262178"/>
                  </a:lnTo>
                  <a:lnTo>
                    <a:pt x="92240" y="250532"/>
                  </a:lnTo>
                  <a:lnTo>
                    <a:pt x="133477" y="231927"/>
                  </a:lnTo>
                  <a:lnTo>
                    <a:pt x="170738" y="207060"/>
                  </a:lnTo>
                  <a:lnTo>
                    <a:pt x="172910" y="205041"/>
                  </a:lnTo>
                  <a:lnTo>
                    <a:pt x="203377" y="176593"/>
                  </a:lnTo>
                  <a:lnTo>
                    <a:pt x="230682" y="141224"/>
                  </a:lnTo>
                  <a:lnTo>
                    <a:pt x="252006" y="101600"/>
                  </a:lnTo>
                  <a:lnTo>
                    <a:pt x="266674" y="58407"/>
                  </a:lnTo>
                  <a:lnTo>
                    <a:pt x="274002" y="12331"/>
                  </a:lnTo>
                  <a:lnTo>
                    <a:pt x="281178" y="58585"/>
                  </a:lnTo>
                  <a:lnTo>
                    <a:pt x="295732" y="101942"/>
                  </a:lnTo>
                  <a:lnTo>
                    <a:pt x="316992" y="141744"/>
                  </a:lnTo>
                  <a:lnTo>
                    <a:pt x="344284" y="177279"/>
                  </a:lnTo>
                  <a:lnTo>
                    <a:pt x="376936" y="207873"/>
                  </a:lnTo>
                  <a:lnTo>
                    <a:pt x="414248" y="232867"/>
                  </a:lnTo>
                  <a:lnTo>
                    <a:pt x="455561" y="251548"/>
                  </a:lnTo>
                  <a:lnTo>
                    <a:pt x="500176" y="263271"/>
                  </a:lnTo>
                  <a:lnTo>
                    <a:pt x="548093" y="267322"/>
                  </a:lnTo>
                  <a:close/>
                </a:path>
              </a:pathLst>
            </a:custGeom>
            <a:solidFill>
              <a:srgbClr val="7ED3F1"/>
            </a:solidFill>
          </p:spPr>
          <p:txBody>
            <a:bodyPr wrap="square" lIns="0" tIns="0" rIns="0" bIns="0" rtlCol="0"/>
            <a:lstStyle/>
            <a:p>
              <a:endParaRPr dirty="0"/>
            </a:p>
          </p:txBody>
        </p:sp>
        <p:pic>
          <p:nvPicPr>
            <p:cNvPr id="573" name="object 334">
              <a:extLst>
                <a:ext uri="{FF2B5EF4-FFF2-40B4-BE49-F238E27FC236}">
                  <a16:creationId xmlns:a16="http://schemas.microsoft.com/office/drawing/2014/main" id="{937222C1-0A29-82BA-B075-39ADDAE970D0}"/>
                </a:ext>
              </a:extLst>
            </p:cNvPr>
            <p:cNvPicPr/>
            <p:nvPr/>
          </p:nvPicPr>
          <p:blipFill>
            <a:blip r:embed="rId14" cstate="print"/>
            <a:stretch>
              <a:fillRect/>
            </a:stretch>
          </p:blipFill>
          <p:spPr>
            <a:xfrm>
              <a:off x="8867131" y="3664400"/>
              <a:ext cx="106445" cy="107156"/>
            </a:xfrm>
            <a:prstGeom prst="rect">
              <a:avLst/>
            </a:prstGeom>
          </p:spPr>
        </p:pic>
        <p:sp>
          <p:nvSpPr>
            <p:cNvPr id="574" name="object 335">
              <a:extLst>
                <a:ext uri="{FF2B5EF4-FFF2-40B4-BE49-F238E27FC236}">
                  <a16:creationId xmlns:a16="http://schemas.microsoft.com/office/drawing/2014/main" id="{E10E6D09-3D6B-0B78-15BD-655985C30C9B}"/>
                </a:ext>
              </a:extLst>
            </p:cNvPr>
            <p:cNvSpPr/>
            <p:nvPr/>
          </p:nvSpPr>
          <p:spPr>
            <a:xfrm>
              <a:off x="8753854" y="1246203"/>
              <a:ext cx="332700" cy="477101"/>
            </a:xfrm>
            <a:custGeom>
              <a:avLst/>
              <a:gdLst/>
              <a:ahLst/>
              <a:cxnLst/>
              <a:rect l="l" t="t" r="r" b="b"/>
              <a:pathLst>
                <a:path w="548640" h="786764">
                  <a:moveTo>
                    <a:pt x="548081" y="786384"/>
                  </a:moveTo>
                  <a:lnTo>
                    <a:pt x="542645" y="738225"/>
                  </a:lnTo>
                  <a:lnTo>
                    <a:pt x="529247"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47"/>
                  </a:lnTo>
                  <a:lnTo>
                    <a:pt x="66827" y="613664"/>
                  </a:lnTo>
                  <a:lnTo>
                    <a:pt x="39738" y="650760"/>
                  </a:lnTo>
                  <a:lnTo>
                    <a:pt x="19088" y="692226"/>
                  </a:lnTo>
                  <a:lnTo>
                    <a:pt x="5613" y="737323"/>
                  </a:lnTo>
                  <a:lnTo>
                    <a:pt x="50" y="785304"/>
                  </a:lnTo>
                  <a:lnTo>
                    <a:pt x="47713" y="781278"/>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59"/>
                  </a:lnTo>
                  <a:lnTo>
                    <a:pt x="295732" y="621030"/>
                  </a:lnTo>
                  <a:lnTo>
                    <a:pt x="316992" y="660831"/>
                  </a:lnTo>
                  <a:lnTo>
                    <a:pt x="344284" y="696366"/>
                  </a:lnTo>
                  <a:lnTo>
                    <a:pt x="376936" y="726960"/>
                  </a:lnTo>
                  <a:lnTo>
                    <a:pt x="414248" y="751941"/>
                  </a:lnTo>
                  <a:lnTo>
                    <a:pt x="455549" y="770623"/>
                  </a:lnTo>
                  <a:lnTo>
                    <a:pt x="500176" y="782332"/>
                  </a:lnTo>
                  <a:lnTo>
                    <a:pt x="548081" y="786384"/>
                  </a:lnTo>
                  <a:close/>
                </a:path>
                <a:path w="548640" h="786764">
                  <a:moveTo>
                    <a:pt x="548081" y="520852"/>
                  </a:moveTo>
                  <a:lnTo>
                    <a:pt x="542645" y="472694"/>
                  </a:lnTo>
                  <a:lnTo>
                    <a:pt x="529247" y="427431"/>
                  </a:lnTo>
                  <a:lnTo>
                    <a:pt x="508622" y="385813"/>
                  </a:lnTo>
                  <a:lnTo>
                    <a:pt x="481533" y="348551"/>
                  </a:lnTo>
                  <a:lnTo>
                    <a:pt x="448691" y="316395"/>
                  </a:lnTo>
                  <a:lnTo>
                    <a:pt x="410832" y="290093"/>
                  </a:lnTo>
                  <a:lnTo>
                    <a:pt x="368706" y="270357"/>
                  </a:lnTo>
                  <a:lnTo>
                    <a:pt x="323037" y="257937"/>
                  </a:lnTo>
                  <a:lnTo>
                    <a:pt x="274561" y="253555"/>
                  </a:lnTo>
                  <a:lnTo>
                    <a:pt x="273342" y="253555"/>
                  </a:lnTo>
                  <a:lnTo>
                    <a:pt x="224993" y="257911"/>
                  </a:lnTo>
                  <a:lnTo>
                    <a:pt x="179438" y="270281"/>
                  </a:lnTo>
                  <a:lnTo>
                    <a:pt x="137414" y="289928"/>
                  </a:lnTo>
                  <a:lnTo>
                    <a:pt x="99618" y="316115"/>
                  </a:lnTo>
                  <a:lnTo>
                    <a:pt x="66827" y="348132"/>
                  </a:lnTo>
                  <a:lnTo>
                    <a:pt x="39738" y="385241"/>
                  </a:lnTo>
                  <a:lnTo>
                    <a:pt x="19088" y="426694"/>
                  </a:lnTo>
                  <a:lnTo>
                    <a:pt x="5613" y="471792"/>
                  </a:lnTo>
                  <a:lnTo>
                    <a:pt x="50" y="519785"/>
                  </a:lnTo>
                  <a:lnTo>
                    <a:pt x="47713" y="515747"/>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27"/>
                  </a:lnTo>
                  <a:lnTo>
                    <a:pt x="295732" y="355511"/>
                  </a:lnTo>
                  <a:lnTo>
                    <a:pt x="316992" y="395300"/>
                  </a:lnTo>
                  <a:lnTo>
                    <a:pt x="344284" y="430834"/>
                  </a:lnTo>
                  <a:lnTo>
                    <a:pt x="376936" y="461429"/>
                  </a:lnTo>
                  <a:lnTo>
                    <a:pt x="414248" y="486410"/>
                  </a:lnTo>
                  <a:lnTo>
                    <a:pt x="455549" y="505091"/>
                  </a:lnTo>
                  <a:lnTo>
                    <a:pt x="500176" y="516801"/>
                  </a:lnTo>
                  <a:lnTo>
                    <a:pt x="548081" y="520852"/>
                  </a:lnTo>
                  <a:close/>
                </a:path>
                <a:path w="548640" h="786764">
                  <a:moveTo>
                    <a:pt x="548093" y="267322"/>
                  </a:moveTo>
                  <a:lnTo>
                    <a:pt x="543331" y="225285"/>
                  </a:lnTo>
                  <a:lnTo>
                    <a:pt x="542645" y="219151"/>
                  </a:lnTo>
                  <a:lnTo>
                    <a:pt x="529247" y="173875"/>
                  </a:lnTo>
                  <a:lnTo>
                    <a:pt x="508635" y="132257"/>
                  </a:lnTo>
                  <a:lnTo>
                    <a:pt x="481533" y="94996"/>
                  </a:lnTo>
                  <a:lnTo>
                    <a:pt x="448691" y="62852"/>
                  </a:lnTo>
                  <a:lnTo>
                    <a:pt x="410845" y="36550"/>
                  </a:lnTo>
                  <a:lnTo>
                    <a:pt x="368706" y="16789"/>
                  </a:lnTo>
                  <a:lnTo>
                    <a:pt x="323037" y="4368"/>
                  </a:lnTo>
                  <a:lnTo>
                    <a:pt x="274561" y="0"/>
                  </a:lnTo>
                  <a:lnTo>
                    <a:pt x="273342" y="0"/>
                  </a:lnTo>
                  <a:lnTo>
                    <a:pt x="224993" y="4356"/>
                  </a:lnTo>
                  <a:lnTo>
                    <a:pt x="179438" y="16713"/>
                  </a:lnTo>
                  <a:lnTo>
                    <a:pt x="137414" y="36360"/>
                  </a:lnTo>
                  <a:lnTo>
                    <a:pt x="99618" y="62560"/>
                  </a:lnTo>
                  <a:lnTo>
                    <a:pt x="98806" y="63347"/>
                  </a:lnTo>
                  <a:lnTo>
                    <a:pt x="66827" y="94576"/>
                  </a:lnTo>
                  <a:lnTo>
                    <a:pt x="39700" y="131686"/>
                  </a:lnTo>
                  <a:lnTo>
                    <a:pt x="19050" y="173139"/>
                  </a:lnTo>
                  <a:lnTo>
                    <a:pt x="5575" y="218211"/>
                  </a:lnTo>
                  <a:lnTo>
                    <a:pt x="0" y="266192"/>
                  </a:lnTo>
                  <a:lnTo>
                    <a:pt x="47713" y="262178"/>
                  </a:lnTo>
                  <a:lnTo>
                    <a:pt x="92240" y="250532"/>
                  </a:lnTo>
                  <a:lnTo>
                    <a:pt x="133477" y="231927"/>
                  </a:lnTo>
                  <a:lnTo>
                    <a:pt x="170738" y="207060"/>
                  </a:lnTo>
                  <a:lnTo>
                    <a:pt x="172910" y="205041"/>
                  </a:lnTo>
                  <a:lnTo>
                    <a:pt x="203377" y="176593"/>
                  </a:lnTo>
                  <a:lnTo>
                    <a:pt x="230682" y="141224"/>
                  </a:lnTo>
                  <a:lnTo>
                    <a:pt x="252006" y="101600"/>
                  </a:lnTo>
                  <a:lnTo>
                    <a:pt x="266674" y="58407"/>
                  </a:lnTo>
                  <a:lnTo>
                    <a:pt x="274002" y="12319"/>
                  </a:lnTo>
                  <a:lnTo>
                    <a:pt x="281178" y="58585"/>
                  </a:lnTo>
                  <a:lnTo>
                    <a:pt x="295732" y="101942"/>
                  </a:lnTo>
                  <a:lnTo>
                    <a:pt x="316992" y="141732"/>
                  </a:lnTo>
                  <a:lnTo>
                    <a:pt x="344284" y="177266"/>
                  </a:lnTo>
                  <a:lnTo>
                    <a:pt x="376936" y="207873"/>
                  </a:lnTo>
                  <a:lnTo>
                    <a:pt x="414248" y="232867"/>
                  </a:lnTo>
                  <a:lnTo>
                    <a:pt x="455561" y="251548"/>
                  </a:lnTo>
                  <a:lnTo>
                    <a:pt x="500176" y="263271"/>
                  </a:lnTo>
                  <a:lnTo>
                    <a:pt x="548093" y="267322"/>
                  </a:lnTo>
                  <a:close/>
                </a:path>
              </a:pathLst>
            </a:custGeom>
            <a:solidFill>
              <a:srgbClr val="2DB7EA"/>
            </a:solidFill>
          </p:spPr>
          <p:txBody>
            <a:bodyPr wrap="square" lIns="0" tIns="0" rIns="0" bIns="0" rtlCol="0"/>
            <a:lstStyle/>
            <a:p>
              <a:endParaRPr dirty="0"/>
            </a:p>
          </p:txBody>
        </p:sp>
        <p:pic>
          <p:nvPicPr>
            <p:cNvPr id="575" name="object 336">
              <a:extLst>
                <a:ext uri="{FF2B5EF4-FFF2-40B4-BE49-F238E27FC236}">
                  <a16:creationId xmlns:a16="http://schemas.microsoft.com/office/drawing/2014/main" id="{4EE4CE59-A4B1-0301-D286-CFD9C8C44A15}"/>
                </a:ext>
              </a:extLst>
            </p:cNvPr>
            <p:cNvPicPr/>
            <p:nvPr/>
          </p:nvPicPr>
          <p:blipFill>
            <a:blip r:embed="rId13" cstate="print"/>
            <a:stretch>
              <a:fillRect/>
            </a:stretch>
          </p:blipFill>
          <p:spPr>
            <a:xfrm>
              <a:off x="8867131" y="1701903"/>
              <a:ext cx="106445" cy="107156"/>
            </a:xfrm>
            <a:prstGeom prst="rect">
              <a:avLst/>
            </a:prstGeom>
          </p:spPr>
        </p:pic>
        <p:sp>
          <p:nvSpPr>
            <p:cNvPr id="576" name="object 337">
              <a:extLst>
                <a:ext uri="{FF2B5EF4-FFF2-40B4-BE49-F238E27FC236}">
                  <a16:creationId xmlns:a16="http://schemas.microsoft.com/office/drawing/2014/main" id="{24130923-DF5C-7F72-745F-A3D2F04A10B6}"/>
                </a:ext>
              </a:extLst>
            </p:cNvPr>
            <p:cNvSpPr/>
            <p:nvPr/>
          </p:nvSpPr>
          <p:spPr>
            <a:xfrm>
              <a:off x="8753854" y="1900365"/>
              <a:ext cx="332700" cy="477101"/>
            </a:xfrm>
            <a:custGeom>
              <a:avLst/>
              <a:gdLst/>
              <a:ahLst/>
              <a:cxnLst/>
              <a:rect l="l" t="t" r="r" b="b"/>
              <a:pathLst>
                <a:path w="548640" h="786764">
                  <a:moveTo>
                    <a:pt x="548081" y="786396"/>
                  </a:moveTo>
                  <a:lnTo>
                    <a:pt x="542645" y="738225"/>
                  </a:lnTo>
                  <a:lnTo>
                    <a:pt x="529247" y="692962"/>
                  </a:lnTo>
                  <a:lnTo>
                    <a:pt x="508622" y="651344"/>
                  </a:lnTo>
                  <a:lnTo>
                    <a:pt x="481533" y="614083"/>
                  </a:lnTo>
                  <a:lnTo>
                    <a:pt x="448691" y="581939"/>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60"/>
                  </a:lnTo>
                  <a:lnTo>
                    <a:pt x="66827" y="613664"/>
                  </a:lnTo>
                  <a:lnTo>
                    <a:pt x="39738" y="650773"/>
                  </a:lnTo>
                  <a:lnTo>
                    <a:pt x="19088" y="692238"/>
                  </a:lnTo>
                  <a:lnTo>
                    <a:pt x="5613" y="737323"/>
                  </a:lnTo>
                  <a:lnTo>
                    <a:pt x="50" y="785317"/>
                  </a:lnTo>
                  <a:lnTo>
                    <a:pt x="47713" y="781278"/>
                  </a:lnTo>
                  <a:lnTo>
                    <a:pt x="92240" y="769620"/>
                  </a:lnTo>
                  <a:lnTo>
                    <a:pt x="133477" y="751027"/>
                  </a:lnTo>
                  <a:lnTo>
                    <a:pt x="170738" y="726147"/>
                  </a:lnTo>
                  <a:lnTo>
                    <a:pt x="203365" y="695680"/>
                  </a:lnTo>
                  <a:lnTo>
                    <a:pt x="230682" y="660298"/>
                  </a:lnTo>
                  <a:lnTo>
                    <a:pt x="252006" y="620674"/>
                  </a:lnTo>
                  <a:lnTo>
                    <a:pt x="266661" y="577481"/>
                  </a:lnTo>
                  <a:lnTo>
                    <a:pt x="274002" y="531393"/>
                  </a:lnTo>
                  <a:lnTo>
                    <a:pt x="281178" y="577672"/>
                  </a:lnTo>
                  <a:lnTo>
                    <a:pt x="295732" y="621042"/>
                  </a:lnTo>
                  <a:lnTo>
                    <a:pt x="316992" y="660831"/>
                  </a:lnTo>
                  <a:lnTo>
                    <a:pt x="344284" y="696366"/>
                  </a:lnTo>
                  <a:lnTo>
                    <a:pt x="376936" y="726960"/>
                  </a:lnTo>
                  <a:lnTo>
                    <a:pt x="414248" y="751941"/>
                  </a:lnTo>
                  <a:lnTo>
                    <a:pt x="455549" y="770636"/>
                  </a:lnTo>
                  <a:lnTo>
                    <a:pt x="500176" y="782332"/>
                  </a:lnTo>
                  <a:lnTo>
                    <a:pt x="548081" y="786396"/>
                  </a:lnTo>
                  <a:close/>
                </a:path>
                <a:path w="548640" h="786764">
                  <a:moveTo>
                    <a:pt x="548081" y="520865"/>
                  </a:moveTo>
                  <a:lnTo>
                    <a:pt x="542645" y="472706"/>
                  </a:lnTo>
                  <a:lnTo>
                    <a:pt x="529247" y="427443"/>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24"/>
                  </a:lnTo>
                  <a:lnTo>
                    <a:pt x="179438" y="270281"/>
                  </a:lnTo>
                  <a:lnTo>
                    <a:pt x="137414" y="289928"/>
                  </a:lnTo>
                  <a:lnTo>
                    <a:pt x="99618" y="316128"/>
                  </a:lnTo>
                  <a:lnTo>
                    <a:pt x="66827" y="348132"/>
                  </a:lnTo>
                  <a:lnTo>
                    <a:pt x="39738" y="385241"/>
                  </a:lnTo>
                  <a:lnTo>
                    <a:pt x="19088" y="426707"/>
                  </a:lnTo>
                  <a:lnTo>
                    <a:pt x="5613" y="471792"/>
                  </a:lnTo>
                  <a:lnTo>
                    <a:pt x="50" y="519785"/>
                  </a:lnTo>
                  <a:lnTo>
                    <a:pt x="47713" y="515747"/>
                  </a:lnTo>
                  <a:lnTo>
                    <a:pt x="92240" y="504088"/>
                  </a:lnTo>
                  <a:lnTo>
                    <a:pt x="133477" y="485495"/>
                  </a:lnTo>
                  <a:lnTo>
                    <a:pt x="170738" y="460616"/>
                  </a:lnTo>
                  <a:lnTo>
                    <a:pt x="203365" y="430161"/>
                  </a:lnTo>
                  <a:lnTo>
                    <a:pt x="230682" y="394766"/>
                  </a:lnTo>
                  <a:lnTo>
                    <a:pt x="252006" y="355142"/>
                  </a:lnTo>
                  <a:lnTo>
                    <a:pt x="266661" y="311950"/>
                  </a:lnTo>
                  <a:lnTo>
                    <a:pt x="274002" y="265861"/>
                  </a:lnTo>
                  <a:lnTo>
                    <a:pt x="281178" y="312140"/>
                  </a:lnTo>
                  <a:lnTo>
                    <a:pt x="295732" y="355511"/>
                  </a:lnTo>
                  <a:lnTo>
                    <a:pt x="316992" y="395300"/>
                  </a:lnTo>
                  <a:lnTo>
                    <a:pt x="344284" y="430834"/>
                  </a:lnTo>
                  <a:lnTo>
                    <a:pt x="376936" y="461441"/>
                  </a:lnTo>
                  <a:lnTo>
                    <a:pt x="414248" y="486410"/>
                  </a:lnTo>
                  <a:lnTo>
                    <a:pt x="455549" y="505104"/>
                  </a:lnTo>
                  <a:lnTo>
                    <a:pt x="500176" y="516813"/>
                  </a:lnTo>
                  <a:lnTo>
                    <a:pt x="548081" y="520865"/>
                  </a:lnTo>
                  <a:close/>
                </a:path>
                <a:path w="548640" h="786764">
                  <a:moveTo>
                    <a:pt x="548093" y="267322"/>
                  </a:moveTo>
                  <a:lnTo>
                    <a:pt x="543331" y="225285"/>
                  </a:lnTo>
                  <a:lnTo>
                    <a:pt x="542645" y="219151"/>
                  </a:lnTo>
                  <a:lnTo>
                    <a:pt x="529247" y="173888"/>
                  </a:lnTo>
                  <a:lnTo>
                    <a:pt x="519023" y="153263"/>
                  </a:lnTo>
                  <a:lnTo>
                    <a:pt x="508635" y="132257"/>
                  </a:lnTo>
                  <a:lnTo>
                    <a:pt x="501230" y="122097"/>
                  </a:lnTo>
                  <a:lnTo>
                    <a:pt x="481533" y="95008"/>
                  </a:lnTo>
                  <a:lnTo>
                    <a:pt x="448691" y="62852"/>
                  </a:lnTo>
                  <a:lnTo>
                    <a:pt x="410845" y="36550"/>
                  </a:lnTo>
                  <a:lnTo>
                    <a:pt x="368719" y="16814"/>
                  </a:lnTo>
                  <a:lnTo>
                    <a:pt x="323037" y="4381"/>
                  </a:lnTo>
                  <a:lnTo>
                    <a:pt x="274561" y="0"/>
                  </a:lnTo>
                  <a:lnTo>
                    <a:pt x="273342" y="0"/>
                  </a:lnTo>
                  <a:lnTo>
                    <a:pt x="224993" y="4356"/>
                  </a:lnTo>
                  <a:lnTo>
                    <a:pt x="179438" y="16725"/>
                  </a:lnTo>
                  <a:lnTo>
                    <a:pt x="137414" y="36372"/>
                  </a:lnTo>
                  <a:lnTo>
                    <a:pt x="99618" y="62560"/>
                  </a:lnTo>
                  <a:lnTo>
                    <a:pt x="82613" y="79171"/>
                  </a:lnTo>
                  <a:lnTo>
                    <a:pt x="66827" y="94576"/>
                  </a:lnTo>
                  <a:lnTo>
                    <a:pt x="39700" y="131686"/>
                  </a:lnTo>
                  <a:lnTo>
                    <a:pt x="19050" y="173139"/>
                  </a:lnTo>
                  <a:lnTo>
                    <a:pt x="5575" y="218224"/>
                  </a:lnTo>
                  <a:lnTo>
                    <a:pt x="0" y="266192"/>
                  </a:lnTo>
                  <a:lnTo>
                    <a:pt x="47713" y="262191"/>
                  </a:lnTo>
                  <a:lnTo>
                    <a:pt x="92240" y="250532"/>
                  </a:lnTo>
                  <a:lnTo>
                    <a:pt x="133477" y="231927"/>
                  </a:lnTo>
                  <a:lnTo>
                    <a:pt x="170751" y="207060"/>
                  </a:lnTo>
                  <a:lnTo>
                    <a:pt x="203377" y="176593"/>
                  </a:lnTo>
                  <a:lnTo>
                    <a:pt x="230682" y="141224"/>
                  </a:lnTo>
                  <a:lnTo>
                    <a:pt x="252006" y="101600"/>
                  </a:lnTo>
                  <a:lnTo>
                    <a:pt x="266674" y="58420"/>
                  </a:lnTo>
                  <a:lnTo>
                    <a:pt x="274002" y="12331"/>
                  </a:lnTo>
                  <a:lnTo>
                    <a:pt x="281178" y="58585"/>
                  </a:lnTo>
                  <a:lnTo>
                    <a:pt x="295732" y="101955"/>
                  </a:lnTo>
                  <a:lnTo>
                    <a:pt x="303136" y="115811"/>
                  </a:lnTo>
                  <a:lnTo>
                    <a:pt x="316992" y="141744"/>
                  </a:lnTo>
                  <a:lnTo>
                    <a:pt x="344284" y="177279"/>
                  </a:lnTo>
                  <a:lnTo>
                    <a:pt x="360083" y="192087"/>
                  </a:lnTo>
                  <a:lnTo>
                    <a:pt x="376936" y="207886"/>
                  </a:lnTo>
                  <a:lnTo>
                    <a:pt x="414248" y="232867"/>
                  </a:lnTo>
                  <a:lnTo>
                    <a:pt x="455561"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577" name="object 338">
              <a:extLst>
                <a:ext uri="{FF2B5EF4-FFF2-40B4-BE49-F238E27FC236}">
                  <a16:creationId xmlns:a16="http://schemas.microsoft.com/office/drawing/2014/main" id="{0A19B1F9-CCCE-EAA3-04CC-77E70E893E5A}"/>
                </a:ext>
              </a:extLst>
            </p:cNvPr>
            <p:cNvPicPr/>
            <p:nvPr/>
          </p:nvPicPr>
          <p:blipFill>
            <a:blip r:embed="rId14" cstate="print"/>
            <a:stretch>
              <a:fillRect/>
            </a:stretch>
          </p:blipFill>
          <p:spPr>
            <a:xfrm>
              <a:off x="8867131" y="2356067"/>
              <a:ext cx="106445" cy="107156"/>
            </a:xfrm>
            <a:prstGeom prst="rect">
              <a:avLst/>
            </a:prstGeom>
          </p:spPr>
        </p:pic>
        <p:sp>
          <p:nvSpPr>
            <p:cNvPr id="578" name="object 339">
              <a:extLst>
                <a:ext uri="{FF2B5EF4-FFF2-40B4-BE49-F238E27FC236}">
                  <a16:creationId xmlns:a16="http://schemas.microsoft.com/office/drawing/2014/main" id="{FE9757CB-F189-57AE-36A9-BA9AC52A8470}"/>
                </a:ext>
              </a:extLst>
            </p:cNvPr>
            <p:cNvSpPr/>
            <p:nvPr/>
          </p:nvSpPr>
          <p:spPr>
            <a:xfrm>
              <a:off x="8753860"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579" name="object 340">
              <a:extLst>
                <a:ext uri="{FF2B5EF4-FFF2-40B4-BE49-F238E27FC236}">
                  <a16:creationId xmlns:a16="http://schemas.microsoft.com/office/drawing/2014/main" id="{3CDB73A9-683E-4389-925C-0133B8E91D1F}"/>
                </a:ext>
              </a:extLst>
            </p:cNvPr>
            <p:cNvPicPr/>
            <p:nvPr/>
          </p:nvPicPr>
          <p:blipFill>
            <a:blip r:embed="rId22" cstate="print"/>
            <a:stretch>
              <a:fillRect/>
            </a:stretch>
          </p:blipFill>
          <p:spPr>
            <a:xfrm>
              <a:off x="8753888" y="123"/>
              <a:ext cx="152433" cy="99184"/>
            </a:xfrm>
            <a:prstGeom prst="rect">
              <a:avLst/>
            </a:prstGeom>
          </p:spPr>
        </p:pic>
        <p:pic>
          <p:nvPicPr>
            <p:cNvPr id="580" name="object 341">
              <a:extLst>
                <a:ext uri="{FF2B5EF4-FFF2-40B4-BE49-F238E27FC236}">
                  <a16:creationId xmlns:a16="http://schemas.microsoft.com/office/drawing/2014/main" id="{0749F31C-FC0E-9A56-0EE9-434B23B4B221}"/>
                </a:ext>
              </a:extLst>
            </p:cNvPr>
            <p:cNvPicPr/>
            <p:nvPr/>
          </p:nvPicPr>
          <p:blipFill>
            <a:blip r:embed="rId21" cstate="print"/>
            <a:stretch>
              <a:fillRect/>
            </a:stretch>
          </p:blipFill>
          <p:spPr>
            <a:xfrm>
              <a:off x="8933423" y="123"/>
              <a:ext cx="152798" cy="99837"/>
            </a:xfrm>
            <a:prstGeom prst="rect">
              <a:avLst/>
            </a:prstGeom>
          </p:spPr>
        </p:pic>
        <p:sp>
          <p:nvSpPr>
            <p:cNvPr id="581" name="object 342">
              <a:extLst>
                <a:ext uri="{FF2B5EF4-FFF2-40B4-BE49-F238E27FC236}">
                  <a16:creationId xmlns:a16="http://schemas.microsoft.com/office/drawing/2014/main" id="{C0AA951F-811C-BFF8-F669-4394665B592A}"/>
                </a:ext>
              </a:extLst>
            </p:cNvPr>
            <p:cNvSpPr/>
            <p:nvPr/>
          </p:nvSpPr>
          <p:spPr>
            <a:xfrm>
              <a:off x="8753885" y="91626"/>
              <a:ext cx="332700" cy="323458"/>
            </a:xfrm>
            <a:custGeom>
              <a:avLst/>
              <a:gdLst/>
              <a:ahLst/>
              <a:cxnLst/>
              <a:rect l="l" t="t" r="r" b="b"/>
              <a:pathLst>
                <a:path w="548640" h="533400">
                  <a:moveTo>
                    <a:pt x="548030" y="532841"/>
                  </a:moveTo>
                  <a:lnTo>
                    <a:pt x="542594" y="484682"/>
                  </a:lnTo>
                  <a:lnTo>
                    <a:pt x="529196" y="439420"/>
                  </a:lnTo>
                  <a:lnTo>
                    <a:pt x="508571" y="397789"/>
                  </a:lnTo>
                  <a:lnTo>
                    <a:pt x="481482" y="360527"/>
                  </a:lnTo>
                  <a:lnTo>
                    <a:pt x="448640" y="328383"/>
                  </a:lnTo>
                  <a:lnTo>
                    <a:pt x="410781" y="302069"/>
                  </a:lnTo>
                  <a:lnTo>
                    <a:pt x="368655" y="282333"/>
                  </a:lnTo>
                  <a:lnTo>
                    <a:pt x="322986" y="269913"/>
                  </a:lnTo>
                  <a:lnTo>
                    <a:pt x="274510" y="265544"/>
                  </a:lnTo>
                  <a:lnTo>
                    <a:pt x="273291" y="265544"/>
                  </a:lnTo>
                  <a:lnTo>
                    <a:pt x="224942" y="269900"/>
                  </a:lnTo>
                  <a:lnTo>
                    <a:pt x="179387" y="282257"/>
                  </a:lnTo>
                  <a:lnTo>
                    <a:pt x="137363" y="301904"/>
                  </a:lnTo>
                  <a:lnTo>
                    <a:pt x="99568" y="328104"/>
                  </a:lnTo>
                  <a:lnTo>
                    <a:pt x="66776" y="360121"/>
                  </a:lnTo>
                  <a:lnTo>
                    <a:pt x="39687" y="397217"/>
                  </a:lnTo>
                  <a:lnTo>
                    <a:pt x="19037" y="438683"/>
                  </a:lnTo>
                  <a:lnTo>
                    <a:pt x="5562" y="483768"/>
                  </a:lnTo>
                  <a:lnTo>
                    <a:pt x="0" y="531761"/>
                  </a:lnTo>
                  <a:lnTo>
                    <a:pt x="47663" y="527723"/>
                  </a:lnTo>
                  <a:lnTo>
                    <a:pt x="92189" y="516064"/>
                  </a:lnTo>
                  <a:lnTo>
                    <a:pt x="133426" y="497471"/>
                  </a:lnTo>
                  <a:lnTo>
                    <a:pt x="170688" y="472592"/>
                  </a:lnTo>
                  <a:lnTo>
                    <a:pt x="203314" y="442137"/>
                  </a:lnTo>
                  <a:lnTo>
                    <a:pt x="230632" y="406755"/>
                  </a:lnTo>
                  <a:lnTo>
                    <a:pt x="251955" y="367118"/>
                  </a:lnTo>
                  <a:lnTo>
                    <a:pt x="266611" y="323926"/>
                  </a:lnTo>
                  <a:lnTo>
                    <a:pt x="273951" y="277837"/>
                  </a:lnTo>
                  <a:lnTo>
                    <a:pt x="281127" y="324116"/>
                  </a:lnTo>
                  <a:lnTo>
                    <a:pt x="295681" y="367487"/>
                  </a:lnTo>
                  <a:lnTo>
                    <a:pt x="316941" y="407276"/>
                  </a:lnTo>
                  <a:lnTo>
                    <a:pt x="344233" y="442810"/>
                  </a:lnTo>
                  <a:lnTo>
                    <a:pt x="376885" y="473417"/>
                  </a:lnTo>
                  <a:lnTo>
                    <a:pt x="414197" y="498398"/>
                  </a:lnTo>
                  <a:lnTo>
                    <a:pt x="455498" y="517080"/>
                  </a:lnTo>
                  <a:lnTo>
                    <a:pt x="500126" y="528789"/>
                  </a:lnTo>
                  <a:lnTo>
                    <a:pt x="548030" y="532841"/>
                  </a:lnTo>
                  <a:close/>
                </a:path>
                <a:path w="548640" h="533400">
                  <a:moveTo>
                    <a:pt x="548030" y="267309"/>
                  </a:moveTo>
                  <a:lnTo>
                    <a:pt x="542594" y="219138"/>
                  </a:lnTo>
                  <a:lnTo>
                    <a:pt x="529196" y="173888"/>
                  </a:lnTo>
                  <a:lnTo>
                    <a:pt x="508571" y="132257"/>
                  </a:lnTo>
                  <a:lnTo>
                    <a:pt x="481482" y="94996"/>
                  </a:lnTo>
                  <a:lnTo>
                    <a:pt x="448640" y="62852"/>
                  </a:lnTo>
                  <a:lnTo>
                    <a:pt x="410781" y="36537"/>
                  </a:lnTo>
                  <a:lnTo>
                    <a:pt x="368655" y="16802"/>
                  </a:lnTo>
                  <a:lnTo>
                    <a:pt x="322986" y="4381"/>
                  </a:lnTo>
                  <a:lnTo>
                    <a:pt x="274510" y="0"/>
                  </a:lnTo>
                  <a:lnTo>
                    <a:pt x="273291" y="0"/>
                  </a:lnTo>
                  <a:lnTo>
                    <a:pt x="224942" y="4356"/>
                  </a:lnTo>
                  <a:lnTo>
                    <a:pt x="179387" y="16725"/>
                  </a:lnTo>
                  <a:lnTo>
                    <a:pt x="137363" y="36372"/>
                  </a:lnTo>
                  <a:lnTo>
                    <a:pt x="99568" y="62572"/>
                  </a:lnTo>
                  <a:lnTo>
                    <a:pt x="66776" y="94576"/>
                  </a:lnTo>
                  <a:lnTo>
                    <a:pt x="39687" y="131686"/>
                  </a:lnTo>
                  <a:lnTo>
                    <a:pt x="19037" y="173151"/>
                  </a:lnTo>
                  <a:lnTo>
                    <a:pt x="5562" y="218236"/>
                  </a:lnTo>
                  <a:lnTo>
                    <a:pt x="0" y="266230"/>
                  </a:lnTo>
                  <a:lnTo>
                    <a:pt x="47663" y="262191"/>
                  </a:lnTo>
                  <a:lnTo>
                    <a:pt x="92189" y="250532"/>
                  </a:lnTo>
                  <a:lnTo>
                    <a:pt x="133426" y="231940"/>
                  </a:lnTo>
                  <a:lnTo>
                    <a:pt x="170688" y="207060"/>
                  </a:lnTo>
                  <a:lnTo>
                    <a:pt x="203314" y="176593"/>
                  </a:lnTo>
                  <a:lnTo>
                    <a:pt x="230632" y="141211"/>
                  </a:lnTo>
                  <a:lnTo>
                    <a:pt x="251955" y="101587"/>
                  </a:lnTo>
                  <a:lnTo>
                    <a:pt x="266611" y="58394"/>
                  </a:lnTo>
                  <a:lnTo>
                    <a:pt x="273951" y="12306"/>
                  </a:lnTo>
                  <a:lnTo>
                    <a:pt x="281127" y="58585"/>
                  </a:lnTo>
                  <a:lnTo>
                    <a:pt x="295681" y="101955"/>
                  </a:lnTo>
                  <a:lnTo>
                    <a:pt x="316941" y="141744"/>
                  </a:lnTo>
                  <a:lnTo>
                    <a:pt x="344233" y="177279"/>
                  </a:lnTo>
                  <a:lnTo>
                    <a:pt x="376885" y="207873"/>
                  </a:lnTo>
                  <a:lnTo>
                    <a:pt x="414197" y="232854"/>
                  </a:lnTo>
                  <a:lnTo>
                    <a:pt x="455498" y="251548"/>
                  </a:lnTo>
                  <a:lnTo>
                    <a:pt x="500126" y="263258"/>
                  </a:lnTo>
                  <a:lnTo>
                    <a:pt x="548030" y="267309"/>
                  </a:lnTo>
                  <a:close/>
                </a:path>
              </a:pathLst>
            </a:custGeom>
            <a:solidFill>
              <a:srgbClr val="2DB7EA"/>
            </a:solidFill>
          </p:spPr>
          <p:txBody>
            <a:bodyPr wrap="square" lIns="0" tIns="0" rIns="0" bIns="0" rtlCol="0"/>
            <a:lstStyle/>
            <a:p>
              <a:endParaRPr dirty="0"/>
            </a:p>
          </p:txBody>
        </p:sp>
        <p:pic>
          <p:nvPicPr>
            <p:cNvPr id="582" name="object 343">
              <a:extLst>
                <a:ext uri="{FF2B5EF4-FFF2-40B4-BE49-F238E27FC236}">
                  <a16:creationId xmlns:a16="http://schemas.microsoft.com/office/drawing/2014/main" id="{2FA070F8-0071-F013-6941-3945F662EAE6}"/>
                </a:ext>
              </a:extLst>
            </p:cNvPr>
            <p:cNvPicPr/>
            <p:nvPr/>
          </p:nvPicPr>
          <p:blipFill>
            <a:blip r:embed="rId13" cstate="print"/>
            <a:stretch>
              <a:fillRect/>
            </a:stretch>
          </p:blipFill>
          <p:spPr>
            <a:xfrm>
              <a:off x="8867131" y="393572"/>
              <a:ext cx="106445" cy="107156"/>
            </a:xfrm>
            <a:prstGeom prst="rect">
              <a:avLst/>
            </a:prstGeom>
          </p:spPr>
        </p:pic>
        <p:sp>
          <p:nvSpPr>
            <p:cNvPr id="583" name="object 344">
              <a:extLst>
                <a:ext uri="{FF2B5EF4-FFF2-40B4-BE49-F238E27FC236}">
                  <a16:creationId xmlns:a16="http://schemas.microsoft.com/office/drawing/2014/main" id="{F564AAFF-2F60-EDEC-AE3A-76AAA428726B}"/>
                </a:ext>
              </a:extLst>
            </p:cNvPr>
            <p:cNvSpPr/>
            <p:nvPr/>
          </p:nvSpPr>
          <p:spPr>
            <a:xfrm>
              <a:off x="8753854" y="592039"/>
              <a:ext cx="332700" cy="477101"/>
            </a:xfrm>
            <a:custGeom>
              <a:avLst/>
              <a:gdLst/>
              <a:ahLst/>
              <a:cxnLst/>
              <a:rect l="l" t="t" r="r" b="b"/>
              <a:pathLst>
                <a:path w="548640" h="786764">
                  <a:moveTo>
                    <a:pt x="548081" y="786384"/>
                  </a:moveTo>
                  <a:lnTo>
                    <a:pt x="542645" y="738225"/>
                  </a:lnTo>
                  <a:lnTo>
                    <a:pt x="529247"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47"/>
                  </a:lnTo>
                  <a:lnTo>
                    <a:pt x="66827" y="613664"/>
                  </a:lnTo>
                  <a:lnTo>
                    <a:pt x="39738" y="650760"/>
                  </a:lnTo>
                  <a:lnTo>
                    <a:pt x="19088" y="692226"/>
                  </a:lnTo>
                  <a:lnTo>
                    <a:pt x="5613" y="737323"/>
                  </a:lnTo>
                  <a:lnTo>
                    <a:pt x="50" y="785304"/>
                  </a:lnTo>
                  <a:lnTo>
                    <a:pt x="47713" y="781278"/>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59"/>
                  </a:lnTo>
                  <a:lnTo>
                    <a:pt x="295732" y="621030"/>
                  </a:lnTo>
                  <a:lnTo>
                    <a:pt x="316992" y="660831"/>
                  </a:lnTo>
                  <a:lnTo>
                    <a:pt x="344284" y="696366"/>
                  </a:lnTo>
                  <a:lnTo>
                    <a:pt x="376936" y="726960"/>
                  </a:lnTo>
                  <a:lnTo>
                    <a:pt x="414248" y="751941"/>
                  </a:lnTo>
                  <a:lnTo>
                    <a:pt x="455549" y="770623"/>
                  </a:lnTo>
                  <a:lnTo>
                    <a:pt x="500176" y="782332"/>
                  </a:lnTo>
                  <a:lnTo>
                    <a:pt x="548081" y="786384"/>
                  </a:lnTo>
                  <a:close/>
                </a:path>
                <a:path w="548640" h="786764">
                  <a:moveTo>
                    <a:pt x="548081" y="520852"/>
                  </a:moveTo>
                  <a:lnTo>
                    <a:pt x="542645" y="472694"/>
                  </a:lnTo>
                  <a:lnTo>
                    <a:pt x="529247" y="427431"/>
                  </a:lnTo>
                  <a:lnTo>
                    <a:pt x="508622" y="385800"/>
                  </a:lnTo>
                  <a:lnTo>
                    <a:pt x="481533" y="348551"/>
                  </a:lnTo>
                  <a:lnTo>
                    <a:pt x="448691" y="316395"/>
                  </a:lnTo>
                  <a:lnTo>
                    <a:pt x="410832" y="290080"/>
                  </a:lnTo>
                  <a:lnTo>
                    <a:pt x="368706" y="270357"/>
                  </a:lnTo>
                  <a:lnTo>
                    <a:pt x="323037" y="257924"/>
                  </a:lnTo>
                  <a:lnTo>
                    <a:pt x="274561" y="253555"/>
                  </a:lnTo>
                  <a:lnTo>
                    <a:pt x="273342" y="253555"/>
                  </a:lnTo>
                  <a:lnTo>
                    <a:pt x="224993" y="257911"/>
                  </a:lnTo>
                  <a:lnTo>
                    <a:pt x="179438" y="270281"/>
                  </a:lnTo>
                  <a:lnTo>
                    <a:pt x="137414" y="289915"/>
                  </a:lnTo>
                  <a:lnTo>
                    <a:pt x="99618" y="316115"/>
                  </a:lnTo>
                  <a:lnTo>
                    <a:pt x="66827" y="348132"/>
                  </a:lnTo>
                  <a:lnTo>
                    <a:pt x="39738" y="385229"/>
                  </a:lnTo>
                  <a:lnTo>
                    <a:pt x="19088" y="426694"/>
                  </a:lnTo>
                  <a:lnTo>
                    <a:pt x="5613" y="471779"/>
                  </a:lnTo>
                  <a:lnTo>
                    <a:pt x="50" y="519772"/>
                  </a:lnTo>
                  <a:lnTo>
                    <a:pt x="47713" y="515734"/>
                  </a:lnTo>
                  <a:lnTo>
                    <a:pt x="92240" y="504088"/>
                  </a:lnTo>
                  <a:lnTo>
                    <a:pt x="133477" y="485482"/>
                  </a:lnTo>
                  <a:lnTo>
                    <a:pt x="170738" y="460616"/>
                  </a:lnTo>
                  <a:lnTo>
                    <a:pt x="203365" y="430149"/>
                  </a:lnTo>
                  <a:lnTo>
                    <a:pt x="230682" y="394766"/>
                  </a:lnTo>
                  <a:lnTo>
                    <a:pt x="252006" y="355142"/>
                  </a:lnTo>
                  <a:lnTo>
                    <a:pt x="266661" y="311937"/>
                  </a:lnTo>
                  <a:lnTo>
                    <a:pt x="274002" y="265861"/>
                  </a:lnTo>
                  <a:lnTo>
                    <a:pt x="281178" y="312127"/>
                  </a:lnTo>
                  <a:lnTo>
                    <a:pt x="295732" y="355498"/>
                  </a:lnTo>
                  <a:lnTo>
                    <a:pt x="316992" y="395300"/>
                  </a:lnTo>
                  <a:lnTo>
                    <a:pt x="344284" y="430834"/>
                  </a:lnTo>
                  <a:lnTo>
                    <a:pt x="376936" y="461429"/>
                  </a:lnTo>
                  <a:lnTo>
                    <a:pt x="414248" y="486410"/>
                  </a:lnTo>
                  <a:lnTo>
                    <a:pt x="455549" y="505091"/>
                  </a:lnTo>
                  <a:lnTo>
                    <a:pt x="500176" y="516801"/>
                  </a:lnTo>
                  <a:lnTo>
                    <a:pt x="548081" y="520852"/>
                  </a:lnTo>
                  <a:close/>
                </a:path>
                <a:path w="548640" h="786764">
                  <a:moveTo>
                    <a:pt x="548093" y="267322"/>
                  </a:moveTo>
                  <a:lnTo>
                    <a:pt x="542645" y="219138"/>
                  </a:lnTo>
                  <a:lnTo>
                    <a:pt x="529247" y="173875"/>
                  </a:lnTo>
                  <a:lnTo>
                    <a:pt x="508635" y="132245"/>
                  </a:lnTo>
                  <a:lnTo>
                    <a:pt x="492937" y="110680"/>
                  </a:lnTo>
                  <a:lnTo>
                    <a:pt x="481533" y="94996"/>
                  </a:lnTo>
                  <a:lnTo>
                    <a:pt x="448691" y="62839"/>
                  </a:lnTo>
                  <a:lnTo>
                    <a:pt x="410845" y="36537"/>
                  </a:lnTo>
                  <a:lnTo>
                    <a:pt x="368706" y="16789"/>
                  </a:lnTo>
                  <a:lnTo>
                    <a:pt x="323037" y="4368"/>
                  </a:lnTo>
                  <a:lnTo>
                    <a:pt x="274574" y="12"/>
                  </a:lnTo>
                  <a:lnTo>
                    <a:pt x="273342" y="0"/>
                  </a:lnTo>
                  <a:lnTo>
                    <a:pt x="224993" y="4356"/>
                  </a:lnTo>
                  <a:lnTo>
                    <a:pt x="179438" y="16713"/>
                  </a:lnTo>
                  <a:lnTo>
                    <a:pt x="137414" y="36360"/>
                  </a:lnTo>
                  <a:lnTo>
                    <a:pt x="99618" y="62560"/>
                  </a:lnTo>
                  <a:lnTo>
                    <a:pt x="98806" y="63347"/>
                  </a:lnTo>
                  <a:lnTo>
                    <a:pt x="66827" y="94576"/>
                  </a:lnTo>
                  <a:lnTo>
                    <a:pt x="39700" y="131686"/>
                  </a:lnTo>
                  <a:lnTo>
                    <a:pt x="19050" y="173139"/>
                  </a:lnTo>
                  <a:lnTo>
                    <a:pt x="5575" y="218211"/>
                  </a:lnTo>
                  <a:lnTo>
                    <a:pt x="0" y="266192"/>
                  </a:lnTo>
                  <a:lnTo>
                    <a:pt x="47713" y="262178"/>
                  </a:lnTo>
                  <a:lnTo>
                    <a:pt x="92240" y="250520"/>
                  </a:lnTo>
                  <a:lnTo>
                    <a:pt x="133477" y="231927"/>
                  </a:lnTo>
                  <a:lnTo>
                    <a:pt x="161417" y="213271"/>
                  </a:lnTo>
                  <a:lnTo>
                    <a:pt x="170751" y="207048"/>
                  </a:lnTo>
                  <a:lnTo>
                    <a:pt x="203377" y="176593"/>
                  </a:lnTo>
                  <a:lnTo>
                    <a:pt x="230682" y="141211"/>
                  </a:lnTo>
                  <a:lnTo>
                    <a:pt x="252006" y="101587"/>
                  </a:lnTo>
                  <a:lnTo>
                    <a:pt x="266674" y="58407"/>
                  </a:lnTo>
                  <a:lnTo>
                    <a:pt x="274002" y="12319"/>
                  </a:lnTo>
                  <a:lnTo>
                    <a:pt x="281178" y="58572"/>
                  </a:lnTo>
                  <a:lnTo>
                    <a:pt x="295732" y="101942"/>
                  </a:lnTo>
                  <a:lnTo>
                    <a:pt x="316992" y="141732"/>
                  </a:lnTo>
                  <a:lnTo>
                    <a:pt x="344284" y="177266"/>
                  </a:lnTo>
                  <a:lnTo>
                    <a:pt x="376936" y="207873"/>
                  </a:lnTo>
                  <a:lnTo>
                    <a:pt x="414248" y="232854"/>
                  </a:lnTo>
                  <a:lnTo>
                    <a:pt x="455561"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584" name="object 345">
              <a:extLst>
                <a:ext uri="{FF2B5EF4-FFF2-40B4-BE49-F238E27FC236}">
                  <a16:creationId xmlns:a16="http://schemas.microsoft.com/office/drawing/2014/main" id="{F0EA7330-1E76-F23C-488F-FD6375CE6E10}"/>
                </a:ext>
              </a:extLst>
            </p:cNvPr>
            <p:cNvPicPr/>
            <p:nvPr/>
          </p:nvPicPr>
          <p:blipFill>
            <a:blip r:embed="rId14" cstate="print"/>
            <a:stretch>
              <a:fillRect/>
            </a:stretch>
          </p:blipFill>
          <p:spPr>
            <a:xfrm>
              <a:off x="8867131" y="1047738"/>
              <a:ext cx="106445" cy="107156"/>
            </a:xfrm>
            <a:prstGeom prst="rect">
              <a:avLst/>
            </a:prstGeom>
          </p:spPr>
        </p:pic>
        <p:sp>
          <p:nvSpPr>
            <p:cNvPr id="585" name="object 346">
              <a:extLst>
                <a:ext uri="{FF2B5EF4-FFF2-40B4-BE49-F238E27FC236}">
                  <a16:creationId xmlns:a16="http://schemas.microsoft.com/office/drawing/2014/main" id="{A00D6689-338A-FDA2-6830-E7B741735873}"/>
                </a:ext>
              </a:extLst>
            </p:cNvPr>
            <p:cNvSpPr/>
            <p:nvPr/>
          </p:nvSpPr>
          <p:spPr>
            <a:xfrm>
              <a:off x="9909070" y="804428"/>
              <a:ext cx="332700" cy="477101"/>
            </a:xfrm>
            <a:custGeom>
              <a:avLst/>
              <a:gdLst/>
              <a:ahLst/>
              <a:cxnLst/>
              <a:rect l="l" t="t" r="r" b="b"/>
              <a:pathLst>
                <a:path w="548640" h="786764">
                  <a:moveTo>
                    <a:pt x="548093" y="520166"/>
                  </a:moveTo>
                  <a:lnTo>
                    <a:pt x="500380" y="524205"/>
                  </a:lnTo>
                  <a:lnTo>
                    <a:pt x="455853" y="535851"/>
                  </a:lnTo>
                  <a:lnTo>
                    <a:pt x="414616" y="554456"/>
                  </a:lnTo>
                  <a:lnTo>
                    <a:pt x="377355" y="579323"/>
                  </a:lnTo>
                  <a:lnTo>
                    <a:pt x="375183" y="581355"/>
                  </a:lnTo>
                  <a:lnTo>
                    <a:pt x="344728" y="609790"/>
                  </a:lnTo>
                  <a:lnTo>
                    <a:pt x="317411" y="645160"/>
                  </a:lnTo>
                  <a:lnTo>
                    <a:pt x="296087" y="684784"/>
                  </a:lnTo>
                  <a:lnTo>
                    <a:pt x="281419" y="727976"/>
                  </a:lnTo>
                  <a:lnTo>
                    <a:pt x="274091" y="774065"/>
                  </a:lnTo>
                  <a:lnTo>
                    <a:pt x="272161" y="761669"/>
                  </a:lnTo>
                  <a:lnTo>
                    <a:pt x="266928" y="727811"/>
                  </a:lnTo>
                  <a:lnTo>
                    <a:pt x="252361" y="684441"/>
                  </a:lnTo>
                  <a:lnTo>
                    <a:pt x="231101" y="644652"/>
                  </a:lnTo>
                  <a:lnTo>
                    <a:pt x="210121" y="617347"/>
                  </a:lnTo>
                  <a:lnTo>
                    <a:pt x="203809" y="609117"/>
                  </a:lnTo>
                  <a:lnTo>
                    <a:pt x="171157" y="578510"/>
                  </a:lnTo>
                  <a:lnTo>
                    <a:pt x="133845" y="553529"/>
                  </a:lnTo>
                  <a:lnTo>
                    <a:pt x="92544" y="534847"/>
                  </a:lnTo>
                  <a:lnTo>
                    <a:pt x="47917" y="523113"/>
                  </a:lnTo>
                  <a:lnTo>
                    <a:pt x="0" y="519061"/>
                  </a:lnTo>
                  <a:lnTo>
                    <a:pt x="5448" y="567232"/>
                  </a:lnTo>
                  <a:lnTo>
                    <a:pt x="18846" y="612508"/>
                  </a:lnTo>
                  <a:lnTo>
                    <a:pt x="39458" y="654126"/>
                  </a:lnTo>
                  <a:lnTo>
                    <a:pt x="66560" y="691388"/>
                  </a:lnTo>
                  <a:lnTo>
                    <a:pt x="99402" y="723544"/>
                  </a:lnTo>
                  <a:lnTo>
                    <a:pt x="137261" y="749858"/>
                  </a:lnTo>
                  <a:lnTo>
                    <a:pt x="179387" y="769594"/>
                  </a:lnTo>
                  <a:lnTo>
                    <a:pt x="225056" y="782015"/>
                  </a:lnTo>
                  <a:lnTo>
                    <a:pt x="273532" y="786384"/>
                  </a:lnTo>
                  <a:lnTo>
                    <a:pt x="274751" y="786384"/>
                  </a:lnTo>
                  <a:lnTo>
                    <a:pt x="323100" y="782027"/>
                  </a:lnTo>
                  <a:lnTo>
                    <a:pt x="368655" y="769670"/>
                  </a:lnTo>
                  <a:lnTo>
                    <a:pt x="410692" y="750023"/>
                  </a:lnTo>
                  <a:lnTo>
                    <a:pt x="448475" y="723823"/>
                  </a:lnTo>
                  <a:lnTo>
                    <a:pt x="481279" y="691807"/>
                  </a:lnTo>
                  <a:lnTo>
                    <a:pt x="508381" y="654710"/>
                  </a:lnTo>
                  <a:lnTo>
                    <a:pt x="529043" y="613244"/>
                  </a:lnTo>
                  <a:lnTo>
                    <a:pt x="542518" y="568172"/>
                  </a:lnTo>
                  <a:lnTo>
                    <a:pt x="548081" y="520204"/>
                  </a:lnTo>
                  <a:close/>
                </a:path>
                <a:path w="548640" h="786764">
                  <a:moveTo>
                    <a:pt x="548093" y="266598"/>
                  </a:moveTo>
                  <a:lnTo>
                    <a:pt x="500380" y="270637"/>
                  </a:lnTo>
                  <a:lnTo>
                    <a:pt x="455853" y="282295"/>
                  </a:lnTo>
                  <a:lnTo>
                    <a:pt x="414616" y="300901"/>
                  </a:lnTo>
                  <a:lnTo>
                    <a:pt x="377355" y="325767"/>
                  </a:lnTo>
                  <a:lnTo>
                    <a:pt x="344728" y="356235"/>
                  </a:lnTo>
                  <a:lnTo>
                    <a:pt x="317423" y="391617"/>
                  </a:lnTo>
                  <a:lnTo>
                    <a:pt x="296087" y="431241"/>
                  </a:lnTo>
                  <a:lnTo>
                    <a:pt x="281432" y="474433"/>
                  </a:lnTo>
                  <a:lnTo>
                    <a:pt x="274091" y="520522"/>
                  </a:lnTo>
                  <a:lnTo>
                    <a:pt x="266928" y="474256"/>
                  </a:lnTo>
                  <a:lnTo>
                    <a:pt x="252361" y="430872"/>
                  </a:lnTo>
                  <a:lnTo>
                    <a:pt x="231101" y="391083"/>
                  </a:lnTo>
                  <a:lnTo>
                    <a:pt x="203809" y="355549"/>
                  </a:lnTo>
                  <a:lnTo>
                    <a:pt x="171157" y="324954"/>
                  </a:lnTo>
                  <a:lnTo>
                    <a:pt x="133845" y="299974"/>
                  </a:lnTo>
                  <a:lnTo>
                    <a:pt x="92544" y="281292"/>
                  </a:lnTo>
                  <a:lnTo>
                    <a:pt x="47917" y="269582"/>
                  </a:lnTo>
                  <a:lnTo>
                    <a:pt x="12" y="265531"/>
                  </a:lnTo>
                  <a:lnTo>
                    <a:pt x="5461" y="313690"/>
                  </a:lnTo>
                  <a:lnTo>
                    <a:pt x="18859" y="358952"/>
                  </a:lnTo>
                  <a:lnTo>
                    <a:pt x="39471" y="400570"/>
                  </a:lnTo>
                  <a:lnTo>
                    <a:pt x="66560" y="437832"/>
                  </a:lnTo>
                  <a:lnTo>
                    <a:pt x="99402" y="469988"/>
                  </a:lnTo>
                  <a:lnTo>
                    <a:pt x="137261" y="496290"/>
                  </a:lnTo>
                  <a:lnTo>
                    <a:pt x="179387" y="516026"/>
                  </a:lnTo>
                  <a:lnTo>
                    <a:pt x="225056" y="528447"/>
                  </a:lnTo>
                  <a:lnTo>
                    <a:pt x="273532" y="532828"/>
                  </a:lnTo>
                  <a:lnTo>
                    <a:pt x="274751" y="532828"/>
                  </a:lnTo>
                  <a:lnTo>
                    <a:pt x="323100" y="528472"/>
                  </a:lnTo>
                  <a:lnTo>
                    <a:pt x="368655" y="516102"/>
                  </a:lnTo>
                  <a:lnTo>
                    <a:pt x="410692" y="496455"/>
                  </a:lnTo>
                  <a:lnTo>
                    <a:pt x="448475" y="470268"/>
                  </a:lnTo>
                  <a:lnTo>
                    <a:pt x="481279" y="438251"/>
                  </a:lnTo>
                  <a:lnTo>
                    <a:pt x="508381" y="401142"/>
                  </a:lnTo>
                  <a:lnTo>
                    <a:pt x="529031" y="359689"/>
                  </a:lnTo>
                  <a:lnTo>
                    <a:pt x="542505" y="314591"/>
                  </a:lnTo>
                  <a:lnTo>
                    <a:pt x="548093" y="266598"/>
                  </a:lnTo>
                  <a:close/>
                </a:path>
                <a:path w="548640" h="786764">
                  <a:moveTo>
                    <a:pt x="548093" y="1079"/>
                  </a:moveTo>
                  <a:lnTo>
                    <a:pt x="500380" y="5105"/>
                  </a:lnTo>
                  <a:lnTo>
                    <a:pt x="455853" y="16764"/>
                  </a:lnTo>
                  <a:lnTo>
                    <a:pt x="414616" y="35369"/>
                  </a:lnTo>
                  <a:lnTo>
                    <a:pt x="377355" y="60236"/>
                  </a:lnTo>
                  <a:lnTo>
                    <a:pt x="344728" y="90703"/>
                  </a:lnTo>
                  <a:lnTo>
                    <a:pt x="317423" y="126085"/>
                  </a:lnTo>
                  <a:lnTo>
                    <a:pt x="296087" y="165709"/>
                  </a:lnTo>
                  <a:lnTo>
                    <a:pt x="281432" y="208902"/>
                  </a:lnTo>
                  <a:lnTo>
                    <a:pt x="274091" y="254990"/>
                  </a:lnTo>
                  <a:lnTo>
                    <a:pt x="266928"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59"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36"/>
                  </a:lnTo>
                  <a:lnTo>
                    <a:pt x="481279" y="172720"/>
                  </a:lnTo>
                  <a:lnTo>
                    <a:pt x="508381" y="135623"/>
                  </a:lnTo>
                  <a:lnTo>
                    <a:pt x="529031" y="94157"/>
                  </a:lnTo>
                  <a:lnTo>
                    <a:pt x="542505" y="49060"/>
                  </a:lnTo>
                  <a:lnTo>
                    <a:pt x="548093" y="1079"/>
                  </a:lnTo>
                  <a:close/>
                </a:path>
              </a:pathLst>
            </a:custGeom>
            <a:solidFill>
              <a:srgbClr val="2DB7EA"/>
            </a:solidFill>
          </p:spPr>
          <p:txBody>
            <a:bodyPr wrap="square" lIns="0" tIns="0" rIns="0" bIns="0" rtlCol="0"/>
            <a:lstStyle/>
            <a:p>
              <a:endParaRPr dirty="0"/>
            </a:p>
          </p:txBody>
        </p:sp>
        <p:pic>
          <p:nvPicPr>
            <p:cNvPr id="586" name="object 347">
              <a:extLst>
                <a:ext uri="{FF2B5EF4-FFF2-40B4-BE49-F238E27FC236}">
                  <a16:creationId xmlns:a16="http://schemas.microsoft.com/office/drawing/2014/main" id="{C88ACA37-0617-674B-9D10-C7F7CDEC5AD4}"/>
                </a:ext>
              </a:extLst>
            </p:cNvPr>
            <p:cNvPicPr/>
            <p:nvPr/>
          </p:nvPicPr>
          <p:blipFill>
            <a:blip r:embed="rId5" cstate="print"/>
            <a:stretch>
              <a:fillRect/>
            </a:stretch>
          </p:blipFill>
          <p:spPr>
            <a:xfrm>
              <a:off x="10021726" y="718433"/>
              <a:ext cx="106445" cy="107156"/>
            </a:xfrm>
            <a:prstGeom prst="rect">
              <a:avLst/>
            </a:prstGeom>
          </p:spPr>
        </p:pic>
        <p:sp>
          <p:nvSpPr>
            <p:cNvPr id="587" name="object 348">
              <a:extLst>
                <a:ext uri="{FF2B5EF4-FFF2-40B4-BE49-F238E27FC236}">
                  <a16:creationId xmlns:a16="http://schemas.microsoft.com/office/drawing/2014/main" id="{D183A13F-566B-21F9-850D-3B310CE8D6F7}"/>
                </a:ext>
              </a:extLst>
            </p:cNvPr>
            <p:cNvSpPr/>
            <p:nvPr/>
          </p:nvSpPr>
          <p:spPr>
            <a:xfrm>
              <a:off x="9909070" y="150257"/>
              <a:ext cx="332700" cy="477101"/>
            </a:xfrm>
            <a:custGeom>
              <a:avLst/>
              <a:gdLst/>
              <a:ahLst/>
              <a:cxnLst/>
              <a:rect l="l" t="t" r="r" b="b"/>
              <a:pathLst>
                <a:path w="548640" h="786765">
                  <a:moveTo>
                    <a:pt x="548093" y="520179"/>
                  </a:moveTo>
                  <a:lnTo>
                    <a:pt x="500380" y="524205"/>
                  </a:lnTo>
                  <a:lnTo>
                    <a:pt x="455853" y="535863"/>
                  </a:lnTo>
                  <a:lnTo>
                    <a:pt x="414616" y="554469"/>
                  </a:lnTo>
                  <a:lnTo>
                    <a:pt x="377355" y="579335"/>
                  </a:lnTo>
                  <a:lnTo>
                    <a:pt x="344728" y="609803"/>
                  </a:lnTo>
                  <a:lnTo>
                    <a:pt x="317411" y="645172"/>
                  </a:lnTo>
                  <a:lnTo>
                    <a:pt x="296087" y="684796"/>
                  </a:lnTo>
                  <a:lnTo>
                    <a:pt x="281419" y="727976"/>
                  </a:lnTo>
                  <a:lnTo>
                    <a:pt x="274091" y="774065"/>
                  </a:lnTo>
                  <a:lnTo>
                    <a:pt x="272161" y="761669"/>
                  </a:lnTo>
                  <a:lnTo>
                    <a:pt x="266928" y="727824"/>
                  </a:lnTo>
                  <a:lnTo>
                    <a:pt x="257238" y="699008"/>
                  </a:lnTo>
                  <a:lnTo>
                    <a:pt x="252361" y="684453"/>
                  </a:lnTo>
                  <a:lnTo>
                    <a:pt x="231101" y="644652"/>
                  </a:lnTo>
                  <a:lnTo>
                    <a:pt x="203809" y="609117"/>
                  </a:lnTo>
                  <a:lnTo>
                    <a:pt x="187998" y="594321"/>
                  </a:lnTo>
                  <a:lnTo>
                    <a:pt x="171157" y="578523"/>
                  </a:lnTo>
                  <a:lnTo>
                    <a:pt x="133845" y="553542"/>
                  </a:lnTo>
                  <a:lnTo>
                    <a:pt x="92532" y="534835"/>
                  </a:lnTo>
                  <a:lnTo>
                    <a:pt x="47917" y="523125"/>
                  </a:lnTo>
                  <a:lnTo>
                    <a:pt x="0" y="519074"/>
                  </a:lnTo>
                  <a:lnTo>
                    <a:pt x="5448" y="567245"/>
                  </a:lnTo>
                  <a:lnTo>
                    <a:pt x="18846" y="612508"/>
                  </a:lnTo>
                  <a:lnTo>
                    <a:pt x="39458" y="654138"/>
                  </a:lnTo>
                  <a:lnTo>
                    <a:pt x="46850" y="66429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93" y="654710"/>
                  </a:lnTo>
                  <a:lnTo>
                    <a:pt x="529043" y="613257"/>
                  </a:lnTo>
                  <a:lnTo>
                    <a:pt x="542518" y="568172"/>
                  </a:lnTo>
                  <a:lnTo>
                    <a:pt x="548081" y="520217"/>
                  </a:lnTo>
                  <a:close/>
                </a:path>
                <a:path w="548640" h="786765">
                  <a:moveTo>
                    <a:pt x="548093" y="266611"/>
                  </a:moveTo>
                  <a:lnTo>
                    <a:pt x="500380" y="270649"/>
                  </a:lnTo>
                  <a:lnTo>
                    <a:pt x="455853" y="282308"/>
                  </a:lnTo>
                  <a:lnTo>
                    <a:pt x="414616" y="300901"/>
                  </a:lnTo>
                  <a:lnTo>
                    <a:pt x="377355" y="325767"/>
                  </a:lnTo>
                  <a:lnTo>
                    <a:pt x="344728" y="356235"/>
                  </a:lnTo>
                  <a:lnTo>
                    <a:pt x="317423" y="391617"/>
                  </a:lnTo>
                  <a:lnTo>
                    <a:pt x="296087" y="431253"/>
                  </a:lnTo>
                  <a:lnTo>
                    <a:pt x="281432" y="474446"/>
                  </a:lnTo>
                  <a:lnTo>
                    <a:pt x="274091" y="520534"/>
                  </a:lnTo>
                  <a:lnTo>
                    <a:pt x="266928" y="474256"/>
                  </a:lnTo>
                  <a:lnTo>
                    <a:pt x="252361" y="430885"/>
                  </a:lnTo>
                  <a:lnTo>
                    <a:pt x="231101" y="391096"/>
                  </a:lnTo>
                  <a:lnTo>
                    <a:pt x="203809" y="355561"/>
                  </a:lnTo>
                  <a:lnTo>
                    <a:pt x="171157" y="324954"/>
                  </a:lnTo>
                  <a:lnTo>
                    <a:pt x="133845" y="299974"/>
                  </a:lnTo>
                  <a:lnTo>
                    <a:pt x="92544" y="281292"/>
                  </a:lnTo>
                  <a:lnTo>
                    <a:pt x="47917" y="269582"/>
                  </a:lnTo>
                  <a:lnTo>
                    <a:pt x="12" y="265531"/>
                  </a:lnTo>
                  <a:lnTo>
                    <a:pt x="5461" y="313690"/>
                  </a:lnTo>
                  <a:lnTo>
                    <a:pt x="18859" y="358952"/>
                  </a:lnTo>
                  <a:lnTo>
                    <a:pt x="39471" y="400583"/>
                  </a:lnTo>
                  <a:lnTo>
                    <a:pt x="66560" y="437832"/>
                  </a:lnTo>
                  <a:lnTo>
                    <a:pt x="99402" y="469988"/>
                  </a:lnTo>
                  <a:lnTo>
                    <a:pt x="137261" y="496303"/>
                  </a:lnTo>
                  <a:lnTo>
                    <a:pt x="179387" y="516039"/>
                  </a:lnTo>
                  <a:lnTo>
                    <a:pt x="225056" y="528459"/>
                  </a:lnTo>
                  <a:lnTo>
                    <a:pt x="273532" y="532828"/>
                  </a:lnTo>
                  <a:lnTo>
                    <a:pt x="274751" y="532828"/>
                  </a:lnTo>
                  <a:lnTo>
                    <a:pt x="323100" y="528472"/>
                  </a:lnTo>
                  <a:lnTo>
                    <a:pt x="368655" y="516115"/>
                  </a:lnTo>
                  <a:lnTo>
                    <a:pt x="410692" y="496468"/>
                  </a:lnTo>
                  <a:lnTo>
                    <a:pt x="448475" y="470268"/>
                  </a:lnTo>
                  <a:lnTo>
                    <a:pt x="481279" y="438251"/>
                  </a:lnTo>
                  <a:lnTo>
                    <a:pt x="508381" y="401154"/>
                  </a:lnTo>
                  <a:lnTo>
                    <a:pt x="529031" y="359689"/>
                  </a:lnTo>
                  <a:lnTo>
                    <a:pt x="542505" y="314604"/>
                  </a:lnTo>
                  <a:lnTo>
                    <a:pt x="548093" y="266611"/>
                  </a:lnTo>
                  <a:close/>
                </a:path>
                <a:path w="548640" h="786765">
                  <a:moveTo>
                    <a:pt x="548093" y="1079"/>
                  </a:moveTo>
                  <a:lnTo>
                    <a:pt x="500380" y="5118"/>
                  </a:lnTo>
                  <a:lnTo>
                    <a:pt x="455853" y="16776"/>
                  </a:lnTo>
                  <a:lnTo>
                    <a:pt x="414616" y="35369"/>
                  </a:lnTo>
                  <a:lnTo>
                    <a:pt x="377355" y="60248"/>
                  </a:lnTo>
                  <a:lnTo>
                    <a:pt x="344728" y="90716"/>
                  </a:lnTo>
                  <a:lnTo>
                    <a:pt x="317423" y="126098"/>
                  </a:lnTo>
                  <a:lnTo>
                    <a:pt x="296087" y="165722"/>
                  </a:lnTo>
                  <a:lnTo>
                    <a:pt x="281432" y="208915"/>
                  </a:lnTo>
                  <a:lnTo>
                    <a:pt x="274091" y="255003"/>
                  </a:lnTo>
                  <a:lnTo>
                    <a:pt x="266928" y="208724"/>
                  </a:lnTo>
                  <a:lnTo>
                    <a:pt x="252361" y="165354"/>
                  </a:lnTo>
                  <a:lnTo>
                    <a:pt x="231101" y="125564"/>
                  </a:lnTo>
                  <a:lnTo>
                    <a:pt x="203809" y="90030"/>
                  </a:lnTo>
                  <a:lnTo>
                    <a:pt x="171157" y="59436"/>
                  </a:lnTo>
                  <a:lnTo>
                    <a:pt x="133845" y="34455"/>
                  </a:lnTo>
                  <a:lnTo>
                    <a:pt x="92544" y="15760"/>
                  </a:lnTo>
                  <a:lnTo>
                    <a:pt x="47917" y="4064"/>
                  </a:lnTo>
                  <a:lnTo>
                    <a:pt x="12" y="0"/>
                  </a:lnTo>
                  <a:lnTo>
                    <a:pt x="5461" y="48171"/>
                  </a:lnTo>
                  <a:lnTo>
                    <a:pt x="18859"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92" y="230936"/>
                  </a:lnTo>
                  <a:lnTo>
                    <a:pt x="448475" y="204736"/>
                  </a:lnTo>
                  <a:lnTo>
                    <a:pt x="481279" y="172732"/>
                  </a:lnTo>
                  <a:lnTo>
                    <a:pt x="508381" y="135623"/>
                  </a:lnTo>
                  <a:lnTo>
                    <a:pt x="529031" y="94157"/>
                  </a:lnTo>
                  <a:lnTo>
                    <a:pt x="542505" y="49072"/>
                  </a:lnTo>
                  <a:lnTo>
                    <a:pt x="548093" y="1079"/>
                  </a:lnTo>
                  <a:close/>
                </a:path>
              </a:pathLst>
            </a:custGeom>
            <a:solidFill>
              <a:srgbClr val="7ED3F1"/>
            </a:solidFill>
          </p:spPr>
          <p:txBody>
            <a:bodyPr wrap="square" lIns="0" tIns="0" rIns="0" bIns="0" rtlCol="0"/>
            <a:lstStyle/>
            <a:p>
              <a:endParaRPr dirty="0"/>
            </a:p>
          </p:txBody>
        </p:sp>
        <p:pic>
          <p:nvPicPr>
            <p:cNvPr id="588" name="object 349">
              <a:extLst>
                <a:ext uri="{FF2B5EF4-FFF2-40B4-BE49-F238E27FC236}">
                  <a16:creationId xmlns:a16="http://schemas.microsoft.com/office/drawing/2014/main" id="{DDAC631A-28F6-5C9B-BFB8-9A50A069189C}"/>
                </a:ext>
              </a:extLst>
            </p:cNvPr>
            <p:cNvPicPr/>
            <p:nvPr/>
          </p:nvPicPr>
          <p:blipFill>
            <a:blip r:embed="rId6" cstate="print"/>
            <a:stretch>
              <a:fillRect/>
            </a:stretch>
          </p:blipFill>
          <p:spPr>
            <a:xfrm>
              <a:off x="10021726" y="64269"/>
              <a:ext cx="106445" cy="107156"/>
            </a:xfrm>
            <a:prstGeom prst="rect">
              <a:avLst/>
            </a:prstGeom>
          </p:spPr>
        </p:pic>
        <p:sp>
          <p:nvSpPr>
            <p:cNvPr id="589" name="object 350">
              <a:extLst>
                <a:ext uri="{FF2B5EF4-FFF2-40B4-BE49-F238E27FC236}">
                  <a16:creationId xmlns:a16="http://schemas.microsoft.com/office/drawing/2014/main" id="{9EF10887-2740-37BB-6390-C3C9F9300BBF}"/>
                </a:ext>
              </a:extLst>
            </p:cNvPr>
            <p:cNvSpPr/>
            <p:nvPr/>
          </p:nvSpPr>
          <p:spPr>
            <a:xfrm>
              <a:off x="9909070" y="2112754"/>
              <a:ext cx="332700" cy="477101"/>
            </a:xfrm>
            <a:custGeom>
              <a:avLst/>
              <a:gdLst/>
              <a:ahLst/>
              <a:cxnLst/>
              <a:rect l="l" t="t" r="r" b="b"/>
              <a:pathLst>
                <a:path w="548640" h="786764">
                  <a:moveTo>
                    <a:pt x="548093" y="520166"/>
                  </a:moveTo>
                  <a:lnTo>
                    <a:pt x="500380" y="524205"/>
                  </a:lnTo>
                  <a:lnTo>
                    <a:pt x="455853" y="535863"/>
                  </a:lnTo>
                  <a:lnTo>
                    <a:pt x="414616" y="554456"/>
                  </a:lnTo>
                  <a:lnTo>
                    <a:pt x="377355" y="579335"/>
                  </a:lnTo>
                  <a:lnTo>
                    <a:pt x="375183" y="581367"/>
                  </a:lnTo>
                  <a:lnTo>
                    <a:pt x="344728" y="609803"/>
                  </a:lnTo>
                  <a:lnTo>
                    <a:pt x="317411" y="645172"/>
                  </a:lnTo>
                  <a:lnTo>
                    <a:pt x="296087" y="684796"/>
                  </a:lnTo>
                  <a:lnTo>
                    <a:pt x="281419" y="727989"/>
                  </a:lnTo>
                  <a:lnTo>
                    <a:pt x="274091" y="774065"/>
                  </a:lnTo>
                  <a:lnTo>
                    <a:pt x="272389" y="763143"/>
                  </a:lnTo>
                  <a:lnTo>
                    <a:pt x="266928" y="727811"/>
                  </a:lnTo>
                  <a:lnTo>
                    <a:pt x="252361" y="684441"/>
                  </a:lnTo>
                  <a:lnTo>
                    <a:pt x="231101" y="644652"/>
                  </a:lnTo>
                  <a:lnTo>
                    <a:pt x="203809" y="609117"/>
                  </a:lnTo>
                  <a:lnTo>
                    <a:pt x="171157" y="578523"/>
                  </a:lnTo>
                  <a:lnTo>
                    <a:pt x="133845" y="553542"/>
                  </a:lnTo>
                  <a:lnTo>
                    <a:pt x="92544" y="534860"/>
                  </a:lnTo>
                  <a:lnTo>
                    <a:pt x="47917" y="523125"/>
                  </a:lnTo>
                  <a:lnTo>
                    <a:pt x="12" y="519087"/>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93" y="654710"/>
                  </a:lnTo>
                  <a:lnTo>
                    <a:pt x="529043" y="613257"/>
                  </a:lnTo>
                  <a:lnTo>
                    <a:pt x="542518" y="568172"/>
                  </a:lnTo>
                  <a:lnTo>
                    <a:pt x="548081" y="520217"/>
                  </a:lnTo>
                  <a:close/>
                </a:path>
                <a:path w="548640" h="786764">
                  <a:moveTo>
                    <a:pt x="548093" y="266611"/>
                  </a:moveTo>
                  <a:lnTo>
                    <a:pt x="500380" y="270649"/>
                  </a:lnTo>
                  <a:lnTo>
                    <a:pt x="455853" y="282308"/>
                  </a:lnTo>
                  <a:lnTo>
                    <a:pt x="414616" y="300901"/>
                  </a:lnTo>
                  <a:lnTo>
                    <a:pt x="377355" y="325780"/>
                  </a:lnTo>
                  <a:lnTo>
                    <a:pt x="344728" y="356247"/>
                  </a:lnTo>
                  <a:lnTo>
                    <a:pt x="317423" y="391629"/>
                  </a:lnTo>
                  <a:lnTo>
                    <a:pt x="296087" y="431253"/>
                  </a:lnTo>
                  <a:lnTo>
                    <a:pt x="281432" y="474446"/>
                  </a:lnTo>
                  <a:lnTo>
                    <a:pt x="274091" y="520534"/>
                  </a:lnTo>
                  <a:lnTo>
                    <a:pt x="266928" y="474256"/>
                  </a:lnTo>
                  <a:lnTo>
                    <a:pt x="252361" y="430885"/>
                  </a:lnTo>
                  <a:lnTo>
                    <a:pt x="231101" y="391096"/>
                  </a:lnTo>
                  <a:lnTo>
                    <a:pt x="203809" y="355561"/>
                  </a:lnTo>
                  <a:lnTo>
                    <a:pt x="171157" y="324967"/>
                  </a:lnTo>
                  <a:lnTo>
                    <a:pt x="133845" y="299986"/>
                  </a:lnTo>
                  <a:lnTo>
                    <a:pt x="92544" y="281292"/>
                  </a:lnTo>
                  <a:lnTo>
                    <a:pt x="47917" y="269582"/>
                  </a:lnTo>
                  <a:lnTo>
                    <a:pt x="12" y="265531"/>
                  </a:lnTo>
                  <a:lnTo>
                    <a:pt x="5461" y="313702"/>
                  </a:lnTo>
                  <a:lnTo>
                    <a:pt x="18859" y="358952"/>
                  </a:lnTo>
                  <a:lnTo>
                    <a:pt x="39471" y="400583"/>
                  </a:lnTo>
                  <a:lnTo>
                    <a:pt x="66560" y="437845"/>
                  </a:lnTo>
                  <a:lnTo>
                    <a:pt x="99402" y="469988"/>
                  </a:lnTo>
                  <a:lnTo>
                    <a:pt x="137261" y="496303"/>
                  </a:lnTo>
                  <a:lnTo>
                    <a:pt x="179387" y="516039"/>
                  </a:lnTo>
                  <a:lnTo>
                    <a:pt x="225056" y="528459"/>
                  </a:lnTo>
                  <a:lnTo>
                    <a:pt x="273532" y="532841"/>
                  </a:lnTo>
                  <a:lnTo>
                    <a:pt x="274751" y="532841"/>
                  </a:lnTo>
                  <a:lnTo>
                    <a:pt x="323100" y="528485"/>
                  </a:lnTo>
                  <a:lnTo>
                    <a:pt x="368655" y="516115"/>
                  </a:lnTo>
                  <a:lnTo>
                    <a:pt x="410692" y="496468"/>
                  </a:lnTo>
                  <a:lnTo>
                    <a:pt x="448475" y="470268"/>
                  </a:lnTo>
                  <a:lnTo>
                    <a:pt x="481279" y="438264"/>
                  </a:lnTo>
                  <a:lnTo>
                    <a:pt x="508381" y="401154"/>
                  </a:lnTo>
                  <a:lnTo>
                    <a:pt x="529031" y="359689"/>
                  </a:lnTo>
                  <a:lnTo>
                    <a:pt x="542505" y="314604"/>
                  </a:lnTo>
                  <a:lnTo>
                    <a:pt x="548093" y="266611"/>
                  </a:lnTo>
                  <a:close/>
                </a:path>
                <a:path w="548640" h="786764">
                  <a:moveTo>
                    <a:pt x="548093" y="1079"/>
                  </a:moveTo>
                  <a:lnTo>
                    <a:pt x="500380" y="5118"/>
                  </a:lnTo>
                  <a:lnTo>
                    <a:pt x="455853" y="16776"/>
                  </a:lnTo>
                  <a:lnTo>
                    <a:pt x="414616" y="35369"/>
                  </a:lnTo>
                  <a:lnTo>
                    <a:pt x="377355" y="60248"/>
                  </a:lnTo>
                  <a:lnTo>
                    <a:pt x="344728" y="90703"/>
                  </a:lnTo>
                  <a:lnTo>
                    <a:pt x="317423" y="126085"/>
                  </a:lnTo>
                  <a:lnTo>
                    <a:pt x="296087" y="165722"/>
                  </a:lnTo>
                  <a:lnTo>
                    <a:pt x="281432" y="208915"/>
                  </a:lnTo>
                  <a:lnTo>
                    <a:pt x="274091" y="255003"/>
                  </a:lnTo>
                  <a:lnTo>
                    <a:pt x="266928" y="208724"/>
                  </a:lnTo>
                  <a:lnTo>
                    <a:pt x="252361" y="165354"/>
                  </a:lnTo>
                  <a:lnTo>
                    <a:pt x="231101" y="125564"/>
                  </a:lnTo>
                  <a:lnTo>
                    <a:pt x="203809" y="90030"/>
                  </a:lnTo>
                  <a:lnTo>
                    <a:pt x="171157" y="59423"/>
                  </a:lnTo>
                  <a:lnTo>
                    <a:pt x="133845" y="34442"/>
                  </a:lnTo>
                  <a:lnTo>
                    <a:pt x="92544" y="15760"/>
                  </a:lnTo>
                  <a:lnTo>
                    <a:pt x="47917" y="4051"/>
                  </a:lnTo>
                  <a:lnTo>
                    <a:pt x="12" y="0"/>
                  </a:lnTo>
                  <a:lnTo>
                    <a:pt x="5461" y="48158"/>
                  </a:lnTo>
                  <a:lnTo>
                    <a:pt x="18859" y="93421"/>
                  </a:lnTo>
                  <a:lnTo>
                    <a:pt x="39471" y="135051"/>
                  </a:lnTo>
                  <a:lnTo>
                    <a:pt x="66560" y="172313"/>
                  </a:lnTo>
                  <a:lnTo>
                    <a:pt x="99402" y="204457"/>
                  </a:lnTo>
                  <a:lnTo>
                    <a:pt x="137261" y="230771"/>
                  </a:lnTo>
                  <a:lnTo>
                    <a:pt x="179387" y="250507"/>
                  </a:lnTo>
                  <a:lnTo>
                    <a:pt x="225056" y="262928"/>
                  </a:lnTo>
                  <a:lnTo>
                    <a:pt x="273532" y="267296"/>
                  </a:lnTo>
                  <a:lnTo>
                    <a:pt x="274751" y="267296"/>
                  </a:lnTo>
                  <a:lnTo>
                    <a:pt x="323100" y="262940"/>
                  </a:lnTo>
                  <a:lnTo>
                    <a:pt x="368655" y="250583"/>
                  </a:lnTo>
                  <a:lnTo>
                    <a:pt x="410692" y="230936"/>
                  </a:lnTo>
                  <a:lnTo>
                    <a:pt x="448475" y="204736"/>
                  </a:lnTo>
                  <a:lnTo>
                    <a:pt x="481279" y="172720"/>
                  </a:lnTo>
                  <a:lnTo>
                    <a:pt x="508381" y="135623"/>
                  </a:lnTo>
                  <a:lnTo>
                    <a:pt x="529031" y="94157"/>
                  </a:lnTo>
                  <a:lnTo>
                    <a:pt x="542505" y="49072"/>
                  </a:lnTo>
                  <a:lnTo>
                    <a:pt x="548093" y="1079"/>
                  </a:lnTo>
                  <a:close/>
                </a:path>
              </a:pathLst>
            </a:custGeom>
            <a:solidFill>
              <a:srgbClr val="2DB7EA"/>
            </a:solidFill>
          </p:spPr>
          <p:txBody>
            <a:bodyPr wrap="square" lIns="0" tIns="0" rIns="0" bIns="0" rtlCol="0"/>
            <a:lstStyle/>
            <a:p>
              <a:endParaRPr dirty="0"/>
            </a:p>
          </p:txBody>
        </p:sp>
        <p:pic>
          <p:nvPicPr>
            <p:cNvPr id="590" name="object 351">
              <a:extLst>
                <a:ext uri="{FF2B5EF4-FFF2-40B4-BE49-F238E27FC236}">
                  <a16:creationId xmlns:a16="http://schemas.microsoft.com/office/drawing/2014/main" id="{E9E961C4-A0D7-2FC2-4307-07D16DB3DF17}"/>
                </a:ext>
              </a:extLst>
            </p:cNvPr>
            <p:cNvPicPr/>
            <p:nvPr/>
          </p:nvPicPr>
          <p:blipFill>
            <a:blip r:embed="rId5" cstate="print"/>
            <a:stretch>
              <a:fillRect/>
            </a:stretch>
          </p:blipFill>
          <p:spPr>
            <a:xfrm>
              <a:off x="10021726" y="2026765"/>
              <a:ext cx="106445" cy="107156"/>
            </a:xfrm>
            <a:prstGeom prst="rect">
              <a:avLst/>
            </a:prstGeom>
          </p:spPr>
        </p:pic>
        <p:sp>
          <p:nvSpPr>
            <p:cNvPr id="591" name="object 352">
              <a:extLst>
                <a:ext uri="{FF2B5EF4-FFF2-40B4-BE49-F238E27FC236}">
                  <a16:creationId xmlns:a16="http://schemas.microsoft.com/office/drawing/2014/main" id="{D1DEBB69-019A-7951-006B-1A8383553F36}"/>
                </a:ext>
              </a:extLst>
            </p:cNvPr>
            <p:cNvSpPr/>
            <p:nvPr/>
          </p:nvSpPr>
          <p:spPr>
            <a:xfrm>
              <a:off x="9909070" y="1458591"/>
              <a:ext cx="332700" cy="477101"/>
            </a:xfrm>
            <a:custGeom>
              <a:avLst/>
              <a:gdLst/>
              <a:ahLst/>
              <a:cxnLst/>
              <a:rect l="l" t="t" r="r" b="b"/>
              <a:pathLst>
                <a:path w="548640" h="786764">
                  <a:moveTo>
                    <a:pt x="548093" y="520166"/>
                  </a:moveTo>
                  <a:lnTo>
                    <a:pt x="500380" y="524205"/>
                  </a:lnTo>
                  <a:lnTo>
                    <a:pt x="455853" y="535863"/>
                  </a:lnTo>
                  <a:lnTo>
                    <a:pt x="414616" y="554456"/>
                  </a:lnTo>
                  <a:lnTo>
                    <a:pt x="386664" y="573125"/>
                  </a:lnTo>
                  <a:lnTo>
                    <a:pt x="377355" y="579335"/>
                  </a:lnTo>
                  <a:lnTo>
                    <a:pt x="344728" y="609790"/>
                  </a:lnTo>
                  <a:lnTo>
                    <a:pt x="317411" y="645172"/>
                  </a:lnTo>
                  <a:lnTo>
                    <a:pt x="296087" y="684784"/>
                  </a:lnTo>
                  <a:lnTo>
                    <a:pt x="281419" y="727976"/>
                  </a:lnTo>
                  <a:lnTo>
                    <a:pt x="274091" y="774065"/>
                  </a:lnTo>
                  <a:lnTo>
                    <a:pt x="272389" y="763143"/>
                  </a:lnTo>
                  <a:lnTo>
                    <a:pt x="266928" y="727811"/>
                  </a:lnTo>
                  <a:lnTo>
                    <a:pt x="252361" y="684441"/>
                  </a:lnTo>
                  <a:lnTo>
                    <a:pt x="231101" y="644652"/>
                  </a:lnTo>
                  <a:lnTo>
                    <a:pt x="203809" y="609117"/>
                  </a:lnTo>
                  <a:lnTo>
                    <a:pt x="171157" y="578510"/>
                  </a:lnTo>
                  <a:lnTo>
                    <a:pt x="133845" y="553529"/>
                  </a:lnTo>
                  <a:lnTo>
                    <a:pt x="92544" y="534847"/>
                  </a:lnTo>
                  <a:lnTo>
                    <a:pt x="47917" y="523138"/>
                  </a:lnTo>
                  <a:lnTo>
                    <a:pt x="0" y="519061"/>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84"/>
                  </a:lnTo>
                  <a:lnTo>
                    <a:pt x="274751" y="786384"/>
                  </a:lnTo>
                  <a:lnTo>
                    <a:pt x="323100" y="782027"/>
                  </a:lnTo>
                  <a:lnTo>
                    <a:pt x="368655" y="769670"/>
                  </a:lnTo>
                  <a:lnTo>
                    <a:pt x="410692" y="750023"/>
                  </a:lnTo>
                  <a:lnTo>
                    <a:pt x="448475" y="723823"/>
                  </a:lnTo>
                  <a:lnTo>
                    <a:pt x="481279" y="691807"/>
                  </a:lnTo>
                  <a:lnTo>
                    <a:pt x="508381" y="654710"/>
                  </a:lnTo>
                  <a:lnTo>
                    <a:pt x="529043" y="613244"/>
                  </a:lnTo>
                  <a:lnTo>
                    <a:pt x="542518" y="568172"/>
                  </a:lnTo>
                  <a:lnTo>
                    <a:pt x="548081" y="520204"/>
                  </a:lnTo>
                  <a:close/>
                </a:path>
                <a:path w="548640" h="786764">
                  <a:moveTo>
                    <a:pt x="548093" y="266611"/>
                  </a:moveTo>
                  <a:lnTo>
                    <a:pt x="500380" y="270649"/>
                  </a:lnTo>
                  <a:lnTo>
                    <a:pt x="455853" y="282295"/>
                  </a:lnTo>
                  <a:lnTo>
                    <a:pt x="414616" y="300901"/>
                  </a:lnTo>
                  <a:lnTo>
                    <a:pt x="377355" y="325767"/>
                  </a:lnTo>
                  <a:lnTo>
                    <a:pt x="344728" y="356235"/>
                  </a:lnTo>
                  <a:lnTo>
                    <a:pt x="317423" y="391617"/>
                  </a:lnTo>
                  <a:lnTo>
                    <a:pt x="296087" y="431241"/>
                  </a:lnTo>
                  <a:lnTo>
                    <a:pt x="281432" y="474446"/>
                  </a:lnTo>
                  <a:lnTo>
                    <a:pt x="274091" y="520522"/>
                  </a:lnTo>
                  <a:lnTo>
                    <a:pt x="266928"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59" y="358952"/>
                  </a:lnTo>
                  <a:lnTo>
                    <a:pt x="39471" y="400583"/>
                  </a:lnTo>
                  <a:lnTo>
                    <a:pt x="66560" y="437832"/>
                  </a:lnTo>
                  <a:lnTo>
                    <a:pt x="99402" y="469988"/>
                  </a:lnTo>
                  <a:lnTo>
                    <a:pt x="137261" y="496303"/>
                  </a:lnTo>
                  <a:lnTo>
                    <a:pt x="179387" y="516026"/>
                  </a:lnTo>
                  <a:lnTo>
                    <a:pt x="225056" y="528459"/>
                  </a:lnTo>
                  <a:lnTo>
                    <a:pt x="273532" y="532828"/>
                  </a:lnTo>
                  <a:lnTo>
                    <a:pt x="274751" y="532828"/>
                  </a:lnTo>
                  <a:lnTo>
                    <a:pt x="323100" y="528472"/>
                  </a:lnTo>
                  <a:lnTo>
                    <a:pt x="368655" y="516102"/>
                  </a:lnTo>
                  <a:lnTo>
                    <a:pt x="410692" y="496468"/>
                  </a:lnTo>
                  <a:lnTo>
                    <a:pt x="448475" y="470268"/>
                  </a:lnTo>
                  <a:lnTo>
                    <a:pt x="481279" y="438251"/>
                  </a:lnTo>
                  <a:lnTo>
                    <a:pt x="508381" y="401154"/>
                  </a:lnTo>
                  <a:lnTo>
                    <a:pt x="529031" y="359689"/>
                  </a:lnTo>
                  <a:lnTo>
                    <a:pt x="542505" y="314604"/>
                  </a:lnTo>
                  <a:lnTo>
                    <a:pt x="548093" y="266611"/>
                  </a:lnTo>
                  <a:close/>
                </a:path>
                <a:path w="548640" h="786764">
                  <a:moveTo>
                    <a:pt x="548093" y="1079"/>
                  </a:moveTo>
                  <a:lnTo>
                    <a:pt x="500380" y="5105"/>
                  </a:lnTo>
                  <a:lnTo>
                    <a:pt x="455853" y="16764"/>
                  </a:lnTo>
                  <a:lnTo>
                    <a:pt x="414616" y="35369"/>
                  </a:lnTo>
                  <a:lnTo>
                    <a:pt x="377355" y="60236"/>
                  </a:lnTo>
                  <a:lnTo>
                    <a:pt x="344728" y="90703"/>
                  </a:lnTo>
                  <a:lnTo>
                    <a:pt x="317423" y="126085"/>
                  </a:lnTo>
                  <a:lnTo>
                    <a:pt x="296087" y="165709"/>
                  </a:lnTo>
                  <a:lnTo>
                    <a:pt x="281432" y="208902"/>
                  </a:lnTo>
                  <a:lnTo>
                    <a:pt x="274091" y="254990"/>
                  </a:lnTo>
                  <a:lnTo>
                    <a:pt x="266928"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59"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36"/>
                  </a:lnTo>
                  <a:lnTo>
                    <a:pt x="481279" y="172720"/>
                  </a:lnTo>
                  <a:lnTo>
                    <a:pt x="508381" y="135623"/>
                  </a:lnTo>
                  <a:lnTo>
                    <a:pt x="529031" y="94157"/>
                  </a:lnTo>
                  <a:lnTo>
                    <a:pt x="542505" y="49060"/>
                  </a:lnTo>
                  <a:lnTo>
                    <a:pt x="548093" y="1079"/>
                  </a:lnTo>
                  <a:close/>
                </a:path>
              </a:pathLst>
            </a:custGeom>
            <a:solidFill>
              <a:srgbClr val="7ED3F1"/>
            </a:solidFill>
          </p:spPr>
          <p:txBody>
            <a:bodyPr wrap="square" lIns="0" tIns="0" rIns="0" bIns="0" rtlCol="0"/>
            <a:lstStyle/>
            <a:p>
              <a:endParaRPr dirty="0"/>
            </a:p>
          </p:txBody>
        </p:sp>
        <p:pic>
          <p:nvPicPr>
            <p:cNvPr id="592" name="object 353">
              <a:extLst>
                <a:ext uri="{FF2B5EF4-FFF2-40B4-BE49-F238E27FC236}">
                  <a16:creationId xmlns:a16="http://schemas.microsoft.com/office/drawing/2014/main" id="{E0FBC213-4E34-3928-0AB3-594A9FE2F9CA}"/>
                </a:ext>
              </a:extLst>
            </p:cNvPr>
            <p:cNvPicPr/>
            <p:nvPr/>
          </p:nvPicPr>
          <p:blipFill>
            <a:blip r:embed="rId6" cstate="print"/>
            <a:stretch>
              <a:fillRect/>
            </a:stretch>
          </p:blipFill>
          <p:spPr>
            <a:xfrm>
              <a:off x="10021726" y="1372599"/>
              <a:ext cx="106445" cy="107156"/>
            </a:xfrm>
            <a:prstGeom prst="rect">
              <a:avLst/>
            </a:prstGeom>
          </p:spPr>
        </p:pic>
        <p:sp>
          <p:nvSpPr>
            <p:cNvPr id="593" name="object 354">
              <a:extLst>
                <a:ext uri="{FF2B5EF4-FFF2-40B4-BE49-F238E27FC236}">
                  <a16:creationId xmlns:a16="http://schemas.microsoft.com/office/drawing/2014/main" id="{11E315FE-802C-3149-9B40-726225661F59}"/>
                </a:ext>
              </a:extLst>
            </p:cNvPr>
            <p:cNvSpPr/>
            <p:nvPr/>
          </p:nvSpPr>
          <p:spPr>
            <a:xfrm>
              <a:off x="9909070" y="3421088"/>
              <a:ext cx="332700" cy="477101"/>
            </a:xfrm>
            <a:custGeom>
              <a:avLst/>
              <a:gdLst/>
              <a:ahLst/>
              <a:cxnLst/>
              <a:rect l="l" t="t" r="r" b="b"/>
              <a:pathLst>
                <a:path w="548640" h="786764">
                  <a:moveTo>
                    <a:pt x="548093" y="520179"/>
                  </a:moveTo>
                  <a:lnTo>
                    <a:pt x="500380" y="524217"/>
                  </a:lnTo>
                  <a:lnTo>
                    <a:pt x="455853" y="535863"/>
                  </a:lnTo>
                  <a:lnTo>
                    <a:pt x="414616" y="554469"/>
                  </a:lnTo>
                  <a:lnTo>
                    <a:pt x="377355" y="579335"/>
                  </a:lnTo>
                  <a:lnTo>
                    <a:pt x="344716" y="609790"/>
                  </a:lnTo>
                  <a:lnTo>
                    <a:pt x="317411" y="645172"/>
                  </a:lnTo>
                  <a:lnTo>
                    <a:pt x="296087" y="684784"/>
                  </a:lnTo>
                  <a:lnTo>
                    <a:pt x="281419" y="727976"/>
                  </a:lnTo>
                  <a:lnTo>
                    <a:pt x="274091" y="774065"/>
                  </a:lnTo>
                  <a:lnTo>
                    <a:pt x="272161" y="761669"/>
                  </a:lnTo>
                  <a:lnTo>
                    <a:pt x="266928" y="727811"/>
                  </a:lnTo>
                  <a:lnTo>
                    <a:pt x="252361" y="684441"/>
                  </a:lnTo>
                  <a:lnTo>
                    <a:pt x="231101" y="644652"/>
                  </a:lnTo>
                  <a:lnTo>
                    <a:pt x="203809" y="609117"/>
                  </a:lnTo>
                  <a:lnTo>
                    <a:pt x="171157" y="578510"/>
                  </a:lnTo>
                  <a:lnTo>
                    <a:pt x="133845" y="553529"/>
                  </a:lnTo>
                  <a:lnTo>
                    <a:pt x="92544" y="534847"/>
                  </a:lnTo>
                  <a:lnTo>
                    <a:pt x="47917" y="523138"/>
                  </a:lnTo>
                  <a:lnTo>
                    <a:pt x="0" y="519061"/>
                  </a:lnTo>
                  <a:lnTo>
                    <a:pt x="5448" y="567232"/>
                  </a:lnTo>
                  <a:lnTo>
                    <a:pt x="18846" y="612508"/>
                  </a:lnTo>
                  <a:lnTo>
                    <a:pt x="39458" y="654138"/>
                  </a:lnTo>
                  <a:lnTo>
                    <a:pt x="66560" y="691400"/>
                  </a:lnTo>
                  <a:lnTo>
                    <a:pt x="99402" y="723544"/>
                  </a:lnTo>
                  <a:lnTo>
                    <a:pt x="137261" y="749858"/>
                  </a:lnTo>
                  <a:lnTo>
                    <a:pt x="179387" y="769594"/>
                  </a:lnTo>
                  <a:lnTo>
                    <a:pt x="225056" y="782015"/>
                  </a:lnTo>
                  <a:lnTo>
                    <a:pt x="273532" y="786384"/>
                  </a:lnTo>
                  <a:lnTo>
                    <a:pt x="274751" y="786384"/>
                  </a:lnTo>
                  <a:lnTo>
                    <a:pt x="323100" y="782027"/>
                  </a:lnTo>
                  <a:lnTo>
                    <a:pt x="368655" y="769670"/>
                  </a:lnTo>
                  <a:lnTo>
                    <a:pt x="410692" y="750023"/>
                  </a:lnTo>
                  <a:lnTo>
                    <a:pt x="448475" y="723823"/>
                  </a:lnTo>
                  <a:lnTo>
                    <a:pt x="481279" y="691819"/>
                  </a:lnTo>
                  <a:lnTo>
                    <a:pt x="498386" y="668401"/>
                  </a:lnTo>
                  <a:lnTo>
                    <a:pt x="508381" y="654710"/>
                  </a:lnTo>
                  <a:lnTo>
                    <a:pt x="529031" y="613257"/>
                  </a:lnTo>
                  <a:lnTo>
                    <a:pt x="542518" y="568172"/>
                  </a:lnTo>
                  <a:lnTo>
                    <a:pt x="548081" y="520204"/>
                  </a:lnTo>
                  <a:close/>
                </a:path>
                <a:path w="548640" h="786764">
                  <a:moveTo>
                    <a:pt x="548093" y="266611"/>
                  </a:moveTo>
                  <a:lnTo>
                    <a:pt x="500380" y="270637"/>
                  </a:lnTo>
                  <a:lnTo>
                    <a:pt x="455853" y="282295"/>
                  </a:lnTo>
                  <a:lnTo>
                    <a:pt x="414616" y="300901"/>
                  </a:lnTo>
                  <a:lnTo>
                    <a:pt x="377355" y="325767"/>
                  </a:lnTo>
                  <a:lnTo>
                    <a:pt x="344728" y="356235"/>
                  </a:lnTo>
                  <a:lnTo>
                    <a:pt x="317423" y="391617"/>
                  </a:lnTo>
                  <a:lnTo>
                    <a:pt x="296087" y="431241"/>
                  </a:lnTo>
                  <a:lnTo>
                    <a:pt x="281432" y="474433"/>
                  </a:lnTo>
                  <a:lnTo>
                    <a:pt x="274091" y="520522"/>
                  </a:lnTo>
                  <a:lnTo>
                    <a:pt x="266928"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59" y="358952"/>
                  </a:lnTo>
                  <a:lnTo>
                    <a:pt x="39471" y="400570"/>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92" y="496455"/>
                  </a:lnTo>
                  <a:lnTo>
                    <a:pt x="448475" y="470255"/>
                  </a:lnTo>
                  <a:lnTo>
                    <a:pt x="481279" y="438251"/>
                  </a:lnTo>
                  <a:lnTo>
                    <a:pt x="508381" y="401142"/>
                  </a:lnTo>
                  <a:lnTo>
                    <a:pt x="529031" y="359689"/>
                  </a:lnTo>
                  <a:lnTo>
                    <a:pt x="542505" y="314591"/>
                  </a:lnTo>
                  <a:lnTo>
                    <a:pt x="548093" y="266611"/>
                  </a:lnTo>
                  <a:close/>
                </a:path>
                <a:path w="548640" h="786764">
                  <a:moveTo>
                    <a:pt x="548093" y="1079"/>
                  </a:moveTo>
                  <a:lnTo>
                    <a:pt x="500380" y="5118"/>
                  </a:lnTo>
                  <a:lnTo>
                    <a:pt x="455853" y="16764"/>
                  </a:lnTo>
                  <a:lnTo>
                    <a:pt x="414616" y="35369"/>
                  </a:lnTo>
                  <a:lnTo>
                    <a:pt x="377355" y="60236"/>
                  </a:lnTo>
                  <a:lnTo>
                    <a:pt x="344728" y="90703"/>
                  </a:lnTo>
                  <a:lnTo>
                    <a:pt x="317423" y="126085"/>
                  </a:lnTo>
                  <a:lnTo>
                    <a:pt x="296087" y="165709"/>
                  </a:lnTo>
                  <a:lnTo>
                    <a:pt x="281432" y="208915"/>
                  </a:lnTo>
                  <a:lnTo>
                    <a:pt x="274091" y="254990"/>
                  </a:lnTo>
                  <a:lnTo>
                    <a:pt x="266928"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59"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36"/>
                  </a:lnTo>
                  <a:lnTo>
                    <a:pt x="481279" y="172720"/>
                  </a:lnTo>
                  <a:lnTo>
                    <a:pt x="508381" y="135623"/>
                  </a:lnTo>
                  <a:lnTo>
                    <a:pt x="529031" y="94157"/>
                  </a:lnTo>
                  <a:lnTo>
                    <a:pt x="542505" y="49072"/>
                  </a:lnTo>
                  <a:lnTo>
                    <a:pt x="548093" y="1079"/>
                  </a:lnTo>
                  <a:close/>
                </a:path>
              </a:pathLst>
            </a:custGeom>
            <a:solidFill>
              <a:srgbClr val="2DB7EA"/>
            </a:solidFill>
          </p:spPr>
          <p:txBody>
            <a:bodyPr wrap="square" lIns="0" tIns="0" rIns="0" bIns="0" rtlCol="0"/>
            <a:lstStyle/>
            <a:p>
              <a:endParaRPr dirty="0"/>
            </a:p>
          </p:txBody>
        </p:sp>
        <p:pic>
          <p:nvPicPr>
            <p:cNvPr id="594" name="object 355">
              <a:extLst>
                <a:ext uri="{FF2B5EF4-FFF2-40B4-BE49-F238E27FC236}">
                  <a16:creationId xmlns:a16="http://schemas.microsoft.com/office/drawing/2014/main" id="{6E60B66E-F7B7-3B12-0CA1-E3708B23C4F8}"/>
                </a:ext>
              </a:extLst>
            </p:cNvPr>
            <p:cNvPicPr/>
            <p:nvPr/>
          </p:nvPicPr>
          <p:blipFill>
            <a:blip r:embed="rId5" cstate="print"/>
            <a:stretch>
              <a:fillRect/>
            </a:stretch>
          </p:blipFill>
          <p:spPr>
            <a:xfrm>
              <a:off x="10021726" y="3335097"/>
              <a:ext cx="106445" cy="107156"/>
            </a:xfrm>
            <a:prstGeom prst="rect">
              <a:avLst/>
            </a:prstGeom>
          </p:spPr>
        </p:pic>
        <p:sp>
          <p:nvSpPr>
            <p:cNvPr id="595" name="object 356">
              <a:extLst>
                <a:ext uri="{FF2B5EF4-FFF2-40B4-BE49-F238E27FC236}">
                  <a16:creationId xmlns:a16="http://schemas.microsoft.com/office/drawing/2014/main" id="{372A0751-5CCD-EA91-E99F-91FDD54DE286}"/>
                </a:ext>
              </a:extLst>
            </p:cNvPr>
            <p:cNvSpPr/>
            <p:nvPr/>
          </p:nvSpPr>
          <p:spPr>
            <a:xfrm>
              <a:off x="9909070" y="2766918"/>
              <a:ext cx="332700" cy="477101"/>
            </a:xfrm>
            <a:custGeom>
              <a:avLst/>
              <a:gdLst/>
              <a:ahLst/>
              <a:cxnLst/>
              <a:rect l="l" t="t" r="r" b="b"/>
              <a:pathLst>
                <a:path w="548640" h="786764">
                  <a:moveTo>
                    <a:pt x="548093" y="520179"/>
                  </a:moveTo>
                  <a:lnTo>
                    <a:pt x="500380" y="524205"/>
                  </a:lnTo>
                  <a:lnTo>
                    <a:pt x="455853" y="535863"/>
                  </a:lnTo>
                  <a:lnTo>
                    <a:pt x="414616" y="554469"/>
                  </a:lnTo>
                  <a:lnTo>
                    <a:pt x="377355" y="579335"/>
                  </a:lnTo>
                  <a:lnTo>
                    <a:pt x="375183" y="581367"/>
                  </a:lnTo>
                  <a:lnTo>
                    <a:pt x="344728" y="609803"/>
                  </a:lnTo>
                  <a:lnTo>
                    <a:pt x="317411" y="645172"/>
                  </a:lnTo>
                  <a:lnTo>
                    <a:pt x="296087" y="684796"/>
                  </a:lnTo>
                  <a:lnTo>
                    <a:pt x="281419" y="727989"/>
                  </a:lnTo>
                  <a:lnTo>
                    <a:pt x="274091" y="774065"/>
                  </a:lnTo>
                  <a:lnTo>
                    <a:pt x="272161" y="761669"/>
                  </a:lnTo>
                  <a:lnTo>
                    <a:pt x="266928" y="727824"/>
                  </a:lnTo>
                  <a:lnTo>
                    <a:pt x="257238" y="699008"/>
                  </a:lnTo>
                  <a:lnTo>
                    <a:pt x="252361" y="684453"/>
                  </a:lnTo>
                  <a:lnTo>
                    <a:pt x="231101" y="644652"/>
                  </a:lnTo>
                  <a:lnTo>
                    <a:pt x="203809" y="609117"/>
                  </a:lnTo>
                  <a:lnTo>
                    <a:pt x="171157" y="578523"/>
                  </a:lnTo>
                  <a:lnTo>
                    <a:pt x="133845" y="553542"/>
                  </a:lnTo>
                  <a:lnTo>
                    <a:pt x="92532" y="534835"/>
                  </a:lnTo>
                  <a:lnTo>
                    <a:pt x="47917" y="523125"/>
                  </a:lnTo>
                  <a:lnTo>
                    <a:pt x="0" y="519074"/>
                  </a:lnTo>
                  <a:lnTo>
                    <a:pt x="5448" y="567245"/>
                  </a:lnTo>
                  <a:lnTo>
                    <a:pt x="18846" y="612508"/>
                  </a:lnTo>
                  <a:lnTo>
                    <a:pt x="39458" y="65413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81" y="654723"/>
                  </a:lnTo>
                  <a:lnTo>
                    <a:pt x="529043" y="613257"/>
                  </a:lnTo>
                  <a:lnTo>
                    <a:pt x="542518" y="568172"/>
                  </a:lnTo>
                  <a:lnTo>
                    <a:pt x="548081" y="520217"/>
                  </a:lnTo>
                  <a:close/>
                </a:path>
                <a:path w="548640" h="786764">
                  <a:moveTo>
                    <a:pt x="548093" y="266611"/>
                  </a:moveTo>
                  <a:lnTo>
                    <a:pt x="500380" y="270649"/>
                  </a:lnTo>
                  <a:lnTo>
                    <a:pt x="455853" y="282308"/>
                  </a:lnTo>
                  <a:lnTo>
                    <a:pt x="414616" y="300901"/>
                  </a:lnTo>
                  <a:lnTo>
                    <a:pt x="377355" y="325780"/>
                  </a:lnTo>
                  <a:lnTo>
                    <a:pt x="344728" y="356247"/>
                  </a:lnTo>
                  <a:lnTo>
                    <a:pt x="317423" y="391629"/>
                  </a:lnTo>
                  <a:lnTo>
                    <a:pt x="296087" y="431253"/>
                  </a:lnTo>
                  <a:lnTo>
                    <a:pt x="281432" y="474446"/>
                  </a:lnTo>
                  <a:lnTo>
                    <a:pt x="274091" y="520534"/>
                  </a:lnTo>
                  <a:lnTo>
                    <a:pt x="266928" y="474256"/>
                  </a:lnTo>
                  <a:lnTo>
                    <a:pt x="252361" y="430885"/>
                  </a:lnTo>
                  <a:lnTo>
                    <a:pt x="231101" y="391096"/>
                  </a:lnTo>
                  <a:lnTo>
                    <a:pt x="203809" y="355561"/>
                  </a:lnTo>
                  <a:lnTo>
                    <a:pt x="171157" y="324967"/>
                  </a:lnTo>
                  <a:lnTo>
                    <a:pt x="133845" y="299986"/>
                  </a:lnTo>
                  <a:lnTo>
                    <a:pt x="92544" y="281292"/>
                  </a:lnTo>
                  <a:lnTo>
                    <a:pt x="47917" y="269582"/>
                  </a:lnTo>
                  <a:lnTo>
                    <a:pt x="12" y="265531"/>
                  </a:lnTo>
                  <a:lnTo>
                    <a:pt x="5461" y="313702"/>
                  </a:lnTo>
                  <a:lnTo>
                    <a:pt x="18859" y="358952"/>
                  </a:lnTo>
                  <a:lnTo>
                    <a:pt x="39471" y="400583"/>
                  </a:lnTo>
                  <a:lnTo>
                    <a:pt x="66560" y="437845"/>
                  </a:lnTo>
                  <a:lnTo>
                    <a:pt x="99402" y="469988"/>
                  </a:lnTo>
                  <a:lnTo>
                    <a:pt x="137261" y="496303"/>
                  </a:lnTo>
                  <a:lnTo>
                    <a:pt x="179387" y="516039"/>
                  </a:lnTo>
                  <a:lnTo>
                    <a:pt x="225056" y="528459"/>
                  </a:lnTo>
                  <a:lnTo>
                    <a:pt x="273532" y="532841"/>
                  </a:lnTo>
                  <a:lnTo>
                    <a:pt x="274751" y="532841"/>
                  </a:lnTo>
                  <a:lnTo>
                    <a:pt x="323100" y="528485"/>
                  </a:lnTo>
                  <a:lnTo>
                    <a:pt x="368655" y="516115"/>
                  </a:lnTo>
                  <a:lnTo>
                    <a:pt x="410692" y="496468"/>
                  </a:lnTo>
                  <a:lnTo>
                    <a:pt x="448475" y="470268"/>
                  </a:lnTo>
                  <a:lnTo>
                    <a:pt x="481279" y="438264"/>
                  </a:lnTo>
                  <a:lnTo>
                    <a:pt x="508381" y="401154"/>
                  </a:lnTo>
                  <a:lnTo>
                    <a:pt x="529031" y="359689"/>
                  </a:lnTo>
                  <a:lnTo>
                    <a:pt x="542505" y="314604"/>
                  </a:lnTo>
                  <a:lnTo>
                    <a:pt x="548093" y="266611"/>
                  </a:lnTo>
                  <a:close/>
                </a:path>
                <a:path w="548640" h="786764">
                  <a:moveTo>
                    <a:pt x="548093" y="1079"/>
                  </a:moveTo>
                  <a:lnTo>
                    <a:pt x="500380" y="5118"/>
                  </a:lnTo>
                  <a:lnTo>
                    <a:pt x="455853" y="16776"/>
                  </a:lnTo>
                  <a:lnTo>
                    <a:pt x="414616" y="35369"/>
                  </a:lnTo>
                  <a:lnTo>
                    <a:pt x="377355" y="60248"/>
                  </a:lnTo>
                  <a:lnTo>
                    <a:pt x="344728" y="90716"/>
                  </a:lnTo>
                  <a:lnTo>
                    <a:pt x="317423" y="126098"/>
                  </a:lnTo>
                  <a:lnTo>
                    <a:pt x="296087" y="165722"/>
                  </a:lnTo>
                  <a:lnTo>
                    <a:pt x="281432" y="208915"/>
                  </a:lnTo>
                  <a:lnTo>
                    <a:pt x="274091" y="255003"/>
                  </a:lnTo>
                  <a:lnTo>
                    <a:pt x="266928" y="208724"/>
                  </a:lnTo>
                  <a:lnTo>
                    <a:pt x="252361" y="165354"/>
                  </a:lnTo>
                  <a:lnTo>
                    <a:pt x="231101" y="125564"/>
                  </a:lnTo>
                  <a:lnTo>
                    <a:pt x="203809" y="90030"/>
                  </a:lnTo>
                  <a:lnTo>
                    <a:pt x="171157" y="59436"/>
                  </a:lnTo>
                  <a:lnTo>
                    <a:pt x="133845" y="34455"/>
                  </a:lnTo>
                  <a:lnTo>
                    <a:pt x="92544" y="15773"/>
                  </a:lnTo>
                  <a:lnTo>
                    <a:pt x="47917" y="4064"/>
                  </a:lnTo>
                  <a:lnTo>
                    <a:pt x="12" y="0"/>
                  </a:lnTo>
                  <a:lnTo>
                    <a:pt x="5461" y="48171"/>
                  </a:lnTo>
                  <a:lnTo>
                    <a:pt x="18859"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92" y="230936"/>
                  </a:lnTo>
                  <a:lnTo>
                    <a:pt x="448475" y="204749"/>
                  </a:lnTo>
                  <a:lnTo>
                    <a:pt x="481279" y="172732"/>
                  </a:lnTo>
                  <a:lnTo>
                    <a:pt x="508381" y="135623"/>
                  </a:lnTo>
                  <a:lnTo>
                    <a:pt x="529031" y="94157"/>
                  </a:lnTo>
                  <a:lnTo>
                    <a:pt x="542505" y="49072"/>
                  </a:lnTo>
                  <a:lnTo>
                    <a:pt x="548093" y="1079"/>
                  </a:lnTo>
                  <a:close/>
                </a:path>
              </a:pathLst>
            </a:custGeom>
            <a:solidFill>
              <a:srgbClr val="7ED3F1"/>
            </a:solidFill>
          </p:spPr>
          <p:txBody>
            <a:bodyPr wrap="square" lIns="0" tIns="0" rIns="0" bIns="0" rtlCol="0"/>
            <a:lstStyle/>
            <a:p>
              <a:endParaRPr dirty="0"/>
            </a:p>
          </p:txBody>
        </p:sp>
        <p:pic>
          <p:nvPicPr>
            <p:cNvPr id="596" name="object 357">
              <a:extLst>
                <a:ext uri="{FF2B5EF4-FFF2-40B4-BE49-F238E27FC236}">
                  <a16:creationId xmlns:a16="http://schemas.microsoft.com/office/drawing/2014/main" id="{C5D3DDEC-51A9-724D-4C43-F8E39ADF228B}"/>
                </a:ext>
              </a:extLst>
            </p:cNvPr>
            <p:cNvPicPr/>
            <p:nvPr/>
          </p:nvPicPr>
          <p:blipFill>
            <a:blip r:embed="rId6" cstate="print"/>
            <a:stretch>
              <a:fillRect/>
            </a:stretch>
          </p:blipFill>
          <p:spPr>
            <a:xfrm>
              <a:off x="10021726" y="2680931"/>
              <a:ext cx="106445" cy="107156"/>
            </a:xfrm>
            <a:prstGeom prst="rect">
              <a:avLst/>
            </a:prstGeom>
          </p:spPr>
        </p:pic>
        <p:sp>
          <p:nvSpPr>
            <p:cNvPr id="597" name="object 358">
              <a:extLst>
                <a:ext uri="{FF2B5EF4-FFF2-40B4-BE49-F238E27FC236}">
                  <a16:creationId xmlns:a16="http://schemas.microsoft.com/office/drawing/2014/main" id="{70BAEBCC-7039-5FCD-9342-AF5B5822CDB5}"/>
                </a:ext>
              </a:extLst>
            </p:cNvPr>
            <p:cNvSpPr/>
            <p:nvPr/>
          </p:nvSpPr>
          <p:spPr>
            <a:xfrm>
              <a:off x="9909070" y="4729423"/>
              <a:ext cx="332700" cy="477101"/>
            </a:xfrm>
            <a:custGeom>
              <a:avLst/>
              <a:gdLst/>
              <a:ahLst/>
              <a:cxnLst/>
              <a:rect l="l" t="t" r="r" b="b"/>
              <a:pathLst>
                <a:path w="548640" h="786765">
                  <a:moveTo>
                    <a:pt x="548093" y="520179"/>
                  </a:moveTo>
                  <a:lnTo>
                    <a:pt x="500380" y="524205"/>
                  </a:lnTo>
                  <a:lnTo>
                    <a:pt x="455853" y="535863"/>
                  </a:lnTo>
                  <a:lnTo>
                    <a:pt x="414616" y="554469"/>
                  </a:lnTo>
                  <a:lnTo>
                    <a:pt x="377355" y="579335"/>
                  </a:lnTo>
                  <a:lnTo>
                    <a:pt x="344716" y="609790"/>
                  </a:lnTo>
                  <a:lnTo>
                    <a:pt x="317411" y="645160"/>
                  </a:lnTo>
                  <a:lnTo>
                    <a:pt x="296087" y="684784"/>
                  </a:lnTo>
                  <a:lnTo>
                    <a:pt x="281419" y="727976"/>
                  </a:lnTo>
                  <a:lnTo>
                    <a:pt x="274091" y="774065"/>
                  </a:lnTo>
                  <a:lnTo>
                    <a:pt x="272973" y="766902"/>
                  </a:lnTo>
                  <a:lnTo>
                    <a:pt x="266928" y="727811"/>
                  </a:lnTo>
                  <a:lnTo>
                    <a:pt x="252361" y="684441"/>
                  </a:lnTo>
                  <a:lnTo>
                    <a:pt x="231101" y="644639"/>
                  </a:lnTo>
                  <a:lnTo>
                    <a:pt x="203809" y="609104"/>
                  </a:lnTo>
                  <a:lnTo>
                    <a:pt x="171157" y="578510"/>
                  </a:lnTo>
                  <a:lnTo>
                    <a:pt x="133845" y="553529"/>
                  </a:lnTo>
                  <a:lnTo>
                    <a:pt x="92544" y="534847"/>
                  </a:lnTo>
                  <a:lnTo>
                    <a:pt x="47917" y="523113"/>
                  </a:lnTo>
                  <a:lnTo>
                    <a:pt x="0" y="519061"/>
                  </a:lnTo>
                  <a:lnTo>
                    <a:pt x="5448" y="567232"/>
                  </a:lnTo>
                  <a:lnTo>
                    <a:pt x="18846" y="612508"/>
                  </a:lnTo>
                  <a:lnTo>
                    <a:pt x="39458" y="654126"/>
                  </a:lnTo>
                  <a:lnTo>
                    <a:pt x="66560" y="691388"/>
                  </a:lnTo>
                  <a:lnTo>
                    <a:pt x="99402" y="723544"/>
                  </a:lnTo>
                  <a:lnTo>
                    <a:pt x="137261" y="749858"/>
                  </a:lnTo>
                  <a:lnTo>
                    <a:pt x="179387" y="769581"/>
                  </a:lnTo>
                  <a:lnTo>
                    <a:pt x="225056" y="782015"/>
                  </a:lnTo>
                  <a:lnTo>
                    <a:pt x="273532" y="786384"/>
                  </a:lnTo>
                  <a:lnTo>
                    <a:pt x="274751" y="786384"/>
                  </a:lnTo>
                  <a:lnTo>
                    <a:pt x="323100" y="782027"/>
                  </a:lnTo>
                  <a:lnTo>
                    <a:pt x="368655" y="769670"/>
                  </a:lnTo>
                  <a:lnTo>
                    <a:pt x="410692" y="750023"/>
                  </a:lnTo>
                  <a:lnTo>
                    <a:pt x="448475" y="723823"/>
                  </a:lnTo>
                  <a:lnTo>
                    <a:pt x="481279" y="691807"/>
                  </a:lnTo>
                  <a:lnTo>
                    <a:pt x="508381" y="654710"/>
                  </a:lnTo>
                  <a:lnTo>
                    <a:pt x="529043" y="613244"/>
                  </a:lnTo>
                  <a:lnTo>
                    <a:pt x="542518" y="568172"/>
                  </a:lnTo>
                  <a:lnTo>
                    <a:pt x="548081" y="520204"/>
                  </a:lnTo>
                  <a:close/>
                </a:path>
                <a:path w="548640" h="786765">
                  <a:moveTo>
                    <a:pt x="548093" y="266611"/>
                  </a:moveTo>
                  <a:lnTo>
                    <a:pt x="500380" y="270649"/>
                  </a:lnTo>
                  <a:lnTo>
                    <a:pt x="455853" y="282308"/>
                  </a:lnTo>
                  <a:lnTo>
                    <a:pt x="414616" y="300901"/>
                  </a:lnTo>
                  <a:lnTo>
                    <a:pt x="377355" y="325767"/>
                  </a:lnTo>
                  <a:lnTo>
                    <a:pt x="344728" y="356235"/>
                  </a:lnTo>
                  <a:lnTo>
                    <a:pt x="317423" y="391617"/>
                  </a:lnTo>
                  <a:lnTo>
                    <a:pt x="296087" y="431241"/>
                  </a:lnTo>
                  <a:lnTo>
                    <a:pt x="281432" y="474433"/>
                  </a:lnTo>
                  <a:lnTo>
                    <a:pt x="274091" y="520522"/>
                  </a:lnTo>
                  <a:lnTo>
                    <a:pt x="266928" y="474243"/>
                  </a:lnTo>
                  <a:lnTo>
                    <a:pt x="252361" y="430872"/>
                  </a:lnTo>
                  <a:lnTo>
                    <a:pt x="231101" y="391083"/>
                  </a:lnTo>
                  <a:lnTo>
                    <a:pt x="203809" y="355549"/>
                  </a:lnTo>
                  <a:lnTo>
                    <a:pt x="171157" y="324954"/>
                  </a:lnTo>
                  <a:lnTo>
                    <a:pt x="133845" y="299974"/>
                  </a:lnTo>
                  <a:lnTo>
                    <a:pt x="92544" y="281292"/>
                  </a:lnTo>
                  <a:lnTo>
                    <a:pt x="47917" y="269582"/>
                  </a:lnTo>
                  <a:lnTo>
                    <a:pt x="12" y="265518"/>
                  </a:lnTo>
                  <a:lnTo>
                    <a:pt x="5461" y="313690"/>
                  </a:lnTo>
                  <a:lnTo>
                    <a:pt x="18859" y="358952"/>
                  </a:lnTo>
                  <a:lnTo>
                    <a:pt x="39471" y="400570"/>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92" y="496455"/>
                  </a:lnTo>
                  <a:lnTo>
                    <a:pt x="448475" y="470268"/>
                  </a:lnTo>
                  <a:lnTo>
                    <a:pt x="481279" y="438251"/>
                  </a:lnTo>
                  <a:lnTo>
                    <a:pt x="508381" y="401154"/>
                  </a:lnTo>
                  <a:lnTo>
                    <a:pt x="529031" y="359689"/>
                  </a:lnTo>
                  <a:lnTo>
                    <a:pt x="542505" y="314604"/>
                  </a:lnTo>
                  <a:lnTo>
                    <a:pt x="548093" y="266611"/>
                  </a:lnTo>
                  <a:close/>
                </a:path>
                <a:path w="548640" h="786765">
                  <a:moveTo>
                    <a:pt x="548093" y="1079"/>
                  </a:moveTo>
                  <a:lnTo>
                    <a:pt x="500380" y="5105"/>
                  </a:lnTo>
                  <a:lnTo>
                    <a:pt x="455853" y="16764"/>
                  </a:lnTo>
                  <a:lnTo>
                    <a:pt x="414616" y="35369"/>
                  </a:lnTo>
                  <a:lnTo>
                    <a:pt x="377355" y="60236"/>
                  </a:lnTo>
                  <a:lnTo>
                    <a:pt x="344728" y="90703"/>
                  </a:lnTo>
                  <a:lnTo>
                    <a:pt x="317423" y="126085"/>
                  </a:lnTo>
                  <a:lnTo>
                    <a:pt x="296087" y="165709"/>
                  </a:lnTo>
                  <a:lnTo>
                    <a:pt x="281432" y="208902"/>
                  </a:lnTo>
                  <a:lnTo>
                    <a:pt x="274091" y="254990"/>
                  </a:lnTo>
                  <a:lnTo>
                    <a:pt x="266928"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59" y="93421"/>
                  </a:lnTo>
                  <a:lnTo>
                    <a:pt x="39471" y="135039"/>
                  </a:lnTo>
                  <a:lnTo>
                    <a:pt x="66560" y="172300"/>
                  </a:lnTo>
                  <a:lnTo>
                    <a:pt x="99402" y="204444"/>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24"/>
                  </a:lnTo>
                  <a:lnTo>
                    <a:pt x="481279" y="172720"/>
                  </a:lnTo>
                  <a:lnTo>
                    <a:pt x="508381" y="135610"/>
                  </a:lnTo>
                  <a:lnTo>
                    <a:pt x="529031" y="94157"/>
                  </a:lnTo>
                  <a:lnTo>
                    <a:pt x="542505" y="49060"/>
                  </a:lnTo>
                  <a:lnTo>
                    <a:pt x="548093" y="1079"/>
                  </a:lnTo>
                  <a:close/>
                </a:path>
              </a:pathLst>
            </a:custGeom>
            <a:solidFill>
              <a:srgbClr val="2DB7EA"/>
            </a:solidFill>
          </p:spPr>
          <p:txBody>
            <a:bodyPr wrap="square" lIns="0" tIns="0" rIns="0" bIns="0" rtlCol="0"/>
            <a:lstStyle/>
            <a:p>
              <a:endParaRPr dirty="0"/>
            </a:p>
          </p:txBody>
        </p:sp>
        <p:pic>
          <p:nvPicPr>
            <p:cNvPr id="598" name="object 359">
              <a:extLst>
                <a:ext uri="{FF2B5EF4-FFF2-40B4-BE49-F238E27FC236}">
                  <a16:creationId xmlns:a16="http://schemas.microsoft.com/office/drawing/2014/main" id="{EF016469-40A2-DE5D-D322-0703A7FD346F}"/>
                </a:ext>
              </a:extLst>
            </p:cNvPr>
            <p:cNvPicPr/>
            <p:nvPr/>
          </p:nvPicPr>
          <p:blipFill>
            <a:blip r:embed="rId5" cstate="print"/>
            <a:stretch>
              <a:fillRect/>
            </a:stretch>
          </p:blipFill>
          <p:spPr>
            <a:xfrm>
              <a:off x="10021726" y="4643430"/>
              <a:ext cx="106445" cy="107156"/>
            </a:xfrm>
            <a:prstGeom prst="rect">
              <a:avLst/>
            </a:prstGeom>
          </p:spPr>
        </p:pic>
        <p:sp>
          <p:nvSpPr>
            <p:cNvPr id="599" name="object 360">
              <a:extLst>
                <a:ext uri="{FF2B5EF4-FFF2-40B4-BE49-F238E27FC236}">
                  <a16:creationId xmlns:a16="http://schemas.microsoft.com/office/drawing/2014/main" id="{4EDE46EE-5075-51C2-C066-E22F5AD4D505}"/>
                </a:ext>
              </a:extLst>
            </p:cNvPr>
            <p:cNvSpPr/>
            <p:nvPr/>
          </p:nvSpPr>
          <p:spPr>
            <a:xfrm>
              <a:off x="9909070" y="4075252"/>
              <a:ext cx="332700" cy="477101"/>
            </a:xfrm>
            <a:custGeom>
              <a:avLst/>
              <a:gdLst/>
              <a:ahLst/>
              <a:cxnLst/>
              <a:rect l="l" t="t" r="r" b="b"/>
              <a:pathLst>
                <a:path w="548640" h="786765">
                  <a:moveTo>
                    <a:pt x="548093" y="520179"/>
                  </a:moveTo>
                  <a:lnTo>
                    <a:pt x="500380" y="524217"/>
                  </a:lnTo>
                  <a:lnTo>
                    <a:pt x="455853" y="535876"/>
                  </a:lnTo>
                  <a:lnTo>
                    <a:pt x="414616" y="554469"/>
                  </a:lnTo>
                  <a:lnTo>
                    <a:pt x="392252" y="569391"/>
                  </a:lnTo>
                  <a:lnTo>
                    <a:pt x="377355" y="579335"/>
                  </a:lnTo>
                  <a:lnTo>
                    <a:pt x="344728" y="609803"/>
                  </a:lnTo>
                  <a:lnTo>
                    <a:pt x="317411" y="645172"/>
                  </a:lnTo>
                  <a:lnTo>
                    <a:pt x="296087" y="684796"/>
                  </a:lnTo>
                  <a:lnTo>
                    <a:pt x="281419" y="727976"/>
                  </a:lnTo>
                  <a:lnTo>
                    <a:pt x="274091" y="774065"/>
                  </a:lnTo>
                  <a:lnTo>
                    <a:pt x="272161" y="761669"/>
                  </a:lnTo>
                  <a:lnTo>
                    <a:pt x="266928" y="727824"/>
                  </a:lnTo>
                  <a:lnTo>
                    <a:pt x="252361" y="684441"/>
                  </a:lnTo>
                  <a:lnTo>
                    <a:pt x="231101" y="644652"/>
                  </a:lnTo>
                  <a:lnTo>
                    <a:pt x="203809" y="609117"/>
                  </a:lnTo>
                  <a:lnTo>
                    <a:pt x="187998" y="594321"/>
                  </a:lnTo>
                  <a:lnTo>
                    <a:pt x="171157" y="578523"/>
                  </a:lnTo>
                  <a:lnTo>
                    <a:pt x="133845" y="553542"/>
                  </a:lnTo>
                  <a:lnTo>
                    <a:pt x="92532" y="534835"/>
                  </a:lnTo>
                  <a:lnTo>
                    <a:pt x="47917" y="523125"/>
                  </a:lnTo>
                  <a:lnTo>
                    <a:pt x="0" y="519074"/>
                  </a:lnTo>
                  <a:lnTo>
                    <a:pt x="5448" y="567245"/>
                  </a:lnTo>
                  <a:lnTo>
                    <a:pt x="18846" y="612508"/>
                  </a:lnTo>
                  <a:lnTo>
                    <a:pt x="39458" y="65413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81" y="654723"/>
                  </a:lnTo>
                  <a:lnTo>
                    <a:pt x="529043" y="613257"/>
                  </a:lnTo>
                  <a:lnTo>
                    <a:pt x="542518" y="568172"/>
                  </a:lnTo>
                  <a:lnTo>
                    <a:pt x="548081" y="520217"/>
                  </a:lnTo>
                  <a:close/>
                </a:path>
                <a:path w="548640" h="786765">
                  <a:moveTo>
                    <a:pt x="548093" y="266623"/>
                  </a:moveTo>
                  <a:lnTo>
                    <a:pt x="500380" y="270662"/>
                  </a:lnTo>
                  <a:lnTo>
                    <a:pt x="455853" y="282308"/>
                  </a:lnTo>
                  <a:lnTo>
                    <a:pt x="414616" y="300913"/>
                  </a:lnTo>
                  <a:lnTo>
                    <a:pt x="377355" y="325780"/>
                  </a:lnTo>
                  <a:lnTo>
                    <a:pt x="344728" y="356247"/>
                  </a:lnTo>
                  <a:lnTo>
                    <a:pt x="317423" y="391629"/>
                  </a:lnTo>
                  <a:lnTo>
                    <a:pt x="296087" y="431253"/>
                  </a:lnTo>
                  <a:lnTo>
                    <a:pt x="281432" y="474446"/>
                  </a:lnTo>
                  <a:lnTo>
                    <a:pt x="274091" y="520534"/>
                  </a:lnTo>
                  <a:lnTo>
                    <a:pt x="266928" y="474256"/>
                  </a:lnTo>
                  <a:lnTo>
                    <a:pt x="252361" y="430885"/>
                  </a:lnTo>
                  <a:lnTo>
                    <a:pt x="231101" y="391096"/>
                  </a:lnTo>
                  <a:lnTo>
                    <a:pt x="203809" y="355561"/>
                  </a:lnTo>
                  <a:lnTo>
                    <a:pt x="171157" y="324954"/>
                  </a:lnTo>
                  <a:lnTo>
                    <a:pt x="133845" y="299974"/>
                  </a:lnTo>
                  <a:lnTo>
                    <a:pt x="92544" y="281292"/>
                  </a:lnTo>
                  <a:lnTo>
                    <a:pt x="47917" y="269582"/>
                  </a:lnTo>
                  <a:lnTo>
                    <a:pt x="12" y="265531"/>
                  </a:lnTo>
                  <a:lnTo>
                    <a:pt x="5461" y="313690"/>
                  </a:lnTo>
                  <a:lnTo>
                    <a:pt x="18859" y="358952"/>
                  </a:lnTo>
                  <a:lnTo>
                    <a:pt x="39471" y="400583"/>
                  </a:lnTo>
                  <a:lnTo>
                    <a:pt x="66560" y="437832"/>
                  </a:lnTo>
                  <a:lnTo>
                    <a:pt x="99402" y="469988"/>
                  </a:lnTo>
                  <a:lnTo>
                    <a:pt x="137261" y="496303"/>
                  </a:lnTo>
                  <a:lnTo>
                    <a:pt x="179387" y="516039"/>
                  </a:lnTo>
                  <a:lnTo>
                    <a:pt x="225056" y="528459"/>
                  </a:lnTo>
                  <a:lnTo>
                    <a:pt x="273532" y="532828"/>
                  </a:lnTo>
                  <a:lnTo>
                    <a:pt x="274751" y="532828"/>
                  </a:lnTo>
                  <a:lnTo>
                    <a:pt x="323100" y="528472"/>
                  </a:lnTo>
                  <a:lnTo>
                    <a:pt x="368655" y="516115"/>
                  </a:lnTo>
                  <a:lnTo>
                    <a:pt x="410692" y="496468"/>
                  </a:lnTo>
                  <a:lnTo>
                    <a:pt x="448475" y="470268"/>
                  </a:lnTo>
                  <a:lnTo>
                    <a:pt x="481279" y="438264"/>
                  </a:lnTo>
                  <a:lnTo>
                    <a:pt x="508381" y="401154"/>
                  </a:lnTo>
                  <a:lnTo>
                    <a:pt x="529031" y="359702"/>
                  </a:lnTo>
                  <a:lnTo>
                    <a:pt x="542505" y="314604"/>
                  </a:lnTo>
                  <a:lnTo>
                    <a:pt x="548093" y="266623"/>
                  </a:lnTo>
                  <a:close/>
                </a:path>
                <a:path w="548640" h="786765">
                  <a:moveTo>
                    <a:pt x="548093" y="1092"/>
                  </a:moveTo>
                  <a:lnTo>
                    <a:pt x="500380" y="5130"/>
                  </a:lnTo>
                  <a:lnTo>
                    <a:pt x="455853" y="16776"/>
                  </a:lnTo>
                  <a:lnTo>
                    <a:pt x="414616" y="35382"/>
                  </a:lnTo>
                  <a:lnTo>
                    <a:pt x="377355" y="60248"/>
                  </a:lnTo>
                  <a:lnTo>
                    <a:pt x="344728" y="90716"/>
                  </a:lnTo>
                  <a:lnTo>
                    <a:pt x="317423" y="126098"/>
                  </a:lnTo>
                  <a:lnTo>
                    <a:pt x="296087" y="165722"/>
                  </a:lnTo>
                  <a:lnTo>
                    <a:pt x="281432" y="208915"/>
                  </a:lnTo>
                  <a:lnTo>
                    <a:pt x="274091" y="255003"/>
                  </a:lnTo>
                  <a:lnTo>
                    <a:pt x="266928" y="208724"/>
                  </a:lnTo>
                  <a:lnTo>
                    <a:pt x="252361" y="165354"/>
                  </a:lnTo>
                  <a:lnTo>
                    <a:pt x="231101" y="125564"/>
                  </a:lnTo>
                  <a:lnTo>
                    <a:pt x="203809" y="90030"/>
                  </a:lnTo>
                  <a:lnTo>
                    <a:pt x="171157" y="59436"/>
                  </a:lnTo>
                  <a:lnTo>
                    <a:pt x="133845" y="34455"/>
                  </a:lnTo>
                  <a:lnTo>
                    <a:pt x="92544" y="15760"/>
                  </a:lnTo>
                  <a:lnTo>
                    <a:pt x="47917" y="4051"/>
                  </a:lnTo>
                  <a:lnTo>
                    <a:pt x="12" y="0"/>
                  </a:lnTo>
                  <a:lnTo>
                    <a:pt x="5461" y="48158"/>
                  </a:lnTo>
                  <a:lnTo>
                    <a:pt x="18859" y="93421"/>
                  </a:lnTo>
                  <a:lnTo>
                    <a:pt x="39471" y="135051"/>
                  </a:lnTo>
                  <a:lnTo>
                    <a:pt x="66560" y="172300"/>
                  </a:lnTo>
                  <a:lnTo>
                    <a:pt x="99402" y="204457"/>
                  </a:lnTo>
                  <a:lnTo>
                    <a:pt x="137261" y="230771"/>
                  </a:lnTo>
                  <a:lnTo>
                    <a:pt x="179387" y="250494"/>
                  </a:lnTo>
                  <a:lnTo>
                    <a:pt x="225056" y="262928"/>
                  </a:lnTo>
                  <a:lnTo>
                    <a:pt x="273532" y="267309"/>
                  </a:lnTo>
                  <a:lnTo>
                    <a:pt x="274751" y="267309"/>
                  </a:lnTo>
                  <a:lnTo>
                    <a:pt x="323100" y="262940"/>
                  </a:lnTo>
                  <a:lnTo>
                    <a:pt x="368655" y="250583"/>
                  </a:lnTo>
                  <a:lnTo>
                    <a:pt x="410692" y="230936"/>
                  </a:lnTo>
                  <a:lnTo>
                    <a:pt x="448475" y="204736"/>
                  </a:lnTo>
                  <a:lnTo>
                    <a:pt x="481279" y="172720"/>
                  </a:lnTo>
                  <a:lnTo>
                    <a:pt x="508381" y="135623"/>
                  </a:lnTo>
                  <a:lnTo>
                    <a:pt x="529031" y="94170"/>
                  </a:lnTo>
                  <a:lnTo>
                    <a:pt x="542505" y="49072"/>
                  </a:lnTo>
                  <a:lnTo>
                    <a:pt x="548093" y="1092"/>
                  </a:lnTo>
                  <a:close/>
                </a:path>
              </a:pathLst>
            </a:custGeom>
            <a:solidFill>
              <a:srgbClr val="7ED3F1"/>
            </a:solidFill>
          </p:spPr>
          <p:txBody>
            <a:bodyPr wrap="square" lIns="0" tIns="0" rIns="0" bIns="0" rtlCol="0"/>
            <a:lstStyle/>
            <a:p>
              <a:endParaRPr dirty="0"/>
            </a:p>
          </p:txBody>
        </p:sp>
        <p:pic>
          <p:nvPicPr>
            <p:cNvPr id="600" name="object 361">
              <a:extLst>
                <a:ext uri="{FF2B5EF4-FFF2-40B4-BE49-F238E27FC236}">
                  <a16:creationId xmlns:a16="http://schemas.microsoft.com/office/drawing/2014/main" id="{1B6E2399-86C9-39FB-4BB0-400220F1565A}"/>
                </a:ext>
              </a:extLst>
            </p:cNvPr>
            <p:cNvPicPr/>
            <p:nvPr/>
          </p:nvPicPr>
          <p:blipFill>
            <a:blip r:embed="rId6" cstate="print"/>
            <a:stretch>
              <a:fillRect/>
            </a:stretch>
          </p:blipFill>
          <p:spPr>
            <a:xfrm>
              <a:off x="10021726" y="3989263"/>
              <a:ext cx="106445" cy="107156"/>
            </a:xfrm>
            <a:prstGeom prst="rect">
              <a:avLst/>
            </a:prstGeom>
          </p:spPr>
        </p:pic>
        <p:sp>
          <p:nvSpPr>
            <p:cNvPr id="601" name="object 362">
              <a:extLst>
                <a:ext uri="{FF2B5EF4-FFF2-40B4-BE49-F238E27FC236}">
                  <a16:creationId xmlns:a16="http://schemas.microsoft.com/office/drawing/2014/main" id="{211CBA79-97B2-1B06-C5E3-A09DDC856D96}"/>
                </a:ext>
              </a:extLst>
            </p:cNvPr>
            <p:cNvSpPr/>
            <p:nvPr/>
          </p:nvSpPr>
          <p:spPr>
            <a:xfrm>
              <a:off x="9523993" y="3862863"/>
              <a:ext cx="332700" cy="477101"/>
            </a:xfrm>
            <a:custGeom>
              <a:avLst/>
              <a:gdLst/>
              <a:ahLst/>
              <a:cxnLst/>
              <a:rect l="l" t="t" r="r" b="b"/>
              <a:pathLst>
                <a:path w="548640" h="786765">
                  <a:moveTo>
                    <a:pt x="548081" y="786396"/>
                  </a:moveTo>
                  <a:lnTo>
                    <a:pt x="542632" y="738238"/>
                  </a:lnTo>
                  <a:lnTo>
                    <a:pt x="529234" y="692975"/>
                  </a:lnTo>
                  <a:lnTo>
                    <a:pt x="508622" y="651344"/>
                  </a:lnTo>
                  <a:lnTo>
                    <a:pt x="481520" y="614083"/>
                  </a:lnTo>
                  <a:lnTo>
                    <a:pt x="448678" y="581939"/>
                  </a:lnTo>
                  <a:lnTo>
                    <a:pt x="410832" y="555625"/>
                  </a:lnTo>
                  <a:lnTo>
                    <a:pt x="368693" y="535889"/>
                  </a:lnTo>
                  <a:lnTo>
                    <a:pt x="323024" y="523468"/>
                  </a:lnTo>
                  <a:lnTo>
                    <a:pt x="274561" y="519099"/>
                  </a:lnTo>
                  <a:lnTo>
                    <a:pt x="273329" y="519099"/>
                  </a:lnTo>
                  <a:lnTo>
                    <a:pt x="224993" y="523455"/>
                  </a:lnTo>
                  <a:lnTo>
                    <a:pt x="179438" y="535813"/>
                  </a:lnTo>
                  <a:lnTo>
                    <a:pt x="137401" y="555459"/>
                  </a:lnTo>
                  <a:lnTo>
                    <a:pt x="99606" y="581660"/>
                  </a:lnTo>
                  <a:lnTo>
                    <a:pt x="66802" y="613664"/>
                  </a:lnTo>
                  <a:lnTo>
                    <a:pt x="39712" y="650773"/>
                  </a:lnTo>
                  <a:lnTo>
                    <a:pt x="19062" y="692226"/>
                  </a:lnTo>
                  <a:lnTo>
                    <a:pt x="5575" y="737323"/>
                  </a:lnTo>
                  <a:lnTo>
                    <a:pt x="0" y="785304"/>
                  </a:lnTo>
                  <a:lnTo>
                    <a:pt x="47713" y="781265"/>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35"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78" y="316407"/>
                  </a:lnTo>
                  <a:lnTo>
                    <a:pt x="410832" y="290106"/>
                  </a:lnTo>
                  <a:lnTo>
                    <a:pt x="368693" y="270370"/>
                  </a:lnTo>
                  <a:lnTo>
                    <a:pt x="323024" y="257949"/>
                  </a:lnTo>
                  <a:lnTo>
                    <a:pt x="274561" y="253568"/>
                  </a:lnTo>
                  <a:lnTo>
                    <a:pt x="273329" y="253568"/>
                  </a:lnTo>
                  <a:lnTo>
                    <a:pt x="224993" y="257924"/>
                  </a:lnTo>
                  <a:lnTo>
                    <a:pt x="179438" y="270294"/>
                  </a:lnTo>
                  <a:lnTo>
                    <a:pt x="137401" y="289941"/>
                  </a:lnTo>
                  <a:lnTo>
                    <a:pt x="99606" y="316128"/>
                  </a:lnTo>
                  <a:lnTo>
                    <a:pt x="66802" y="348145"/>
                  </a:lnTo>
                  <a:lnTo>
                    <a:pt x="39712" y="385241"/>
                  </a:lnTo>
                  <a:lnTo>
                    <a:pt x="19062" y="426707"/>
                  </a:lnTo>
                  <a:lnTo>
                    <a:pt x="5575" y="471792"/>
                  </a:lnTo>
                  <a:lnTo>
                    <a:pt x="0" y="519785"/>
                  </a:lnTo>
                  <a:lnTo>
                    <a:pt x="47713" y="515747"/>
                  </a:lnTo>
                  <a:lnTo>
                    <a:pt x="92240" y="504101"/>
                  </a:lnTo>
                  <a:lnTo>
                    <a:pt x="133464" y="485495"/>
                  </a:lnTo>
                  <a:lnTo>
                    <a:pt x="170738" y="460629"/>
                  </a:lnTo>
                  <a:lnTo>
                    <a:pt x="203352" y="430161"/>
                  </a:lnTo>
                  <a:lnTo>
                    <a:pt x="230670" y="394779"/>
                  </a:lnTo>
                  <a:lnTo>
                    <a:pt x="251993" y="355142"/>
                  </a:lnTo>
                  <a:lnTo>
                    <a:pt x="266661" y="311950"/>
                  </a:lnTo>
                  <a:lnTo>
                    <a:pt x="273989" y="265874"/>
                  </a:lnTo>
                  <a:lnTo>
                    <a:pt x="281165" y="312140"/>
                  </a:lnTo>
                  <a:lnTo>
                    <a:pt x="295719" y="355511"/>
                  </a:lnTo>
                  <a:lnTo>
                    <a:pt x="316992" y="395300"/>
                  </a:lnTo>
                  <a:lnTo>
                    <a:pt x="344284" y="430847"/>
                  </a:lnTo>
                  <a:lnTo>
                    <a:pt x="376923" y="461441"/>
                  </a:lnTo>
                  <a:lnTo>
                    <a:pt x="414235" y="486422"/>
                  </a:lnTo>
                  <a:lnTo>
                    <a:pt x="455549" y="505104"/>
                  </a:lnTo>
                  <a:lnTo>
                    <a:pt x="500164" y="516813"/>
                  </a:lnTo>
                  <a:lnTo>
                    <a:pt x="548081" y="520865"/>
                  </a:lnTo>
                  <a:close/>
                </a:path>
                <a:path w="548640" h="786765">
                  <a:moveTo>
                    <a:pt x="548081" y="267322"/>
                  </a:moveTo>
                  <a:lnTo>
                    <a:pt x="542632" y="219151"/>
                  </a:lnTo>
                  <a:lnTo>
                    <a:pt x="529234" y="173888"/>
                  </a:lnTo>
                  <a:lnTo>
                    <a:pt x="508622" y="132257"/>
                  </a:lnTo>
                  <a:lnTo>
                    <a:pt x="481533" y="95008"/>
                  </a:lnTo>
                  <a:lnTo>
                    <a:pt x="480834" y="94335"/>
                  </a:lnTo>
                  <a:lnTo>
                    <a:pt x="448691" y="62852"/>
                  </a:lnTo>
                  <a:lnTo>
                    <a:pt x="433158" y="52070"/>
                  </a:lnTo>
                  <a:lnTo>
                    <a:pt x="410832" y="36550"/>
                  </a:lnTo>
                  <a:lnTo>
                    <a:pt x="368693" y="16802"/>
                  </a:lnTo>
                  <a:lnTo>
                    <a:pt x="323024" y="4381"/>
                  </a:lnTo>
                  <a:lnTo>
                    <a:pt x="274561" y="0"/>
                  </a:lnTo>
                  <a:lnTo>
                    <a:pt x="273329" y="0"/>
                  </a:lnTo>
                  <a:lnTo>
                    <a:pt x="224993" y="4356"/>
                  </a:lnTo>
                  <a:lnTo>
                    <a:pt x="179438" y="16725"/>
                  </a:lnTo>
                  <a:lnTo>
                    <a:pt x="137401" y="36372"/>
                  </a:lnTo>
                  <a:lnTo>
                    <a:pt x="99606" y="62560"/>
                  </a:lnTo>
                  <a:lnTo>
                    <a:pt x="66802" y="94576"/>
                  </a:lnTo>
                  <a:lnTo>
                    <a:pt x="39687" y="131686"/>
                  </a:lnTo>
                  <a:lnTo>
                    <a:pt x="19037" y="173139"/>
                  </a:lnTo>
                  <a:lnTo>
                    <a:pt x="5562" y="218224"/>
                  </a:lnTo>
                  <a:lnTo>
                    <a:pt x="0" y="266192"/>
                  </a:lnTo>
                  <a:lnTo>
                    <a:pt x="47713" y="262178"/>
                  </a:lnTo>
                  <a:lnTo>
                    <a:pt x="92240" y="250520"/>
                  </a:lnTo>
                  <a:lnTo>
                    <a:pt x="133464" y="231927"/>
                  </a:lnTo>
                  <a:lnTo>
                    <a:pt x="170738" y="207060"/>
                  </a:lnTo>
                  <a:lnTo>
                    <a:pt x="203365" y="176593"/>
                  </a:lnTo>
                  <a:lnTo>
                    <a:pt x="230670" y="141224"/>
                  </a:lnTo>
                  <a:lnTo>
                    <a:pt x="252006" y="101600"/>
                  </a:lnTo>
                  <a:lnTo>
                    <a:pt x="266661" y="58420"/>
                  </a:lnTo>
                  <a:lnTo>
                    <a:pt x="273989" y="12369"/>
                  </a:lnTo>
                  <a:lnTo>
                    <a:pt x="279844" y="50101"/>
                  </a:lnTo>
                  <a:lnTo>
                    <a:pt x="295719" y="101955"/>
                  </a:lnTo>
                  <a:lnTo>
                    <a:pt x="316992" y="141744"/>
                  </a:lnTo>
                  <a:lnTo>
                    <a:pt x="344284" y="177279"/>
                  </a:lnTo>
                  <a:lnTo>
                    <a:pt x="376923" y="207886"/>
                  </a:lnTo>
                  <a:lnTo>
                    <a:pt x="414248" y="232867"/>
                  </a:lnTo>
                  <a:lnTo>
                    <a:pt x="455549" y="251561"/>
                  </a:lnTo>
                  <a:lnTo>
                    <a:pt x="500176" y="263271"/>
                  </a:lnTo>
                  <a:lnTo>
                    <a:pt x="548081" y="267322"/>
                  </a:lnTo>
                  <a:close/>
                </a:path>
              </a:pathLst>
            </a:custGeom>
            <a:solidFill>
              <a:srgbClr val="2DB7EA"/>
            </a:solidFill>
          </p:spPr>
          <p:txBody>
            <a:bodyPr wrap="square" lIns="0" tIns="0" rIns="0" bIns="0" rtlCol="0"/>
            <a:lstStyle/>
            <a:p>
              <a:endParaRPr dirty="0"/>
            </a:p>
          </p:txBody>
        </p:sp>
        <p:pic>
          <p:nvPicPr>
            <p:cNvPr id="602" name="object 363">
              <a:extLst>
                <a:ext uri="{FF2B5EF4-FFF2-40B4-BE49-F238E27FC236}">
                  <a16:creationId xmlns:a16="http://schemas.microsoft.com/office/drawing/2014/main" id="{923AC69D-B65D-057A-B5FF-24CF406A7DF6}"/>
                </a:ext>
              </a:extLst>
            </p:cNvPr>
            <p:cNvPicPr/>
            <p:nvPr/>
          </p:nvPicPr>
          <p:blipFill>
            <a:blip r:embed="rId8" cstate="print"/>
            <a:stretch>
              <a:fillRect/>
            </a:stretch>
          </p:blipFill>
          <p:spPr>
            <a:xfrm>
              <a:off x="9637261" y="4318566"/>
              <a:ext cx="106445" cy="107156"/>
            </a:xfrm>
            <a:prstGeom prst="rect">
              <a:avLst/>
            </a:prstGeom>
          </p:spPr>
        </p:pic>
        <p:sp>
          <p:nvSpPr>
            <p:cNvPr id="603" name="object 364">
              <a:extLst>
                <a:ext uri="{FF2B5EF4-FFF2-40B4-BE49-F238E27FC236}">
                  <a16:creationId xmlns:a16="http://schemas.microsoft.com/office/drawing/2014/main" id="{3E243854-2833-068B-AEAA-C0761FC09F2B}"/>
                </a:ext>
              </a:extLst>
            </p:cNvPr>
            <p:cNvSpPr/>
            <p:nvPr/>
          </p:nvSpPr>
          <p:spPr>
            <a:xfrm>
              <a:off x="9523993" y="4517034"/>
              <a:ext cx="332700" cy="477101"/>
            </a:xfrm>
            <a:custGeom>
              <a:avLst/>
              <a:gdLst/>
              <a:ahLst/>
              <a:cxnLst/>
              <a:rect l="l" t="t" r="r" b="b"/>
              <a:pathLst>
                <a:path w="548640" h="786765">
                  <a:moveTo>
                    <a:pt x="548081" y="786384"/>
                  </a:moveTo>
                  <a:lnTo>
                    <a:pt x="542632" y="738225"/>
                  </a:lnTo>
                  <a:lnTo>
                    <a:pt x="529234" y="692962"/>
                  </a:lnTo>
                  <a:lnTo>
                    <a:pt x="508622" y="651332"/>
                  </a:lnTo>
                  <a:lnTo>
                    <a:pt x="481520" y="614083"/>
                  </a:lnTo>
                  <a:lnTo>
                    <a:pt x="448678" y="581926"/>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47"/>
                  </a:lnTo>
                  <a:lnTo>
                    <a:pt x="66802" y="613664"/>
                  </a:lnTo>
                  <a:lnTo>
                    <a:pt x="39712" y="650760"/>
                  </a:lnTo>
                  <a:lnTo>
                    <a:pt x="19062" y="692226"/>
                  </a:lnTo>
                  <a:lnTo>
                    <a:pt x="5575" y="737323"/>
                  </a:lnTo>
                  <a:lnTo>
                    <a:pt x="0" y="785304"/>
                  </a:lnTo>
                  <a:lnTo>
                    <a:pt x="47713" y="781265"/>
                  </a:lnTo>
                  <a:lnTo>
                    <a:pt x="92240" y="769620"/>
                  </a:lnTo>
                  <a:lnTo>
                    <a:pt x="133464" y="751014"/>
                  </a:lnTo>
                  <a:lnTo>
                    <a:pt x="170738" y="726147"/>
                  </a:lnTo>
                  <a:lnTo>
                    <a:pt x="203352" y="695680"/>
                  </a:lnTo>
                  <a:lnTo>
                    <a:pt x="230670" y="660298"/>
                  </a:lnTo>
                  <a:lnTo>
                    <a:pt x="251993" y="620674"/>
                  </a:lnTo>
                  <a:lnTo>
                    <a:pt x="266661" y="577469"/>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5">
                  <a:moveTo>
                    <a:pt x="548081" y="520852"/>
                  </a:moveTo>
                  <a:lnTo>
                    <a:pt x="542632" y="472694"/>
                  </a:lnTo>
                  <a:lnTo>
                    <a:pt x="529234" y="427431"/>
                  </a:lnTo>
                  <a:lnTo>
                    <a:pt x="508622" y="385813"/>
                  </a:lnTo>
                  <a:lnTo>
                    <a:pt x="481520" y="348551"/>
                  </a:lnTo>
                  <a:lnTo>
                    <a:pt x="448678" y="316407"/>
                  </a:lnTo>
                  <a:lnTo>
                    <a:pt x="410832" y="290093"/>
                  </a:lnTo>
                  <a:lnTo>
                    <a:pt x="368693" y="270357"/>
                  </a:lnTo>
                  <a:lnTo>
                    <a:pt x="323024" y="257937"/>
                  </a:lnTo>
                  <a:lnTo>
                    <a:pt x="274561" y="253555"/>
                  </a:lnTo>
                  <a:lnTo>
                    <a:pt x="273329" y="253555"/>
                  </a:lnTo>
                  <a:lnTo>
                    <a:pt x="224993" y="257911"/>
                  </a:lnTo>
                  <a:lnTo>
                    <a:pt x="179438" y="270281"/>
                  </a:lnTo>
                  <a:lnTo>
                    <a:pt x="137401" y="289928"/>
                  </a:lnTo>
                  <a:lnTo>
                    <a:pt x="99606" y="316128"/>
                  </a:lnTo>
                  <a:lnTo>
                    <a:pt x="66802" y="348132"/>
                  </a:lnTo>
                  <a:lnTo>
                    <a:pt x="39712" y="385241"/>
                  </a:lnTo>
                  <a:lnTo>
                    <a:pt x="19062" y="426694"/>
                  </a:lnTo>
                  <a:lnTo>
                    <a:pt x="5575" y="471779"/>
                  </a:lnTo>
                  <a:lnTo>
                    <a:pt x="0" y="519772"/>
                  </a:lnTo>
                  <a:lnTo>
                    <a:pt x="47713" y="515734"/>
                  </a:lnTo>
                  <a:lnTo>
                    <a:pt x="92240" y="504075"/>
                  </a:lnTo>
                  <a:lnTo>
                    <a:pt x="133464" y="485482"/>
                  </a:lnTo>
                  <a:lnTo>
                    <a:pt x="170738" y="460616"/>
                  </a:lnTo>
                  <a:lnTo>
                    <a:pt x="203352"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35" y="486410"/>
                  </a:lnTo>
                  <a:lnTo>
                    <a:pt x="455549" y="505091"/>
                  </a:lnTo>
                  <a:lnTo>
                    <a:pt x="500164" y="516801"/>
                  </a:lnTo>
                  <a:lnTo>
                    <a:pt x="548081" y="520852"/>
                  </a:lnTo>
                  <a:close/>
                </a:path>
                <a:path w="548640" h="786765">
                  <a:moveTo>
                    <a:pt x="548081" y="267322"/>
                  </a:moveTo>
                  <a:lnTo>
                    <a:pt x="542632" y="219151"/>
                  </a:lnTo>
                  <a:lnTo>
                    <a:pt x="529234" y="173875"/>
                  </a:lnTo>
                  <a:lnTo>
                    <a:pt x="508622" y="132245"/>
                  </a:lnTo>
                  <a:lnTo>
                    <a:pt x="481533" y="94996"/>
                  </a:lnTo>
                  <a:lnTo>
                    <a:pt x="449376" y="63525"/>
                  </a:lnTo>
                  <a:lnTo>
                    <a:pt x="448691" y="62852"/>
                  </a:lnTo>
                  <a:lnTo>
                    <a:pt x="410832" y="36537"/>
                  </a:lnTo>
                  <a:lnTo>
                    <a:pt x="368706" y="16814"/>
                  </a:lnTo>
                  <a:lnTo>
                    <a:pt x="323024" y="4368"/>
                  </a:lnTo>
                  <a:lnTo>
                    <a:pt x="274561" y="0"/>
                  </a:lnTo>
                  <a:lnTo>
                    <a:pt x="273329" y="0"/>
                  </a:lnTo>
                  <a:lnTo>
                    <a:pt x="224993" y="4356"/>
                  </a:lnTo>
                  <a:lnTo>
                    <a:pt x="179438" y="16725"/>
                  </a:lnTo>
                  <a:lnTo>
                    <a:pt x="137401" y="36372"/>
                  </a:lnTo>
                  <a:lnTo>
                    <a:pt x="99606" y="62560"/>
                  </a:lnTo>
                  <a:lnTo>
                    <a:pt x="66802" y="94576"/>
                  </a:lnTo>
                  <a:lnTo>
                    <a:pt x="39687" y="131686"/>
                  </a:lnTo>
                  <a:lnTo>
                    <a:pt x="19037" y="173139"/>
                  </a:lnTo>
                  <a:lnTo>
                    <a:pt x="5562" y="218211"/>
                  </a:lnTo>
                  <a:lnTo>
                    <a:pt x="0" y="266192"/>
                  </a:lnTo>
                  <a:lnTo>
                    <a:pt x="47713" y="262166"/>
                  </a:lnTo>
                  <a:lnTo>
                    <a:pt x="92240" y="250520"/>
                  </a:lnTo>
                  <a:lnTo>
                    <a:pt x="133477" y="231914"/>
                  </a:lnTo>
                  <a:lnTo>
                    <a:pt x="170738" y="207048"/>
                  </a:lnTo>
                  <a:lnTo>
                    <a:pt x="203365" y="176593"/>
                  </a:lnTo>
                  <a:lnTo>
                    <a:pt x="230670" y="141211"/>
                  </a:lnTo>
                  <a:lnTo>
                    <a:pt x="252006" y="101600"/>
                  </a:lnTo>
                  <a:lnTo>
                    <a:pt x="266661" y="58407"/>
                  </a:lnTo>
                  <a:lnTo>
                    <a:pt x="273989" y="12357"/>
                  </a:lnTo>
                  <a:lnTo>
                    <a:pt x="279844" y="50101"/>
                  </a:lnTo>
                  <a:lnTo>
                    <a:pt x="295719" y="101942"/>
                  </a:lnTo>
                  <a:lnTo>
                    <a:pt x="316992" y="141732"/>
                  </a:lnTo>
                  <a:lnTo>
                    <a:pt x="344284" y="177279"/>
                  </a:lnTo>
                  <a:lnTo>
                    <a:pt x="376923" y="207873"/>
                  </a:lnTo>
                  <a:lnTo>
                    <a:pt x="414248" y="232867"/>
                  </a:lnTo>
                  <a:lnTo>
                    <a:pt x="455549" y="251548"/>
                  </a:lnTo>
                  <a:lnTo>
                    <a:pt x="500176" y="263258"/>
                  </a:lnTo>
                  <a:lnTo>
                    <a:pt x="548081" y="267322"/>
                  </a:lnTo>
                  <a:close/>
                </a:path>
              </a:pathLst>
            </a:custGeom>
            <a:solidFill>
              <a:srgbClr val="7ED3F1"/>
            </a:solidFill>
          </p:spPr>
          <p:txBody>
            <a:bodyPr wrap="square" lIns="0" tIns="0" rIns="0" bIns="0" rtlCol="0"/>
            <a:lstStyle/>
            <a:p>
              <a:endParaRPr dirty="0"/>
            </a:p>
          </p:txBody>
        </p:sp>
        <p:pic>
          <p:nvPicPr>
            <p:cNvPr id="604" name="object 365">
              <a:extLst>
                <a:ext uri="{FF2B5EF4-FFF2-40B4-BE49-F238E27FC236}">
                  <a16:creationId xmlns:a16="http://schemas.microsoft.com/office/drawing/2014/main" id="{AB87B6E7-7C15-3046-548F-06970EECC57A}"/>
                </a:ext>
              </a:extLst>
            </p:cNvPr>
            <p:cNvPicPr/>
            <p:nvPr/>
          </p:nvPicPr>
          <p:blipFill>
            <a:blip r:embed="rId9" cstate="print"/>
            <a:stretch>
              <a:fillRect/>
            </a:stretch>
          </p:blipFill>
          <p:spPr>
            <a:xfrm>
              <a:off x="9637261" y="4972731"/>
              <a:ext cx="106445" cy="107156"/>
            </a:xfrm>
            <a:prstGeom prst="rect">
              <a:avLst/>
            </a:prstGeom>
          </p:spPr>
        </p:pic>
        <p:sp>
          <p:nvSpPr>
            <p:cNvPr id="605" name="object 366">
              <a:extLst>
                <a:ext uri="{FF2B5EF4-FFF2-40B4-BE49-F238E27FC236}">
                  <a16:creationId xmlns:a16="http://schemas.microsoft.com/office/drawing/2014/main" id="{EBCF8657-83D7-A576-05EF-C3B4ED57F425}"/>
                </a:ext>
              </a:extLst>
            </p:cNvPr>
            <p:cNvSpPr/>
            <p:nvPr/>
          </p:nvSpPr>
          <p:spPr>
            <a:xfrm>
              <a:off x="9523993" y="2554529"/>
              <a:ext cx="332700" cy="477101"/>
            </a:xfrm>
            <a:custGeom>
              <a:avLst/>
              <a:gdLst/>
              <a:ahLst/>
              <a:cxnLst/>
              <a:rect l="l" t="t" r="r" b="b"/>
              <a:pathLst>
                <a:path w="548640" h="786764">
                  <a:moveTo>
                    <a:pt x="548081" y="786396"/>
                  </a:moveTo>
                  <a:lnTo>
                    <a:pt x="542632" y="738238"/>
                  </a:lnTo>
                  <a:lnTo>
                    <a:pt x="529234" y="692975"/>
                  </a:lnTo>
                  <a:lnTo>
                    <a:pt x="508622" y="651344"/>
                  </a:lnTo>
                  <a:lnTo>
                    <a:pt x="481520" y="614095"/>
                  </a:lnTo>
                  <a:lnTo>
                    <a:pt x="448678" y="581939"/>
                  </a:lnTo>
                  <a:lnTo>
                    <a:pt x="410832" y="555625"/>
                  </a:lnTo>
                  <a:lnTo>
                    <a:pt x="368693" y="535901"/>
                  </a:lnTo>
                  <a:lnTo>
                    <a:pt x="323024" y="523468"/>
                  </a:lnTo>
                  <a:lnTo>
                    <a:pt x="274561" y="519099"/>
                  </a:lnTo>
                  <a:lnTo>
                    <a:pt x="273329" y="519099"/>
                  </a:lnTo>
                  <a:lnTo>
                    <a:pt x="224993" y="523455"/>
                  </a:lnTo>
                  <a:lnTo>
                    <a:pt x="179438" y="535813"/>
                  </a:lnTo>
                  <a:lnTo>
                    <a:pt x="137401" y="555459"/>
                  </a:lnTo>
                  <a:lnTo>
                    <a:pt x="99606" y="581660"/>
                  </a:lnTo>
                  <a:lnTo>
                    <a:pt x="66802" y="613676"/>
                  </a:lnTo>
                  <a:lnTo>
                    <a:pt x="39712" y="650773"/>
                  </a:lnTo>
                  <a:lnTo>
                    <a:pt x="19062" y="692238"/>
                  </a:lnTo>
                  <a:lnTo>
                    <a:pt x="5575" y="737323"/>
                  </a:lnTo>
                  <a:lnTo>
                    <a:pt x="0" y="785317"/>
                  </a:lnTo>
                  <a:lnTo>
                    <a:pt x="47713" y="781278"/>
                  </a:lnTo>
                  <a:lnTo>
                    <a:pt x="92240" y="769632"/>
                  </a:lnTo>
                  <a:lnTo>
                    <a:pt x="133464" y="751027"/>
                  </a:lnTo>
                  <a:lnTo>
                    <a:pt x="170738" y="726160"/>
                  </a:lnTo>
                  <a:lnTo>
                    <a:pt x="203352" y="695693"/>
                  </a:lnTo>
                  <a:lnTo>
                    <a:pt x="230670" y="660311"/>
                  </a:lnTo>
                  <a:lnTo>
                    <a:pt x="251993" y="620687"/>
                  </a:lnTo>
                  <a:lnTo>
                    <a:pt x="266661" y="577481"/>
                  </a:lnTo>
                  <a:lnTo>
                    <a:pt x="273989" y="531406"/>
                  </a:lnTo>
                  <a:lnTo>
                    <a:pt x="281165" y="577672"/>
                  </a:lnTo>
                  <a:lnTo>
                    <a:pt x="295719" y="621042"/>
                  </a:lnTo>
                  <a:lnTo>
                    <a:pt x="316992" y="660844"/>
                  </a:lnTo>
                  <a:lnTo>
                    <a:pt x="344284" y="696379"/>
                  </a:lnTo>
                  <a:lnTo>
                    <a:pt x="376923" y="726973"/>
                  </a:lnTo>
                  <a:lnTo>
                    <a:pt x="414235" y="751954"/>
                  </a:lnTo>
                  <a:lnTo>
                    <a:pt x="455549" y="770636"/>
                  </a:lnTo>
                  <a:lnTo>
                    <a:pt x="500164" y="782345"/>
                  </a:lnTo>
                  <a:lnTo>
                    <a:pt x="548081" y="786396"/>
                  </a:lnTo>
                  <a:close/>
                </a:path>
                <a:path w="548640" h="786764">
                  <a:moveTo>
                    <a:pt x="548081" y="520865"/>
                  </a:moveTo>
                  <a:lnTo>
                    <a:pt x="542632" y="472706"/>
                  </a:lnTo>
                  <a:lnTo>
                    <a:pt x="529234" y="427443"/>
                  </a:lnTo>
                  <a:lnTo>
                    <a:pt x="508622" y="385813"/>
                  </a:lnTo>
                  <a:lnTo>
                    <a:pt x="481520" y="348564"/>
                  </a:lnTo>
                  <a:lnTo>
                    <a:pt x="448678" y="316407"/>
                  </a:lnTo>
                  <a:lnTo>
                    <a:pt x="410832" y="290106"/>
                  </a:lnTo>
                  <a:lnTo>
                    <a:pt x="368693" y="270370"/>
                  </a:lnTo>
                  <a:lnTo>
                    <a:pt x="323024" y="257949"/>
                  </a:lnTo>
                  <a:lnTo>
                    <a:pt x="274561" y="253568"/>
                  </a:lnTo>
                  <a:lnTo>
                    <a:pt x="273329" y="253568"/>
                  </a:lnTo>
                  <a:lnTo>
                    <a:pt x="224993" y="257924"/>
                  </a:lnTo>
                  <a:lnTo>
                    <a:pt x="179438" y="270294"/>
                  </a:lnTo>
                  <a:lnTo>
                    <a:pt x="137401" y="289941"/>
                  </a:lnTo>
                  <a:lnTo>
                    <a:pt x="99606" y="316128"/>
                  </a:lnTo>
                  <a:lnTo>
                    <a:pt x="66802" y="348145"/>
                  </a:lnTo>
                  <a:lnTo>
                    <a:pt x="39712" y="385254"/>
                  </a:lnTo>
                  <a:lnTo>
                    <a:pt x="19062" y="426707"/>
                  </a:lnTo>
                  <a:lnTo>
                    <a:pt x="5575" y="471805"/>
                  </a:lnTo>
                  <a:lnTo>
                    <a:pt x="0" y="519785"/>
                  </a:lnTo>
                  <a:lnTo>
                    <a:pt x="47713" y="515759"/>
                  </a:lnTo>
                  <a:lnTo>
                    <a:pt x="92240" y="504101"/>
                  </a:lnTo>
                  <a:lnTo>
                    <a:pt x="133464" y="485495"/>
                  </a:lnTo>
                  <a:lnTo>
                    <a:pt x="170738" y="460629"/>
                  </a:lnTo>
                  <a:lnTo>
                    <a:pt x="203352" y="430161"/>
                  </a:lnTo>
                  <a:lnTo>
                    <a:pt x="230670" y="394779"/>
                  </a:lnTo>
                  <a:lnTo>
                    <a:pt x="251993" y="355155"/>
                  </a:lnTo>
                  <a:lnTo>
                    <a:pt x="266661" y="311962"/>
                  </a:lnTo>
                  <a:lnTo>
                    <a:pt x="273989" y="265874"/>
                  </a:lnTo>
                  <a:lnTo>
                    <a:pt x="281165" y="312140"/>
                  </a:lnTo>
                  <a:lnTo>
                    <a:pt x="295719" y="355511"/>
                  </a:lnTo>
                  <a:lnTo>
                    <a:pt x="316992" y="395312"/>
                  </a:lnTo>
                  <a:lnTo>
                    <a:pt x="344284" y="430847"/>
                  </a:lnTo>
                  <a:lnTo>
                    <a:pt x="376923" y="461441"/>
                  </a:lnTo>
                  <a:lnTo>
                    <a:pt x="414235" y="486422"/>
                  </a:lnTo>
                  <a:lnTo>
                    <a:pt x="455549" y="505104"/>
                  </a:lnTo>
                  <a:lnTo>
                    <a:pt x="500164" y="516813"/>
                  </a:lnTo>
                  <a:lnTo>
                    <a:pt x="548081" y="520865"/>
                  </a:lnTo>
                  <a:close/>
                </a:path>
                <a:path w="548640" h="786764">
                  <a:moveTo>
                    <a:pt x="548081" y="267335"/>
                  </a:moveTo>
                  <a:lnTo>
                    <a:pt x="542632" y="219163"/>
                  </a:lnTo>
                  <a:lnTo>
                    <a:pt x="529234" y="173888"/>
                  </a:lnTo>
                  <a:lnTo>
                    <a:pt x="508622" y="132257"/>
                  </a:lnTo>
                  <a:lnTo>
                    <a:pt x="481533" y="95008"/>
                  </a:lnTo>
                  <a:lnTo>
                    <a:pt x="448691" y="62865"/>
                  </a:lnTo>
                  <a:lnTo>
                    <a:pt x="410832" y="36537"/>
                  </a:lnTo>
                  <a:lnTo>
                    <a:pt x="368693" y="16802"/>
                  </a:lnTo>
                  <a:lnTo>
                    <a:pt x="323024" y="4381"/>
                  </a:lnTo>
                  <a:lnTo>
                    <a:pt x="274561" y="0"/>
                  </a:lnTo>
                  <a:lnTo>
                    <a:pt x="273329" y="0"/>
                  </a:lnTo>
                  <a:lnTo>
                    <a:pt x="224993" y="4356"/>
                  </a:lnTo>
                  <a:lnTo>
                    <a:pt x="179438" y="16725"/>
                  </a:lnTo>
                  <a:lnTo>
                    <a:pt x="137401" y="36372"/>
                  </a:lnTo>
                  <a:lnTo>
                    <a:pt x="99606" y="62572"/>
                  </a:lnTo>
                  <a:lnTo>
                    <a:pt x="66802" y="94576"/>
                  </a:lnTo>
                  <a:lnTo>
                    <a:pt x="59575" y="104470"/>
                  </a:lnTo>
                  <a:lnTo>
                    <a:pt x="39687" y="131699"/>
                  </a:lnTo>
                  <a:lnTo>
                    <a:pt x="19037" y="173151"/>
                  </a:lnTo>
                  <a:lnTo>
                    <a:pt x="5562" y="218224"/>
                  </a:lnTo>
                  <a:lnTo>
                    <a:pt x="0" y="266204"/>
                  </a:lnTo>
                  <a:lnTo>
                    <a:pt x="47713" y="262191"/>
                  </a:lnTo>
                  <a:lnTo>
                    <a:pt x="92240" y="250532"/>
                  </a:lnTo>
                  <a:lnTo>
                    <a:pt x="133464" y="231940"/>
                  </a:lnTo>
                  <a:lnTo>
                    <a:pt x="170738" y="207060"/>
                  </a:lnTo>
                  <a:lnTo>
                    <a:pt x="203365" y="176606"/>
                  </a:lnTo>
                  <a:lnTo>
                    <a:pt x="230670" y="141224"/>
                  </a:lnTo>
                  <a:lnTo>
                    <a:pt x="252006" y="101612"/>
                  </a:lnTo>
                  <a:lnTo>
                    <a:pt x="266661" y="58420"/>
                  </a:lnTo>
                  <a:lnTo>
                    <a:pt x="273989" y="12369"/>
                  </a:lnTo>
                  <a:lnTo>
                    <a:pt x="279844" y="50114"/>
                  </a:lnTo>
                  <a:lnTo>
                    <a:pt x="295719" y="101955"/>
                  </a:lnTo>
                  <a:lnTo>
                    <a:pt x="316992" y="141744"/>
                  </a:lnTo>
                  <a:lnTo>
                    <a:pt x="344284" y="177279"/>
                  </a:lnTo>
                  <a:lnTo>
                    <a:pt x="376923" y="207886"/>
                  </a:lnTo>
                  <a:lnTo>
                    <a:pt x="414248" y="232867"/>
                  </a:lnTo>
                  <a:lnTo>
                    <a:pt x="455549" y="251561"/>
                  </a:lnTo>
                  <a:lnTo>
                    <a:pt x="500176" y="263271"/>
                  </a:lnTo>
                  <a:lnTo>
                    <a:pt x="548081" y="267335"/>
                  </a:lnTo>
                  <a:close/>
                </a:path>
              </a:pathLst>
            </a:custGeom>
            <a:solidFill>
              <a:srgbClr val="2DB7EA"/>
            </a:solidFill>
          </p:spPr>
          <p:txBody>
            <a:bodyPr wrap="square" lIns="0" tIns="0" rIns="0" bIns="0" rtlCol="0"/>
            <a:lstStyle/>
            <a:p>
              <a:endParaRPr dirty="0"/>
            </a:p>
          </p:txBody>
        </p:sp>
        <p:pic>
          <p:nvPicPr>
            <p:cNvPr id="606" name="object 367">
              <a:extLst>
                <a:ext uri="{FF2B5EF4-FFF2-40B4-BE49-F238E27FC236}">
                  <a16:creationId xmlns:a16="http://schemas.microsoft.com/office/drawing/2014/main" id="{3F863933-9273-1675-4799-005D51165282}"/>
                </a:ext>
              </a:extLst>
            </p:cNvPr>
            <p:cNvPicPr/>
            <p:nvPr/>
          </p:nvPicPr>
          <p:blipFill>
            <a:blip r:embed="rId8" cstate="print"/>
            <a:stretch>
              <a:fillRect/>
            </a:stretch>
          </p:blipFill>
          <p:spPr>
            <a:xfrm>
              <a:off x="9637261" y="3010234"/>
              <a:ext cx="106445" cy="107156"/>
            </a:xfrm>
            <a:prstGeom prst="rect">
              <a:avLst/>
            </a:prstGeom>
          </p:spPr>
        </p:pic>
        <p:sp>
          <p:nvSpPr>
            <p:cNvPr id="607" name="object 368">
              <a:extLst>
                <a:ext uri="{FF2B5EF4-FFF2-40B4-BE49-F238E27FC236}">
                  <a16:creationId xmlns:a16="http://schemas.microsoft.com/office/drawing/2014/main" id="{86E48E4A-697A-D477-D16E-C2381AC27A86}"/>
                </a:ext>
              </a:extLst>
            </p:cNvPr>
            <p:cNvSpPr/>
            <p:nvPr/>
          </p:nvSpPr>
          <p:spPr>
            <a:xfrm>
              <a:off x="9523993" y="3208700"/>
              <a:ext cx="332700" cy="477101"/>
            </a:xfrm>
            <a:custGeom>
              <a:avLst/>
              <a:gdLst/>
              <a:ahLst/>
              <a:cxnLst/>
              <a:rect l="l" t="t" r="r" b="b"/>
              <a:pathLst>
                <a:path w="548640" h="786764">
                  <a:moveTo>
                    <a:pt x="548081" y="786384"/>
                  </a:moveTo>
                  <a:lnTo>
                    <a:pt x="542632" y="738225"/>
                  </a:lnTo>
                  <a:lnTo>
                    <a:pt x="529234" y="692962"/>
                  </a:lnTo>
                  <a:lnTo>
                    <a:pt x="508622" y="651344"/>
                  </a:lnTo>
                  <a:lnTo>
                    <a:pt x="481520" y="614083"/>
                  </a:lnTo>
                  <a:lnTo>
                    <a:pt x="448678" y="581926"/>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47"/>
                  </a:lnTo>
                  <a:lnTo>
                    <a:pt x="66802" y="613664"/>
                  </a:lnTo>
                  <a:lnTo>
                    <a:pt x="39712" y="650773"/>
                  </a:lnTo>
                  <a:lnTo>
                    <a:pt x="19062" y="692226"/>
                  </a:lnTo>
                  <a:lnTo>
                    <a:pt x="5575" y="737323"/>
                  </a:lnTo>
                  <a:lnTo>
                    <a:pt x="0" y="785317"/>
                  </a:lnTo>
                  <a:lnTo>
                    <a:pt x="47713" y="781278"/>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59"/>
                  </a:lnTo>
                  <a:lnTo>
                    <a:pt x="295719" y="621042"/>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65"/>
                  </a:moveTo>
                  <a:lnTo>
                    <a:pt x="542632" y="472694"/>
                  </a:lnTo>
                  <a:lnTo>
                    <a:pt x="529234" y="427431"/>
                  </a:lnTo>
                  <a:lnTo>
                    <a:pt x="508622" y="385813"/>
                  </a:lnTo>
                  <a:lnTo>
                    <a:pt x="481520" y="348551"/>
                  </a:lnTo>
                  <a:lnTo>
                    <a:pt x="448678" y="316407"/>
                  </a:lnTo>
                  <a:lnTo>
                    <a:pt x="410832" y="290093"/>
                  </a:lnTo>
                  <a:lnTo>
                    <a:pt x="368693" y="270357"/>
                  </a:lnTo>
                  <a:lnTo>
                    <a:pt x="323024" y="257937"/>
                  </a:lnTo>
                  <a:lnTo>
                    <a:pt x="274561" y="253555"/>
                  </a:lnTo>
                  <a:lnTo>
                    <a:pt x="273329" y="253555"/>
                  </a:lnTo>
                  <a:lnTo>
                    <a:pt x="224993" y="257911"/>
                  </a:lnTo>
                  <a:lnTo>
                    <a:pt x="179438" y="270281"/>
                  </a:lnTo>
                  <a:lnTo>
                    <a:pt x="137401" y="289928"/>
                  </a:lnTo>
                  <a:lnTo>
                    <a:pt x="99606" y="316115"/>
                  </a:lnTo>
                  <a:lnTo>
                    <a:pt x="66802" y="348132"/>
                  </a:lnTo>
                  <a:lnTo>
                    <a:pt x="39712" y="385241"/>
                  </a:lnTo>
                  <a:lnTo>
                    <a:pt x="19062" y="426694"/>
                  </a:lnTo>
                  <a:lnTo>
                    <a:pt x="5575" y="471792"/>
                  </a:lnTo>
                  <a:lnTo>
                    <a:pt x="0" y="519785"/>
                  </a:lnTo>
                  <a:lnTo>
                    <a:pt x="47713" y="515747"/>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29"/>
                  </a:lnTo>
                  <a:lnTo>
                    <a:pt x="414235" y="486410"/>
                  </a:lnTo>
                  <a:lnTo>
                    <a:pt x="455549" y="505091"/>
                  </a:lnTo>
                  <a:lnTo>
                    <a:pt x="500164" y="516801"/>
                  </a:lnTo>
                  <a:lnTo>
                    <a:pt x="548081" y="520865"/>
                  </a:lnTo>
                  <a:close/>
                </a:path>
                <a:path w="548640" h="786764">
                  <a:moveTo>
                    <a:pt x="548081" y="267322"/>
                  </a:moveTo>
                  <a:lnTo>
                    <a:pt x="542632" y="219151"/>
                  </a:lnTo>
                  <a:lnTo>
                    <a:pt x="529234" y="173888"/>
                  </a:lnTo>
                  <a:lnTo>
                    <a:pt x="508622" y="132257"/>
                  </a:lnTo>
                  <a:lnTo>
                    <a:pt x="497205" y="116573"/>
                  </a:lnTo>
                  <a:lnTo>
                    <a:pt x="481533" y="94996"/>
                  </a:lnTo>
                  <a:lnTo>
                    <a:pt x="449376" y="63525"/>
                  </a:lnTo>
                  <a:lnTo>
                    <a:pt x="448691" y="62852"/>
                  </a:lnTo>
                  <a:lnTo>
                    <a:pt x="410832" y="36525"/>
                  </a:lnTo>
                  <a:lnTo>
                    <a:pt x="368706" y="16814"/>
                  </a:lnTo>
                  <a:lnTo>
                    <a:pt x="323024" y="4368"/>
                  </a:lnTo>
                  <a:lnTo>
                    <a:pt x="274561" y="0"/>
                  </a:lnTo>
                  <a:lnTo>
                    <a:pt x="273329" y="0"/>
                  </a:lnTo>
                  <a:lnTo>
                    <a:pt x="224993" y="4356"/>
                  </a:lnTo>
                  <a:lnTo>
                    <a:pt x="179438" y="16725"/>
                  </a:lnTo>
                  <a:lnTo>
                    <a:pt x="137401" y="36360"/>
                  </a:lnTo>
                  <a:lnTo>
                    <a:pt x="99606" y="62560"/>
                  </a:lnTo>
                  <a:lnTo>
                    <a:pt x="66802" y="94576"/>
                  </a:lnTo>
                  <a:lnTo>
                    <a:pt x="39687" y="131686"/>
                  </a:lnTo>
                  <a:lnTo>
                    <a:pt x="19037" y="173139"/>
                  </a:lnTo>
                  <a:lnTo>
                    <a:pt x="5562" y="218224"/>
                  </a:lnTo>
                  <a:lnTo>
                    <a:pt x="0" y="266192"/>
                  </a:lnTo>
                  <a:lnTo>
                    <a:pt x="47713" y="262178"/>
                  </a:lnTo>
                  <a:lnTo>
                    <a:pt x="92240" y="250532"/>
                  </a:lnTo>
                  <a:lnTo>
                    <a:pt x="133464" y="231927"/>
                  </a:lnTo>
                  <a:lnTo>
                    <a:pt x="170738" y="207060"/>
                  </a:lnTo>
                  <a:lnTo>
                    <a:pt x="187604" y="191312"/>
                  </a:lnTo>
                  <a:lnTo>
                    <a:pt x="203365" y="176593"/>
                  </a:lnTo>
                  <a:lnTo>
                    <a:pt x="230670" y="141224"/>
                  </a:lnTo>
                  <a:lnTo>
                    <a:pt x="252006" y="101600"/>
                  </a:lnTo>
                  <a:lnTo>
                    <a:pt x="266661" y="58407"/>
                  </a:lnTo>
                  <a:lnTo>
                    <a:pt x="273989" y="12369"/>
                  </a:lnTo>
                  <a:lnTo>
                    <a:pt x="279844" y="50101"/>
                  </a:lnTo>
                  <a:lnTo>
                    <a:pt x="295719" y="101942"/>
                  </a:lnTo>
                  <a:lnTo>
                    <a:pt x="316992" y="141744"/>
                  </a:lnTo>
                  <a:lnTo>
                    <a:pt x="344284" y="177279"/>
                  </a:lnTo>
                  <a:lnTo>
                    <a:pt x="376923" y="207873"/>
                  </a:lnTo>
                  <a:lnTo>
                    <a:pt x="414248" y="232867"/>
                  </a:lnTo>
                  <a:lnTo>
                    <a:pt x="455549" y="251548"/>
                  </a:lnTo>
                  <a:lnTo>
                    <a:pt x="500176" y="263271"/>
                  </a:lnTo>
                  <a:lnTo>
                    <a:pt x="548081" y="267322"/>
                  </a:lnTo>
                  <a:close/>
                </a:path>
              </a:pathLst>
            </a:custGeom>
            <a:solidFill>
              <a:srgbClr val="7ED3F1"/>
            </a:solidFill>
          </p:spPr>
          <p:txBody>
            <a:bodyPr wrap="square" lIns="0" tIns="0" rIns="0" bIns="0" rtlCol="0"/>
            <a:lstStyle/>
            <a:p>
              <a:endParaRPr dirty="0"/>
            </a:p>
          </p:txBody>
        </p:sp>
        <p:pic>
          <p:nvPicPr>
            <p:cNvPr id="608" name="object 369">
              <a:extLst>
                <a:ext uri="{FF2B5EF4-FFF2-40B4-BE49-F238E27FC236}">
                  <a16:creationId xmlns:a16="http://schemas.microsoft.com/office/drawing/2014/main" id="{2EF2CC2B-A7A5-6F67-ECAB-A85F1F73F499}"/>
                </a:ext>
              </a:extLst>
            </p:cNvPr>
            <p:cNvPicPr/>
            <p:nvPr/>
          </p:nvPicPr>
          <p:blipFill>
            <a:blip r:embed="rId9" cstate="print"/>
            <a:stretch>
              <a:fillRect/>
            </a:stretch>
          </p:blipFill>
          <p:spPr>
            <a:xfrm>
              <a:off x="9637261" y="3664400"/>
              <a:ext cx="106445" cy="107156"/>
            </a:xfrm>
            <a:prstGeom prst="rect">
              <a:avLst/>
            </a:prstGeom>
          </p:spPr>
        </p:pic>
        <p:sp>
          <p:nvSpPr>
            <p:cNvPr id="609" name="object 370">
              <a:extLst>
                <a:ext uri="{FF2B5EF4-FFF2-40B4-BE49-F238E27FC236}">
                  <a16:creationId xmlns:a16="http://schemas.microsoft.com/office/drawing/2014/main" id="{410E6FEA-1CF4-2401-400C-91C6C3F4F5E3}"/>
                </a:ext>
              </a:extLst>
            </p:cNvPr>
            <p:cNvSpPr/>
            <p:nvPr/>
          </p:nvSpPr>
          <p:spPr>
            <a:xfrm>
              <a:off x="9523993" y="1246203"/>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78" y="581926"/>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47"/>
                  </a:lnTo>
                  <a:lnTo>
                    <a:pt x="66802" y="613664"/>
                  </a:lnTo>
                  <a:lnTo>
                    <a:pt x="39712" y="650760"/>
                  </a:lnTo>
                  <a:lnTo>
                    <a:pt x="19062" y="692226"/>
                  </a:lnTo>
                  <a:lnTo>
                    <a:pt x="5575" y="737323"/>
                  </a:lnTo>
                  <a:lnTo>
                    <a:pt x="0" y="785304"/>
                  </a:lnTo>
                  <a:lnTo>
                    <a:pt x="47713" y="781278"/>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52"/>
                  </a:moveTo>
                  <a:lnTo>
                    <a:pt x="542632" y="472694"/>
                  </a:lnTo>
                  <a:lnTo>
                    <a:pt x="529234" y="427431"/>
                  </a:lnTo>
                  <a:lnTo>
                    <a:pt x="508622" y="385813"/>
                  </a:lnTo>
                  <a:lnTo>
                    <a:pt x="481520" y="348551"/>
                  </a:lnTo>
                  <a:lnTo>
                    <a:pt x="448678" y="316395"/>
                  </a:lnTo>
                  <a:lnTo>
                    <a:pt x="410832" y="290093"/>
                  </a:lnTo>
                  <a:lnTo>
                    <a:pt x="368693" y="270357"/>
                  </a:lnTo>
                  <a:lnTo>
                    <a:pt x="323024" y="257937"/>
                  </a:lnTo>
                  <a:lnTo>
                    <a:pt x="274561" y="253555"/>
                  </a:lnTo>
                  <a:lnTo>
                    <a:pt x="273329" y="253555"/>
                  </a:lnTo>
                  <a:lnTo>
                    <a:pt x="224993" y="257911"/>
                  </a:lnTo>
                  <a:lnTo>
                    <a:pt x="179438" y="270281"/>
                  </a:lnTo>
                  <a:lnTo>
                    <a:pt x="137401" y="289928"/>
                  </a:lnTo>
                  <a:lnTo>
                    <a:pt x="99606" y="316115"/>
                  </a:lnTo>
                  <a:lnTo>
                    <a:pt x="66802" y="348132"/>
                  </a:lnTo>
                  <a:lnTo>
                    <a:pt x="39712" y="385241"/>
                  </a:lnTo>
                  <a:lnTo>
                    <a:pt x="19062" y="426694"/>
                  </a:lnTo>
                  <a:lnTo>
                    <a:pt x="5575" y="471792"/>
                  </a:lnTo>
                  <a:lnTo>
                    <a:pt x="0" y="519785"/>
                  </a:lnTo>
                  <a:lnTo>
                    <a:pt x="47713" y="515747"/>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35" y="486410"/>
                  </a:lnTo>
                  <a:lnTo>
                    <a:pt x="455549" y="505091"/>
                  </a:lnTo>
                  <a:lnTo>
                    <a:pt x="500164" y="516801"/>
                  </a:lnTo>
                  <a:lnTo>
                    <a:pt x="548081" y="520852"/>
                  </a:lnTo>
                  <a:close/>
                </a:path>
                <a:path w="548640" h="786764">
                  <a:moveTo>
                    <a:pt x="548081" y="267322"/>
                  </a:moveTo>
                  <a:lnTo>
                    <a:pt x="542632" y="219151"/>
                  </a:lnTo>
                  <a:lnTo>
                    <a:pt x="529234" y="173875"/>
                  </a:lnTo>
                  <a:lnTo>
                    <a:pt x="508622" y="132257"/>
                  </a:lnTo>
                  <a:lnTo>
                    <a:pt x="497205" y="116573"/>
                  </a:lnTo>
                  <a:lnTo>
                    <a:pt x="481533" y="94996"/>
                  </a:lnTo>
                  <a:lnTo>
                    <a:pt x="449376" y="63525"/>
                  </a:lnTo>
                  <a:lnTo>
                    <a:pt x="448691" y="62852"/>
                  </a:lnTo>
                  <a:lnTo>
                    <a:pt x="410832" y="36525"/>
                  </a:lnTo>
                  <a:lnTo>
                    <a:pt x="368693" y="16789"/>
                  </a:lnTo>
                  <a:lnTo>
                    <a:pt x="323024" y="4368"/>
                  </a:lnTo>
                  <a:lnTo>
                    <a:pt x="274561" y="0"/>
                  </a:lnTo>
                  <a:lnTo>
                    <a:pt x="273329" y="0"/>
                  </a:lnTo>
                  <a:lnTo>
                    <a:pt x="224993" y="4356"/>
                  </a:lnTo>
                  <a:lnTo>
                    <a:pt x="179438" y="16713"/>
                  </a:lnTo>
                  <a:lnTo>
                    <a:pt x="137401" y="36360"/>
                  </a:lnTo>
                  <a:lnTo>
                    <a:pt x="99606" y="62560"/>
                  </a:lnTo>
                  <a:lnTo>
                    <a:pt x="66802" y="94576"/>
                  </a:lnTo>
                  <a:lnTo>
                    <a:pt x="39687" y="131686"/>
                  </a:lnTo>
                  <a:lnTo>
                    <a:pt x="19037" y="173139"/>
                  </a:lnTo>
                  <a:lnTo>
                    <a:pt x="5562" y="218211"/>
                  </a:lnTo>
                  <a:lnTo>
                    <a:pt x="0" y="266192"/>
                  </a:lnTo>
                  <a:lnTo>
                    <a:pt x="47713" y="262178"/>
                  </a:lnTo>
                  <a:lnTo>
                    <a:pt x="92240" y="250532"/>
                  </a:lnTo>
                  <a:lnTo>
                    <a:pt x="133464" y="231927"/>
                  </a:lnTo>
                  <a:lnTo>
                    <a:pt x="170738" y="207060"/>
                  </a:lnTo>
                  <a:lnTo>
                    <a:pt x="187604" y="191312"/>
                  </a:lnTo>
                  <a:lnTo>
                    <a:pt x="203365" y="176593"/>
                  </a:lnTo>
                  <a:lnTo>
                    <a:pt x="230670" y="141224"/>
                  </a:lnTo>
                  <a:lnTo>
                    <a:pt x="252006" y="101600"/>
                  </a:lnTo>
                  <a:lnTo>
                    <a:pt x="266661" y="58407"/>
                  </a:lnTo>
                  <a:lnTo>
                    <a:pt x="273989" y="12357"/>
                  </a:lnTo>
                  <a:lnTo>
                    <a:pt x="279844" y="50101"/>
                  </a:lnTo>
                  <a:lnTo>
                    <a:pt x="295719" y="101942"/>
                  </a:lnTo>
                  <a:lnTo>
                    <a:pt x="316992" y="141744"/>
                  </a:lnTo>
                  <a:lnTo>
                    <a:pt x="344284" y="177279"/>
                  </a:lnTo>
                  <a:lnTo>
                    <a:pt x="376923" y="207873"/>
                  </a:lnTo>
                  <a:lnTo>
                    <a:pt x="414248" y="232867"/>
                  </a:lnTo>
                  <a:lnTo>
                    <a:pt x="455549" y="251548"/>
                  </a:lnTo>
                  <a:lnTo>
                    <a:pt x="500176" y="263271"/>
                  </a:lnTo>
                  <a:lnTo>
                    <a:pt x="548081" y="267322"/>
                  </a:lnTo>
                  <a:close/>
                </a:path>
              </a:pathLst>
            </a:custGeom>
            <a:solidFill>
              <a:srgbClr val="2DB7EA"/>
            </a:solidFill>
          </p:spPr>
          <p:txBody>
            <a:bodyPr wrap="square" lIns="0" tIns="0" rIns="0" bIns="0" rtlCol="0"/>
            <a:lstStyle/>
            <a:p>
              <a:endParaRPr dirty="0"/>
            </a:p>
          </p:txBody>
        </p:sp>
        <p:pic>
          <p:nvPicPr>
            <p:cNvPr id="610" name="object 371">
              <a:extLst>
                <a:ext uri="{FF2B5EF4-FFF2-40B4-BE49-F238E27FC236}">
                  <a16:creationId xmlns:a16="http://schemas.microsoft.com/office/drawing/2014/main" id="{A69953DE-1D51-F0EF-E586-04EFA99141FC}"/>
                </a:ext>
              </a:extLst>
            </p:cNvPr>
            <p:cNvPicPr/>
            <p:nvPr/>
          </p:nvPicPr>
          <p:blipFill>
            <a:blip r:embed="rId8" cstate="print"/>
            <a:stretch>
              <a:fillRect/>
            </a:stretch>
          </p:blipFill>
          <p:spPr>
            <a:xfrm>
              <a:off x="9637261" y="1701903"/>
              <a:ext cx="106445" cy="107156"/>
            </a:xfrm>
            <a:prstGeom prst="rect">
              <a:avLst/>
            </a:prstGeom>
          </p:spPr>
        </p:pic>
        <p:sp>
          <p:nvSpPr>
            <p:cNvPr id="611" name="object 372">
              <a:extLst>
                <a:ext uri="{FF2B5EF4-FFF2-40B4-BE49-F238E27FC236}">
                  <a16:creationId xmlns:a16="http://schemas.microsoft.com/office/drawing/2014/main" id="{C14B7F48-BCB7-1977-10F3-89B30E0289C8}"/>
                </a:ext>
              </a:extLst>
            </p:cNvPr>
            <p:cNvSpPr/>
            <p:nvPr/>
          </p:nvSpPr>
          <p:spPr>
            <a:xfrm>
              <a:off x="9523993" y="1900365"/>
              <a:ext cx="332700" cy="477101"/>
            </a:xfrm>
            <a:custGeom>
              <a:avLst/>
              <a:gdLst/>
              <a:ahLst/>
              <a:cxnLst/>
              <a:rect l="l" t="t" r="r" b="b"/>
              <a:pathLst>
                <a:path w="548640" h="786764">
                  <a:moveTo>
                    <a:pt x="548081" y="786396"/>
                  </a:moveTo>
                  <a:lnTo>
                    <a:pt x="542632" y="738225"/>
                  </a:lnTo>
                  <a:lnTo>
                    <a:pt x="529234" y="692962"/>
                  </a:lnTo>
                  <a:lnTo>
                    <a:pt x="508622" y="651344"/>
                  </a:lnTo>
                  <a:lnTo>
                    <a:pt x="481520" y="614083"/>
                  </a:lnTo>
                  <a:lnTo>
                    <a:pt x="448678" y="581939"/>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60"/>
                  </a:lnTo>
                  <a:lnTo>
                    <a:pt x="66802" y="613664"/>
                  </a:lnTo>
                  <a:lnTo>
                    <a:pt x="39712" y="650773"/>
                  </a:lnTo>
                  <a:lnTo>
                    <a:pt x="19062" y="692238"/>
                  </a:lnTo>
                  <a:lnTo>
                    <a:pt x="5575" y="737323"/>
                  </a:lnTo>
                  <a:lnTo>
                    <a:pt x="0" y="785317"/>
                  </a:lnTo>
                  <a:lnTo>
                    <a:pt x="47713" y="781278"/>
                  </a:lnTo>
                  <a:lnTo>
                    <a:pt x="92240" y="769620"/>
                  </a:lnTo>
                  <a:lnTo>
                    <a:pt x="133464" y="751027"/>
                  </a:lnTo>
                  <a:lnTo>
                    <a:pt x="170738" y="726147"/>
                  </a:lnTo>
                  <a:lnTo>
                    <a:pt x="203352"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35" y="751941"/>
                  </a:lnTo>
                  <a:lnTo>
                    <a:pt x="455549" y="770636"/>
                  </a:lnTo>
                  <a:lnTo>
                    <a:pt x="500164" y="782332"/>
                  </a:lnTo>
                  <a:lnTo>
                    <a:pt x="548081" y="786396"/>
                  </a:lnTo>
                  <a:close/>
                </a:path>
                <a:path w="548640" h="786764">
                  <a:moveTo>
                    <a:pt x="548081" y="520865"/>
                  </a:moveTo>
                  <a:lnTo>
                    <a:pt x="542632" y="472706"/>
                  </a:lnTo>
                  <a:lnTo>
                    <a:pt x="529234" y="427443"/>
                  </a:lnTo>
                  <a:lnTo>
                    <a:pt x="508622" y="385813"/>
                  </a:lnTo>
                  <a:lnTo>
                    <a:pt x="481520" y="348551"/>
                  </a:lnTo>
                  <a:lnTo>
                    <a:pt x="448678" y="316407"/>
                  </a:lnTo>
                  <a:lnTo>
                    <a:pt x="410832" y="290093"/>
                  </a:lnTo>
                  <a:lnTo>
                    <a:pt x="368693" y="270357"/>
                  </a:lnTo>
                  <a:lnTo>
                    <a:pt x="323024" y="257937"/>
                  </a:lnTo>
                  <a:lnTo>
                    <a:pt x="274561" y="253555"/>
                  </a:lnTo>
                  <a:lnTo>
                    <a:pt x="273329" y="253555"/>
                  </a:lnTo>
                  <a:lnTo>
                    <a:pt x="224993" y="257924"/>
                  </a:lnTo>
                  <a:lnTo>
                    <a:pt x="179438" y="270281"/>
                  </a:lnTo>
                  <a:lnTo>
                    <a:pt x="137401" y="289928"/>
                  </a:lnTo>
                  <a:lnTo>
                    <a:pt x="99606" y="316128"/>
                  </a:lnTo>
                  <a:lnTo>
                    <a:pt x="66802" y="348132"/>
                  </a:lnTo>
                  <a:lnTo>
                    <a:pt x="39712" y="385241"/>
                  </a:lnTo>
                  <a:lnTo>
                    <a:pt x="19062" y="426707"/>
                  </a:lnTo>
                  <a:lnTo>
                    <a:pt x="5575" y="471792"/>
                  </a:lnTo>
                  <a:lnTo>
                    <a:pt x="0" y="519785"/>
                  </a:lnTo>
                  <a:lnTo>
                    <a:pt x="47713" y="515747"/>
                  </a:lnTo>
                  <a:lnTo>
                    <a:pt x="92240" y="504088"/>
                  </a:lnTo>
                  <a:lnTo>
                    <a:pt x="133464" y="485495"/>
                  </a:lnTo>
                  <a:lnTo>
                    <a:pt x="170738" y="460616"/>
                  </a:lnTo>
                  <a:lnTo>
                    <a:pt x="203352" y="430161"/>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4">
                  <a:moveTo>
                    <a:pt x="548081" y="267322"/>
                  </a:moveTo>
                  <a:lnTo>
                    <a:pt x="542632" y="219151"/>
                  </a:lnTo>
                  <a:lnTo>
                    <a:pt x="529234" y="173888"/>
                  </a:lnTo>
                  <a:lnTo>
                    <a:pt x="508622" y="132257"/>
                  </a:lnTo>
                  <a:lnTo>
                    <a:pt x="488911" y="105156"/>
                  </a:lnTo>
                  <a:lnTo>
                    <a:pt x="481533" y="95008"/>
                  </a:lnTo>
                  <a:lnTo>
                    <a:pt x="448691" y="62852"/>
                  </a:lnTo>
                  <a:lnTo>
                    <a:pt x="410832" y="36550"/>
                  </a:lnTo>
                  <a:lnTo>
                    <a:pt x="368706" y="16814"/>
                  </a:lnTo>
                  <a:lnTo>
                    <a:pt x="323024" y="4381"/>
                  </a:lnTo>
                  <a:lnTo>
                    <a:pt x="274561" y="0"/>
                  </a:lnTo>
                  <a:lnTo>
                    <a:pt x="273329" y="0"/>
                  </a:lnTo>
                  <a:lnTo>
                    <a:pt x="224993" y="4356"/>
                  </a:lnTo>
                  <a:lnTo>
                    <a:pt x="179438" y="16725"/>
                  </a:lnTo>
                  <a:lnTo>
                    <a:pt x="137401" y="36372"/>
                  </a:lnTo>
                  <a:lnTo>
                    <a:pt x="99606" y="62560"/>
                  </a:lnTo>
                  <a:lnTo>
                    <a:pt x="66802" y="94576"/>
                  </a:lnTo>
                  <a:lnTo>
                    <a:pt x="39687" y="131686"/>
                  </a:lnTo>
                  <a:lnTo>
                    <a:pt x="19037" y="173139"/>
                  </a:lnTo>
                  <a:lnTo>
                    <a:pt x="5562" y="218224"/>
                  </a:lnTo>
                  <a:lnTo>
                    <a:pt x="0" y="266192"/>
                  </a:lnTo>
                  <a:lnTo>
                    <a:pt x="47713" y="262191"/>
                  </a:lnTo>
                  <a:lnTo>
                    <a:pt x="92240" y="250532"/>
                  </a:lnTo>
                  <a:lnTo>
                    <a:pt x="133464" y="231927"/>
                  </a:lnTo>
                  <a:lnTo>
                    <a:pt x="170738" y="207060"/>
                  </a:lnTo>
                  <a:lnTo>
                    <a:pt x="203365" y="176593"/>
                  </a:lnTo>
                  <a:lnTo>
                    <a:pt x="230670" y="141224"/>
                  </a:lnTo>
                  <a:lnTo>
                    <a:pt x="252006" y="101600"/>
                  </a:lnTo>
                  <a:lnTo>
                    <a:pt x="266661" y="58420"/>
                  </a:lnTo>
                  <a:lnTo>
                    <a:pt x="273989" y="12369"/>
                  </a:lnTo>
                  <a:lnTo>
                    <a:pt x="279844" y="50101"/>
                  </a:lnTo>
                  <a:lnTo>
                    <a:pt x="295719" y="101955"/>
                  </a:lnTo>
                  <a:lnTo>
                    <a:pt x="316992" y="141744"/>
                  </a:lnTo>
                  <a:lnTo>
                    <a:pt x="344284" y="177279"/>
                  </a:lnTo>
                  <a:lnTo>
                    <a:pt x="376923" y="207886"/>
                  </a:lnTo>
                  <a:lnTo>
                    <a:pt x="414248" y="232867"/>
                  </a:lnTo>
                  <a:lnTo>
                    <a:pt x="455549" y="251561"/>
                  </a:lnTo>
                  <a:lnTo>
                    <a:pt x="500176" y="263271"/>
                  </a:lnTo>
                  <a:lnTo>
                    <a:pt x="548081" y="267322"/>
                  </a:lnTo>
                  <a:close/>
                </a:path>
              </a:pathLst>
            </a:custGeom>
            <a:solidFill>
              <a:srgbClr val="7ED3F1"/>
            </a:solidFill>
          </p:spPr>
          <p:txBody>
            <a:bodyPr wrap="square" lIns="0" tIns="0" rIns="0" bIns="0" rtlCol="0"/>
            <a:lstStyle/>
            <a:p>
              <a:endParaRPr dirty="0"/>
            </a:p>
          </p:txBody>
        </p:sp>
        <p:pic>
          <p:nvPicPr>
            <p:cNvPr id="612" name="object 373">
              <a:extLst>
                <a:ext uri="{FF2B5EF4-FFF2-40B4-BE49-F238E27FC236}">
                  <a16:creationId xmlns:a16="http://schemas.microsoft.com/office/drawing/2014/main" id="{075A5FF0-663E-7CC6-3C32-28A2D0770D7E}"/>
                </a:ext>
              </a:extLst>
            </p:cNvPr>
            <p:cNvPicPr/>
            <p:nvPr/>
          </p:nvPicPr>
          <p:blipFill>
            <a:blip r:embed="rId9" cstate="print"/>
            <a:stretch>
              <a:fillRect/>
            </a:stretch>
          </p:blipFill>
          <p:spPr>
            <a:xfrm>
              <a:off x="9637261" y="2356067"/>
              <a:ext cx="106445" cy="107156"/>
            </a:xfrm>
            <a:prstGeom prst="rect">
              <a:avLst/>
            </a:prstGeom>
          </p:spPr>
        </p:pic>
        <p:sp>
          <p:nvSpPr>
            <p:cNvPr id="613" name="object 374">
              <a:extLst>
                <a:ext uri="{FF2B5EF4-FFF2-40B4-BE49-F238E27FC236}">
                  <a16:creationId xmlns:a16="http://schemas.microsoft.com/office/drawing/2014/main" id="{D0A92B9D-56BB-B98E-93AE-CF65EC39B1DD}"/>
                </a:ext>
              </a:extLst>
            </p:cNvPr>
            <p:cNvSpPr/>
            <p:nvPr/>
          </p:nvSpPr>
          <p:spPr>
            <a:xfrm>
              <a:off x="9523995"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614" name="object 375">
              <a:extLst>
                <a:ext uri="{FF2B5EF4-FFF2-40B4-BE49-F238E27FC236}">
                  <a16:creationId xmlns:a16="http://schemas.microsoft.com/office/drawing/2014/main" id="{58337390-4DE6-33D1-7B48-BC8345BC5004}"/>
                </a:ext>
              </a:extLst>
            </p:cNvPr>
            <p:cNvPicPr/>
            <p:nvPr/>
          </p:nvPicPr>
          <p:blipFill>
            <a:blip r:embed="rId25" cstate="print"/>
            <a:stretch>
              <a:fillRect/>
            </a:stretch>
          </p:blipFill>
          <p:spPr>
            <a:xfrm>
              <a:off x="9523996" y="123"/>
              <a:ext cx="152459" cy="99184"/>
            </a:xfrm>
            <a:prstGeom prst="rect">
              <a:avLst/>
            </a:prstGeom>
          </p:spPr>
        </p:pic>
        <p:pic>
          <p:nvPicPr>
            <p:cNvPr id="615" name="object 376">
              <a:extLst>
                <a:ext uri="{FF2B5EF4-FFF2-40B4-BE49-F238E27FC236}">
                  <a16:creationId xmlns:a16="http://schemas.microsoft.com/office/drawing/2014/main" id="{067A2EEE-FB1C-A0F2-0261-70F920686173}"/>
                </a:ext>
              </a:extLst>
            </p:cNvPr>
            <p:cNvPicPr/>
            <p:nvPr/>
          </p:nvPicPr>
          <p:blipFill>
            <a:blip r:embed="rId21" cstate="print"/>
            <a:stretch>
              <a:fillRect/>
            </a:stretch>
          </p:blipFill>
          <p:spPr>
            <a:xfrm>
              <a:off x="9703556" y="123"/>
              <a:ext cx="152798" cy="99837"/>
            </a:xfrm>
            <a:prstGeom prst="rect">
              <a:avLst/>
            </a:prstGeom>
          </p:spPr>
        </p:pic>
        <p:sp>
          <p:nvSpPr>
            <p:cNvPr id="616" name="object 377">
              <a:extLst>
                <a:ext uri="{FF2B5EF4-FFF2-40B4-BE49-F238E27FC236}">
                  <a16:creationId xmlns:a16="http://schemas.microsoft.com/office/drawing/2014/main" id="{B318BD1E-7DB8-E81B-1EAA-D592FEA9A623}"/>
                </a:ext>
              </a:extLst>
            </p:cNvPr>
            <p:cNvSpPr/>
            <p:nvPr/>
          </p:nvSpPr>
          <p:spPr>
            <a:xfrm>
              <a:off x="9523993" y="91626"/>
              <a:ext cx="332700" cy="323458"/>
            </a:xfrm>
            <a:custGeom>
              <a:avLst/>
              <a:gdLst/>
              <a:ahLst/>
              <a:cxnLst/>
              <a:rect l="l" t="t" r="r" b="b"/>
              <a:pathLst>
                <a:path w="548640" h="533400">
                  <a:moveTo>
                    <a:pt x="548081" y="532841"/>
                  </a:moveTo>
                  <a:lnTo>
                    <a:pt x="542632" y="484682"/>
                  </a:lnTo>
                  <a:lnTo>
                    <a:pt x="529234" y="439420"/>
                  </a:lnTo>
                  <a:lnTo>
                    <a:pt x="508622" y="397789"/>
                  </a:lnTo>
                  <a:lnTo>
                    <a:pt x="481520" y="360527"/>
                  </a:lnTo>
                  <a:lnTo>
                    <a:pt x="448678" y="328383"/>
                  </a:lnTo>
                  <a:lnTo>
                    <a:pt x="410832" y="302069"/>
                  </a:lnTo>
                  <a:lnTo>
                    <a:pt x="368693" y="282333"/>
                  </a:lnTo>
                  <a:lnTo>
                    <a:pt x="323024" y="269913"/>
                  </a:lnTo>
                  <a:lnTo>
                    <a:pt x="274561" y="265544"/>
                  </a:lnTo>
                  <a:lnTo>
                    <a:pt x="273329" y="265544"/>
                  </a:lnTo>
                  <a:lnTo>
                    <a:pt x="224993" y="269900"/>
                  </a:lnTo>
                  <a:lnTo>
                    <a:pt x="179438" y="282257"/>
                  </a:lnTo>
                  <a:lnTo>
                    <a:pt x="137401" y="301904"/>
                  </a:lnTo>
                  <a:lnTo>
                    <a:pt x="99606" y="328104"/>
                  </a:lnTo>
                  <a:lnTo>
                    <a:pt x="66802" y="360121"/>
                  </a:lnTo>
                  <a:lnTo>
                    <a:pt x="39712" y="397217"/>
                  </a:lnTo>
                  <a:lnTo>
                    <a:pt x="19062" y="438683"/>
                  </a:lnTo>
                  <a:lnTo>
                    <a:pt x="5575" y="483768"/>
                  </a:lnTo>
                  <a:lnTo>
                    <a:pt x="0" y="531761"/>
                  </a:lnTo>
                  <a:lnTo>
                    <a:pt x="47713" y="527723"/>
                  </a:lnTo>
                  <a:lnTo>
                    <a:pt x="92240" y="516064"/>
                  </a:lnTo>
                  <a:lnTo>
                    <a:pt x="133464" y="497471"/>
                  </a:lnTo>
                  <a:lnTo>
                    <a:pt x="170738" y="472592"/>
                  </a:lnTo>
                  <a:lnTo>
                    <a:pt x="203352" y="442137"/>
                  </a:lnTo>
                  <a:lnTo>
                    <a:pt x="230670" y="406755"/>
                  </a:lnTo>
                  <a:lnTo>
                    <a:pt x="251993" y="367118"/>
                  </a:lnTo>
                  <a:lnTo>
                    <a:pt x="266661" y="323926"/>
                  </a:lnTo>
                  <a:lnTo>
                    <a:pt x="273989" y="277837"/>
                  </a:lnTo>
                  <a:lnTo>
                    <a:pt x="281165" y="324116"/>
                  </a:lnTo>
                  <a:lnTo>
                    <a:pt x="295719" y="367487"/>
                  </a:lnTo>
                  <a:lnTo>
                    <a:pt x="316992" y="407276"/>
                  </a:lnTo>
                  <a:lnTo>
                    <a:pt x="344284" y="442810"/>
                  </a:lnTo>
                  <a:lnTo>
                    <a:pt x="376923" y="473417"/>
                  </a:lnTo>
                  <a:lnTo>
                    <a:pt x="414235" y="498398"/>
                  </a:lnTo>
                  <a:lnTo>
                    <a:pt x="455549" y="517080"/>
                  </a:lnTo>
                  <a:lnTo>
                    <a:pt x="500164" y="528789"/>
                  </a:lnTo>
                  <a:lnTo>
                    <a:pt x="548081" y="532841"/>
                  </a:lnTo>
                  <a:close/>
                </a:path>
                <a:path w="548640" h="533400">
                  <a:moveTo>
                    <a:pt x="548081" y="267309"/>
                  </a:moveTo>
                  <a:lnTo>
                    <a:pt x="542632" y="219138"/>
                  </a:lnTo>
                  <a:lnTo>
                    <a:pt x="529234" y="173888"/>
                  </a:lnTo>
                  <a:lnTo>
                    <a:pt x="508622" y="132257"/>
                  </a:lnTo>
                  <a:lnTo>
                    <a:pt x="481520" y="94996"/>
                  </a:lnTo>
                  <a:lnTo>
                    <a:pt x="448678" y="62852"/>
                  </a:lnTo>
                  <a:lnTo>
                    <a:pt x="410832" y="36537"/>
                  </a:lnTo>
                  <a:lnTo>
                    <a:pt x="368693" y="16802"/>
                  </a:lnTo>
                  <a:lnTo>
                    <a:pt x="323024" y="4381"/>
                  </a:lnTo>
                  <a:lnTo>
                    <a:pt x="274561" y="0"/>
                  </a:lnTo>
                  <a:lnTo>
                    <a:pt x="273329" y="0"/>
                  </a:lnTo>
                  <a:lnTo>
                    <a:pt x="224993" y="4356"/>
                  </a:lnTo>
                  <a:lnTo>
                    <a:pt x="179438" y="16725"/>
                  </a:lnTo>
                  <a:lnTo>
                    <a:pt x="137401" y="36372"/>
                  </a:lnTo>
                  <a:lnTo>
                    <a:pt x="99606" y="62572"/>
                  </a:lnTo>
                  <a:lnTo>
                    <a:pt x="66802" y="94576"/>
                  </a:lnTo>
                  <a:lnTo>
                    <a:pt x="39712" y="131686"/>
                  </a:lnTo>
                  <a:lnTo>
                    <a:pt x="19062" y="173151"/>
                  </a:lnTo>
                  <a:lnTo>
                    <a:pt x="5575" y="218236"/>
                  </a:lnTo>
                  <a:lnTo>
                    <a:pt x="0" y="266230"/>
                  </a:lnTo>
                  <a:lnTo>
                    <a:pt x="47713" y="262191"/>
                  </a:lnTo>
                  <a:lnTo>
                    <a:pt x="92240" y="250532"/>
                  </a:lnTo>
                  <a:lnTo>
                    <a:pt x="133464" y="231940"/>
                  </a:lnTo>
                  <a:lnTo>
                    <a:pt x="170738" y="207060"/>
                  </a:lnTo>
                  <a:lnTo>
                    <a:pt x="203352" y="176593"/>
                  </a:lnTo>
                  <a:lnTo>
                    <a:pt x="230670" y="141211"/>
                  </a:lnTo>
                  <a:lnTo>
                    <a:pt x="251993" y="101587"/>
                  </a:lnTo>
                  <a:lnTo>
                    <a:pt x="266661" y="58394"/>
                  </a:lnTo>
                  <a:lnTo>
                    <a:pt x="273989" y="12306"/>
                  </a:lnTo>
                  <a:lnTo>
                    <a:pt x="281165" y="58585"/>
                  </a:lnTo>
                  <a:lnTo>
                    <a:pt x="295719" y="101955"/>
                  </a:lnTo>
                  <a:lnTo>
                    <a:pt x="316992" y="141744"/>
                  </a:lnTo>
                  <a:lnTo>
                    <a:pt x="344284" y="177279"/>
                  </a:lnTo>
                  <a:lnTo>
                    <a:pt x="376923" y="207873"/>
                  </a:lnTo>
                  <a:lnTo>
                    <a:pt x="414235" y="232854"/>
                  </a:lnTo>
                  <a:lnTo>
                    <a:pt x="455549" y="251548"/>
                  </a:lnTo>
                  <a:lnTo>
                    <a:pt x="500164" y="263258"/>
                  </a:lnTo>
                  <a:lnTo>
                    <a:pt x="548081" y="267309"/>
                  </a:lnTo>
                  <a:close/>
                </a:path>
              </a:pathLst>
            </a:custGeom>
            <a:solidFill>
              <a:srgbClr val="2DB7EA"/>
            </a:solidFill>
          </p:spPr>
          <p:txBody>
            <a:bodyPr wrap="square" lIns="0" tIns="0" rIns="0" bIns="0" rtlCol="0"/>
            <a:lstStyle/>
            <a:p>
              <a:endParaRPr dirty="0"/>
            </a:p>
          </p:txBody>
        </p:sp>
        <p:pic>
          <p:nvPicPr>
            <p:cNvPr id="617" name="object 378">
              <a:extLst>
                <a:ext uri="{FF2B5EF4-FFF2-40B4-BE49-F238E27FC236}">
                  <a16:creationId xmlns:a16="http://schemas.microsoft.com/office/drawing/2014/main" id="{9BA2488C-B0F3-B1DA-413A-52AE25B5C205}"/>
                </a:ext>
              </a:extLst>
            </p:cNvPr>
            <p:cNvPicPr/>
            <p:nvPr/>
          </p:nvPicPr>
          <p:blipFill>
            <a:blip r:embed="rId8" cstate="print"/>
            <a:stretch>
              <a:fillRect/>
            </a:stretch>
          </p:blipFill>
          <p:spPr>
            <a:xfrm>
              <a:off x="9637261" y="393572"/>
              <a:ext cx="106445" cy="107156"/>
            </a:xfrm>
            <a:prstGeom prst="rect">
              <a:avLst/>
            </a:prstGeom>
          </p:spPr>
        </p:pic>
        <p:sp>
          <p:nvSpPr>
            <p:cNvPr id="618" name="object 379">
              <a:extLst>
                <a:ext uri="{FF2B5EF4-FFF2-40B4-BE49-F238E27FC236}">
                  <a16:creationId xmlns:a16="http://schemas.microsoft.com/office/drawing/2014/main" id="{EBFD0A63-A552-3127-E5E7-CB2142865828}"/>
                </a:ext>
              </a:extLst>
            </p:cNvPr>
            <p:cNvSpPr/>
            <p:nvPr/>
          </p:nvSpPr>
          <p:spPr>
            <a:xfrm>
              <a:off x="9523993" y="592039"/>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78" y="581926"/>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47"/>
                  </a:lnTo>
                  <a:lnTo>
                    <a:pt x="66802" y="613664"/>
                  </a:lnTo>
                  <a:lnTo>
                    <a:pt x="39712" y="650760"/>
                  </a:lnTo>
                  <a:lnTo>
                    <a:pt x="19062" y="692226"/>
                  </a:lnTo>
                  <a:lnTo>
                    <a:pt x="5575" y="737323"/>
                  </a:lnTo>
                  <a:lnTo>
                    <a:pt x="0" y="785304"/>
                  </a:lnTo>
                  <a:lnTo>
                    <a:pt x="47713" y="781278"/>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52"/>
                  </a:moveTo>
                  <a:lnTo>
                    <a:pt x="542632" y="472694"/>
                  </a:lnTo>
                  <a:lnTo>
                    <a:pt x="529234" y="427431"/>
                  </a:lnTo>
                  <a:lnTo>
                    <a:pt x="508622" y="385800"/>
                  </a:lnTo>
                  <a:lnTo>
                    <a:pt x="481520" y="348551"/>
                  </a:lnTo>
                  <a:lnTo>
                    <a:pt x="448678" y="316395"/>
                  </a:lnTo>
                  <a:lnTo>
                    <a:pt x="410832" y="290080"/>
                  </a:lnTo>
                  <a:lnTo>
                    <a:pt x="368693" y="270357"/>
                  </a:lnTo>
                  <a:lnTo>
                    <a:pt x="323024" y="257924"/>
                  </a:lnTo>
                  <a:lnTo>
                    <a:pt x="274561" y="253555"/>
                  </a:lnTo>
                  <a:lnTo>
                    <a:pt x="273329" y="253555"/>
                  </a:lnTo>
                  <a:lnTo>
                    <a:pt x="224993" y="257911"/>
                  </a:lnTo>
                  <a:lnTo>
                    <a:pt x="179438" y="270281"/>
                  </a:lnTo>
                  <a:lnTo>
                    <a:pt x="137401" y="289915"/>
                  </a:lnTo>
                  <a:lnTo>
                    <a:pt x="99606" y="316115"/>
                  </a:lnTo>
                  <a:lnTo>
                    <a:pt x="66802" y="348132"/>
                  </a:lnTo>
                  <a:lnTo>
                    <a:pt x="39712" y="385229"/>
                  </a:lnTo>
                  <a:lnTo>
                    <a:pt x="19062" y="426694"/>
                  </a:lnTo>
                  <a:lnTo>
                    <a:pt x="5575" y="471779"/>
                  </a:lnTo>
                  <a:lnTo>
                    <a:pt x="0" y="519772"/>
                  </a:lnTo>
                  <a:lnTo>
                    <a:pt x="47713" y="515734"/>
                  </a:lnTo>
                  <a:lnTo>
                    <a:pt x="92240" y="504088"/>
                  </a:lnTo>
                  <a:lnTo>
                    <a:pt x="133464" y="485482"/>
                  </a:lnTo>
                  <a:lnTo>
                    <a:pt x="170738" y="460616"/>
                  </a:lnTo>
                  <a:lnTo>
                    <a:pt x="203352" y="430149"/>
                  </a:lnTo>
                  <a:lnTo>
                    <a:pt x="230670" y="394766"/>
                  </a:lnTo>
                  <a:lnTo>
                    <a:pt x="251993" y="355142"/>
                  </a:lnTo>
                  <a:lnTo>
                    <a:pt x="266661" y="311937"/>
                  </a:lnTo>
                  <a:lnTo>
                    <a:pt x="273989" y="265861"/>
                  </a:lnTo>
                  <a:lnTo>
                    <a:pt x="281165" y="312127"/>
                  </a:lnTo>
                  <a:lnTo>
                    <a:pt x="295719" y="355498"/>
                  </a:lnTo>
                  <a:lnTo>
                    <a:pt x="316992" y="395300"/>
                  </a:lnTo>
                  <a:lnTo>
                    <a:pt x="344284" y="430834"/>
                  </a:lnTo>
                  <a:lnTo>
                    <a:pt x="376923" y="461429"/>
                  </a:lnTo>
                  <a:lnTo>
                    <a:pt x="414235" y="486410"/>
                  </a:lnTo>
                  <a:lnTo>
                    <a:pt x="455549" y="505091"/>
                  </a:lnTo>
                  <a:lnTo>
                    <a:pt x="500164" y="516801"/>
                  </a:lnTo>
                  <a:lnTo>
                    <a:pt x="548081" y="520852"/>
                  </a:lnTo>
                  <a:close/>
                </a:path>
                <a:path w="548640" h="786764">
                  <a:moveTo>
                    <a:pt x="548081" y="267322"/>
                  </a:moveTo>
                  <a:lnTo>
                    <a:pt x="542632" y="219138"/>
                  </a:lnTo>
                  <a:lnTo>
                    <a:pt x="529234" y="173875"/>
                  </a:lnTo>
                  <a:lnTo>
                    <a:pt x="508622" y="132245"/>
                  </a:lnTo>
                  <a:lnTo>
                    <a:pt x="481533" y="94996"/>
                  </a:lnTo>
                  <a:lnTo>
                    <a:pt x="480834" y="94322"/>
                  </a:lnTo>
                  <a:lnTo>
                    <a:pt x="448691" y="62839"/>
                  </a:lnTo>
                  <a:lnTo>
                    <a:pt x="433158" y="52057"/>
                  </a:lnTo>
                  <a:lnTo>
                    <a:pt x="410832" y="36537"/>
                  </a:lnTo>
                  <a:lnTo>
                    <a:pt x="368693" y="16789"/>
                  </a:lnTo>
                  <a:lnTo>
                    <a:pt x="323024" y="4368"/>
                  </a:lnTo>
                  <a:lnTo>
                    <a:pt x="274561" y="12"/>
                  </a:lnTo>
                  <a:lnTo>
                    <a:pt x="273329" y="0"/>
                  </a:lnTo>
                  <a:lnTo>
                    <a:pt x="224993" y="4356"/>
                  </a:lnTo>
                  <a:lnTo>
                    <a:pt x="179438" y="16713"/>
                  </a:lnTo>
                  <a:lnTo>
                    <a:pt x="137401" y="36360"/>
                  </a:lnTo>
                  <a:lnTo>
                    <a:pt x="99606" y="62560"/>
                  </a:lnTo>
                  <a:lnTo>
                    <a:pt x="66802" y="94576"/>
                  </a:lnTo>
                  <a:lnTo>
                    <a:pt x="39687" y="131686"/>
                  </a:lnTo>
                  <a:lnTo>
                    <a:pt x="19037" y="173139"/>
                  </a:lnTo>
                  <a:lnTo>
                    <a:pt x="5562" y="218211"/>
                  </a:lnTo>
                  <a:lnTo>
                    <a:pt x="0" y="266192"/>
                  </a:lnTo>
                  <a:lnTo>
                    <a:pt x="47713" y="262178"/>
                  </a:lnTo>
                  <a:lnTo>
                    <a:pt x="92240" y="250520"/>
                  </a:lnTo>
                  <a:lnTo>
                    <a:pt x="133464" y="231927"/>
                  </a:lnTo>
                  <a:lnTo>
                    <a:pt x="170738" y="207048"/>
                  </a:lnTo>
                  <a:lnTo>
                    <a:pt x="203365" y="176593"/>
                  </a:lnTo>
                  <a:lnTo>
                    <a:pt x="230670" y="141211"/>
                  </a:lnTo>
                  <a:lnTo>
                    <a:pt x="252006" y="101587"/>
                  </a:lnTo>
                  <a:lnTo>
                    <a:pt x="266661" y="58407"/>
                  </a:lnTo>
                  <a:lnTo>
                    <a:pt x="273989" y="12357"/>
                  </a:lnTo>
                  <a:lnTo>
                    <a:pt x="281165" y="58572"/>
                  </a:lnTo>
                  <a:lnTo>
                    <a:pt x="295719" y="101942"/>
                  </a:lnTo>
                  <a:lnTo>
                    <a:pt x="316992" y="141732"/>
                  </a:lnTo>
                  <a:lnTo>
                    <a:pt x="344284" y="177266"/>
                  </a:lnTo>
                  <a:lnTo>
                    <a:pt x="376923" y="207873"/>
                  </a:lnTo>
                  <a:lnTo>
                    <a:pt x="414235" y="232854"/>
                  </a:lnTo>
                  <a:lnTo>
                    <a:pt x="455549" y="251548"/>
                  </a:lnTo>
                  <a:lnTo>
                    <a:pt x="500176" y="263258"/>
                  </a:lnTo>
                  <a:lnTo>
                    <a:pt x="548081" y="267322"/>
                  </a:lnTo>
                  <a:close/>
                </a:path>
              </a:pathLst>
            </a:custGeom>
            <a:solidFill>
              <a:srgbClr val="7ED3F1"/>
            </a:solidFill>
          </p:spPr>
          <p:txBody>
            <a:bodyPr wrap="square" lIns="0" tIns="0" rIns="0" bIns="0" rtlCol="0"/>
            <a:lstStyle/>
            <a:p>
              <a:endParaRPr dirty="0"/>
            </a:p>
          </p:txBody>
        </p:sp>
        <p:pic>
          <p:nvPicPr>
            <p:cNvPr id="619" name="object 380">
              <a:extLst>
                <a:ext uri="{FF2B5EF4-FFF2-40B4-BE49-F238E27FC236}">
                  <a16:creationId xmlns:a16="http://schemas.microsoft.com/office/drawing/2014/main" id="{E6B8592A-C65F-E4DC-01C0-D45A461717C5}"/>
                </a:ext>
              </a:extLst>
            </p:cNvPr>
            <p:cNvPicPr/>
            <p:nvPr/>
          </p:nvPicPr>
          <p:blipFill>
            <a:blip r:embed="rId9" cstate="print"/>
            <a:stretch>
              <a:fillRect/>
            </a:stretch>
          </p:blipFill>
          <p:spPr>
            <a:xfrm>
              <a:off x="9637261" y="1047738"/>
              <a:ext cx="106445" cy="107156"/>
            </a:xfrm>
            <a:prstGeom prst="rect">
              <a:avLst/>
            </a:prstGeom>
          </p:spPr>
        </p:pic>
      </p:grpSp>
    </p:spTree>
    <p:extLst>
      <p:ext uri="{BB962C8B-B14F-4D97-AF65-F5344CB8AC3E}">
        <p14:creationId xmlns:p14="http://schemas.microsoft.com/office/powerpoint/2010/main" val="20225465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Section_2">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BD7BEE-6811-6359-1186-3772F8512FF9}"/>
              </a:ext>
            </a:extLst>
          </p:cNvPr>
          <p:cNvGraphicFramePr>
            <a:graphicFrameLocks noChangeAspect="1"/>
          </p:cNvGraphicFramePr>
          <p:nvPr userDrawn="1">
            <p:custDataLst>
              <p:tags r:id="rId1"/>
            </p:custDataLst>
            <p:extLst>
              <p:ext uri="{D42A27DB-BD31-4B8C-83A1-F6EECF244321}">
                <p14:modId xmlns:p14="http://schemas.microsoft.com/office/powerpoint/2010/main" val="2993104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33BD7BEE-6811-6359-1186-3772F8512F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0E54332-E229-4313-2F47-C5F0582161C2}"/>
              </a:ext>
            </a:extLst>
          </p:cNvPr>
          <p:cNvSpPr/>
          <p:nvPr userDrawn="1"/>
        </p:nvSpPr>
        <p:spPr>
          <a:xfrm>
            <a:off x="6952342" y="0"/>
            <a:ext cx="5239657" cy="6858000"/>
          </a:xfrm>
          <a:prstGeom prst="rect">
            <a:avLst/>
          </a:prstGeom>
          <a:solidFill>
            <a:srgbClr val="009FD3"/>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400" kern="0" dirty="0">
              <a:solidFill>
                <a:schemeClr val="tx1"/>
              </a:solidFill>
            </a:endParaRPr>
          </a:p>
        </p:txBody>
      </p:sp>
      <p:sp>
        <p:nvSpPr>
          <p:cNvPr id="2" name="SectionTitle"/>
          <p:cNvSpPr>
            <a:spLocks noGrp="1"/>
          </p:cNvSpPr>
          <p:nvPr>
            <p:ph type="body" sz="quarter" idx="11" hasCustomPrompt="1"/>
          </p:nvPr>
        </p:nvSpPr>
        <p:spPr>
          <a:xfrm>
            <a:off x="457200" y="4681728"/>
            <a:ext cx="6273800" cy="948978"/>
          </a:xfrm>
        </p:spPr>
        <p:txBody>
          <a:bodyPr vert="horz" wrap="square" lIns="0" tIns="0" rIns="0" bIns="0" numCol="1" anchor="t" anchorCtr="0" compatLnSpc="1">
            <a:prstTxWarp prst="textNoShape">
              <a:avLst/>
            </a:prstTxWarp>
            <a:spAutoFit/>
          </a:bodyPr>
          <a:lstStyle>
            <a:lvl1pPr marL="0" indent="0" algn="l" fontAlgn="base">
              <a:lnSpc>
                <a:spcPct val="100000"/>
              </a:lnSpc>
              <a:spcBef>
                <a:spcPts val="0"/>
              </a:spcBef>
              <a:spcAft>
                <a:spcPts val="200"/>
              </a:spcAft>
              <a:buFont typeface="Arial" panose="020B0604020202020204" pitchFamily="34" charset="0"/>
              <a:buChar char="​"/>
              <a:defRPr sz="4000">
                <a:solidFill>
                  <a:schemeClr val="tx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t>Click to add section title</a:t>
            </a:r>
          </a:p>
          <a:p>
            <a:pPr lvl="1"/>
            <a:r>
              <a:t>Click to add section subtitle</a:t>
            </a:r>
          </a:p>
        </p:txBody>
      </p:sp>
      <p:sp>
        <p:nvSpPr>
          <p:cNvPr id="3" name="SectionNumber"/>
          <p:cNvSpPr>
            <a:spLocks noGrp="1"/>
          </p:cNvSpPr>
          <p:nvPr>
            <p:ph type="body" sz="quarter" idx="12" hasCustomPrompt="1"/>
          </p:nvPr>
        </p:nvSpPr>
        <p:spPr>
          <a:xfrm>
            <a:off x="457200" y="3340100"/>
            <a:ext cx="6273800" cy="1341628"/>
          </a:xfrm>
        </p:spPr>
        <p:txBody>
          <a:bodyPr lIns="0" tIns="0" rIns="0" bIns="0" anchor="b"/>
          <a:lstStyle>
            <a:lvl1pPr marL="342900" indent="-342900" algn="l" fontAlgn="base">
              <a:lnSpc>
                <a:spcPct val="100000"/>
              </a:lnSpc>
              <a:spcBef>
                <a:spcPts val="0"/>
              </a:spcBef>
              <a:spcAft>
                <a:spcPts val="0"/>
              </a:spcAft>
              <a:buFont typeface="Arial" panose="020B0604020202020204" pitchFamily="34" charset="0"/>
              <a:buChar char="​"/>
              <a:defRPr sz="11500" b="1" kern="0" dirty="0">
                <a:solidFill>
                  <a:schemeClr val="accent1"/>
                </a:solidFill>
                <a:latin typeface="+mj-lt"/>
                <a:ea typeface="+mj-ea"/>
                <a:cs typeface="+mj-cs"/>
              </a:defRPr>
            </a:lvl1pPr>
            <a:lvl2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9pPr>
          </a:lstStyle>
          <a:p>
            <a:pPr marL="0" lvl="0" indent="0" algn="l" defTabSz="914370" rtl="0" eaLnBrk="1" fontAlgn="base" latinLnBrk="0" hangingPunct="1">
              <a:lnSpc>
                <a:spcPct val="88000"/>
              </a:lnSpc>
              <a:spcBef>
                <a:spcPts val="0"/>
              </a:spcBef>
              <a:spcAft>
                <a:spcPts val="0"/>
              </a:spcAft>
              <a:buFont typeface="Arial" panose="020B0604020202020204" pitchFamily="34" charset="0"/>
              <a:buChar char="​"/>
            </a:pPr>
            <a:r>
              <a:t>##</a:t>
            </a:r>
          </a:p>
        </p:txBody>
      </p:sp>
      <p:grpSp>
        <p:nvGrpSpPr>
          <p:cNvPr id="6" name="Group 5">
            <a:extLst>
              <a:ext uri="{FF2B5EF4-FFF2-40B4-BE49-F238E27FC236}">
                <a16:creationId xmlns:a16="http://schemas.microsoft.com/office/drawing/2014/main" id="{2749A19E-109D-D35E-9540-885F0A2B847A}"/>
              </a:ext>
            </a:extLst>
          </p:cNvPr>
          <p:cNvGrpSpPr/>
          <p:nvPr userDrawn="1"/>
        </p:nvGrpSpPr>
        <p:grpSpPr>
          <a:xfrm>
            <a:off x="7101763" y="123"/>
            <a:ext cx="4940816" cy="6857754"/>
            <a:chOff x="7226300" y="123"/>
            <a:chExt cx="4940816" cy="6857754"/>
          </a:xfrm>
        </p:grpSpPr>
        <p:sp>
          <p:nvSpPr>
            <p:cNvPr id="7" name="object 5">
              <a:extLst>
                <a:ext uri="{FF2B5EF4-FFF2-40B4-BE49-F238E27FC236}">
                  <a16:creationId xmlns:a16="http://schemas.microsoft.com/office/drawing/2014/main" id="{86A77038-B957-5AB3-4D00-7A4CB5915B24}"/>
                </a:ext>
              </a:extLst>
            </p:cNvPr>
            <p:cNvSpPr/>
            <p:nvPr/>
          </p:nvSpPr>
          <p:spPr>
            <a:xfrm>
              <a:off x="10679200" y="6037749"/>
              <a:ext cx="332700" cy="477101"/>
            </a:xfrm>
            <a:custGeom>
              <a:avLst/>
              <a:gdLst/>
              <a:ahLst/>
              <a:cxnLst/>
              <a:rect l="l" t="t" r="r" b="b"/>
              <a:pathLst>
                <a:path w="548640" h="786765">
                  <a:moveTo>
                    <a:pt x="548043" y="266611"/>
                  </a:moveTo>
                  <a:lnTo>
                    <a:pt x="500380" y="270649"/>
                  </a:lnTo>
                  <a:lnTo>
                    <a:pt x="455853" y="282308"/>
                  </a:lnTo>
                  <a:lnTo>
                    <a:pt x="414616" y="300901"/>
                  </a:lnTo>
                  <a:lnTo>
                    <a:pt x="377355" y="325780"/>
                  </a:lnTo>
                  <a:lnTo>
                    <a:pt x="344728" y="356235"/>
                  </a:lnTo>
                  <a:lnTo>
                    <a:pt x="317411" y="391629"/>
                  </a:lnTo>
                  <a:lnTo>
                    <a:pt x="296087" y="431253"/>
                  </a:lnTo>
                  <a:lnTo>
                    <a:pt x="281432" y="474446"/>
                  </a:lnTo>
                  <a:lnTo>
                    <a:pt x="274091" y="520534"/>
                  </a:lnTo>
                  <a:lnTo>
                    <a:pt x="266915" y="474256"/>
                  </a:lnTo>
                  <a:lnTo>
                    <a:pt x="252361" y="430885"/>
                  </a:lnTo>
                  <a:lnTo>
                    <a:pt x="231101" y="391096"/>
                  </a:lnTo>
                  <a:lnTo>
                    <a:pt x="203809" y="355561"/>
                  </a:lnTo>
                  <a:lnTo>
                    <a:pt x="171157" y="324954"/>
                  </a:lnTo>
                  <a:lnTo>
                    <a:pt x="133845" y="299986"/>
                  </a:lnTo>
                  <a:lnTo>
                    <a:pt x="92544" y="281292"/>
                  </a:lnTo>
                  <a:lnTo>
                    <a:pt x="47917" y="269582"/>
                  </a:lnTo>
                  <a:lnTo>
                    <a:pt x="12" y="265531"/>
                  </a:lnTo>
                  <a:lnTo>
                    <a:pt x="5461" y="313690"/>
                  </a:lnTo>
                  <a:lnTo>
                    <a:pt x="18846" y="358952"/>
                  </a:lnTo>
                  <a:lnTo>
                    <a:pt x="39471" y="400583"/>
                  </a:lnTo>
                  <a:lnTo>
                    <a:pt x="66560" y="437832"/>
                  </a:lnTo>
                  <a:lnTo>
                    <a:pt x="99402" y="469988"/>
                  </a:lnTo>
                  <a:lnTo>
                    <a:pt x="137261" y="496303"/>
                  </a:lnTo>
                  <a:lnTo>
                    <a:pt x="179387" y="516026"/>
                  </a:lnTo>
                  <a:lnTo>
                    <a:pt x="225056" y="528459"/>
                  </a:lnTo>
                  <a:lnTo>
                    <a:pt x="273532" y="532841"/>
                  </a:lnTo>
                  <a:lnTo>
                    <a:pt x="274751" y="532841"/>
                  </a:lnTo>
                  <a:lnTo>
                    <a:pt x="323100" y="528472"/>
                  </a:lnTo>
                  <a:lnTo>
                    <a:pt x="368655" y="516102"/>
                  </a:lnTo>
                  <a:lnTo>
                    <a:pt x="410679" y="496468"/>
                  </a:lnTo>
                  <a:lnTo>
                    <a:pt x="448475" y="470268"/>
                  </a:lnTo>
                  <a:lnTo>
                    <a:pt x="481266" y="438251"/>
                  </a:lnTo>
                  <a:lnTo>
                    <a:pt x="508368" y="401154"/>
                  </a:lnTo>
                  <a:lnTo>
                    <a:pt x="529005" y="359689"/>
                  </a:lnTo>
                  <a:lnTo>
                    <a:pt x="542480" y="314604"/>
                  </a:lnTo>
                  <a:lnTo>
                    <a:pt x="548043" y="266611"/>
                  </a:lnTo>
                  <a:close/>
                </a:path>
                <a:path w="548640" h="786765">
                  <a:moveTo>
                    <a:pt x="548043" y="1092"/>
                  </a:moveTo>
                  <a:lnTo>
                    <a:pt x="500380" y="5130"/>
                  </a:lnTo>
                  <a:lnTo>
                    <a:pt x="455853" y="16789"/>
                  </a:lnTo>
                  <a:lnTo>
                    <a:pt x="414616" y="35382"/>
                  </a:lnTo>
                  <a:lnTo>
                    <a:pt x="377355" y="60248"/>
                  </a:lnTo>
                  <a:lnTo>
                    <a:pt x="344728" y="90716"/>
                  </a:lnTo>
                  <a:lnTo>
                    <a:pt x="317411" y="126098"/>
                  </a:lnTo>
                  <a:lnTo>
                    <a:pt x="296087" y="165722"/>
                  </a:lnTo>
                  <a:lnTo>
                    <a:pt x="281432" y="208915"/>
                  </a:lnTo>
                  <a:lnTo>
                    <a:pt x="274091" y="255003"/>
                  </a:lnTo>
                  <a:lnTo>
                    <a:pt x="266915" y="208724"/>
                  </a:lnTo>
                  <a:lnTo>
                    <a:pt x="252361" y="165354"/>
                  </a:lnTo>
                  <a:lnTo>
                    <a:pt x="231101" y="125564"/>
                  </a:lnTo>
                  <a:lnTo>
                    <a:pt x="203809" y="90030"/>
                  </a:lnTo>
                  <a:lnTo>
                    <a:pt x="171157" y="59436"/>
                  </a:lnTo>
                  <a:lnTo>
                    <a:pt x="133845" y="34455"/>
                  </a:lnTo>
                  <a:lnTo>
                    <a:pt x="92544" y="15773"/>
                  </a:lnTo>
                  <a:lnTo>
                    <a:pt x="47917" y="4064"/>
                  </a:lnTo>
                  <a:lnTo>
                    <a:pt x="12" y="0"/>
                  </a:lnTo>
                  <a:lnTo>
                    <a:pt x="5461" y="48171"/>
                  </a:lnTo>
                  <a:lnTo>
                    <a:pt x="18846"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79" y="230936"/>
                  </a:lnTo>
                  <a:lnTo>
                    <a:pt x="448475" y="204749"/>
                  </a:lnTo>
                  <a:lnTo>
                    <a:pt x="481266" y="172732"/>
                  </a:lnTo>
                  <a:lnTo>
                    <a:pt x="508368" y="135623"/>
                  </a:lnTo>
                  <a:lnTo>
                    <a:pt x="529005" y="94170"/>
                  </a:lnTo>
                  <a:lnTo>
                    <a:pt x="542480" y="49085"/>
                  </a:lnTo>
                  <a:lnTo>
                    <a:pt x="548043" y="1092"/>
                  </a:lnTo>
                  <a:close/>
                </a:path>
                <a:path w="548640" h="786765">
                  <a:moveTo>
                    <a:pt x="548093" y="520204"/>
                  </a:moveTo>
                  <a:lnTo>
                    <a:pt x="500380" y="524217"/>
                  </a:lnTo>
                  <a:lnTo>
                    <a:pt x="455853" y="535876"/>
                  </a:lnTo>
                  <a:lnTo>
                    <a:pt x="414616" y="554469"/>
                  </a:lnTo>
                  <a:lnTo>
                    <a:pt x="377355" y="579348"/>
                  </a:lnTo>
                  <a:lnTo>
                    <a:pt x="344728" y="609803"/>
                  </a:lnTo>
                  <a:lnTo>
                    <a:pt x="317411" y="645172"/>
                  </a:lnTo>
                  <a:lnTo>
                    <a:pt x="296087" y="684796"/>
                  </a:lnTo>
                  <a:lnTo>
                    <a:pt x="281419" y="727989"/>
                  </a:lnTo>
                  <a:lnTo>
                    <a:pt x="274091" y="774065"/>
                  </a:lnTo>
                  <a:lnTo>
                    <a:pt x="266915" y="727824"/>
                  </a:lnTo>
                  <a:lnTo>
                    <a:pt x="252361" y="684453"/>
                  </a:lnTo>
                  <a:lnTo>
                    <a:pt x="231101" y="644652"/>
                  </a:lnTo>
                  <a:lnTo>
                    <a:pt x="203809" y="609117"/>
                  </a:lnTo>
                  <a:lnTo>
                    <a:pt x="171157" y="578523"/>
                  </a:lnTo>
                  <a:lnTo>
                    <a:pt x="133845" y="553542"/>
                  </a:lnTo>
                  <a:lnTo>
                    <a:pt x="92544" y="534835"/>
                  </a:lnTo>
                  <a:lnTo>
                    <a:pt x="47917" y="523125"/>
                  </a:lnTo>
                  <a:lnTo>
                    <a:pt x="0" y="519074"/>
                  </a:lnTo>
                  <a:lnTo>
                    <a:pt x="5448" y="567245"/>
                  </a:lnTo>
                  <a:lnTo>
                    <a:pt x="18846" y="612521"/>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2DB7EA"/>
            </a:solidFill>
          </p:spPr>
          <p:txBody>
            <a:bodyPr wrap="square" lIns="0" tIns="0" rIns="0" bIns="0" rtlCol="0"/>
            <a:lstStyle/>
            <a:p>
              <a:endParaRPr dirty="0"/>
            </a:p>
          </p:txBody>
        </p:sp>
        <p:pic>
          <p:nvPicPr>
            <p:cNvPr id="8" name="object 6">
              <a:extLst>
                <a:ext uri="{FF2B5EF4-FFF2-40B4-BE49-F238E27FC236}">
                  <a16:creationId xmlns:a16="http://schemas.microsoft.com/office/drawing/2014/main" id="{DAAFA831-C735-B217-1AA6-7F1FC1045F17}"/>
                </a:ext>
              </a:extLst>
            </p:cNvPr>
            <p:cNvPicPr/>
            <p:nvPr/>
          </p:nvPicPr>
          <p:blipFill>
            <a:blip r:embed="rId5" cstate="print"/>
            <a:stretch>
              <a:fillRect/>
            </a:stretch>
          </p:blipFill>
          <p:spPr>
            <a:xfrm>
              <a:off x="10791857" y="5951762"/>
              <a:ext cx="106445" cy="107156"/>
            </a:xfrm>
            <a:prstGeom prst="rect">
              <a:avLst/>
            </a:prstGeom>
          </p:spPr>
        </p:pic>
        <p:sp>
          <p:nvSpPr>
            <p:cNvPr id="9" name="object 7">
              <a:extLst>
                <a:ext uri="{FF2B5EF4-FFF2-40B4-BE49-F238E27FC236}">
                  <a16:creationId xmlns:a16="http://schemas.microsoft.com/office/drawing/2014/main" id="{F2E0EBEB-B19F-70A6-92C6-3ED5618C6467}"/>
                </a:ext>
              </a:extLst>
            </p:cNvPr>
            <p:cNvSpPr/>
            <p:nvPr/>
          </p:nvSpPr>
          <p:spPr>
            <a:xfrm>
              <a:off x="10679200" y="5383587"/>
              <a:ext cx="332700" cy="477101"/>
            </a:xfrm>
            <a:custGeom>
              <a:avLst/>
              <a:gdLst/>
              <a:ahLst/>
              <a:cxnLst/>
              <a:rect l="l" t="t" r="r" b="b"/>
              <a:pathLst>
                <a:path w="548640" h="786765">
                  <a:moveTo>
                    <a:pt x="548043" y="266623"/>
                  </a:moveTo>
                  <a:lnTo>
                    <a:pt x="500380" y="270649"/>
                  </a:lnTo>
                  <a:lnTo>
                    <a:pt x="455853" y="282308"/>
                  </a:lnTo>
                  <a:lnTo>
                    <a:pt x="414616" y="300913"/>
                  </a:lnTo>
                  <a:lnTo>
                    <a:pt x="377355" y="325780"/>
                  </a:lnTo>
                  <a:lnTo>
                    <a:pt x="344728" y="356235"/>
                  </a:lnTo>
                  <a:lnTo>
                    <a:pt x="317411" y="391617"/>
                  </a:lnTo>
                  <a:lnTo>
                    <a:pt x="296087" y="431241"/>
                  </a:lnTo>
                  <a:lnTo>
                    <a:pt x="281432" y="474446"/>
                  </a:lnTo>
                  <a:lnTo>
                    <a:pt x="274091" y="520522"/>
                  </a:lnTo>
                  <a:lnTo>
                    <a:pt x="266915"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46" y="358952"/>
                  </a:lnTo>
                  <a:lnTo>
                    <a:pt x="39471" y="400583"/>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79" y="496455"/>
                  </a:lnTo>
                  <a:lnTo>
                    <a:pt x="448475" y="470268"/>
                  </a:lnTo>
                  <a:lnTo>
                    <a:pt x="481266" y="438251"/>
                  </a:lnTo>
                  <a:lnTo>
                    <a:pt x="508368" y="401154"/>
                  </a:lnTo>
                  <a:lnTo>
                    <a:pt x="529005" y="359689"/>
                  </a:lnTo>
                  <a:lnTo>
                    <a:pt x="542480" y="314604"/>
                  </a:lnTo>
                  <a:lnTo>
                    <a:pt x="548043" y="266623"/>
                  </a:lnTo>
                  <a:close/>
                </a:path>
                <a:path w="548640" h="786765">
                  <a:moveTo>
                    <a:pt x="548043" y="1079"/>
                  </a:moveTo>
                  <a:lnTo>
                    <a:pt x="500380" y="5118"/>
                  </a:lnTo>
                  <a:lnTo>
                    <a:pt x="455853" y="16764"/>
                  </a:lnTo>
                  <a:lnTo>
                    <a:pt x="414616" y="35369"/>
                  </a:lnTo>
                  <a:lnTo>
                    <a:pt x="377355" y="60236"/>
                  </a:lnTo>
                  <a:lnTo>
                    <a:pt x="344728" y="90703"/>
                  </a:lnTo>
                  <a:lnTo>
                    <a:pt x="317411" y="126085"/>
                  </a:lnTo>
                  <a:lnTo>
                    <a:pt x="296087" y="165722"/>
                  </a:lnTo>
                  <a:lnTo>
                    <a:pt x="281432" y="208915"/>
                  </a:lnTo>
                  <a:lnTo>
                    <a:pt x="274091" y="255003"/>
                  </a:lnTo>
                  <a:lnTo>
                    <a:pt x="266915" y="208724"/>
                  </a:lnTo>
                  <a:lnTo>
                    <a:pt x="252361" y="165354"/>
                  </a:lnTo>
                  <a:lnTo>
                    <a:pt x="231101" y="125564"/>
                  </a:lnTo>
                  <a:lnTo>
                    <a:pt x="203809" y="90030"/>
                  </a:lnTo>
                  <a:lnTo>
                    <a:pt x="171157" y="59423"/>
                  </a:lnTo>
                  <a:lnTo>
                    <a:pt x="133845" y="34442"/>
                  </a:lnTo>
                  <a:lnTo>
                    <a:pt x="92544" y="15760"/>
                  </a:lnTo>
                  <a:lnTo>
                    <a:pt x="47917" y="4051"/>
                  </a:lnTo>
                  <a:lnTo>
                    <a:pt x="12" y="0"/>
                  </a:lnTo>
                  <a:lnTo>
                    <a:pt x="5461" y="48158"/>
                  </a:lnTo>
                  <a:lnTo>
                    <a:pt x="18846"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36"/>
                  </a:lnTo>
                  <a:lnTo>
                    <a:pt x="481266" y="172720"/>
                  </a:lnTo>
                  <a:lnTo>
                    <a:pt x="508368" y="135623"/>
                  </a:lnTo>
                  <a:lnTo>
                    <a:pt x="529005" y="94157"/>
                  </a:lnTo>
                  <a:lnTo>
                    <a:pt x="542480" y="49072"/>
                  </a:lnTo>
                  <a:lnTo>
                    <a:pt x="548043" y="1079"/>
                  </a:lnTo>
                  <a:close/>
                </a:path>
                <a:path w="548640" h="786765">
                  <a:moveTo>
                    <a:pt x="548093" y="520192"/>
                  </a:moveTo>
                  <a:lnTo>
                    <a:pt x="500380" y="524217"/>
                  </a:lnTo>
                  <a:lnTo>
                    <a:pt x="455853" y="535876"/>
                  </a:lnTo>
                  <a:lnTo>
                    <a:pt x="414616" y="554469"/>
                  </a:lnTo>
                  <a:lnTo>
                    <a:pt x="377355" y="579335"/>
                  </a:lnTo>
                  <a:lnTo>
                    <a:pt x="344728" y="609790"/>
                  </a:lnTo>
                  <a:lnTo>
                    <a:pt x="317411" y="645172"/>
                  </a:lnTo>
                  <a:lnTo>
                    <a:pt x="296087" y="684796"/>
                  </a:lnTo>
                  <a:lnTo>
                    <a:pt x="281419" y="727976"/>
                  </a:lnTo>
                  <a:lnTo>
                    <a:pt x="274091" y="774065"/>
                  </a:lnTo>
                  <a:lnTo>
                    <a:pt x="266915" y="727811"/>
                  </a:lnTo>
                  <a:lnTo>
                    <a:pt x="252361" y="684441"/>
                  </a:lnTo>
                  <a:lnTo>
                    <a:pt x="231101" y="644652"/>
                  </a:lnTo>
                  <a:lnTo>
                    <a:pt x="203809" y="609117"/>
                  </a:lnTo>
                  <a:lnTo>
                    <a:pt x="171157" y="578523"/>
                  </a:lnTo>
                  <a:lnTo>
                    <a:pt x="133845" y="553542"/>
                  </a:lnTo>
                  <a:lnTo>
                    <a:pt x="92544" y="534847"/>
                  </a:lnTo>
                  <a:lnTo>
                    <a:pt x="47917" y="523125"/>
                  </a:lnTo>
                  <a:lnTo>
                    <a:pt x="0" y="519061"/>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27"/>
                  </a:lnTo>
                  <a:lnTo>
                    <a:pt x="368655" y="769670"/>
                  </a:lnTo>
                  <a:lnTo>
                    <a:pt x="410679" y="750023"/>
                  </a:lnTo>
                  <a:lnTo>
                    <a:pt x="448475" y="723823"/>
                  </a:lnTo>
                  <a:lnTo>
                    <a:pt x="449313" y="723011"/>
                  </a:lnTo>
                  <a:lnTo>
                    <a:pt x="481266" y="691819"/>
                  </a:lnTo>
                  <a:lnTo>
                    <a:pt x="508393" y="654697"/>
                  </a:lnTo>
                  <a:lnTo>
                    <a:pt x="529056" y="613244"/>
                  </a:lnTo>
                  <a:lnTo>
                    <a:pt x="542531" y="568172"/>
                  </a:lnTo>
                  <a:lnTo>
                    <a:pt x="548093" y="520192"/>
                  </a:lnTo>
                  <a:close/>
                </a:path>
              </a:pathLst>
            </a:custGeom>
            <a:solidFill>
              <a:srgbClr val="7ED3F1"/>
            </a:solidFill>
          </p:spPr>
          <p:txBody>
            <a:bodyPr wrap="square" lIns="0" tIns="0" rIns="0" bIns="0" rtlCol="0"/>
            <a:lstStyle/>
            <a:p>
              <a:endParaRPr dirty="0"/>
            </a:p>
          </p:txBody>
        </p:sp>
        <p:pic>
          <p:nvPicPr>
            <p:cNvPr id="10" name="object 8">
              <a:extLst>
                <a:ext uri="{FF2B5EF4-FFF2-40B4-BE49-F238E27FC236}">
                  <a16:creationId xmlns:a16="http://schemas.microsoft.com/office/drawing/2014/main" id="{33BE2549-1264-3CB2-2DD4-E6363283F532}"/>
                </a:ext>
              </a:extLst>
            </p:cNvPr>
            <p:cNvPicPr/>
            <p:nvPr/>
          </p:nvPicPr>
          <p:blipFill>
            <a:blip r:embed="rId6" cstate="print"/>
            <a:stretch>
              <a:fillRect/>
            </a:stretch>
          </p:blipFill>
          <p:spPr>
            <a:xfrm>
              <a:off x="10791857" y="5297596"/>
              <a:ext cx="106445" cy="107156"/>
            </a:xfrm>
            <a:prstGeom prst="rect">
              <a:avLst/>
            </a:prstGeom>
          </p:spPr>
        </p:pic>
        <p:sp>
          <p:nvSpPr>
            <p:cNvPr id="11" name="object 9">
              <a:extLst>
                <a:ext uri="{FF2B5EF4-FFF2-40B4-BE49-F238E27FC236}">
                  <a16:creationId xmlns:a16="http://schemas.microsoft.com/office/drawing/2014/main" id="{F87ADE32-931B-D002-E715-2938C8EC1783}"/>
                </a:ext>
              </a:extLst>
            </p:cNvPr>
            <p:cNvSpPr/>
            <p:nvPr/>
          </p:nvSpPr>
          <p:spPr>
            <a:xfrm>
              <a:off x="10679208" y="6691912"/>
              <a:ext cx="332700" cy="165965"/>
            </a:xfrm>
            <a:custGeom>
              <a:avLst/>
              <a:gdLst/>
              <a:ahLst/>
              <a:cxnLst/>
              <a:rect l="l" t="t" r="r" b="b"/>
              <a:pathLst>
                <a:path w="548640" h="273684">
                  <a:moveTo>
                    <a:pt x="62560" y="273431"/>
                  </a:moveTo>
                  <a:lnTo>
                    <a:pt x="47904" y="269595"/>
                  </a:lnTo>
                  <a:lnTo>
                    <a:pt x="0" y="265544"/>
                  </a:lnTo>
                  <a:lnTo>
                    <a:pt x="889" y="273431"/>
                  </a:lnTo>
                  <a:lnTo>
                    <a:pt x="62560" y="273431"/>
                  </a:lnTo>
                  <a:close/>
                </a:path>
                <a:path w="548640" h="273684">
                  <a:moveTo>
                    <a:pt x="548030" y="266623"/>
                  </a:moveTo>
                  <a:lnTo>
                    <a:pt x="500367" y="270649"/>
                  </a:lnTo>
                  <a:lnTo>
                    <a:pt x="489724" y="273431"/>
                  </a:lnTo>
                  <a:lnTo>
                    <a:pt x="547243" y="273431"/>
                  </a:lnTo>
                  <a:lnTo>
                    <a:pt x="548030" y="266623"/>
                  </a:lnTo>
                  <a:close/>
                </a:path>
                <a:path w="548640" h="273684">
                  <a:moveTo>
                    <a:pt x="548030" y="1079"/>
                  </a:moveTo>
                  <a:lnTo>
                    <a:pt x="500367" y="5118"/>
                  </a:lnTo>
                  <a:lnTo>
                    <a:pt x="455841" y="16776"/>
                  </a:lnTo>
                  <a:lnTo>
                    <a:pt x="414604" y="35382"/>
                  </a:lnTo>
                  <a:lnTo>
                    <a:pt x="377342" y="60248"/>
                  </a:lnTo>
                  <a:lnTo>
                    <a:pt x="344716" y="90716"/>
                  </a:lnTo>
                  <a:lnTo>
                    <a:pt x="317398" y="126098"/>
                  </a:lnTo>
                  <a:lnTo>
                    <a:pt x="296075" y="165722"/>
                  </a:lnTo>
                  <a:lnTo>
                    <a:pt x="281419" y="208915"/>
                  </a:lnTo>
                  <a:lnTo>
                    <a:pt x="274078" y="255003"/>
                  </a:lnTo>
                  <a:lnTo>
                    <a:pt x="266903" y="208724"/>
                  </a:lnTo>
                  <a:lnTo>
                    <a:pt x="252349" y="165354"/>
                  </a:lnTo>
                  <a:lnTo>
                    <a:pt x="231089" y="125564"/>
                  </a:lnTo>
                  <a:lnTo>
                    <a:pt x="203796" y="90030"/>
                  </a:lnTo>
                  <a:lnTo>
                    <a:pt x="171145" y="59436"/>
                  </a:lnTo>
                  <a:lnTo>
                    <a:pt x="133832" y="34455"/>
                  </a:lnTo>
                  <a:lnTo>
                    <a:pt x="92532" y="15773"/>
                  </a:lnTo>
                  <a:lnTo>
                    <a:pt x="47904" y="4064"/>
                  </a:lnTo>
                  <a:lnTo>
                    <a:pt x="0" y="0"/>
                  </a:lnTo>
                  <a:lnTo>
                    <a:pt x="5448" y="48171"/>
                  </a:lnTo>
                  <a:lnTo>
                    <a:pt x="18834" y="93421"/>
                  </a:lnTo>
                  <a:lnTo>
                    <a:pt x="39458" y="135051"/>
                  </a:lnTo>
                  <a:lnTo>
                    <a:pt x="66548" y="172313"/>
                  </a:lnTo>
                  <a:lnTo>
                    <a:pt x="99390" y="204457"/>
                  </a:lnTo>
                  <a:lnTo>
                    <a:pt x="137248" y="230771"/>
                  </a:lnTo>
                  <a:lnTo>
                    <a:pt x="179374" y="250507"/>
                  </a:lnTo>
                  <a:lnTo>
                    <a:pt x="225044" y="262928"/>
                  </a:lnTo>
                  <a:lnTo>
                    <a:pt x="273519" y="267309"/>
                  </a:lnTo>
                  <a:lnTo>
                    <a:pt x="274739" y="267309"/>
                  </a:lnTo>
                  <a:lnTo>
                    <a:pt x="323088" y="262940"/>
                  </a:lnTo>
                  <a:lnTo>
                    <a:pt x="368642" y="250583"/>
                  </a:lnTo>
                  <a:lnTo>
                    <a:pt x="410667" y="230936"/>
                  </a:lnTo>
                  <a:lnTo>
                    <a:pt x="448462" y="204736"/>
                  </a:lnTo>
                  <a:lnTo>
                    <a:pt x="481253" y="172720"/>
                  </a:lnTo>
                  <a:lnTo>
                    <a:pt x="508355" y="135623"/>
                  </a:lnTo>
                  <a:lnTo>
                    <a:pt x="528993" y="94157"/>
                  </a:lnTo>
                  <a:lnTo>
                    <a:pt x="542467" y="49072"/>
                  </a:lnTo>
                  <a:lnTo>
                    <a:pt x="548030" y="1079"/>
                  </a:lnTo>
                  <a:close/>
                </a:path>
              </a:pathLst>
            </a:custGeom>
            <a:solidFill>
              <a:srgbClr val="7ED3F1"/>
            </a:solidFill>
          </p:spPr>
          <p:txBody>
            <a:bodyPr wrap="square" lIns="0" tIns="0" rIns="0" bIns="0" rtlCol="0"/>
            <a:lstStyle/>
            <a:p>
              <a:endParaRPr dirty="0"/>
            </a:p>
          </p:txBody>
        </p:sp>
        <p:pic>
          <p:nvPicPr>
            <p:cNvPr id="12" name="object 10">
              <a:extLst>
                <a:ext uri="{FF2B5EF4-FFF2-40B4-BE49-F238E27FC236}">
                  <a16:creationId xmlns:a16="http://schemas.microsoft.com/office/drawing/2014/main" id="{1E4F7FD8-C498-B819-A89C-CB5EA438304F}"/>
                </a:ext>
              </a:extLst>
            </p:cNvPr>
            <p:cNvPicPr/>
            <p:nvPr/>
          </p:nvPicPr>
          <p:blipFill>
            <a:blip r:embed="rId6" cstate="print"/>
            <a:stretch>
              <a:fillRect/>
            </a:stretch>
          </p:blipFill>
          <p:spPr>
            <a:xfrm>
              <a:off x="10791857" y="6605926"/>
              <a:ext cx="106445" cy="107156"/>
            </a:xfrm>
            <a:prstGeom prst="rect">
              <a:avLst/>
            </a:prstGeom>
          </p:spPr>
        </p:pic>
        <p:sp>
          <p:nvSpPr>
            <p:cNvPr id="13" name="object 11">
              <a:extLst>
                <a:ext uri="{FF2B5EF4-FFF2-40B4-BE49-F238E27FC236}">
                  <a16:creationId xmlns:a16="http://schemas.microsoft.com/office/drawing/2014/main" id="{3B05C0C1-3CCD-ADEA-1952-D4AF555FF67A}"/>
                </a:ext>
              </a:extLst>
            </p:cNvPr>
            <p:cNvSpPr/>
            <p:nvPr/>
          </p:nvSpPr>
          <p:spPr>
            <a:xfrm>
              <a:off x="10294123" y="6479532"/>
              <a:ext cx="332700" cy="316141"/>
            </a:xfrm>
            <a:custGeom>
              <a:avLst/>
              <a:gdLst/>
              <a:ahLst/>
              <a:cxnLst/>
              <a:rect l="l" t="t" r="r" b="b"/>
              <a:pathLst>
                <a:path w="548640" h="521334">
                  <a:moveTo>
                    <a:pt x="548081" y="520852"/>
                  </a:moveTo>
                  <a:lnTo>
                    <a:pt x="542632" y="472694"/>
                  </a:lnTo>
                  <a:lnTo>
                    <a:pt x="529234" y="427431"/>
                  </a:lnTo>
                  <a:lnTo>
                    <a:pt x="508622" y="385800"/>
                  </a:lnTo>
                  <a:lnTo>
                    <a:pt x="481520" y="348551"/>
                  </a:lnTo>
                  <a:lnTo>
                    <a:pt x="448691" y="316395"/>
                  </a:lnTo>
                  <a:lnTo>
                    <a:pt x="410832" y="290093"/>
                  </a:lnTo>
                  <a:lnTo>
                    <a:pt x="368706" y="270357"/>
                  </a:lnTo>
                  <a:lnTo>
                    <a:pt x="323037" y="257924"/>
                  </a:lnTo>
                  <a:lnTo>
                    <a:pt x="274561" y="253555"/>
                  </a:lnTo>
                  <a:lnTo>
                    <a:pt x="273329" y="253555"/>
                  </a:lnTo>
                  <a:lnTo>
                    <a:pt x="224993" y="257911"/>
                  </a:lnTo>
                  <a:lnTo>
                    <a:pt x="179438" y="270281"/>
                  </a:lnTo>
                  <a:lnTo>
                    <a:pt x="137401" y="289915"/>
                  </a:lnTo>
                  <a:lnTo>
                    <a:pt x="99618" y="316115"/>
                  </a:lnTo>
                  <a:lnTo>
                    <a:pt x="66814" y="348132"/>
                  </a:lnTo>
                  <a:lnTo>
                    <a:pt x="39725" y="385229"/>
                  </a:lnTo>
                  <a:lnTo>
                    <a:pt x="19075" y="426694"/>
                  </a:lnTo>
                  <a:lnTo>
                    <a:pt x="5613" y="471792"/>
                  </a:lnTo>
                  <a:lnTo>
                    <a:pt x="50" y="519772"/>
                  </a:lnTo>
                  <a:lnTo>
                    <a:pt x="47713" y="515747"/>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27"/>
                  </a:lnTo>
                  <a:lnTo>
                    <a:pt x="295719" y="355498"/>
                  </a:lnTo>
                  <a:lnTo>
                    <a:pt x="316992" y="395300"/>
                  </a:lnTo>
                  <a:lnTo>
                    <a:pt x="344284" y="430834"/>
                  </a:lnTo>
                  <a:lnTo>
                    <a:pt x="376923" y="461429"/>
                  </a:lnTo>
                  <a:lnTo>
                    <a:pt x="414248" y="486410"/>
                  </a:lnTo>
                  <a:lnTo>
                    <a:pt x="455549" y="505091"/>
                  </a:lnTo>
                  <a:lnTo>
                    <a:pt x="500164" y="516801"/>
                  </a:lnTo>
                  <a:lnTo>
                    <a:pt x="548081" y="520852"/>
                  </a:lnTo>
                  <a:close/>
                </a:path>
                <a:path w="548640" h="521334">
                  <a:moveTo>
                    <a:pt x="548093" y="267322"/>
                  </a:moveTo>
                  <a:lnTo>
                    <a:pt x="542645" y="219138"/>
                  </a:lnTo>
                  <a:lnTo>
                    <a:pt x="529247" y="173875"/>
                  </a:lnTo>
                  <a:lnTo>
                    <a:pt x="508635" y="132245"/>
                  </a:lnTo>
                  <a:lnTo>
                    <a:pt x="481533" y="94996"/>
                  </a:lnTo>
                  <a:lnTo>
                    <a:pt x="448691" y="62839"/>
                  </a:lnTo>
                  <a:lnTo>
                    <a:pt x="410845" y="36537"/>
                  </a:lnTo>
                  <a:lnTo>
                    <a:pt x="368706" y="16814"/>
                  </a:lnTo>
                  <a:lnTo>
                    <a:pt x="323037" y="4368"/>
                  </a:lnTo>
                  <a:lnTo>
                    <a:pt x="274561" y="12"/>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77" y="231914"/>
                  </a:lnTo>
                  <a:lnTo>
                    <a:pt x="170738" y="207048"/>
                  </a:lnTo>
                  <a:lnTo>
                    <a:pt x="203365" y="176593"/>
                  </a:lnTo>
                  <a:lnTo>
                    <a:pt x="230682" y="141211"/>
                  </a:lnTo>
                  <a:lnTo>
                    <a:pt x="252006" y="101600"/>
                  </a:lnTo>
                  <a:lnTo>
                    <a:pt x="266674" y="58407"/>
                  </a:lnTo>
                  <a:lnTo>
                    <a:pt x="273989" y="12357"/>
                  </a:lnTo>
                  <a:lnTo>
                    <a:pt x="281165" y="58572"/>
                  </a:lnTo>
                  <a:lnTo>
                    <a:pt x="295719" y="101942"/>
                  </a:lnTo>
                  <a:lnTo>
                    <a:pt x="316992" y="141744"/>
                  </a:lnTo>
                  <a:lnTo>
                    <a:pt x="344284" y="177279"/>
                  </a:lnTo>
                  <a:lnTo>
                    <a:pt x="376923" y="207873"/>
                  </a:lnTo>
                  <a:lnTo>
                    <a:pt x="414248" y="232854"/>
                  </a:lnTo>
                  <a:lnTo>
                    <a:pt x="455549"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14" name="object 12">
              <a:extLst>
                <a:ext uri="{FF2B5EF4-FFF2-40B4-BE49-F238E27FC236}">
                  <a16:creationId xmlns:a16="http://schemas.microsoft.com/office/drawing/2014/main" id="{13A19E62-18D4-CD42-A02E-3D6F5565A428}"/>
                </a:ext>
              </a:extLst>
            </p:cNvPr>
            <p:cNvPicPr/>
            <p:nvPr/>
          </p:nvPicPr>
          <p:blipFill>
            <a:blip r:embed="rId7" cstate="print"/>
            <a:stretch>
              <a:fillRect/>
            </a:stretch>
          </p:blipFill>
          <p:spPr>
            <a:xfrm>
              <a:off x="10330217" y="6794307"/>
              <a:ext cx="260137" cy="63416"/>
            </a:xfrm>
            <a:prstGeom prst="rect">
              <a:avLst/>
            </a:prstGeom>
          </p:spPr>
        </p:pic>
        <p:sp>
          <p:nvSpPr>
            <p:cNvPr id="15" name="object 13">
              <a:extLst>
                <a:ext uri="{FF2B5EF4-FFF2-40B4-BE49-F238E27FC236}">
                  <a16:creationId xmlns:a16="http://schemas.microsoft.com/office/drawing/2014/main" id="{28F14653-5414-E755-969D-D47554FAE77F}"/>
                </a:ext>
              </a:extLst>
            </p:cNvPr>
            <p:cNvSpPr/>
            <p:nvPr/>
          </p:nvSpPr>
          <p:spPr>
            <a:xfrm>
              <a:off x="10294123" y="5171198"/>
              <a:ext cx="332700" cy="477101"/>
            </a:xfrm>
            <a:custGeom>
              <a:avLst/>
              <a:gdLst/>
              <a:ahLst/>
              <a:cxnLst/>
              <a:rect l="l" t="t" r="r" b="b"/>
              <a:pathLst>
                <a:path w="548640" h="786765">
                  <a:moveTo>
                    <a:pt x="548081" y="786396"/>
                  </a:moveTo>
                  <a:lnTo>
                    <a:pt x="542632" y="738225"/>
                  </a:lnTo>
                  <a:lnTo>
                    <a:pt x="529234" y="692975"/>
                  </a:lnTo>
                  <a:lnTo>
                    <a:pt x="508622" y="651344"/>
                  </a:lnTo>
                  <a:lnTo>
                    <a:pt x="481520" y="614083"/>
                  </a:lnTo>
                  <a:lnTo>
                    <a:pt x="448691" y="581939"/>
                  </a:lnTo>
                  <a:lnTo>
                    <a:pt x="410832" y="555625"/>
                  </a:lnTo>
                  <a:lnTo>
                    <a:pt x="368706" y="535889"/>
                  </a:lnTo>
                  <a:lnTo>
                    <a:pt x="323037" y="523468"/>
                  </a:lnTo>
                  <a:lnTo>
                    <a:pt x="274561" y="519087"/>
                  </a:lnTo>
                  <a:lnTo>
                    <a:pt x="273329" y="519087"/>
                  </a:lnTo>
                  <a:lnTo>
                    <a:pt x="224993" y="523455"/>
                  </a:lnTo>
                  <a:lnTo>
                    <a:pt x="179438" y="535813"/>
                  </a:lnTo>
                  <a:lnTo>
                    <a:pt x="137401" y="555459"/>
                  </a:lnTo>
                  <a:lnTo>
                    <a:pt x="99618" y="581660"/>
                  </a:lnTo>
                  <a:lnTo>
                    <a:pt x="66814" y="613676"/>
                  </a:lnTo>
                  <a:lnTo>
                    <a:pt x="39725" y="650773"/>
                  </a:lnTo>
                  <a:lnTo>
                    <a:pt x="19075" y="692238"/>
                  </a:lnTo>
                  <a:lnTo>
                    <a:pt x="5613" y="737323"/>
                  </a:lnTo>
                  <a:lnTo>
                    <a:pt x="50" y="785317"/>
                  </a:lnTo>
                  <a:lnTo>
                    <a:pt x="47713" y="781278"/>
                  </a:lnTo>
                  <a:lnTo>
                    <a:pt x="92240" y="769620"/>
                  </a:lnTo>
                  <a:lnTo>
                    <a:pt x="133477" y="751027"/>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48" y="751941"/>
                  </a:lnTo>
                  <a:lnTo>
                    <a:pt x="455549" y="770623"/>
                  </a:lnTo>
                  <a:lnTo>
                    <a:pt x="500164" y="782332"/>
                  </a:lnTo>
                  <a:lnTo>
                    <a:pt x="548081" y="786396"/>
                  </a:lnTo>
                  <a:close/>
                </a:path>
                <a:path w="548640" h="786765">
                  <a:moveTo>
                    <a:pt x="548081" y="520865"/>
                  </a:moveTo>
                  <a:lnTo>
                    <a:pt x="542632" y="472706"/>
                  </a:lnTo>
                  <a:lnTo>
                    <a:pt x="529234" y="427443"/>
                  </a:lnTo>
                  <a:lnTo>
                    <a:pt x="508622" y="385813"/>
                  </a:lnTo>
                  <a:lnTo>
                    <a:pt x="481520" y="348551"/>
                  </a:lnTo>
                  <a:lnTo>
                    <a:pt x="448691" y="316407"/>
                  </a:lnTo>
                  <a:lnTo>
                    <a:pt x="410832" y="290093"/>
                  </a:lnTo>
                  <a:lnTo>
                    <a:pt x="368706" y="270357"/>
                  </a:lnTo>
                  <a:lnTo>
                    <a:pt x="323037" y="257937"/>
                  </a:lnTo>
                  <a:lnTo>
                    <a:pt x="274561" y="253568"/>
                  </a:lnTo>
                  <a:lnTo>
                    <a:pt x="273329" y="253568"/>
                  </a:lnTo>
                  <a:lnTo>
                    <a:pt x="224993" y="257924"/>
                  </a:lnTo>
                  <a:lnTo>
                    <a:pt x="179438" y="270281"/>
                  </a:lnTo>
                  <a:lnTo>
                    <a:pt x="137401" y="289928"/>
                  </a:lnTo>
                  <a:lnTo>
                    <a:pt x="99618" y="316128"/>
                  </a:lnTo>
                  <a:lnTo>
                    <a:pt x="66814" y="348132"/>
                  </a:lnTo>
                  <a:lnTo>
                    <a:pt x="39725" y="385241"/>
                  </a:lnTo>
                  <a:lnTo>
                    <a:pt x="19075" y="426694"/>
                  </a:lnTo>
                  <a:lnTo>
                    <a:pt x="5613" y="471792"/>
                  </a:lnTo>
                  <a:lnTo>
                    <a:pt x="50" y="519772"/>
                  </a:lnTo>
                  <a:lnTo>
                    <a:pt x="47713" y="515734"/>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48" y="486410"/>
                  </a:lnTo>
                  <a:lnTo>
                    <a:pt x="455549" y="505104"/>
                  </a:lnTo>
                  <a:lnTo>
                    <a:pt x="500164" y="516813"/>
                  </a:lnTo>
                  <a:lnTo>
                    <a:pt x="548081" y="520865"/>
                  </a:lnTo>
                  <a:close/>
                </a:path>
                <a:path w="548640" h="786765">
                  <a:moveTo>
                    <a:pt x="548093" y="267322"/>
                  </a:moveTo>
                  <a:lnTo>
                    <a:pt x="542645" y="219151"/>
                  </a:lnTo>
                  <a:lnTo>
                    <a:pt x="529247" y="173875"/>
                  </a:lnTo>
                  <a:lnTo>
                    <a:pt x="508635" y="132245"/>
                  </a:lnTo>
                  <a:lnTo>
                    <a:pt x="481533" y="94996"/>
                  </a:lnTo>
                  <a:lnTo>
                    <a:pt x="465277" y="79095"/>
                  </a:lnTo>
                  <a:lnTo>
                    <a:pt x="448691" y="62852"/>
                  </a:lnTo>
                  <a:lnTo>
                    <a:pt x="426351" y="47332"/>
                  </a:lnTo>
                  <a:lnTo>
                    <a:pt x="410845" y="36537"/>
                  </a:lnTo>
                  <a:lnTo>
                    <a:pt x="397395" y="30251"/>
                  </a:lnTo>
                  <a:lnTo>
                    <a:pt x="368706" y="16814"/>
                  </a:lnTo>
                  <a:lnTo>
                    <a:pt x="323037" y="4394"/>
                  </a:lnTo>
                  <a:lnTo>
                    <a:pt x="274561" y="12"/>
                  </a:lnTo>
                  <a:lnTo>
                    <a:pt x="273329" y="0"/>
                  </a:lnTo>
                  <a:lnTo>
                    <a:pt x="224993" y="4356"/>
                  </a:lnTo>
                  <a:lnTo>
                    <a:pt x="179438" y="16725"/>
                  </a:lnTo>
                  <a:lnTo>
                    <a:pt x="137401" y="36372"/>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77" y="231927"/>
                  </a:lnTo>
                  <a:lnTo>
                    <a:pt x="170738" y="207048"/>
                  </a:lnTo>
                  <a:lnTo>
                    <a:pt x="203365" y="176593"/>
                  </a:lnTo>
                  <a:lnTo>
                    <a:pt x="230682" y="141211"/>
                  </a:lnTo>
                  <a:lnTo>
                    <a:pt x="252006" y="101600"/>
                  </a:lnTo>
                  <a:lnTo>
                    <a:pt x="266674" y="58407"/>
                  </a:lnTo>
                  <a:lnTo>
                    <a:pt x="273989" y="12357"/>
                  </a:lnTo>
                  <a:lnTo>
                    <a:pt x="280047" y="51409"/>
                  </a:lnTo>
                  <a:lnTo>
                    <a:pt x="295719" y="101942"/>
                  </a:lnTo>
                  <a:lnTo>
                    <a:pt x="316992" y="141744"/>
                  </a:lnTo>
                  <a:lnTo>
                    <a:pt x="344284" y="177279"/>
                  </a:lnTo>
                  <a:lnTo>
                    <a:pt x="376923" y="207873"/>
                  </a:lnTo>
                  <a:lnTo>
                    <a:pt x="414248" y="232867"/>
                  </a:lnTo>
                  <a:lnTo>
                    <a:pt x="455549"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16" name="object 14">
              <a:extLst>
                <a:ext uri="{FF2B5EF4-FFF2-40B4-BE49-F238E27FC236}">
                  <a16:creationId xmlns:a16="http://schemas.microsoft.com/office/drawing/2014/main" id="{F74C1B98-7A93-2B23-25CA-ED185962B78A}"/>
                </a:ext>
              </a:extLst>
            </p:cNvPr>
            <p:cNvPicPr/>
            <p:nvPr/>
          </p:nvPicPr>
          <p:blipFill>
            <a:blip r:embed="rId8" cstate="print"/>
            <a:stretch>
              <a:fillRect/>
            </a:stretch>
          </p:blipFill>
          <p:spPr>
            <a:xfrm>
              <a:off x="10407394" y="5626898"/>
              <a:ext cx="106445" cy="107156"/>
            </a:xfrm>
            <a:prstGeom prst="rect">
              <a:avLst/>
            </a:prstGeom>
          </p:spPr>
        </p:pic>
        <p:sp>
          <p:nvSpPr>
            <p:cNvPr id="17" name="object 15">
              <a:extLst>
                <a:ext uri="{FF2B5EF4-FFF2-40B4-BE49-F238E27FC236}">
                  <a16:creationId xmlns:a16="http://schemas.microsoft.com/office/drawing/2014/main" id="{72DB8E15-0A08-8D98-D31E-1DF0B42D90F7}"/>
                </a:ext>
              </a:extLst>
            </p:cNvPr>
            <p:cNvSpPr/>
            <p:nvPr/>
          </p:nvSpPr>
          <p:spPr>
            <a:xfrm>
              <a:off x="10294123" y="5825360"/>
              <a:ext cx="332700" cy="477101"/>
            </a:xfrm>
            <a:custGeom>
              <a:avLst/>
              <a:gdLst/>
              <a:ahLst/>
              <a:cxnLst/>
              <a:rect l="l" t="t" r="r" b="b"/>
              <a:pathLst>
                <a:path w="548640" h="786765">
                  <a:moveTo>
                    <a:pt x="548081" y="786396"/>
                  </a:moveTo>
                  <a:lnTo>
                    <a:pt x="542632" y="738238"/>
                  </a:lnTo>
                  <a:lnTo>
                    <a:pt x="529234" y="692975"/>
                  </a:lnTo>
                  <a:lnTo>
                    <a:pt x="508622" y="651344"/>
                  </a:lnTo>
                  <a:lnTo>
                    <a:pt x="481520" y="614095"/>
                  </a:lnTo>
                  <a:lnTo>
                    <a:pt x="448691" y="581939"/>
                  </a:lnTo>
                  <a:lnTo>
                    <a:pt x="410832" y="555637"/>
                  </a:lnTo>
                  <a:lnTo>
                    <a:pt x="368706" y="535901"/>
                  </a:lnTo>
                  <a:lnTo>
                    <a:pt x="323037" y="523481"/>
                  </a:lnTo>
                  <a:lnTo>
                    <a:pt x="274561" y="519099"/>
                  </a:lnTo>
                  <a:lnTo>
                    <a:pt x="273329" y="519099"/>
                  </a:lnTo>
                  <a:lnTo>
                    <a:pt x="224993" y="523455"/>
                  </a:lnTo>
                  <a:lnTo>
                    <a:pt x="179438" y="535825"/>
                  </a:lnTo>
                  <a:lnTo>
                    <a:pt x="137401" y="555472"/>
                  </a:lnTo>
                  <a:lnTo>
                    <a:pt x="99618" y="581660"/>
                  </a:lnTo>
                  <a:lnTo>
                    <a:pt x="66814" y="613676"/>
                  </a:lnTo>
                  <a:lnTo>
                    <a:pt x="39725" y="650773"/>
                  </a:lnTo>
                  <a:lnTo>
                    <a:pt x="19075" y="692238"/>
                  </a:lnTo>
                  <a:lnTo>
                    <a:pt x="5613" y="737323"/>
                  </a:lnTo>
                  <a:lnTo>
                    <a:pt x="50" y="785304"/>
                  </a:lnTo>
                  <a:lnTo>
                    <a:pt x="47713" y="781278"/>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48"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91" y="316407"/>
                  </a:lnTo>
                  <a:lnTo>
                    <a:pt x="410832" y="290093"/>
                  </a:lnTo>
                  <a:lnTo>
                    <a:pt x="368706" y="270370"/>
                  </a:lnTo>
                  <a:lnTo>
                    <a:pt x="323037" y="257937"/>
                  </a:lnTo>
                  <a:lnTo>
                    <a:pt x="274561" y="253555"/>
                  </a:lnTo>
                  <a:lnTo>
                    <a:pt x="273329" y="253555"/>
                  </a:lnTo>
                  <a:lnTo>
                    <a:pt x="224993" y="257924"/>
                  </a:lnTo>
                  <a:lnTo>
                    <a:pt x="179438" y="270294"/>
                  </a:lnTo>
                  <a:lnTo>
                    <a:pt x="137401" y="289928"/>
                  </a:lnTo>
                  <a:lnTo>
                    <a:pt x="99618" y="316128"/>
                  </a:lnTo>
                  <a:lnTo>
                    <a:pt x="66814" y="348145"/>
                  </a:lnTo>
                  <a:lnTo>
                    <a:pt x="39725" y="385241"/>
                  </a:lnTo>
                  <a:lnTo>
                    <a:pt x="19075" y="426694"/>
                  </a:lnTo>
                  <a:lnTo>
                    <a:pt x="5613" y="471792"/>
                  </a:lnTo>
                  <a:lnTo>
                    <a:pt x="50" y="519772"/>
                  </a:lnTo>
                  <a:lnTo>
                    <a:pt x="47713" y="515734"/>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48" y="486410"/>
                  </a:lnTo>
                  <a:lnTo>
                    <a:pt x="455549" y="505104"/>
                  </a:lnTo>
                  <a:lnTo>
                    <a:pt x="500164" y="516813"/>
                  </a:lnTo>
                  <a:lnTo>
                    <a:pt x="548081" y="520865"/>
                  </a:lnTo>
                  <a:close/>
                </a:path>
                <a:path w="548640" h="786765">
                  <a:moveTo>
                    <a:pt x="548093" y="267322"/>
                  </a:moveTo>
                  <a:lnTo>
                    <a:pt x="542645" y="219151"/>
                  </a:lnTo>
                  <a:lnTo>
                    <a:pt x="529247" y="173888"/>
                  </a:lnTo>
                  <a:lnTo>
                    <a:pt x="508635" y="132257"/>
                  </a:lnTo>
                  <a:lnTo>
                    <a:pt x="481533" y="94996"/>
                  </a:lnTo>
                  <a:lnTo>
                    <a:pt x="448691" y="62852"/>
                  </a:lnTo>
                  <a:lnTo>
                    <a:pt x="410845" y="36550"/>
                  </a:lnTo>
                  <a:lnTo>
                    <a:pt x="368706" y="16814"/>
                  </a:lnTo>
                  <a:lnTo>
                    <a:pt x="323037" y="4394"/>
                  </a:lnTo>
                  <a:lnTo>
                    <a:pt x="274561" y="0"/>
                  </a:lnTo>
                  <a:lnTo>
                    <a:pt x="273329" y="0"/>
                  </a:lnTo>
                  <a:lnTo>
                    <a:pt x="224993" y="4356"/>
                  </a:lnTo>
                  <a:lnTo>
                    <a:pt x="179438" y="16725"/>
                  </a:lnTo>
                  <a:lnTo>
                    <a:pt x="137401" y="36372"/>
                  </a:lnTo>
                  <a:lnTo>
                    <a:pt x="99618" y="62572"/>
                  </a:lnTo>
                  <a:lnTo>
                    <a:pt x="98780" y="63385"/>
                  </a:lnTo>
                  <a:lnTo>
                    <a:pt x="66814" y="94576"/>
                  </a:lnTo>
                  <a:lnTo>
                    <a:pt x="39700" y="131686"/>
                  </a:lnTo>
                  <a:lnTo>
                    <a:pt x="19037" y="173139"/>
                  </a:lnTo>
                  <a:lnTo>
                    <a:pt x="5562" y="218224"/>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3989" y="12369"/>
                  </a:lnTo>
                  <a:lnTo>
                    <a:pt x="281165" y="58585"/>
                  </a:lnTo>
                  <a:lnTo>
                    <a:pt x="295719" y="101955"/>
                  </a:lnTo>
                  <a:lnTo>
                    <a:pt x="316992" y="141744"/>
                  </a:lnTo>
                  <a:lnTo>
                    <a:pt x="344284" y="177279"/>
                  </a:lnTo>
                  <a:lnTo>
                    <a:pt x="376936" y="207886"/>
                  </a:lnTo>
                  <a:lnTo>
                    <a:pt x="414248" y="232867"/>
                  </a:lnTo>
                  <a:lnTo>
                    <a:pt x="455549"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18" name="object 16">
              <a:extLst>
                <a:ext uri="{FF2B5EF4-FFF2-40B4-BE49-F238E27FC236}">
                  <a16:creationId xmlns:a16="http://schemas.microsoft.com/office/drawing/2014/main" id="{DF075E06-011D-EE87-6889-547FFC155D28}"/>
                </a:ext>
              </a:extLst>
            </p:cNvPr>
            <p:cNvPicPr/>
            <p:nvPr/>
          </p:nvPicPr>
          <p:blipFill>
            <a:blip r:embed="rId9" cstate="print"/>
            <a:stretch>
              <a:fillRect/>
            </a:stretch>
          </p:blipFill>
          <p:spPr>
            <a:xfrm>
              <a:off x="10407394" y="6281064"/>
              <a:ext cx="106445" cy="107156"/>
            </a:xfrm>
            <a:prstGeom prst="rect">
              <a:avLst/>
            </a:prstGeom>
          </p:spPr>
        </p:pic>
        <p:sp>
          <p:nvSpPr>
            <p:cNvPr id="19" name="object 17">
              <a:extLst>
                <a:ext uri="{FF2B5EF4-FFF2-40B4-BE49-F238E27FC236}">
                  <a16:creationId xmlns:a16="http://schemas.microsoft.com/office/drawing/2014/main" id="{B12A775B-FD0F-1EC0-5735-3EBDD179C718}"/>
                </a:ext>
              </a:extLst>
            </p:cNvPr>
            <p:cNvSpPr/>
            <p:nvPr/>
          </p:nvSpPr>
          <p:spPr>
            <a:xfrm>
              <a:off x="11449331" y="6037749"/>
              <a:ext cx="332700" cy="477101"/>
            </a:xfrm>
            <a:custGeom>
              <a:avLst/>
              <a:gdLst/>
              <a:ahLst/>
              <a:cxnLst/>
              <a:rect l="l" t="t" r="r" b="b"/>
              <a:pathLst>
                <a:path w="548640" h="786765">
                  <a:moveTo>
                    <a:pt x="548055" y="266611"/>
                  </a:moveTo>
                  <a:lnTo>
                    <a:pt x="500380" y="270649"/>
                  </a:lnTo>
                  <a:lnTo>
                    <a:pt x="455853" y="282308"/>
                  </a:lnTo>
                  <a:lnTo>
                    <a:pt x="414616" y="300901"/>
                  </a:lnTo>
                  <a:lnTo>
                    <a:pt x="377355" y="325780"/>
                  </a:lnTo>
                  <a:lnTo>
                    <a:pt x="344728" y="356235"/>
                  </a:lnTo>
                  <a:lnTo>
                    <a:pt x="317423" y="391629"/>
                  </a:lnTo>
                  <a:lnTo>
                    <a:pt x="296100" y="431253"/>
                  </a:lnTo>
                  <a:lnTo>
                    <a:pt x="281432" y="474446"/>
                  </a:lnTo>
                  <a:lnTo>
                    <a:pt x="274104" y="520534"/>
                  </a:lnTo>
                  <a:lnTo>
                    <a:pt x="266928" y="474256"/>
                  </a:lnTo>
                  <a:lnTo>
                    <a:pt x="252374" y="430885"/>
                  </a:lnTo>
                  <a:lnTo>
                    <a:pt x="231101" y="391096"/>
                  </a:lnTo>
                  <a:lnTo>
                    <a:pt x="203809" y="355561"/>
                  </a:lnTo>
                  <a:lnTo>
                    <a:pt x="171170" y="324954"/>
                  </a:lnTo>
                  <a:lnTo>
                    <a:pt x="133858" y="299986"/>
                  </a:lnTo>
                  <a:lnTo>
                    <a:pt x="92544" y="281292"/>
                  </a:lnTo>
                  <a:lnTo>
                    <a:pt x="47929" y="269582"/>
                  </a:lnTo>
                  <a:lnTo>
                    <a:pt x="12" y="265531"/>
                  </a:lnTo>
                  <a:lnTo>
                    <a:pt x="5461" y="313690"/>
                  </a:lnTo>
                  <a:lnTo>
                    <a:pt x="18859" y="358952"/>
                  </a:lnTo>
                  <a:lnTo>
                    <a:pt x="39471" y="400583"/>
                  </a:lnTo>
                  <a:lnTo>
                    <a:pt x="66573" y="437832"/>
                  </a:lnTo>
                  <a:lnTo>
                    <a:pt x="99415" y="469988"/>
                  </a:lnTo>
                  <a:lnTo>
                    <a:pt x="137261" y="496303"/>
                  </a:lnTo>
                  <a:lnTo>
                    <a:pt x="179387" y="516026"/>
                  </a:lnTo>
                  <a:lnTo>
                    <a:pt x="225056" y="528459"/>
                  </a:lnTo>
                  <a:lnTo>
                    <a:pt x="273532" y="532841"/>
                  </a:lnTo>
                  <a:lnTo>
                    <a:pt x="274764" y="532841"/>
                  </a:lnTo>
                  <a:lnTo>
                    <a:pt x="323100" y="528472"/>
                  </a:lnTo>
                  <a:lnTo>
                    <a:pt x="368655" y="516102"/>
                  </a:lnTo>
                  <a:lnTo>
                    <a:pt x="410692" y="496468"/>
                  </a:lnTo>
                  <a:lnTo>
                    <a:pt x="448475" y="470268"/>
                  </a:lnTo>
                  <a:lnTo>
                    <a:pt x="481279" y="438251"/>
                  </a:lnTo>
                  <a:lnTo>
                    <a:pt x="508368" y="401154"/>
                  </a:lnTo>
                  <a:lnTo>
                    <a:pt x="529018" y="359689"/>
                  </a:lnTo>
                  <a:lnTo>
                    <a:pt x="542480" y="314604"/>
                  </a:lnTo>
                  <a:lnTo>
                    <a:pt x="548055" y="266611"/>
                  </a:lnTo>
                  <a:close/>
                </a:path>
                <a:path w="548640" h="786765">
                  <a:moveTo>
                    <a:pt x="548055" y="1092"/>
                  </a:moveTo>
                  <a:lnTo>
                    <a:pt x="500380" y="5130"/>
                  </a:lnTo>
                  <a:lnTo>
                    <a:pt x="455853" y="16789"/>
                  </a:lnTo>
                  <a:lnTo>
                    <a:pt x="414616" y="35382"/>
                  </a:lnTo>
                  <a:lnTo>
                    <a:pt x="377355" y="60248"/>
                  </a:lnTo>
                  <a:lnTo>
                    <a:pt x="344728" y="90716"/>
                  </a:lnTo>
                  <a:lnTo>
                    <a:pt x="317423" y="126098"/>
                  </a:lnTo>
                  <a:lnTo>
                    <a:pt x="296100" y="165722"/>
                  </a:lnTo>
                  <a:lnTo>
                    <a:pt x="281432" y="208915"/>
                  </a:lnTo>
                  <a:lnTo>
                    <a:pt x="274104" y="255003"/>
                  </a:lnTo>
                  <a:lnTo>
                    <a:pt x="266928" y="208724"/>
                  </a:lnTo>
                  <a:lnTo>
                    <a:pt x="252374" y="165354"/>
                  </a:lnTo>
                  <a:lnTo>
                    <a:pt x="231101" y="125564"/>
                  </a:lnTo>
                  <a:lnTo>
                    <a:pt x="203809" y="90030"/>
                  </a:lnTo>
                  <a:lnTo>
                    <a:pt x="171170" y="59436"/>
                  </a:lnTo>
                  <a:lnTo>
                    <a:pt x="133858" y="34455"/>
                  </a:lnTo>
                  <a:lnTo>
                    <a:pt x="92544" y="15773"/>
                  </a:lnTo>
                  <a:lnTo>
                    <a:pt x="47929" y="4064"/>
                  </a:lnTo>
                  <a:lnTo>
                    <a:pt x="12" y="0"/>
                  </a:lnTo>
                  <a:lnTo>
                    <a:pt x="5461" y="48171"/>
                  </a:lnTo>
                  <a:lnTo>
                    <a:pt x="18859" y="93433"/>
                  </a:lnTo>
                  <a:lnTo>
                    <a:pt x="39471" y="135051"/>
                  </a:lnTo>
                  <a:lnTo>
                    <a:pt x="66573" y="172313"/>
                  </a:lnTo>
                  <a:lnTo>
                    <a:pt x="99415" y="204457"/>
                  </a:lnTo>
                  <a:lnTo>
                    <a:pt x="137261" y="230771"/>
                  </a:lnTo>
                  <a:lnTo>
                    <a:pt x="179387" y="250507"/>
                  </a:lnTo>
                  <a:lnTo>
                    <a:pt x="225056" y="262928"/>
                  </a:lnTo>
                  <a:lnTo>
                    <a:pt x="273532" y="267309"/>
                  </a:lnTo>
                  <a:lnTo>
                    <a:pt x="274764" y="267309"/>
                  </a:lnTo>
                  <a:lnTo>
                    <a:pt x="323100" y="262953"/>
                  </a:lnTo>
                  <a:lnTo>
                    <a:pt x="368655" y="250583"/>
                  </a:lnTo>
                  <a:lnTo>
                    <a:pt x="410692" y="230936"/>
                  </a:lnTo>
                  <a:lnTo>
                    <a:pt x="448475" y="204749"/>
                  </a:lnTo>
                  <a:lnTo>
                    <a:pt x="481279" y="172732"/>
                  </a:lnTo>
                  <a:lnTo>
                    <a:pt x="508368" y="135623"/>
                  </a:lnTo>
                  <a:lnTo>
                    <a:pt x="529018" y="94170"/>
                  </a:lnTo>
                  <a:lnTo>
                    <a:pt x="542480" y="49085"/>
                  </a:lnTo>
                  <a:lnTo>
                    <a:pt x="548055" y="1092"/>
                  </a:lnTo>
                  <a:close/>
                </a:path>
                <a:path w="548640" h="786765">
                  <a:moveTo>
                    <a:pt x="548093" y="520204"/>
                  </a:moveTo>
                  <a:lnTo>
                    <a:pt x="500380" y="524217"/>
                  </a:lnTo>
                  <a:lnTo>
                    <a:pt x="455853" y="535876"/>
                  </a:lnTo>
                  <a:lnTo>
                    <a:pt x="414616" y="554469"/>
                  </a:lnTo>
                  <a:lnTo>
                    <a:pt x="377355" y="579348"/>
                  </a:lnTo>
                  <a:lnTo>
                    <a:pt x="344728" y="609803"/>
                  </a:lnTo>
                  <a:lnTo>
                    <a:pt x="317411" y="645172"/>
                  </a:lnTo>
                  <a:lnTo>
                    <a:pt x="296087" y="684796"/>
                  </a:lnTo>
                  <a:lnTo>
                    <a:pt x="281419" y="727989"/>
                  </a:lnTo>
                  <a:lnTo>
                    <a:pt x="274091" y="774039"/>
                  </a:lnTo>
                  <a:lnTo>
                    <a:pt x="266928" y="727824"/>
                  </a:lnTo>
                  <a:lnTo>
                    <a:pt x="252374" y="684453"/>
                  </a:lnTo>
                  <a:lnTo>
                    <a:pt x="231101" y="644652"/>
                  </a:lnTo>
                  <a:lnTo>
                    <a:pt x="203809" y="609117"/>
                  </a:lnTo>
                  <a:lnTo>
                    <a:pt x="171170" y="578523"/>
                  </a:lnTo>
                  <a:lnTo>
                    <a:pt x="133858" y="553542"/>
                  </a:lnTo>
                  <a:lnTo>
                    <a:pt x="92532" y="534835"/>
                  </a:lnTo>
                  <a:lnTo>
                    <a:pt x="47917" y="523125"/>
                  </a:lnTo>
                  <a:lnTo>
                    <a:pt x="0" y="519074"/>
                  </a:lnTo>
                  <a:lnTo>
                    <a:pt x="5448" y="567245"/>
                  </a:lnTo>
                  <a:lnTo>
                    <a:pt x="18846" y="612508"/>
                  </a:lnTo>
                  <a:lnTo>
                    <a:pt x="39458" y="654138"/>
                  </a:lnTo>
                  <a:lnTo>
                    <a:pt x="66560" y="691400"/>
                  </a:lnTo>
                  <a:lnTo>
                    <a:pt x="99402" y="723544"/>
                  </a:lnTo>
                  <a:lnTo>
                    <a:pt x="125717" y="741832"/>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2DB7EA"/>
            </a:solidFill>
          </p:spPr>
          <p:txBody>
            <a:bodyPr wrap="square" lIns="0" tIns="0" rIns="0" bIns="0" rtlCol="0"/>
            <a:lstStyle/>
            <a:p>
              <a:endParaRPr dirty="0"/>
            </a:p>
          </p:txBody>
        </p:sp>
        <p:pic>
          <p:nvPicPr>
            <p:cNvPr id="20" name="object 18">
              <a:extLst>
                <a:ext uri="{FF2B5EF4-FFF2-40B4-BE49-F238E27FC236}">
                  <a16:creationId xmlns:a16="http://schemas.microsoft.com/office/drawing/2014/main" id="{8D6FD657-A826-BA01-8577-0A083E9AD5FE}"/>
                </a:ext>
              </a:extLst>
            </p:cNvPr>
            <p:cNvPicPr/>
            <p:nvPr/>
          </p:nvPicPr>
          <p:blipFill>
            <a:blip r:embed="rId10" cstate="print"/>
            <a:stretch>
              <a:fillRect/>
            </a:stretch>
          </p:blipFill>
          <p:spPr>
            <a:xfrm>
              <a:off x="11561989" y="5951762"/>
              <a:ext cx="106445" cy="107156"/>
            </a:xfrm>
            <a:prstGeom prst="rect">
              <a:avLst/>
            </a:prstGeom>
          </p:spPr>
        </p:pic>
        <p:sp>
          <p:nvSpPr>
            <p:cNvPr id="21" name="object 19">
              <a:extLst>
                <a:ext uri="{FF2B5EF4-FFF2-40B4-BE49-F238E27FC236}">
                  <a16:creationId xmlns:a16="http://schemas.microsoft.com/office/drawing/2014/main" id="{E4515FCC-89B0-39DB-50E2-61B0FF93E516}"/>
                </a:ext>
              </a:extLst>
            </p:cNvPr>
            <p:cNvSpPr/>
            <p:nvPr/>
          </p:nvSpPr>
          <p:spPr>
            <a:xfrm>
              <a:off x="11449331" y="5383587"/>
              <a:ext cx="332700" cy="477101"/>
            </a:xfrm>
            <a:custGeom>
              <a:avLst/>
              <a:gdLst/>
              <a:ahLst/>
              <a:cxnLst/>
              <a:rect l="l" t="t" r="r" b="b"/>
              <a:pathLst>
                <a:path w="548640" h="786765">
                  <a:moveTo>
                    <a:pt x="548055" y="266623"/>
                  </a:moveTo>
                  <a:lnTo>
                    <a:pt x="500380" y="270649"/>
                  </a:lnTo>
                  <a:lnTo>
                    <a:pt x="455853" y="282308"/>
                  </a:lnTo>
                  <a:lnTo>
                    <a:pt x="414616" y="300913"/>
                  </a:lnTo>
                  <a:lnTo>
                    <a:pt x="377355" y="325780"/>
                  </a:lnTo>
                  <a:lnTo>
                    <a:pt x="344728" y="356235"/>
                  </a:lnTo>
                  <a:lnTo>
                    <a:pt x="317423" y="391617"/>
                  </a:lnTo>
                  <a:lnTo>
                    <a:pt x="296100" y="431241"/>
                  </a:lnTo>
                  <a:lnTo>
                    <a:pt x="281432" y="474446"/>
                  </a:lnTo>
                  <a:lnTo>
                    <a:pt x="274104" y="520522"/>
                  </a:lnTo>
                  <a:lnTo>
                    <a:pt x="266928" y="474256"/>
                  </a:lnTo>
                  <a:lnTo>
                    <a:pt x="252374" y="430885"/>
                  </a:lnTo>
                  <a:lnTo>
                    <a:pt x="231101" y="391083"/>
                  </a:lnTo>
                  <a:lnTo>
                    <a:pt x="203809" y="355549"/>
                  </a:lnTo>
                  <a:lnTo>
                    <a:pt x="171170" y="324954"/>
                  </a:lnTo>
                  <a:lnTo>
                    <a:pt x="133858" y="299974"/>
                  </a:lnTo>
                  <a:lnTo>
                    <a:pt x="92544" y="281292"/>
                  </a:lnTo>
                  <a:lnTo>
                    <a:pt x="47929" y="269582"/>
                  </a:lnTo>
                  <a:lnTo>
                    <a:pt x="12" y="265531"/>
                  </a:lnTo>
                  <a:lnTo>
                    <a:pt x="5461" y="313690"/>
                  </a:lnTo>
                  <a:lnTo>
                    <a:pt x="18859" y="358952"/>
                  </a:lnTo>
                  <a:lnTo>
                    <a:pt x="39471" y="400583"/>
                  </a:lnTo>
                  <a:lnTo>
                    <a:pt x="66573" y="437832"/>
                  </a:lnTo>
                  <a:lnTo>
                    <a:pt x="99415" y="469976"/>
                  </a:lnTo>
                  <a:lnTo>
                    <a:pt x="137261" y="496290"/>
                  </a:lnTo>
                  <a:lnTo>
                    <a:pt x="179387" y="516026"/>
                  </a:lnTo>
                  <a:lnTo>
                    <a:pt x="225056" y="528447"/>
                  </a:lnTo>
                  <a:lnTo>
                    <a:pt x="273532" y="532828"/>
                  </a:lnTo>
                  <a:lnTo>
                    <a:pt x="274764" y="532828"/>
                  </a:lnTo>
                  <a:lnTo>
                    <a:pt x="323100" y="528472"/>
                  </a:lnTo>
                  <a:lnTo>
                    <a:pt x="368655" y="516102"/>
                  </a:lnTo>
                  <a:lnTo>
                    <a:pt x="410692" y="496455"/>
                  </a:lnTo>
                  <a:lnTo>
                    <a:pt x="448475" y="470268"/>
                  </a:lnTo>
                  <a:lnTo>
                    <a:pt x="481279" y="438251"/>
                  </a:lnTo>
                  <a:lnTo>
                    <a:pt x="508368" y="401154"/>
                  </a:lnTo>
                  <a:lnTo>
                    <a:pt x="529018" y="359689"/>
                  </a:lnTo>
                  <a:lnTo>
                    <a:pt x="542480" y="314604"/>
                  </a:lnTo>
                  <a:lnTo>
                    <a:pt x="548055" y="266623"/>
                  </a:lnTo>
                  <a:close/>
                </a:path>
                <a:path w="548640" h="786765">
                  <a:moveTo>
                    <a:pt x="548055" y="1079"/>
                  </a:moveTo>
                  <a:lnTo>
                    <a:pt x="500380" y="5118"/>
                  </a:lnTo>
                  <a:lnTo>
                    <a:pt x="455853" y="16764"/>
                  </a:lnTo>
                  <a:lnTo>
                    <a:pt x="414616" y="35369"/>
                  </a:lnTo>
                  <a:lnTo>
                    <a:pt x="377355" y="60236"/>
                  </a:lnTo>
                  <a:lnTo>
                    <a:pt x="344728" y="90703"/>
                  </a:lnTo>
                  <a:lnTo>
                    <a:pt x="317423" y="126085"/>
                  </a:lnTo>
                  <a:lnTo>
                    <a:pt x="296100" y="165722"/>
                  </a:lnTo>
                  <a:lnTo>
                    <a:pt x="281432" y="208915"/>
                  </a:lnTo>
                  <a:lnTo>
                    <a:pt x="274104" y="255003"/>
                  </a:lnTo>
                  <a:lnTo>
                    <a:pt x="266928" y="208724"/>
                  </a:lnTo>
                  <a:lnTo>
                    <a:pt x="252374" y="165354"/>
                  </a:lnTo>
                  <a:lnTo>
                    <a:pt x="231101" y="125564"/>
                  </a:lnTo>
                  <a:lnTo>
                    <a:pt x="203809" y="90030"/>
                  </a:lnTo>
                  <a:lnTo>
                    <a:pt x="171170" y="59423"/>
                  </a:lnTo>
                  <a:lnTo>
                    <a:pt x="133858" y="34442"/>
                  </a:lnTo>
                  <a:lnTo>
                    <a:pt x="92544" y="15760"/>
                  </a:lnTo>
                  <a:lnTo>
                    <a:pt x="47929" y="4051"/>
                  </a:lnTo>
                  <a:lnTo>
                    <a:pt x="12" y="0"/>
                  </a:lnTo>
                  <a:lnTo>
                    <a:pt x="5461" y="48158"/>
                  </a:lnTo>
                  <a:lnTo>
                    <a:pt x="18859" y="93421"/>
                  </a:lnTo>
                  <a:lnTo>
                    <a:pt x="39471" y="135051"/>
                  </a:lnTo>
                  <a:lnTo>
                    <a:pt x="66573" y="172300"/>
                  </a:lnTo>
                  <a:lnTo>
                    <a:pt x="99415" y="204457"/>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36"/>
                  </a:lnTo>
                  <a:lnTo>
                    <a:pt x="481279" y="172720"/>
                  </a:lnTo>
                  <a:lnTo>
                    <a:pt x="508368" y="135623"/>
                  </a:lnTo>
                  <a:lnTo>
                    <a:pt x="529018" y="94157"/>
                  </a:lnTo>
                  <a:lnTo>
                    <a:pt x="542480" y="49072"/>
                  </a:lnTo>
                  <a:lnTo>
                    <a:pt x="548055" y="1079"/>
                  </a:lnTo>
                  <a:close/>
                </a:path>
                <a:path w="548640" h="786765">
                  <a:moveTo>
                    <a:pt x="548093" y="520192"/>
                  </a:moveTo>
                  <a:lnTo>
                    <a:pt x="500380" y="524217"/>
                  </a:lnTo>
                  <a:lnTo>
                    <a:pt x="455853" y="535876"/>
                  </a:lnTo>
                  <a:lnTo>
                    <a:pt x="414616" y="554469"/>
                  </a:lnTo>
                  <a:lnTo>
                    <a:pt x="377355" y="579335"/>
                  </a:lnTo>
                  <a:lnTo>
                    <a:pt x="344728" y="609790"/>
                  </a:lnTo>
                  <a:lnTo>
                    <a:pt x="317411" y="645172"/>
                  </a:lnTo>
                  <a:lnTo>
                    <a:pt x="296087" y="684796"/>
                  </a:lnTo>
                  <a:lnTo>
                    <a:pt x="281419" y="727976"/>
                  </a:lnTo>
                  <a:lnTo>
                    <a:pt x="274091" y="774039"/>
                  </a:lnTo>
                  <a:lnTo>
                    <a:pt x="266928" y="727811"/>
                  </a:lnTo>
                  <a:lnTo>
                    <a:pt x="252374" y="684441"/>
                  </a:lnTo>
                  <a:lnTo>
                    <a:pt x="231101" y="644652"/>
                  </a:lnTo>
                  <a:lnTo>
                    <a:pt x="203809" y="609117"/>
                  </a:lnTo>
                  <a:lnTo>
                    <a:pt x="171170" y="578523"/>
                  </a:lnTo>
                  <a:lnTo>
                    <a:pt x="133858" y="553542"/>
                  </a:lnTo>
                  <a:lnTo>
                    <a:pt x="92544" y="534847"/>
                  </a:lnTo>
                  <a:lnTo>
                    <a:pt x="47917" y="523125"/>
                  </a:lnTo>
                  <a:lnTo>
                    <a:pt x="0" y="519061"/>
                  </a:lnTo>
                  <a:lnTo>
                    <a:pt x="5448" y="567245"/>
                  </a:lnTo>
                  <a:lnTo>
                    <a:pt x="18846" y="612508"/>
                  </a:lnTo>
                  <a:lnTo>
                    <a:pt x="39458" y="654138"/>
                  </a:lnTo>
                  <a:lnTo>
                    <a:pt x="66560" y="691388"/>
                  </a:lnTo>
                  <a:lnTo>
                    <a:pt x="67259" y="692073"/>
                  </a:lnTo>
                  <a:lnTo>
                    <a:pt x="99402" y="723544"/>
                  </a:lnTo>
                  <a:lnTo>
                    <a:pt x="125717" y="741832"/>
                  </a:lnTo>
                  <a:lnTo>
                    <a:pt x="137261" y="749858"/>
                  </a:lnTo>
                  <a:lnTo>
                    <a:pt x="179387" y="769594"/>
                  </a:lnTo>
                  <a:lnTo>
                    <a:pt x="225056" y="782015"/>
                  </a:lnTo>
                  <a:lnTo>
                    <a:pt x="273532" y="786396"/>
                  </a:lnTo>
                  <a:lnTo>
                    <a:pt x="274764" y="786396"/>
                  </a:lnTo>
                  <a:lnTo>
                    <a:pt x="323100" y="782027"/>
                  </a:lnTo>
                  <a:lnTo>
                    <a:pt x="368655" y="769670"/>
                  </a:lnTo>
                  <a:lnTo>
                    <a:pt x="410692" y="750023"/>
                  </a:lnTo>
                  <a:lnTo>
                    <a:pt x="448475" y="723823"/>
                  </a:lnTo>
                  <a:lnTo>
                    <a:pt x="481279" y="691819"/>
                  </a:lnTo>
                  <a:lnTo>
                    <a:pt x="508393" y="654697"/>
                  </a:lnTo>
                  <a:lnTo>
                    <a:pt x="529043" y="613244"/>
                  </a:lnTo>
                  <a:lnTo>
                    <a:pt x="542531" y="568172"/>
                  </a:lnTo>
                  <a:lnTo>
                    <a:pt x="548093" y="520192"/>
                  </a:lnTo>
                  <a:close/>
                </a:path>
              </a:pathLst>
            </a:custGeom>
            <a:solidFill>
              <a:srgbClr val="7ED3F1"/>
            </a:solidFill>
          </p:spPr>
          <p:txBody>
            <a:bodyPr wrap="square" lIns="0" tIns="0" rIns="0" bIns="0" rtlCol="0"/>
            <a:lstStyle/>
            <a:p>
              <a:endParaRPr dirty="0"/>
            </a:p>
          </p:txBody>
        </p:sp>
        <p:pic>
          <p:nvPicPr>
            <p:cNvPr id="22" name="object 20">
              <a:extLst>
                <a:ext uri="{FF2B5EF4-FFF2-40B4-BE49-F238E27FC236}">
                  <a16:creationId xmlns:a16="http://schemas.microsoft.com/office/drawing/2014/main" id="{F36170FE-492D-DA99-1987-6C4BC102F920}"/>
                </a:ext>
              </a:extLst>
            </p:cNvPr>
            <p:cNvPicPr/>
            <p:nvPr/>
          </p:nvPicPr>
          <p:blipFill>
            <a:blip r:embed="rId11" cstate="print"/>
            <a:stretch>
              <a:fillRect/>
            </a:stretch>
          </p:blipFill>
          <p:spPr>
            <a:xfrm>
              <a:off x="11561989" y="5297596"/>
              <a:ext cx="106445" cy="107156"/>
            </a:xfrm>
            <a:prstGeom prst="rect">
              <a:avLst/>
            </a:prstGeom>
          </p:spPr>
        </p:pic>
        <p:sp>
          <p:nvSpPr>
            <p:cNvPr id="23" name="object 21">
              <a:extLst>
                <a:ext uri="{FF2B5EF4-FFF2-40B4-BE49-F238E27FC236}">
                  <a16:creationId xmlns:a16="http://schemas.microsoft.com/office/drawing/2014/main" id="{E3BD9580-005B-01B6-1238-335270BD779F}"/>
                </a:ext>
              </a:extLst>
            </p:cNvPr>
            <p:cNvSpPr/>
            <p:nvPr/>
          </p:nvSpPr>
          <p:spPr>
            <a:xfrm>
              <a:off x="11449339" y="6691912"/>
              <a:ext cx="332700" cy="165965"/>
            </a:xfrm>
            <a:custGeom>
              <a:avLst/>
              <a:gdLst/>
              <a:ahLst/>
              <a:cxnLst/>
              <a:rect l="l" t="t" r="r" b="b"/>
              <a:pathLst>
                <a:path w="548640" h="273684">
                  <a:moveTo>
                    <a:pt x="62560" y="273431"/>
                  </a:moveTo>
                  <a:lnTo>
                    <a:pt x="47917" y="269595"/>
                  </a:lnTo>
                  <a:lnTo>
                    <a:pt x="0" y="265544"/>
                  </a:lnTo>
                  <a:lnTo>
                    <a:pt x="889" y="273431"/>
                  </a:lnTo>
                  <a:lnTo>
                    <a:pt x="62560" y="273431"/>
                  </a:lnTo>
                  <a:close/>
                </a:path>
                <a:path w="548640" h="273684">
                  <a:moveTo>
                    <a:pt x="548030" y="266623"/>
                  </a:moveTo>
                  <a:lnTo>
                    <a:pt x="500367" y="270649"/>
                  </a:lnTo>
                  <a:lnTo>
                    <a:pt x="489724" y="273431"/>
                  </a:lnTo>
                  <a:lnTo>
                    <a:pt x="547243" y="273431"/>
                  </a:lnTo>
                  <a:lnTo>
                    <a:pt x="548030" y="266623"/>
                  </a:lnTo>
                  <a:close/>
                </a:path>
                <a:path w="548640" h="273684">
                  <a:moveTo>
                    <a:pt x="548043" y="1079"/>
                  </a:moveTo>
                  <a:lnTo>
                    <a:pt x="500367" y="5118"/>
                  </a:lnTo>
                  <a:lnTo>
                    <a:pt x="455841" y="16776"/>
                  </a:lnTo>
                  <a:lnTo>
                    <a:pt x="414604" y="35382"/>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21"/>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57"/>
                  </a:lnTo>
                  <a:lnTo>
                    <a:pt x="542467" y="49072"/>
                  </a:lnTo>
                  <a:lnTo>
                    <a:pt x="548043" y="1079"/>
                  </a:lnTo>
                  <a:close/>
                </a:path>
              </a:pathLst>
            </a:custGeom>
            <a:solidFill>
              <a:srgbClr val="7ED3F1"/>
            </a:solidFill>
          </p:spPr>
          <p:txBody>
            <a:bodyPr wrap="square" lIns="0" tIns="0" rIns="0" bIns="0" rtlCol="0"/>
            <a:lstStyle/>
            <a:p>
              <a:endParaRPr dirty="0"/>
            </a:p>
          </p:txBody>
        </p:sp>
        <p:pic>
          <p:nvPicPr>
            <p:cNvPr id="24" name="object 22">
              <a:extLst>
                <a:ext uri="{FF2B5EF4-FFF2-40B4-BE49-F238E27FC236}">
                  <a16:creationId xmlns:a16="http://schemas.microsoft.com/office/drawing/2014/main" id="{D41D6BBF-49F0-DA09-ADF0-4E3975A236D2}"/>
                </a:ext>
              </a:extLst>
            </p:cNvPr>
            <p:cNvPicPr/>
            <p:nvPr/>
          </p:nvPicPr>
          <p:blipFill>
            <a:blip r:embed="rId11" cstate="print"/>
            <a:stretch>
              <a:fillRect/>
            </a:stretch>
          </p:blipFill>
          <p:spPr>
            <a:xfrm>
              <a:off x="11561989" y="6605926"/>
              <a:ext cx="106445" cy="107156"/>
            </a:xfrm>
            <a:prstGeom prst="rect">
              <a:avLst/>
            </a:prstGeom>
          </p:spPr>
        </p:pic>
        <p:sp>
          <p:nvSpPr>
            <p:cNvPr id="25" name="object 23">
              <a:extLst>
                <a:ext uri="{FF2B5EF4-FFF2-40B4-BE49-F238E27FC236}">
                  <a16:creationId xmlns:a16="http://schemas.microsoft.com/office/drawing/2014/main" id="{A8F55E41-77C3-FF7F-A29A-26154D061024}"/>
                </a:ext>
              </a:extLst>
            </p:cNvPr>
            <p:cNvSpPr/>
            <p:nvPr/>
          </p:nvSpPr>
          <p:spPr>
            <a:xfrm>
              <a:off x="11064254" y="6479532"/>
              <a:ext cx="332700" cy="316141"/>
            </a:xfrm>
            <a:custGeom>
              <a:avLst/>
              <a:gdLst/>
              <a:ahLst/>
              <a:cxnLst/>
              <a:rect l="l" t="t" r="r" b="b"/>
              <a:pathLst>
                <a:path w="548640" h="521334">
                  <a:moveTo>
                    <a:pt x="548081" y="520852"/>
                  </a:moveTo>
                  <a:lnTo>
                    <a:pt x="542632" y="472694"/>
                  </a:lnTo>
                  <a:lnTo>
                    <a:pt x="529234" y="427431"/>
                  </a:lnTo>
                  <a:lnTo>
                    <a:pt x="508622" y="385800"/>
                  </a:lnTo>
                  <a:lnTo>
                    <a:pt x="481520" y="348551"/>
                  </a:lnTo>
                  <a:lnTo>
                    <a:pt x="448678" y="316395"/>
                  </a:lnTo>
                  <a:lnTo>
                    <a:pt x="410832" y="290093"/>
                  </a:lnTo>
                  <a:lnTo>
                    <a:pt x="368706" y="270357"/>
                  </a:lnTo>
                  <a:lnTo>
                    <a:pt x="323037" y="257924"/>
                  </a:lnTo>
                  <a:lnTo>
                    <a:pt x="274561" y="253555"/>
                  </a:lnTo>
                  <a:lnTo>
                    <a:pt x="273329" y="253555"/>
                  </a:lnTo>
                  <a:lnTo>
                    <a:pt x="224993" y="257911"/>
                  </a:lnTo>
                  <a:lnTo>
                    <a:pt x="179438" y="270281"/>
                  </a:lnTo>
                  <a:lnTo>
                    <a:pt x="137401" y="289915"/>
                  </a:lnTo>
                  <a:lnTo>
                    <a:pt x="99618" y="316115"/>
                  </a:lnTo>
                  <a:lnTo>
                    <a:pt x="66814" y="348132"/>
                  </a:lnTo>
                  <a:lnTo>
                    <a:pt x="39725" y="385229"/>
                  </a:lnTo>
                  <a:lnTo>
                    <a:pt x="19075" y="426694"/>
                  </a:lnTo>
                  <a:lnTo>
                    <a:pt x="5613" y="471792"/>
                  </a:lnTo>
                  <a:lnTo>
                    <a:pt x="38" y="519772"/>
                  </a:lnTo>
                  <a:lnTo>
                    <a:pt x="47713" y="515747"/>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27"/>
                  </a:lnTo>
                  <a:lnTo>
                    <a:pt x="295719" y="355498"/>
                  </a:lnTo>
                  <a:lnTo>
                    <a:pt x="316992" y="395300"/>
                  </a:lnTo>
                  <a:lnTo>
                    <a:pt x="344284" y="430834"/>
                  </a:lnTo>
                  <a:lnTo>
                    <a:pt x="376923" y="461429"/>
                  </a:lnTo>
                  <a:lnTo>
                    <a:pt x="414235" y="486410"/>
                  </a:lnTo>
                  <a:lnTo>
                    <a:pt x="455549" y="505091"/>
                  </a:lnTo>
                  <a:lnTo>
                    <a:pt x="500164" y="516801"/>
                  </a:lnTo>
                  <a:lnTo>
                    <a:pt x="548081" y="520852"/>
                  </a:lnTo>
                  <a:close/>
                </a:path>
                <a:path w="548640" h="521334">
                  <a:moveTo>
                    <a:pt x="548081" y="267322"/>
                  </a:moveTo>
                  <a:lnTo>
                    <a:pt x="547077" y="258432"/>
                  </a:lnTo>
                  <a:lnTo>
                    <a:pt x="542645" y="219138"/>
                  </a:lnTo>
                  <a:lnTo>
                    <a:pt x="529247" y="173875"/>
                  </a:lnTo>
                  <a:lnTo>
                    <a:pt x="508635" y="132245"/>
                  </a:lnTo>
                  <a:lnTo>
                    <a:pt x="481533" y="94996"/>
                  </a:lnTo>
                  <a:lnTo>
                    <a:pt x="448691" y="62839"/>
                  </a:lnTo>
                  <a:lnTo>
                    <a:pt x="433158" y="52057"/>
                  </a:lnTo>
                  <a:lnTo>
                    <a:pt x="410832" y="36537"/>
                  </a:lnTo>
                  <a:lnTo>
                    <a:pt x="368706" y="16814"/>
                  </a:lnTo>
                  <a:lnTo>
                    <a:pt x="323037" y="4368"/>
                  </a:lnTo>
                  <a:lnTo>
                    <a:pt x="274561" y="12"/>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64" y="231914"/>
                  </a:lnTo>
                  <a:lnTo>
                    <a:pt x="170738" y="207048"/>
                  </a:lnTo>
                  <a:lnTo>
                    <a:pt x="203365" y="176593"/>
                  </a:lnTo>
                  <a:lnTo>
                    <a:pt x="230682" y="141211"/>
                  </a:lnTo>
                  <a:lnTo>
                    <a:pt x="252006" y="101600"/>
                  </a:lnTo>
                  <a:lnTo>
                    <a:pt x="266674" y="58407"/>
                  </a:lnTo>
                  <a:lnTo>
                    <a:pt x="273989" y="12357"/>
                  </a:lnTo>
                  <a:lnTo>
                    <a:pt x="281165" y="58572"/>
                  </a:lnTo>
                  <a:lnTo>
                    <a:pt x="295719" y="101942"/>
                  </a:lnTo>
                  <a:lnTo>
                    <a:pt x="316992" y="141744"/>
                  </a:lnTo>
                  <a:lnTo>
                    <a:pt x="344284" y="177279"/>
                  </a:lnTo>
                  <a:lnTo>
                    <a:pt x="376923" y="207873"/>
                  </a:lnTo>
                  <a:lnTo>
                    <a:pt x="414235" y="232854"/>
                  </a:lnTo>
                  <a:lnTo>
                    <a:pt x="455549" y="251548"/>
                  </a:lnTo>
                  <a:lnTo>
                    <a:pt x="500176" y="263258"/>
                  </a:lnTo>
                  <a:lnTo>
                    <a:pt x="548081" y="267322"/>
                  </a:lnTo>
                  <a:close/>
                </a:path>
              </a:pathLst>
            </a:custGeom>
            <a:solidFill>
              <a:srgbClr val="2DB7EA"/>
            </a:solidFill>
          </p:spPr>
          <p:txBody>
            <a:bodyPr wrap="square" lIns="0" tIns="0" rIns="0" bIns="0" rtlCol="0"/>
            <a:lstStyle/>
            <a:p>
              <a:endParaRPr dirty="0"/>
            </a:p>
          </p:txBody>
        </p:sp>
        <p:pic>
          <p:nvPicPr>
            <p:cNvPr id="26" name="object 24">
              <a:extLst>
                <a:ext uri="{FF2B5EF4-FFF2-40B4-BE49-F238E27FC236}">
                  <a16:creationId xmlns:a16="http://schemas.microsoft.com/office/drawing/2014/main" id="{1AF12AEB-D381-1CE8-3274-3330338B7119}"/>
                </a:ext>
              </a:extLst>
            </p:cNvPr>
            <p:cNvPicPr/>
            <p:nvPr/>
          </p:nvPicPr>
          <p:blipFill>
            <a:blip r:embed="rId12" cstate="print"/>
            <a:stretch>
              <a:fillRect/>
            </a:stretch>
          </p:blipFill>
          <p:spPr>
            <a:xfrm>
              <a:off x="11100347" y="6794307"/>
              <a:ext cx="260137" cy="63416"/>
            </a:xfrm>
            <a:prstGeom prst="rect">
              <a:avLst/>
            </a:prstGeom>
          </p:spPr>
        </p:pic>
        <p:sp>
          <p:nvSpPr>
            <p:cNvPr id="27" name="object 25">
              <a:extLst>
                <a:ext uri="{FF2B5EF4-FFF2-40B4-BE49-F238E27FC236}">
                  <a16:creationId xmlns:a16="http://schemas.microsoft.com/office/drawing/2014/main" id="{7B808C26-A495-43B3-8E55-AB1AA8469646}"/>
                </a:ext>
              </a:extLst>
            </p:cNvPr>
            <p:cNvSpPr/>
            <p:nvPr/>
          </p:nvSpPr>
          <p:spPr>
            <a:xfrm>
              <a:off x="11064254" y="5171198"/>
              <a:ext cx="332700" cy="477101"/>
            </a:xfrm>
            <a:custGeom>
              <a:avLst/>
              <a:gdLst/>
              <a:ahLst/>
              <a:cxnLst/>
              <a:rect l="l" t="t" r="r" b="b"/>
              <a:pathLst>
                <a:path w="548640" h="786765">
                  <a:moveTo>
                    <a:pt x="548081" y="786396"/>
                  </a:moveTo>
                  <a:lnTo>
                    <a:pt x="542632" y="738225"/>
                  </a:lnTo>
                  <a:lnTo>
                    <a:pt x="529234" y="692975"/>
                  </a:lnTo>
                  <a:lnTo>
                    <a:pt x="508622" y="651344"/>
                  </a:lnTo>
                  <a:lnTo>
                    <a:pt x="481520" y="614083"/>
                  </a:lnTo>
                  <a:lnTo>
                    <a:pt x="448678" y="581939"/>
                  </a:lnTo>
                  <a:lnTo>
                    <a:pt x="410832" y="555625"/>
                  </a:lnTo>
                  <a:lnTo>
                    <a:pt x="368706" y="535889"/>
                  </a:lnTo>
                  <a:lnTo>
                    <a:pt x="323037" y="523468"/>
                  </a:lnTo>
                  <a:lnTo>
                    <a:pt x="274561" y="519087"/>
                  </a:lnTo>
                  <a:lnTo>
                    <a:pt x="273329" y="519087"/>
                  </a:lnTo>
                  <a:lnTo>
                    <a:pt x="224993" y="523455"/>
                  </a:lnTo>
                  <a:lnTo>
                    <a:pt x="179438" y="535813"/>
                  </a:lnTo>
                  <a:lnTo>
                    <a:pt x="137401" y="555459"/>
                  </a:lnTo>
                  <a:lnTo>
                    <a:pt x="99618" y="581660"/>
                  </a:lnTo>
                  <a:lnTo>
                    <a:pt x="66814" y="613676"/>
                  </a:lnTo>
                  <a:lnTo>
                    <a:pt x="39725" y="650773"/>
                  </a:lnTo>
                  <a:lnTo>
                    <a:pt x="19075" y="692238"/>
                  </a:lnTo>
                  <a:lnTo>
                    <a:pt x="5613" y="737323"/>
                  </a:lnTo>
                  <a:lnTo>
                    <a:pt x="38" y="785317"/>
                  </a:lnTo>
                  <a:lnTo>
                    <a:pt x="47713" y="781278"/>
                  </a:lnTo>
                  <a:lnTo>
                    <a:pt x="92240" y="769620"/>
                  </a:lnTo>
                  <a:lnTo>
                    <a:pt x="133464" y="751027"/>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35" y="751941"/>
                  </a:lnTo>
                  <a:lnTo>
                    <a:pt x="455549" y="770623"/>
                  </a:lnTo>
                  <a:lnTo>
                    <a:pt x="500164" y="782332"/>
                  </a:lnTo>
                  <a:lnTo>
                    <a:pt x="548081" y="786396"/>
                  </a:lnTo>
                  <a:close/>
                </a:path>
                <a:path w="548640" h="786765">
                  <a:moveTo>
                    <a:pt x="548081" y="520865"/>
                  </a:moveTo>
                  <a:lnTo>
                    <a:pt x="542632" y="472706"/>
                  </a:lnTo>
                  <a:lnTo>
                    <a:pt x="529234" y="427443"/>
                  </a:lnTo>
                  <a:lnTo>
                    <a:pt x="508622" y="385813"/>
                  </a:lnTo>
                  <a:lnTo>
                    <a:pt x="481520" y="348551"/>
                  </a:lnTo>
                  <a:lnTo>
                    <a:pt x="448678" y="316407"/>
                  </a:lnTo>
                  <a:lnTo>
                    <a:pt x="410832" y="290093"/>
                  </a:lnTo>
                  <a:lnTo>
                    <a:pt x="368706" y="270357"/>
                  </a:lnTo>
                  <a:lnTo>
                    <a:pt x="323037" y="257937"/>
                  </a:lnTo>
                  <a:lnTo>
                    <a:pt x="274561" y="253568"/>
                  </a:lnTo>
                  <a:lnTo>
                    <a:pt x="273329" y="253568"/>
                  </a:lnTo>
                  <a:lnTo>
                    <a:pt x="224993" y="257924"/>
                  </a:lnTo>
                  <a:lnTo>
                    <a:pt x="179438" y="270281"/>
                  </a:lnTo>
                  <a:lnTo>
                    <a:pt x="137401" y="289928"/>
                  </a:lnTo>
                  <a:lnTo>
                    <a:pt x="99618" y="316128"/>
                  </a:lnTo>
                  <a:lnTo>
                    <a:pt x="66814" y="348132"/>
                  </a:lnTo>
                  <a:lnTo>
                    <a:pt x="39725" y="385241"/>
                  </a:lnTo>
                  <a:lnTo>
                    <a:pt x="19075" y="426694"/>
                  </a:lnTo>
                  <a:lnTo>
                    <a:pt x="5613" y="471792"/>
                  </a:lnTo>
                  <a:lnTo>
                    <a:pt x="38" y="519772"/>
                  </a:lnTo>
                  <a:lnTo>
                    <a:pt x="47713" y="515734"/>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5">
                  <a:moveTo>
                    <a:pt x="548081" y="267322"/>
                  </a:moveTo>
                  <a:lnTo>
                    <a:pt x="546976" y="257530"/>
                  </a:lnTo>
                  <a:lnTo>
                    <a:pt x="542645" y="219151"/>
                  </a:lnTo>
                  <a:lnTo>
                    <a:pt x="529247" y="173875"/>
                  </a:lnTo>
                  <a:lnTo>
                    <a:pt x="508635" y="132245"/>
                  </a:lnTo>
                  <a:lnTo>
                    <a:pt x="481533" y="94996"/>
                  </a:lnTo>
                  <a:lnTo>
                    <a:pt x="449376" y="63525"/>
                  </a:lnTo>
                  <a:lnTo>
                    <a:pt x="448691" y="62852"/>
                  </a:lnTo>
                  <a:lnTo>
                    <a:pt x="410832" y="36537"/>
                  </a:lnTo>
                  <a:lnTo>
                    <a:pt x="368706" y="16814"/>
                  </a:lnTo>
                  <a:lnTo>
                    <a:pt x="323037" y="4394"/>
                  </a:lnTo>
                  <a:lnTo>
                    <a:pt x="274561" y="12"/>
                  </a:lnTo>
                  <a:lnTo>
                    <a:pt x="273329" y="0"/>
                  </a:lnTo>
                  <a:lnTo>
                    <a:pt x="224993" y="4356"/>
                  </a:lnTo>
                  <a:lnTo>
                    <a:pt x="179438" y="16725"/>
                  </a:lnTo>
                  <a:lnTo>
                    <a:pt x="137401" y="36372"/>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64" y="231927"/>
                  </a:lnTo>
                  <a:lnTo>
                    <a:pt x="170738" y="207048"/>
                  </a:lnTo>
                  <a:lnTo>
                    <a:pt x="203365" y="176593"/>
                  </a:lnTo>
                  <a:lnTo>
                    <a:pt x="230682" y="141211"/>
                  </a:lnTo>
                  <a:lnTo>
                    <a:pt x="252006" y="101600"/>
                  </a:lnTo>
                  <a:lnTo>
                    <a:pt x="266674" y="58407"/>
                  </a:lnTo>
                  <a:lnTo>
                    <a:pt x="273989" y="12357"/>
                  </a:lnTo>
                  <a:lnTo>
                    <a:pt x="280047" y="51409"/>
                  </a:lnTo>
                  <a:lnTo>
                    <a:pt x="295719" y="101942"/>
                  </a:lnTo>
                  <a:lnTo>
                    <a:pt x="316992" y="141744"/>
                  </a:lnTo>
                  <a:lnTo>
                    <a:pt x="344284" y="177279"/>
                  </a:lnTo>
                  <a:lnTo>
                    <a:pt x="376923" y="207873"/>
                  </a:lnTo>
                  <a:lnTo>
                    <a:pt x="414248" y="232867"/>
                  </a:lnTo>
                  <a:lnTo>
                    <a:pt x="455549" y="251548"/>
                  </a:lnTo>
                  <a:lnTo>
                    <a:pt x="500176" y="263258"/>
                  </a:lnTo>
                  <a:lnTo>
                    <a:pt x="548081" y="267322"/>
                  </a:lnTo>
                  <a:close/>
                </a:path>
              </a:pathLst>
            </a:custGeom>
            <a:solidFill>
              <a:srgbClr val="2DB7EA"/>
            </a:solidFill>
          </p:spPr>
          <p:txBody>
            <a:bodyPr wrap="square" lIns="0" tIns="0" rIns="0" bIns="0" rtlCol="0"/>
            <a:lstStyle/>
            <a:p>
              <a:endParaRPr dirty="0"/>
            </a:p>
          </p:txBody>
        </p:sp>
        <p:pic>
          <p:nvPicPr>
            <p:cNvPr id="28" name="object 26">
              <a:extLst>
                <a:ext uri="{FF2B5EF4-FFF2-40B4-BE49-F238E27FC236}">
                  <a16:creationId xmlns:a16="http://schemas.microsoft.com/office/drawing/2014/main" id="{22BC1E7C-9260-CF02-8FF3-2691748F6F08}"/>
                </a:ext>
              </a:extLst>
            </p:cNvPr>
            <p:cNvPicPr/>
            <p:nvPr/>
          </p:nvPicPr>
          <p:blipFill>
            <a:blip r:embed="rId13" cstate="print"/>
            <a:stretch>
              <a:fillRect/>
            </a:stretch>
          </p:blipFill>
          <p:spPr>
            <a:xfrm>
              <a:off x="11177526" y="5626898"/>
              <a:ext cx="106445" cy="107156"/>
            </a:xfrm>
            <a:prstGeom prst="rect">
              <a:avLst/>
            </a:prstGeom>
          </p:spPr>
        </p:pic>
        <p:sp>
          <p:nvSpPr>
            <p:cNvPr id="29" name="object 27">
              <a:extLst>
                <a:ext uri="{FF2B5EF4-FFF2-40B4-BE49-F238E27FC236}">
                  <a16:creationId xmlns:a16="http://schemas.microsoft.com/office/drawing/2014/main" id="{F9CC1AAF-4A25-35A4-ACFD-BE461B9BC329}"/>
                </a:ext>
              </a:extLst>
            </p:cNvPr>
            <p:cNvSpPr/>
            <p:nvPr/>
          </p:nvSpPr>
          <p:spPr>
            <a:xfrm>
              <a:off x="11064254" y="5825360"/>
              <a:ext cx="332700" cy="477101"/>
            </a:xfrm>
            <a:custGeom>
              <a:avLst/>
              <a:gdLst/>
              <a:ahLst/>
              <a:cxnLst/>
              <a:rect l="l" t="t" r="r" b="b"/>
              <a:pathLst>
                <a:path w="548640" h="786765">
                  <a:moveTo>
                    <a:pt x="548081" y="786396"/>
                  </a:moveTo>
                  <a:lnTo>
                    <a:pt x="542632" y="738238"/>
                  </a:lnTo>
                  <a:lnTo>
                    <a:pt x="529234" y="692975"/>
                  </a:lnTo>
                  <a:lnTo>
                    <a:pt x="508622" y="651344"/>
                  </a:lnTo>
                  <a:lnTo>
                    <a:pt x="481520" y="614095"/>
                  </a:lnTo>
                  <a:lnTo>
                    <a:pt x="448678" y="581939"/>
                  </a:lnTo>
                  <a:lnTo>
                    <a:pt x="410832" y="555637"/>
                  </a:lnTo>
                  <a:lnTo>
                    <a:pt x="368706" y="535901"/>
                  </a:lnTo>
                  <a:lnTo>
                    <a:pt x="323037" y="523481"/>
                  </a:lnTo>
                  <a:lnTo>
                    <a:pt x="274561" y="519099"/>
                  </a:lnTo>
                  <a:lnTo>
                    <a:pt x="273329" y="519099"/>
                  </a:lnTo>
                  <a:lnTo>
                    <a:pt x="224993" y="523455"/>
                  </a:lnTo>
                  <a:lnTo>
                    <a:pt x="179438" y="535825"/>
                  </a:lnTo>
                  <a:lnTo>
                    <a:pt x="137401" y="555472"/>
                  </a:lnTo>
                  <a:lnTo>
                    <a:pt x="99618" y="581660"/>
                  </a:lnTo>
                  <a:lnTo>
                    <a:pt x="66814" y="613676"/>
                  </a:lnTo>
                  <a:lnTo>
                    <a:pt x="39725" y="650773"/>
                  </a:lnTo>
                  <a:lnTo>
                    <a:pt x="19075" y="692238"/>
                  </a:lnTo>
                  <a:lnTo>
                    <a:pt x="5613" y="737323"/>
                  </a:lnTo>
                  <a:lnTo>
                    <a:pt x="38" y="785304"/>
                  </a:lnTo>
                  <a:lnTo>
                    <a:pt x="47713" y="781278"/>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35"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78" y="316407"/>
                  </a:lnTo>
                  <a:lnTo>
                    <a:pt x="410832" y="290093"/>
                  </a:lnTo>
                  <a:lnTo>
                    <a:pt x="368706" y="270370"/>
                  </a:lnTo>
                  <a:lnTo>
                    <a:pt x="323037" y="257937"/>
                  </a:lnTo>
                  <a:lnTo>
                    <a:pt x="274561" y="253555"/>
                  </a:lnTo>
                  <a:lnTo>
                    <a:pt x="273329" y="253555"/>
                  </a:lnTo>
                  <a:lnTo>
                    <a:pt x="224993" y="257924"/>
                  </a:lnTo>
                  <a:lnTo>
                    <a:pt x="179438" y="270294"/>
                  </a:lnTo>
                  <a:lnTo>
                    <a:pt x="137401" y="289928"/>
                  </a:lnTo>
                  <a:lnTo>
                    <a:pt x="99618" y="316128"/>
                  </a:lnTo>
                  <a:lnTo>
                    <a:pt x="66814" y="348145"/>
                  </a:lnTo>
                  <a:lnTo>
                    <a:pt x="39725" y="385241"/>
                  </a:lnTo>
                  <a:lnTo>
                    <a:pt x="19075" y="426694"/>
                  </a:lnTo>
                  <a:lnTo>
                    <a:pt x="5613" y="471792"/>
                  </a:lnTo>
                  <a:lnTo>
                    <a:pt x="38" y="519772"/>
                  </a:lnTo>
                  <a:lnTo>
                    <a:pt x="47713" y="515734"/>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5">
                  <a:moveTo>
                    <a:pt x="548081" y="267322"/>
                  </a:moveTo>
                  <a:lnTo>
                    <a:pt x="547458" y="261874"/>
                  </a:lnTo>
                  <a:lnTo>
                    <a:pt x="542645" y="219151"/>
                  </a:lnTo>
                  <a:lnTo>
                    <a:pt x="529247" y="173888"/>
                  </a:lnTo>
                  <a:lnTo>
                    <a:pt x="508635" y="132257"/>
                  </a:lnTo>
                  <a:lnTo>
                    <a:pt x="481533" y="94996"/>
                  </a:lnTo>
                  <a:lnTo>
                    <a:pt x="448691" y="62852"/>
                  </a:lnTo>
                  <a:lnTo>
                    <a:pt x="433158" y="52070"/>
                  </a:lnTo>
                  <a:lnTo>
                    <a:pt x="410832" y="36550"/>
                  </a:lnTo>
                  <a:lnTo>
                    <a:pt x="368706" y="16814"/>
                  </a:lnTo>
                  <a:lnTo>
                    <a:pt x="323037" y="4394"/>
                  </a:lnTo>
                  <a:lnTo>
                    <a:pt x="274561" y="0"/>
                  </a:lnTo>
                  <a:lnTo>
                    <a:pt x="273329" y="0"/>
                  </a:lnTo>
                  <a:lnTo>
                    <a:pt x="224993" y="4356"/>
                  </a:lnTo>
                  <a:lnTo>
                    <a:pt x="179438" y="16725"/>
                  </a:lnTo>
                  <a:lnTo>
                    <a:pt x="137401" y="36372"/>
                  </a:lnTo>
                  <a:lnTo>
                    <a:pt x="99618" y="62572"/>
                  </a:lnTo>
                  <a:lnTo>
                    <a:pt x="98780" y="63385"/>
                  </a:lnTo>
                  <a:lnTo>
                    <a:pt x="66814" y="94576"/>
                  </a:lnTo>
                  <a:lnTo>
                    <a:pt x="39700" y="131686"/>
                  </a:lnTo>
                  <a:lnTo>
                    <a:pt x="19037" y="173139"/>
                  </a:lnTo>
                  <a:lnTo>
                    <a:pt x="5562" y="218224"/>
                  </a:lnTo>
                  <a:lnTo>
                    <a:pt x="0" y="266192"/>
                  </a:lnTo>
                  <a:lnTo>
                    <a:pt x="47713" y="262178"/>
                  </a:lnTo>
                  <a:lnTo>
                    <a:pt x="92240" y="250532"/>
                  </a:lnTo>
                  <a:lnTo>
                    <a:pt x="133464" y="231927"/>
                  </a:lnTo>
                  <a:lnTo>
                    <a:pt x="170738" y="207060"/>
                  </a:lnTo>
                  <a:lnTo>
                    <a:pt x="203365" y="176593"/>
                  </a:lnTo>
                  <a:lnTo>
                    <a:pt x="230682" y="141224"/>
                  </a:lnTo>
                  <a:lnTo>
                    <a:pt x="252006" y="101600"/>
                  </a:lnTo>
                  <a:lnTo>
                    <a:pt x="266674" y="58407"/>
                  </a:lnTo>
                  <a:lnTo>
                    <a:pt x="273989" y="12369"/>
                  </a:lnTo>
                  <a:lnTo>
                    <a:pt x="281165" y="58585"/>
                  </a:lnTo>
                  <a:lnTo>
                    <a:pt x="295719" y="101955"/>
                  </a:lnTo>
                  <a:lnTo>
                    <a:pt x="316992" y="141744"/>
                  </a:lnTo>
                  <a:lnTo>
                    <a:pt x="344284" y="177279"/>
                  </a:lnTo>
                  <a:lnTo>
                    <a:pt x="376936" y="207886"/>
                  </a:lnTo>
                  <a:lnTo>
                    <a:pt x="414248" y="232867"/>
                  </a:lnTo>
                  <a:lnTo>
                    <a:pt x="455549" y="251561"/>
                  </a:lnTo>
                  <a:lnTo>
                    <a:pt x="500176" y="263271"/>
                  </a:lnTo>
                  <a:lnTo>
                    <a:pt x="548081" y="267322"/>
                  </a:lnTo>
                  <a:close/>
                </a:path>
              </a:pathLst>
            </a:custGeom>
            <a:solidFill>
              <a:srgbClr val="7ED3F1"/>
            </a:solidFill>
          </p:spPr>
          <p:txBody>
            <a:bodyPr wrap="square" lIns="0" tIns="0" rIns="0" bIns="0" rtlCol="0"/>
            <a:lstStyle/>
            <a:p>
              <a:endParaRPr dirty="0"/>
            </a:p>
          </p:txBody>
        </p:sp>
        <p:pic>
          <p:nvPicPr>
            <p:cNvPr id="30" name="object 28">
              <a:extLst>
                <a:ext uri="{FF2B5EF4-FFF2-40B4-BE49-F238E27FC236}">
                  <a16:creationId xmlns:a16="http://schemas.microsoft.com/office/drawing/2014/main" id="{D801BB27-37EB-36E3-A030-10DD07F4DE2D}"/>
                </a:ext>
              </a:extLst>
            </p:cNvPr>
            <p:cNvPicPr/>
            <p:nvPr/>
          </p:nvPicPr>
          <p:blipFill>
            <a:blip r:embed="rId14" cstate="print"/>
            <a:stretch>
              <a:fillRect/>
            </a:stretch>
          </p:blipFill>
          <p:spPr>
            <a:xfrm>
              <a:off x="11177526" y="6281064"/>
              <a:ext cx="106445" cy="107156"/>
            </a:xfrm>
            <a:prstGeom prst="rect">
              <a:avLst/>
            </a:prstGeom>
          </p:spPr>
        </p:pic>
        <p:sp>
          <p:nvSpPr>
            <p:cNvPr id="37" name="object 35">
              <a:extLst>
                <a:ext uri="{FF2B5EF4-FFF2-40B4-BE49-F238E27FC236}">
                  <a16:creationId xmlns:a16="http://schemas.microsoft.com/office/drawing/2014/main" id="{AF34F5D8-2300-D953-A511-170C3C1EF1A8}"/>
                </a:ext>
              </a:extLst>
            </p:cNvPr>
            <p:cNvSpPr/>
            <p:nvPr/>
          </p:nvSpPr>
          <p:spPr>
            <a:xfrm>
              <a:off x="11834385" y="6479532"/>
              <a:ext cx="332700" cy="316141"/>
            </a:xfrm>
            <a:custGeom>
              <a:avLst/>
              <a:gdLst/>
              <a:ahLst/>
              <a:cxnLst/>
              <a:rect l="l" t="t" r="r" b="b"/>
              <a:pathLst>
                <a:path w="548640" h="521334">
                  <a:moveTo>
                    <a:pt x="548081" y="520852"/>
                  </a:moveTo>
                  <a:lnTo>
                    <a:pt x="542632" y="472694"/>
                  </a:lnTo>
                  <a:lnTo>
                    <a:pt x="529234" y="427431"/>
                  </a:lnTo>
                  <a:lnTo>
                    <a:pt x="508622" y="385800"/>
                  </a:lnTo>
                  <a:lnTo>
                    <a:pt x="481533" y="348551"/>
                  </a:lnTo>
                  <a:lnTo>
                    <a:pt x="448691" y="316395"/>
                  </a:lnTo>
                  <a:lnTo>
                    <a:pt x="410832" y="290093"/>
                  </a:lnTo>
                  <a:lnTo>
                    <a:pt x="368706" y="270357"/>
                  </a:lnTo>
                  <a:lnTo>
                    <a:pt x="323037" y="257924"/>
                  </a:lnTo>
                  <a:lnTo>
                    <a:pt x="274561" y="253555"/>
                  </a:lnTo>
                  <a:lnTo>
                    <a:pt x="273342" y="253555"/>
                  </a:lnTo>
                  <a:lnTo>
                    <a:pt x="224993" y="257911"/>
                  </a:lnTo>
                  <a:lnTo>
                    <a:pt x="179438" y="270281"/>
                  </a:lnTo>
                  <a:lnTo>
                    <a:pt x="137401" y="289915"/>
                  </a:lnTo>
                  <a:lnTo>
                    <a:pt x="99618" y="316115"/>
                  </a:lnTo>
                  <a:lnTo>
                    <a:pt x="66814" y="348132"/>
                  </a:lnTo>
                  <a:lnTo>
                    <a:pt x="39725" y="385229"/>
                  </a:lnTo>
                  <a:lnTo>
                    <a:pt x="19088" y="426694"/>
                  </a:lnTo>
                  <a:lnTo>
                    <a:pt x="5613" y="471792"/>
                  </a:lnTo>
                  <a:lnTo>
                    <a:pt x="50" y="519772"/>
                  </a:lnTo>
                  <a:lnTo>
                    <a:pt x="47713" y="515747"/>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27"/>
                  </a:lnTo>
                  <a:lnTo>
                    <a:pt x="295732" y="355498"/>
                  </a:lnTo>
                  <a:lnTo>
                    <a:pt x="316992" y="395300"/>
                  </a:lnTo>
                  <a:lnTo>
                    <a:pt x="344284" y="430834"/>
                  </a:lnTo>
                  <a:lnTo>
                    <a:pt x="376936" y="461429"/>
                  </a:lnTo>
                  <a:lnTo>
                    <a:pt x="414248" y="486410"/>
                  </a:lnTo>
                  <a:lnTo>
                    <a:pt x="455549" y="505091"/>
                  </a:lnTo>
                  <a:lnTo>
                    <a:pt x="500164" y="516801"/>
                  </a:lnTo>
                  <a:lnTo>
                    <a:pt x="548081" y="520852"/>
                  </a:lnTo>
                  <a:close/>
                </a:path>
                <a:path w="548640" h="521334">
                  <a:moveTo>
                    <a:pt x="548093" y="267322"/>
                  </a:moveTo>
                  <a:lnTo>
                    <a:pt x="542645" y="219138"/>
                  </a:lnTo>
                  <a:lnTo>
                    <a:pt x="529247" y="173875"/>
                  </a:lnTo>
                  <a:lnTo>
                    <a:pt x="508635" y="132245"/>
                  </a:lnTo>
                  <a:lnTo>
                    <a:pt x="481533" y="94996"/>
                  </a:lnTo>
                  <a:lnTo>
                    <a:pt x="448691" y="62839"/>
                  </a:lnTo>
                  <a:lnTo>
                    <a:pt x="410845" y="36537"/>
                  </a:lnTo>
                  <a:lnTo>
                    <a:pt x="368719" y="16814"/>
                  </a:lnTo>
                  <a:lnTo>
                    <a:pt x="323037" y="4368"/>
                  </a:lnTo>
                  <a:lnTo>
                    <a:pt x="274574" y="12"/>
                  </a:lnTo>
                  <a:lnTo>
                    <a:pt x="273342" y="0"/>
                  </a:lnTo>
                  <a:lnTo>
                    <a:pt x="224993" y="4356"/>
                  </a:lnTo>
                  <a:lnTo>
                    <a:pt x="179438" y="16713"/>
                  </a:lnTo>
                  <a:lnTo>
                    <a:pt x="137401" y="36360"/>
                  </a:lnTo>
                  <a:lnTo>
                    <a:pt x="99618" y="62560"/>
                  </a:lnTo>
                  <a:lnTo>
                    <a:pt x="66814" y="94576"/>
                  </a:lnTo>
                  <a:lnTo>
                    <a:pt x="39700" y="131686"/>
                  </a:lnTo>
                  <a:lnTo>
                    <a:pt x="19050" y="173139"/>
                  </a:lnTo>
                  <a:lnTo>
                    <a:pt x="5575" y="218211"/>
                  </a:lnTo>
                  <a:lnTo>
                    <a:pt x="0" y="266192"/>
                  </a:lnTo>
                  <a:lnTo>
                    <a:pt x="47713" y="262178"/>
                  </a:lnTo>
                  <a:lnTo>
                    <a:pt x="92240" y="250520"/>
                  </a:lnTo>
                  <a:lnTo>
                    <a:pt x="133477" y="231914"/>
                  </a:lnTo>
                  <a:lnTo>
                    <a:pt x="170738" y="207048"/>
                  </a:lnTo>
                  <a:lnTo>
                    <a:pt x="203365" y="176593"/>
                  </a:lnTo>
                  <a:lnTo>
                    <a:pt x="230682" y="141211"/>
                  </a:lnTo>
                  <a:lnTo>
                    <a:pt x="252006" y="101600"/>
                  </a:lnTo>
                  <a:lnTo>
                    <a:pt x="266674" y="58407"/>
                  </a:lnTo>
                  <a:lnTo>
                    <a:pt x="274002" y="12319"/>
                  </a:lnTo>
                  <a:lnTo>
                    <a:pt x="274955" y="18529"/>
                  </a:lnTo>
                  <a:lnTo>
                    <a:pt x="281165" y="58572"/>
                  </a:lnTo>
                  <a:lnTo>
                    <a:pt x="295732" y="101942"/>
                  </a:lnTo>
                  <a:lnTo>
                    <a:pt x="316992" y="141744"/>
                  </a:lnTo>
                  <a:lnTo>
                    <a:pt x="344284" y="177279"/>
                  </a:lnTo>
                  <a:lnTo>
                    <a:pt x="376936" y="207873"/>
                  </a:lnTo>
                  <a:lnTo>
                    <a:pt x="414248" y="232854"/>
                  </a:lnTo>
                  <a:lnTo>
                    <a:pt x="455561"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38" name="object 36">
              <a:extLst>
                <a:ext uri="{FF2B5EF4-FFF2-40B4-BE49-F238E27FC236}">
                  <a16:creationId xmlns:a16="http://schemas.microsoft.com/office/drawing/2014/main" id="{1F03DECF-F350-5D36-4932-8973FF73E26D}"/>
                </a:ext>
              </a:extLst>
            </p:cNvPr>
            <p:cNvPicPr/>
            <p:nvPr/>
          </p:nvPicPr>
          <p:blipFill>
            <a:blip r:embed="rId15" cstate="print"/>
            <a:stretch>
              <a:fillRect/>
            </a:stretch>
          </p:blipFill>
          <p:spPr>
            <a:xfrm>
              <a:off x="11870481" y="6794307"/>
              <a:ext cx="260137" cy="63416"/>
            </a:xfrm>
            <a:prstGeom prst="rect">
              <a:avLst/>
            </a:prstGeom>
          </p:spPr>
        </p:pic>
        <p:sp>
          <p:nvSpPr>
            <p:cNvPr id="39" name="object 37">
              <a:extLst>
                <a:ext uri="{FF2B5EF4-FFF2-40B4-BE49-F238E27FC236}">
                  <a16:creationId xmlns:a16="http://schemas.microsoft.com/office/drawing/2014/main" id="{4ED62BD1-3763-48B6-3FFC-49E7A687E696}"/>
                </a:ext>
              </a:extLst>
            </p:cNvPr>
            <p:cNvSpPr/>
            <p:nvPr/>
          </p:nvSpPr>
          <p:spPr>
            <a:xfrm>
              <a:off x="11834385" y="5171198"/>
              <a:ext cx="332700" cy="477101"/>
            </a:xfrm>
            <a:custGeom>
              <a:avLst/>
              <a:gdLst/>
              <a:ahLst/>
              <a:cxnLst/>
              <a:rect l="l" t="t" r="r" b="b"/>
              <a:pathLst>
                <a:path w="548640" h="786765">
                  <a:moveTo>
                    <a:pt x="548081" y="786396"/>
                  </a:moveTo>
                  <a:lnTo>
                    <a:pt x="542632" y="738225"/>
                  </a:lnTo>
                  <a:lnTo>
                    <a:pt x="529234" y="692975"/>
                  </a:lnTo>
                  <a:lnTo>
                    <a:pt x="508622" y="651344"/>
                  </a:lnTo>
                  <a:lnTo>
                    <a:pt x="481533" y="614083"/>
                  </a:lnTo>
                  <a:lnTo>
                    <a:pt x="448691" y="581939"/>
                  </a:lnTo>
                  <a:lnTo>
                    <a:pt x="410832" y="555625"/>
                  </a:lnTo>
                  <a:lnTo>
                    <a:pt x="368706" y="535889"/>
                  </a:lnTo>
                  <a:lnTo>
                    <a:pt x="323037" y="523468"/>
                  </a:lnTo>
                  <a:lnTo>
                    <a:pt x="274561" y="519087"/>
                  </a:lnTo>
                  <a:lnTo>
                    <a:pt x="273342" y="519087"/>
                  </a:lnTo>
                  <a:lnTo>
                    <a:pt x="224993" y="523455"/>
                  </a:lnTo>
                  <a:lnTo>
                    <a:pt x="179438" y="535813"/>
                  </a:lnTo>
                  <a:lnTo>
                    <a:pt x="137401" y="555459"/>
                  </a:lnTo>
                  <a:lnTo>
                    <a:pt x="99618" y="581660"/>
                  </a:lnTo>
                  <a:lnTo>
                    <a:pt x="66814" y="613676"/>
                  </a:lnTo>
                  <a:lnTo>
                    <a:pt x="39725" y="650773"/>
                  </a:lnTo>
                  <a:lnTo>
                    <a:pt x="19088" y="692238"/>
                  </a:lnTo>
                  <a:lnTo>
                    <a:pt x="5613" y="737323"/>
                  </a:lnTo>
                  <a:lnTo>
                    <a:pt x="50" y="785317"/>
                  </a:lnTo>
                  <a:lnTo>
                    <a:pt x="47713" y="781278"/>
                  </a:lnTo>
                  <a:lnTo>
                    <a:pt x="92240" y="769620"/>
                  </a:lnTo>
                  <a:lnTo>
                    <a:pt x="133477" y="751027"/>
                  </a:lnTo>
                  <a:lnTo>
                    <a:pt x="170738" y="726147"/>
                  </a:lnTo>
                  <a:lnTo>
                    <a:pt x="203365" y="695680"/>
                  </a:lnTo>
                  <a:lnTo>
                    <a:pt x="230670" y="660298"/>
                  </a:lnTo>
                  <a:lnTo>
                    <a:pt x="252006" y="620674"/>
                  </a:lnTo>
                  <a:lnTo>
                    <a:pt x="266661" y="577481"/>
                  </a:lnTo>
                  <a:lnTo>
                    <a:pt x="274002" y="531393"/>
                  </a:lnTo>
                  <a:lnTo>
                    <a:pt x="281165" y="577672"/>
                  </a:lnTo>
                  <a:lnTo>
                    <a:pt x="295732" y="621042"/>
                  </a:lnTo>
                  <a:lnTo>
                    <a:pt x="316992" y="660831"/>
                  </a:lnTo>
                  <a:lnTo>
                    <a:pt x="344284" y="696366"/>
                  </a:lnTo>
                  <a:lnTo>
                    <a:pt x="376936" y="726960"/>
                  </a:lnTo>
                  <a:lnTo>
                    <a:pt x="414248" y="751941"/>
                  </a:lnTo>
                  <a:lnTo>
                    <a:pt x="455549" y="770623"/>
                  </a:lnTo>
                  <a:lnTo>
                    <a:pt x="500164" y="782332"/>
                  </a:lnTo>
                  <a:lnTo>
                    <a:pt x="548081" y="786396"/>
                  </a:lnTo>
                  <a:close/>
                </a:path>
                <a:path w="548640" h="786765">
                  <a:moveTo>
                    <a:pt x="548081" y="520865"/>
                  </a:moveTo>
                  <a:lnTo>
                    <a:pt x="542632" y="472706"/>
                  </a:lnTo>
                  <a:lnTo>
                    <a:pt x="529234" y="427443"/>
                  </a:lnTo>
                  <a:lnTo>
                    <a:pt x="508622" y="385813"/>
                  </a:lnTo>
                  <a:lnTo>
                    <a:pt x="481533" y="348551"/>
                  </a:lnTo>
                  <a:lnTo>
                    <a:pt x="448691" y="316407"/>
                  </a:lnTo>
                  <a:lnTo>
                    <a:pt x="410832" y="290093"/>
                  </a:lnTo>
                  <a:lnTo>
                    <a:pt x="368706" y="270357"/>
                  </a:lnTo>
                  <a:lnTo>
                    <a:pt x="323037" y="257937"/>
                  </a:lnTo>
                  <a:lnTo>
                    <a:pt x="274561" y="253568"/>
                  </a:lnTo>
                  <a:lnTo>
                    <a:pt x="273342" y="253568"/>
                  </a:lnTo>
                  <a:lnTo>
                    <a:pt x="224993" y="257924"/>
                  </a:lnTo>
                  <a:lnTo>
                    <a:pt x="179438" y="270281"/>
                  </a:lnTo>
                  <a:lnTo>
                    <a:pt x="137401" y="289928"/>
                  </a:lnTo>
                  <a:lnTo>
                    <a:pt x="99618" y="316128"/>
                  </a:lnTo>
                  <a:lnTo>
                    <a:pt x="66814" y="348132"/>
                  </a:lnTo>
                  <a:lnTo>
                    <a:pt x="39725" y="385241"/>
                  </a:lnTo>
                  <a:lnTo>
                    <a:pt x="19088" y="426694"/>
                  </a:lnTo>
                  <a:lnTo>
                    <a:pt x="5613" y="471792"/>
                  </a:lnTo>
                  <a:lnTo>
                    <a:pt x="50" y="519772"/>
                  </a:lnTo>
                  <a:lnTo>
                    <a:pt x="47713" y="515734"/>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40"/>
                  </a:lnTo>
                  <a:lnTo>
                    <a:pt x="295732" y="355511"/>
                  </a:lnTo>
                  <a:lnTo>
                    <a:pt x="316992" y="395300"/>
                  </a:lnTo>
                  <a:lnTo>
                    <a:pt x="344284" y="430834"/>
                  </a:lnTo>
                  <a:lnTo>
                    <a:pt x="376936" y="461441"/>
                  </a:lnTo>
                  <a:lnTo>
                    <a:pt x="414248" y="486410"/>
                  </a:lnTo>
                  <a:lnTo>
                    <a:pt x="455549" y="505104"/>
                  </a:lnTo>
                  <a:lnTo>
                    <a:pt x="500164" y="516813"/>
                  </a:lnTo>
                  <a:lnTo>
                    <a:pt x="548081" y="520865"/>
                  </a:lnTo>
                  <a:close/>
                </a:path>
                <a:path w="548640" h="786765">
                  <a:moveTo>
                    <a:pt x="548093" y="267322"/>
                  </a:moveTo>
                  <a:lnTo>
                    <a:pt x="542645" y="219151"/>
                  </a:lnTo>
                  <a:lnTo>
                    <a:pt x="529247" y="173875"/>
                  </a:lnTo>
                  <a:lnTo>
                    <a:pt x="508635" y="132245"/>
                  </a:lnTo>
                  <a:lnTo>
                    <a:pt x="481533" y="94996"/>
                  </a:lnTo>
                  <a:lnTo>
                    <a:pt x="448691" y="62852"/>
                  </a:lnTo>
                  <a:lnTo>
                    <a:pt x="426351" y="47332"/>
                  </a:lnTo>
                  <a:lnTo>
                    <a:pt x="410845" y="36537"/>
                  </a:lnTo>
                  <a:lnTo>
                    <a:pt x="391109" y="27305"/>
                  </a:lnTo>
                  <a:lnTo>
                    <a:pt x="368719" y="16814"/>
                  </a:lnTo>
                  <a:lnTo>
                    <a:pt x="323049" y="4394"/>
                  </a:lnTo>
                  <a:lnTo>
                    <a:pt x="274574" y="12"/>
                  </a:lnTo>
                  <a:lnTo>
                    <a:pt x="273342" y="0"/>
                  </a:lnTo>
                  <a:lnTo>
                    <a:pt x="224993" y="4356"/>
                  </a:lnTo>
                  <a:lnTo>
                    <a:pt x="179438" y="16725"/>
                  </a:lnTo>
                  <a:lnTo>
                    <a:pt x="137401" y="36372"/>
                  </a:lnTo>
                  <a:lnTo>
                    <a:pt x="99618" y="62560"/>
                  </a:lnTo>
                  <a:lnTo>
                    <a:pt x="66814" y="94576"/>
                  </a:lnTo>
                  <a:lnTo>
                    <a:pt x="39700" y="131686"/>
                  </a:lnTo>
                  <a:lnTo>
                    <a:pt x="19050" y="173139"/>
                  </a:lnTo>
                  <a:lnTo>
                    <a:pt x="5575" y="218211"/>
                  </a:lnTo>
                  <a:lnTo>
                    <a:pt x="0" y="266192"/>
                  </a:lnTo>
                  <a:lnTo>
                    <a:pt x="47713" y="262178"/>
                  </a:lnTo>
                  <a:lnTo>
                    <a:pt x="92240" y="250520"/>
                  </a:lnTo>
                  <a:lnTo>
                    <a:pt x="133477" y="231927"/>
                  </a:lnTo>
                  <a:lnTo>
                    <a:pt x="170738" y="207048"/>
                  </a:lnTo>
                  <a:lnTo>
                    <a:pt x="203365" y="176593"/>
                  </a:lnTo>
                  <a:lnTo>
                    <a:pt x="230682" y="141211"/>
                  </a:lnTo>
                  <a:lnTo>
                    <a:pt x="252006" y="101600"/>
                  </a:lnTo>
                  <a:lnTo>
                    <a:pt x="266674" y="58407"/>
                  </a:lnTo>
                  <a:lnTo>
                    <a:pt x="274002" y="12319"/>
                  </a:lnTo>
                  <a:lnTo>
                    <a:pt x="275107" y="19481"/>
                  </a:lnTo>
                  <a:lnTo>
                    <a:pt x="281165" y="58572"/>
                  </a:lnTo>
                  <a:lnTo>
                    <a:pt x="295732" y="101942"/>
                  </a:lnTo>
                  <a:lnTo>
                    <a:pt x="316992" y="141744"/>
                  </a:lnTo>
                  <a:lnTo>
                    <a:pt x="344284" y="177279"/>
                  </a:lnTo>
                  <a:lnTo>
                    <a:pt x="376936" y="207873"/>
                  </a:lnTo>
                  <a:lnTo>
                    <a:pt x="414248" y="232867"/>
                  </a:lnTo>
                  <a:lnTo>
                    <a:pt x="455561"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40" name="object 38">
              <a:extLst>
                <a:ext uri="{FF2B5EF4-FFF2-40B4-BE49-F238E27FC236}">
                  <a16:creationId xmlns:a16="http://schemas.microsoft.com/office/drawing/2014/main" id="{D11367A5-9D20-FCAF-CE42-A870B697CF44}"/>
                </a:ext>
              </a:extLst>
            </p:cNvPr>
            <p:cNvPicPr/>
            <p:nvPr/>
          </p:nvPicPr>
          <p:blipFill>
            <a:blip r:embed="rId16" cstate="print"/>
            <a:stretch>
              <a:fillRect/>
            </a:stretch>
          </p:blipFill>
          <p:spPr>
            <a:xfrm>
              <a:off x="11947657" y="5626898"/>
              <a:ext cx="106445" cy="107156"/>
            </a:xfrm>
            <a:prstGeom prst="rect">
              <a:avLst/>
            </a:prstGeom>
          </p:spPr>
        </p:pic>
        <p:sp>
          <p:nvSpPr>
            <p:cNvPr id="41" name="object 39">
              <a:extLst>
                <a:ext uri="{FF2B5EF4-FFF2-40B4-BE49-F238E27FC236}">
                  <a16:creationId xmlns:a16="http://schemas.microsoft.com/office/drawing/2014/main" id="{9B8F9BCA-4259-924C-10E1-DEA6B2BB375A}"/>
                </a:ext>
              </a:extLst>
            </p:cNvPr>
            <p:cNvSpPr/>
            <p:nvPr/>
          </p:nvSpPr>
          <p:spPr>
            <a:xfrm>
              <a:off x="11834385" y="5825360"/>
              <a:ext cx="332700" cy="477101"/>
            </a:xfrm>
            <a:custGeom>
              <a:avLst/>
              <a:gdLst/>
              <a:ahLst/>
              <a:cxnLst/>
              <a:rect l="l" t="t" r="r" b="b"/>
              <a:pathLst>
                <a:path w="548640" h="786765">
                  <a:moveTo>
                    <a:pt x="548081" y="786396"/>
                  </a:moveTo>
                  <a:lnTo>
                    <a:pt x="542632" y="738238"/>
                  </a:lnTo>
                  <a:lnTo>
                    <a:pt x="529234" y="692975"/>
                  </a:lnTo>
                  <a:lnTo>
                    <a:pt x="508622" y="651344"/>
                  </a:lnTo>
                  <a:lnTo>
                    <a:pt x="481533" y="614095"/>
                  </a:lnTo>
                  <a:lnTo>
                    <a:pt x="448691" y="581939"/>
                  </a:lnTo>
                  <a:lnTo>
                    <a:pt x="410832" y="555637"/>
                  </a:lnTo>
                  <a:lnTo>
                    <a:pt x="368706" y="535901"/>
                  </a:lnTo>
                  <a:lnTo>
                    <a:pt x="323037" y="523481"/>
                  </a:lnTo>
                  <a:lnTo>
                    <a:pt x="274561" y="519099"/>
                  </a:lnTo>
                  <a:lnTo>
                    <a:pt x="273342" y="519099"/>
                  </a:lnTo>
                  <a:lnTo>
                    <a:pt x="224993" y="523455"/>
                  </a:lnTo>
                  <a:lnTo>
                    <a:pt x="179438" y="535825"/>
                  </a:lnTo>
                  <a:lnTo>
                    <a:pt x="137401" y="555472"/>
                  </a:lnTo>
                  <a:lnTo>
                    <a:pt x="99618" y="581660"/>
                  </a:lnTo>
                  <a:lnTo>
                    <a:pt x="66814" y="613676"/>
                  </a:lnTo>
                  <a:lnTo>
                    <a:pt x="39725" y="650773"/>
                  </a:lnTo>
                  <a:lnTo>
                    <a:pt x="19088" y="692238"/>
                  </a:lnTo>
                  <a:lnTo>
                    <a:pt x="5613" y="737323"/>
                  </a:lnTo>
                  <a:lnTo>
                    <a:pt x="50" y="785304"/>
                  </a:lnTo>
                  <a:lnTo>
                    <a:pt x="47713" y="781278"/>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72"/>
                  </a:lnTo>
                  <a:lnTo>
                    <a:pt x="295732" y="621042"/>
                  </a:lnTo>
                  <a:lnTo>
                    <a:pt x="316992" y="660831"/>
                  </a:lnTo>
                  <a:lnTo>
                    <a:pt x="344284" y="696366"/>
                  </a:lnTo>
                  <a:lnTo>
                    <a:pt x="376936" y="726973"/>
                  </a:lnTo>
                  <a:lnTo>
                    <a:pt x="414248"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33" y="348564"/>
                  </a:lnTo>
                  <a:lnTo>
                    <a:pt x="448691" y="316407"/>
                  </a:lnTo>
                  <a:lnTo>
                    <a:pt x="410832" y="290093"/>
                  </a:lnTo>
                  <a:lnTo>
                    <a:pt x="368706" y="270370"/>
                  </a:lnTo>
                  <a:lnTo>
                    <a:pt x="323037" y="257937"/>
                  </a:lnTo>
                  <a:lnTo>
                    <a:pt x="274561" y="253555"/>
                  </a:lnTo>
                  <a:lnTo>
                    <a:pt x="273342" y="253555"/>
                  </a:lnTo>
                  <a:lnTo>
                    <a:pt x="224993" y="257924"/>
                  </a:lnTo>
                  <a:lnTo>
                    <a:pt x="179438" y="270294"/>
                  </a:lnTo>
                  <a:lnTo>
                    <a:pt x="137401" y="289928"/>
                  </a:lnTo>
                  <a:lnTo>
                    <a:pt x="99618" y="316128"/>
                  </a:lnTo>
                  <a:lnTo>
                    <a:pt x="66814" y="348145"/>
                  </a:lnTo>
                  <a:lnTo>
                    <a:pt x="39725" y="385241"/>
                  </a:lnTo>
                  <a:lnTo>
                    <a:pt x="19088" y="426694"/>
                  </a:lnTo>
                  <a:lnTo>
                    <a:pt x="5613" y="471792"/>
                  </a:lnTo>
                  <a:lnTo>
                    <a:pt x="50" y="519772"/>
                  </a:lnTo>
                  <a:lnTo>
                    <a:pt x="47713" y="515734"/>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40"/>
                  </a:lnTo>
                  <a:lnTo>
                    <a:pt x="295732" y="355511"/>
                  </a:lnTo>
                  <a:lnTo>
                    <a:pt x="316992" y="395300"/>
                  </a:lnTo>
                  <a:lnTo>
                    <a:pt x="344284" y="430834"/>
                  </a:lnTo>
                  <a:lnTo>
                    <a:pt x="376936" y="461441"/>
                  </a:lnTo>
                  <a:lnTo>
                    <a:pt x="414248" y="486410"/>
                  </a:lnTo>
                  <a:lnTo>
                    <a:pt x="455549" y="505104"/>
                  </a:lnTo>
                  <a:lnTo>
                    <a:pt x="500164" y="516813"/>
                  </a:lnTo>
                  <a:lnTo>
                    <a:pt x="548081" y="520865"/>
                  </a:lnTo>
                  <a:close/>
                </a:path>
                <a:path w="548640" h="786765">
                  <a:moveTo>
                    <a:pt x="548093" y="267322"/>
                  </a:moveTo>
                  <a:lnTo>
                    <a:pt x="542645" y="219151"/>
                  </a:lnTo>
                  <a:lnTo>
                    <a:pt x="529247" y="173888"/>
                  </a:lnTo>
                  <a:lnTo>
                    <a:pt x="508635" y="132257"/>
                  </a:lnTo>
                  <a:lnTo>
                    <a:pt x="481533" y="94996"/>
                  </a:lnTo>
                  <a:lnTo>
                    <a:pt x="448691" y="62852"/>
                  </a:lnTo>
                  <a:lnTo>
                    <a:pt x="410845" y="36550"/>
                  </a:lnTo>
                  <a:lnTo>
                    <a:pt x="368719" y="16814"/>
                  </a:lnTo>
                  <a:lnTo>
                    <a:pt x="323049" y="4394"/>
                  </a:lnTo>
                  <a:lnTo>
                    <a:pt x="274561" y="0"/>
                  </a:lnTo>
                  <a:lnTo>
                    <a:pt x="273342" y="0"/>
                  </a:lnTo>
                  <a:lnTo>
                    <a:pt x="224993" y="4356"/>
                  </a:lnTo>
                  <a:lnTo>
                    <a:pt x="179438" y="16725"/>
                  </a:lnTo>
                  <a:lnTo>
                    <a:pt x="137401" y="36372"/>
                  </a:lnTo>
                  <a:lnTo>
                    <a:pt x="99618" y="62572"/>
                  </a:lnTo>
                  <a:lnTo>
                    <a:pt x="66814" y="94576"/>
                  </a:lnTo>
                  <a:lnTo>
                    <a:pt x="39700" y="131686"/>
                  </a:lnTo>
                  <a:lnTo>
                    <a:pt x="19050" y="173139"/>
                  </a:lnTo>
                  <a:lnTo>
                    <a:pt x="5575" y="218224"/>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4002" y="12331"/>
                  </a:lnTo>
                  <a:lnTo>
                    <a:pt x="275691" y="23266"/>
                  </a:lnTo>
                  <a:lnTo>
                    <a:pt x="281165" y="58585"/>
                  </a:lnTo>
                  <a:lnTo>
                    <a:pt x="295732" y="101955"/>
                  </a:lnTo>
                  <a:lnTo>
                    <a:pt x="316992" y="141744"/>
                  </a:lnTo>
                  <a:lnTo>
                    <a:pt x="344284" y="177279"/>
                  </a:lnTo>
                  <a:lnTo>
                    <a:pt x="376936" y="207886"/>
                  </a:lnTo>
                  <a:lnTo>
                    <a:pt x="414248" y="232867"/>
                  </a:lnTo>
                  <a:lnTo>
                    <a:pt x="455561"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42" name="object 40">
              <a:extLst>
                <a:ext uri="{FF2B5EF4-FFF2-40B4-BE49-F238E27FC236}">
                  <a16:creationId xmlns:a16="http://schemas.microsoft.com/office/drawing/2014/main" id="{B7E5823E-21DB-305B-D890-58E43F78954E}"/>
                </a:ext>
              </a:extLst>
            </p:cNvPr>
            <p:cNvPicPr/>
            <p:nvPr/>
          </p:nvPicPr>
          <p:blipFill>
            <a:blip r:embed="rId17" cstate="print"/>
            <a:stretch>
              <a:fillRect/>
            </a:stretch>
          </p:blipFill>
          <p:spPr>
            <a:xfrm>
              <a:off x="11947657" y="6281064"/>
              <a:ext cx="106445" cy="107156"/>
            </a:xfrm>
            <a:prstGeom prst="rect">
              <a:avLst/>
            </a:prstGeom>
          </p:spPr>
        </p:pic>
        <p:sp>
          <p:nvSpPr>
            <p:cNvPr id="55" name="object 53">
              <a:extLst>
                <a:ext uri="{FF2B5EF4-FFF2-40B4-BE49-F238E27FC236}">
                  <a16:creationId xmlns:a16="http://schemas.microsoft.com/office/drawing/2014/main" id="{388DBC41-2F61-1F1A-6042-F2C6CFD3136A}"/>
                </a:ext>
              </a:extLst>
            </p:cNvPr>
            <p:cNvSpPr/>
            <p:nvPr/>
          </p:nvSpPr>
          <p:spPr>
            <a:xfrm>
              <a:off x="7598678" y="6037749"/>
              <a:ext cx="332700" cy="477101"/>
            </a:xfrm>
            <a:custGeom>
              <a:avLst/>
              <a:gdLst/>
              <a:ahLst/>
              <a:cxnLst/>
              <a:rect l="l" t="t" r="r" b="b"/>
              <a:pathLst>
                <a:path w="548640" h="786765">
                  <a:moveTo>
                    <a:pt x="548043" y="266611"/>
                  </a:moveTo>
                  <a:lnTo>
                    <a:pt x="500367" y="270649"/>
                  </a:lnTo>
                  <a:lnTo>
                    <a:pt x="455841" y="282308"/>
                  </a:lnTo>
                  <a:lnTo>
                    <a:pt x="414616" y="300901"/>
                  </a:lnTo>
                  <a:lnTo>
                    <a:pt x="377342" y="325780"/>
                  </a:lnTo>
                  <a:lnTo>
                    <a:pt x="344728" y="356235"/>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86"/>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26"/>
                  </a:lnTo>
                  <a:lnTo>
                    <a:pt x="225044" y="528459"/>
                  </a:lnTo>
                  <a:lnTo>
                    <a:pt x="273519" y="532841"/>
                  </a:lnTo>
                  <a:lnTo>
                    <a:pt x="274751" y="532841"/>
                  </a:lnTo>
                  <a:lnTo>
                    <a:pt x="323088" y="528472"/>
                  </a:lnTo>
                  <a:lnTo>
                    <a:pt x="368642" y="516102"/>
                  </a:lnTo>
                  <a:lnTo>
                    <a:pt x="410679" y="496468"/>
                  </a:lnTo>
                  <a:lnTo>
                    <a:pt x="448462" y="470268"/>
                  </a:lnTo>
                  <a:lnTo>
                    <a:pt x="481266" y="438251"/>
                  </a:lnTo>
                  <a:lnTo>
                    <a:pt x="508355" y="401154"/>
                  </a:lnTo>
                  <a:lnTo>
                    <a:pt x="529005" y="359689"/>
                  </a:lnTo>
                  <a:lnTo>
                    <a:pt x="542480" y="314604"/>
                  </a:lnTo>
                  <a:lnTo>
                    <a:pt x="548043" y="266611"/>
                  </a:lnTo>
                  <a:close/>
                </a:path>
                <a:path w="548640" h="786765">
                  <a:moveTo>
                    <a:pt x="548043" y="1092"/>
                  </a:moveTo>
                  <a:lnTo>
                    <a:pt x="500367" y="5130"/>
                  </a:lnTo>
                  <a:lnTo>
                    <a:pt x="455841" y="16789"/>
                  </a:lnTo>
                  <a:lnTo>
                    <a:pt x="414616" y="35382"/>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49"/>
                  </a:lnTo>
                  <a:lnTo>
                    <a:pt x="481266" y="172732"/>
                  </a:lnTo>
                  <a:lnTo>
                    <a:pt x="508355" y="135623"/>
                  </a:lnTo>
                  <a:lnTo>
                    <a:pt x="529005" y="94170"/>
                  </a:lnTo>
                  <a:lnTo>
                    <a:pt x="542480" y="49085"/>
                  </a:lnTo>
                  <a:lnTo>
                    <a:pt x="548043" y="1092"/>
                  </a:lnTo>
                  <a:close/>
                </a:path>
                <a:path w="548640" h="786765">
                  <a:moveTo>
                    <a:pt x="548081" y="520204"/>
                  </a:moveTo>
                  <a:lnTo>
                    <a:pt x="500367" y="524217"/>
                  </a:lnTo>
                  <a:lnTo>
                    <a:pt x="455841" y="535876"/>
                  </a:lnTo>
                  <a:lnTo>
                    <a:pt x="414616" y="554469"/>
                  </a:lnTo>
                  <a:lnTo>
                    <a:pt x="377342" y="579348"/>
                  </a:lnTo>
                  <a:lnTo>
                    <a:pt x="344728" y="609803"/>
                  </a:lnTo>
                  <a:lnTo>
                    <a:pt x="317398" y="645172"/>
                  </a:lnTo>
                  <a:lnTo>
                    <a:pt x="296075" y="684796"/>
                  </a:lnTo>
                  <a:lnTo>
                    <a:pt x="281419" y="727989"/>
                  </a:lnTo>
                  <a:lnTo>
                    <a:pt x="274078" y="774039"/>
                  </a:lnTo>
                  <a:lnTo>
                    <a:pt x="268224" y="736307"/>
                  </a:lnTo>
                  <a:lnTo>
                    <a:pt x="266915" y="727824"/>
                  </a:lnTo>
                  <a:lnTo>
                    <a:pt x="252361" y="684453"/>
                  </a:lnTo>
                  <a:lnTo>
                    <a:pt x="231089" y="644652"/>
                  </a:lnTo>
                  <a:lnTo>
                    <a:pt x="203796" y="609117"/>
                  </a:lnTo>
                  <a:lnTo>
                    <a:pt x="171157" y="578523"/>
                  </a:lnTo>
                  <a:lnTo>
                    <a:pt x="133845" y="553542"/>
                  </a:lnTo>
                  <a:lnTo>
                    <a:pt x="92532" y="534835"/>
                  </a:lnTo>
                  <a:lnTo>
                    <a:pt x="47904" y="523125"/>
                  </a:lnTo>
                  <a:lnTo>
                    <a:pt x="0" y="519074"/>
                  </a:lnTo>
                  <a:lnTo>
                    <a:pt x="5448" y="567258"/>
                  </a:lnTo>
                  <a:lnTo>
                    <a:pt x="9410" y="580644"/>
                  </a:lnTo>
                  <a:lnTo>
                    <a:pt x="18834" y="612508"/>
                  </a:lnTo>
                  <a:lnTo>
                    <a:pt x="39458" y="654138"/>
                  </a:lnTo>
                  <a:lnTo>
                    <a:pt x="66548" y="691400"/>
                  </a:lnTo>
                  <a:lnTo>
                    <a:pt x="99390" y="72354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2DB7EA"/>
            </a:solidFill>
          </p:spPr>
          <p:txBody>
            <a:bodyPr wrap="square" lIns="0" tIns="0" rIns="0" bIns="0" rtlCol="0"/>
            <a:lstStyle/>
            <a:p>
              <a:endParaRPr dirty="0"/>
            </a:p>
          </p:txBody>
        </p:sp>
        <p:pic>
          <p:nvPicPr>
            <p:cNvPr id="56" name="object 54">
              <a:extLst>
                <a:ext uri="{FF2B5EF4-FFF2-40B4-BE49-F238E27FC236}">
                  <a16:creationId xmlns:a16="http://schemas.microsoft.com/office/drawing/2014/main" id="{722FFCA4-6878-0B4C-989E-D2137C5CD07E}"/>
                </a:ext>
              </a:extLst>
            </p:cNvPr>
            <p:cNvPicPr/>
            <p:nvPr/>
          </p:nvPicPr>
          <p:blipFill>
            <a:blip r:embed="rId5" cstate="print"/>
            <a:stretch>
              <a:fillRect/>
            </a:stretch>
          </p:blipFill>
          <p:spPr>
            <a:xfrm>
              <a:off x="7711331" y="5951762"/>
              <a:ext cx="106445" cy="107156"/>
            </a:xfrm>
            <a:prstGeom prst="rect">
              <a:avLst/>
            </a:prstGeom>
          </p:spPr>
        </p:pic>
        <p:sp>
          <p:nvSpPr>
            <p:cNvPr id="57" name="object 55">
              <a:extLst>
                <a:ext uri="{FF2B5EF4-FFF2-40B4-BE49-F238E27FC236}">
                  <a16:creationId xmlns:a16="http://schemas.microsoft.com/office/drawing/2014/main" id="{C5AFB5B6-1876-B605-7155-7069B7F502CD}"/>
                </a:ext>
              </a:extLst>
            </p:cNvPr>
            <p:cNvSpPr/>
            <p:nvPr/>
          </p:nvSpPr>
          <p:spPr>
            <a:xfrm>
              <a:off x="7598678" y="5383587"/>
              <a:ext cx="332700" cy="477101"/>
            </a:xfrm>
            <a:custGeom>
              <a:avLst/>
              <a:gdLst/>
              <a:ahLst/>
              <a:cxnLst/>
              <a:rect l="l" t="t" r="r" b="b"/>
              <a:pathLst>
                <a:path w="548640" h="786765">
                  <a:moveTo>
                    <a:pt x="548043" y="266623"/>
                  </a:moveTo>
                  <a:lnTo>
                    <a:pt x="500367" y="270649"/>
                  </a:lnTo>
                  <a:lnTo>
                    <a:pt x="455841" y="282308"/>
                  </a:lnTo>
                  <a:lnTo>
                    <a:pt x="414616" y="300913"/>
                  </a:lnTo>
                  <a:lnTo>
                    <a:pt x="377342" y="325780"/>
                  </a:lnTo>
                  <a:lnTo>
                    <a:pt x="344728" y="356235"/>
                  </a:lnTo>
                  <a:lnTo>
                    <a:pt x="317411" y="391617"/>
                  </a:lnTo>
                  <a:lnTo>
                    <a:pt x="296087" y="431241"/>
                  </a:lnTo>
                  <a:lnTo>
                    <a:pt x="281419" y="474446"/>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54"/>
                  </a:lnTo>
                  <a:lnTo>
                    <a:pt x="529005" y="359689"/>
                  </a:lnTo>
                  <a:lnTo>
                    <a:pt x="542480" y="314604"/>
                  </a:lnTo>
                  <a:lnTo>
                    <a:pt x="548043" y="266623"/>
                  </a:lnTo>
                  <a:close/>
                </a:path>
                <a:path w="548640" h="786765">
                  <a:moveTo>
                    <a:pt x="548043" y="1079"/>
                  </a:moveTo>
                  <a:lnTo>
                    <a:pt x="500367" y="5118"/>
                  </a:lnTo>
                  <a:lnTo>
                    <a:pt x="455841" y="16764"/>
                  </a:lnTo>
                  <a:lnTo>
                    <a:pt x="414616" y="35369"/>
                  </a:lnTo>
                  <a:lnTo>
                    <a:pt x="377342" y="60236"/>
                  </a:lnTo>
                  <a:lnTo>
                    <a:pt x="344728" y="90703"/>
                  </a:lnTo>
                  <a:lnTo>
                    <a:pt x="317411" y="126085"/>
                  </a:lnTo>
                  <a:lnTo>
                    <a:pt x="296087" y="165722"/>
                  </a:lnTo>
                  <a:lnTo>
                    <a:pt x="281419" y="208915"/>
                  </a:lnTo>
                  <a:lnTo>
                    <a:pt x="274091" y="255003"/>
                  </a:lnTo>
                  <a:lnTo>
                    <a:pt x="266915" y="208724"/>
                  </a:lnTo>
                  <a:lnTo>
                    <a:pt x="252361" y="165354"/>
                  </a:lnTo>
                  <a:lnTo>
                    <a:pt x="231089"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80" y="49072"/>
                  </a:lnTo>
                  <a:lnTo>
                    <a:pt x="548043" y="1079"/>
                  </a:lnTo>
                  <a:close/>
                </a:path>
                <a:path w="548640" h="786765">
                  <a:moveTo>
                    <a:pt x="548081" y="520192"/>
                  </a:moveTo>
                  <a:lnTo>
                    <a:pt x="500367" y="524217"/>
                  </a:lnTo>
                  <a:lnTo>
                    <a:pt x="455841" y="535876"/>
                  </a:lnTo>
                  <a:lnTo>
                    <a:pt x="414616" y="554469"/>
                  </a:lnTo>
                  <a:lnTo>
                    <a:pt x="377342" y="579335"/>
                  </a:lnTo>
                  <a:lnTo>
                    <a:pt x="344716" y="609790"/>
                  </a:lnTo>
                  <a:lnTo>
                    <a:pt x="317398" y="645172"/>
                  </a:lnTo>
                  <a:lnTo>
                    <a:pt x="296075" y="684796"/>
                  </a:lnTo>
                  <a:lnTo>
                    <a:pt x="281419" y="727976"/>
                  </a:lnTo>
                  <a:lnTo>
                    <a:pt x="274078" y="774039"/>
                  </a:lnTo>
                  <a:lnTo>
                    <a:pt x="266915" y="727811"/>
                  </a:lnTo>
                  <a:lnTo>
                    <a:pt x="252361" y="684441"/>
                  </a:lnTo>
                  <a:lnTo>
                    <a:pt x="231089" y="644652"/>
                  </a:lnTo>
                  <a:lnTo>
                    <a:pt x="203796" y="609117"/>
                  </a:lnTo>
                  <a:lnTo>
                    <a:pt x="171157" y="578523"/>
                  </a:lnTo>
                  <a:lnTo>
                    <a:pt x="133845" y="553542"/>
                  </a:lnTo>
                  <a:lnTo>
                    <a:pt x="92532" y="534847"/>
                  </a:lnTo>
                  <a:lnTo>
                    <a:pt x="47904" y="523125"/>
                  </a:lnTo>
                  <a:lnTo>
                    <a:pt x="0" y="519061"/>
                  </a:lnTo>
                  <a:lnTo>
                    <a:pt x="5448" y="567258"/>
                  </a:lnTo>
                  <a:lnTo>
                    <a:pt x="18834" y="612508"/>
                  </a:lnTo>
                  <a:lnTo>
                    <a:pt x="39458" y="654138"/>
                  </a:lnTo>
                  <a:lnTo>
                    <a:pt x="66548" y="691388"/>
                  </a:lnTo>
                  <a:lnTo>
                    <a:pt x="67246" y="692073"/>
                  </a:lnTo>
                  <a:lnTo>
                    <a:pt x="99390" y="723544"/>
                  </a:lnTo>
                  <a:lnTo>
                    <a:pt x="137248" y="749858"/>
                  </a:lnTo>
                  <a:lnTo>
                    <a:pt x="179374" y="769594"/>
                  </a:lnTo>
                  <a:lnTo>
                    <a:pt x="225044" y="782015"/>
                  </a:lnTo>
                  <a:lnTo>
                    <a:pt x="273519" y="786396"/>
                  </a:lnTo>
                  <a:lnTo>
                    <a:pt x="274751" y="786396"/>
                  </a:lnTo>
                  <a:lnTo>
                    <a:pt x="323088" y="782027"/>
                  </a:lnTo>
                  <a:lnTo>
                    <a:pt x="368642" y="769670"/>
                  </a:lnTo>
                  <a:lnTo>
                    <a:pt x="410679" y="750023"/>
                  </a:lnTo>
                  <a:lnTo>
                    <a:pt x="448462" y="723823"/>
                  </a:lnTo>
                  <a:lnTo>
                    <a:pt x="481266" y="691819"/>
                  </a:lnTo>
                  <a:lnTo>
                    <a:pt x="508393" y="654697"/>
                  </a:lnTo>
                  <a:lnTo>
                    <a:pt x="529043" y="613244"/>
                  </a:lnTo>
                  <a:lnTo>
                    <a:pt x="542518" y="568172"/>
                  </a:lnTo>
                  <a:lnTo>
                    <a:pt x="548081" y="520192"/>
                  </a:lnTo>
                  <a:close/>
                </a:path>
              </a:pathLst>
            </a:custGeom>
            <a:solidFill>
              <a:srgbClr val="7ED3F1"/>
            </a:solidFill>
          </p:spPr>
          <p:txBody>
            <a:bodyPr wrap="square" lIns="0" tIns="0" rIns="0" bIns="0" rtlCol="0"/>
            <a:lstStyle/>
            <a:p>
              <a:endParaRPr dirty="0"/>
            </a:p>
          </p:txBody>
        </p:sp>
        <p:pic>
          <p:nvPicPr>
            <p:cNvPr id="58" name="object 56">
              <a:extLst>
                <a:ext uri="{FF2B5EF4-FFF2-40B4-BE49-F238E27FC236}">
                  <a16:creationId xmlns:a16="http://schemas.microsoft.com/office/drawing/2014/main" id="{279338BC-BAB7-4E92-FF1F-B20E6E7C7197}"/>
                </a:ext>
              </a:extLst>
            </p:cNvPr>
            <p:cNvPicPr/>
            <p:nvPr/>
          </p:nvPicPr>
          <p:blipFill>
            <a:blip r:embed="rId6" cstate="print"/>
            <a:stretch>
              <a:fillRect/>
            </a:stretch>
          </p:blipFill>
          <p:spPr>
            <a:xfrm>
              <a:off x="7711331" y="5297596"/>
              <a:ext cx="106445" cy="107156"/>
            </a:xfrm>
            <a:prstGeom prst="rect">
              <a:avLst/>
            </a:prstGeom>
          </p:spPr>
        </p:pic>
        <p:sp>
          <p:nvSpPr>
            <p:cNvPr id="59" name="object 57">
              <a:extLst>
                <a:ext uri="{FF2B5EF4-FFF2-40B4-BE49-F238E27FC236}">
                  <a16:creationId xmlns:a16="http://schemas.microsoft.com/office/drawing/2014/main" id="{093A03EC-D364-07DD-41DF-E2D2F5169B09}"/>
                </a:ext>
              </a:extLst>
            </p:cNvPr>
            <p:cNvSpPr/>
            <p:nvPr/>
          </p:nvSpPr>
          <p:spPr>
            <a:xfrm>
              <a:off x="7598678" y="6691912"/>
              <a:ext cx="332700" cy="165965"/>
            </a:xfrm>
            <a:custGeom>
              <a:avLst/>
              <a:gdLst/>
              <a:ahLst/>
              <a:cxnLst/>
              <a:rect l="l" t="t" r="r" b="b"/>
              <a:pathLst>
                <a:path w="548640" h="273684">
                  <a:moveTo>
                    <a:pt x="62560" y="273431"/>
                  </a:moveTo>
                  <a:lnTo>
                    <a:pt x="47917" y="269595"/>
                  </a:lnTo>
                  <a:lnTo>
                    <a:pt x="0" y="265544"/>
                  </a:lnTo>
                  <a:lnTo>
                    <a:pt x="901" y="273431"/>
                  </a:lnTo>
                  <a:lnTo>
                    <a:pt x="62560" y="273431"/>
                  </a:lnTo>
                  <a:close/>
                </a:path>
                <a:path w="548640" h="273684">
                  <a:moveTo>
                    <a:pt x="548043" y="266623"/>
                  </a:moveTo>
                  <a:lnTo>
                    <a:pt x="500367" y="270649"/>
                  </a:lnTo>
                  <a:lnTo>
                    <a:pt x="489737" y="273431"/>
                  </a:lnTo>
                  <a:lnTo>
                    <a:pt x="547243" y="273431"/>
                  </a:lnTo>
                  <a:lnTo>
                    <a:pt x="548043" y="266623"/>
                  </a:lnTo>
                  <a:close/>
                </a:path>
                <a:path w="548640" h="273684">
                  <a:moveTo>
                    <a:pt x="548043" y="1079"/>
                  </a:moveTo>
                  <a:lnTo>
                    <a:pt x="500367" y="5118"/>
                  </a:lnTo>
                  <a:lnTo>
                    <a:pt x="455841" y="16776"/>
                  </a:lnTo>
                  <a:lnTo>
                    <a:pt x="414616" y="35382"/>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21"/>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57"/>
                  </a:lnTo>
                  <a:lnTo>
                    <a:pt x="542480" y="49072"/>
                  </a:lnTo>
                  <a:lnTo>
                    <a:pt x="548043" y="1079"/>
                  </a:lnTo>
                  <a:close/>
                </a:path>
              </a:pathLst>
            </a:custGeom>
            <a:solidFill>
              <a:srgbClr val="7ED3F1"/>
            </a:solidFill>
          </p:spPr>
          <p:txBody>
            <a:bodyPr wrap="square" lIns="0" tIns="0" rIns="0" bIns="0" rtlCol="0"/>
            <a:lstStyle/>
            <a:p>
              <a:endParaRPr dirty="0"/>
            </a:p>
          </p:txBody>
        </p:sp>
        <p:pic>
          <p:nvPicPr>
            <p:cNvPr id="60" name="object 58">
              <a:extLst>
                <a:ext uri="{FF2B5EF4-FFF2-40B4-BE49-F238E27FC236}">
                  <a16:creationId xmlns:a16="http://schemas.microsoft.com/office/drawing/2014/main" id="{2DB2C72B-77CF-35EC-7405-9547340099C7}"/>
                </a:ext>
              </a:extLst>
            </p:cNvPr>
            <p:cNvPicPr/>
            <p:nvPr/>
          </p:nvPicPr>
          <p:blipFill>
            <a:blip r:embed="rId6" cstate="print"/>
            <a:stretch>
              <a:fillRect/>
            </a:stretch>
          </p:blipFill>
          <p:spPr>
            <a:xfrm>
              <a:off x="7711331" y="6605926"/>
              <a:ext cx="106445" cy="107156"/>
            </a:xfrm>
            <a:prstGeom prst="rect">
              <a:avLst/>
            </a:prstGeom>
          </p:spPr>
        </p:pic>
        <p:sp>
          <p:nvSpPr>
            <p:cNvPr id="61" name="object 59">
              <a:extLst>
                <a:ext uri="{FF2B5EF4-FFF2-40B4-BE49-F238E27FC236}">
                  <a16:creationId xmlns:a16="http://schemas.microsoft.com/office/drawing/2014/main" id="{0D85FB5C-BF35-2553-DEEC-1E6237B72832}"/>
                </a:ext>
              </a:extLst>
            </p:cNvPr>
            <p:cNvSpPr/>
            <p:nvPr/>
          </p:nvSpPr>
          <p:spPr>
            <a:xfrm>
              <a:off x="7226300" y="6479532"/>
              <a:ext cx="319992" cy="316141"/>
            </a:xfrm>
            <a:custGeom>
              <a:avLst/>
              <a:gdLst/>
              <a:ahLst/>
              <a:cxnLst/>
              <a:rect l="l" t="t" r="r" b="b"/>
              <a:pathLst>
                <a:path w="527684" h="521334">
                  <a:moveTo>
                    <a:pt x="527126" y="520852"/>
                  </a:moveTo>
                  <a:lnTo>
                    <a:pt x="521677" y="472694"/>
                  </a:lnTo>
                  <a:lnTo>
                    <a:pt x="508279" y="427431"/>
                  </a:lnTo>
                  <a:lnTo>
                    <a:pt x="487667" y="385800"/>
                  </a:lnTo>
                  <a:lnTo>
                    <a:pt x="460578" y="348551"/>
                  </a:lnTo>
                  <a:lnTo>
                    <a:pt x="427736" y="316395"/>
                  </a:lnTo>
                  <a:lnTo>
                    <a:pt x="389877" y="290093"/>
                  </a:lnTo>
                  <a:lnTo>
                    <a:pt x="347751" y="270357"/>
                  </a:lnTo>
                  <a:lnTo>
                    <a:pt x="302082" y="257924"/>
                  </a:lnTo>
                  <a:lnTo>
                    <a:pt x="253606" y="253555"/>
                  </a:lnTo>
                  <a:lnTo>
                    <a:pt x="252387" y="253555"/>
                  </a:lnTo>
                  <a:lnTo>
                    <a:pt x="204038" y="257911"/>
                  </a:lnTo>
                  <a:lnTo>
                    <a:pt x="158483" y="270281"/>
                  </a:lnTo>
                  <a:lnTo>
                    <a:pt x="116446" y="289915"/>
                  </a:lnTo>
                  <a:lnTo>
                    <a:pt x="78663" y="316115"/>
                  </a:lnTo>
                  <a:lnTo>
                    <a:pt x="45859" y="348132"/>
                  </a:lnTo>
                  <a:lnTo>
                    <a:pt x="18770" y="385229"/>
                  </a:lnTo>
                  <a:lnTo>
                    <a:pt x="0" y="422922"/>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27"/>
                  </a:lnTo>
                  <a:lnTo>
                    <a:pt x="274777" y="355498"/>
                  </a:lnTo>
                  <a:lnTo>
                    <a:pt x="296037" y="395300"/>
                  </a:lnTo>
                  <a:lnTo>
                    <a:pt x="323329" y="430834"/>
                  </a:lnTo>
                  <a:lnTo>
                    <a:pt x="355968" y="461429"/>
                  </a:lnTo>
                  <a:lnTo>
                    <a:pt x="393293" y="486410"/>
                  </a:lnTo>
                  <a:lnTo>
                    <a:pt x="434594" y="505091"/>
                  </a:lnTo>
                  <a:lnTo>
                    <a:pt x="479209" y="516801"/>
                  </a:lnTo>
                  <a:lnTo>
                    <a:pt x="527126" y="520852"/>
                  </a:lnTo>
                  <a:close/>
                </a:path>
                <a:path w="527684" h="521334">
                  <a:moveTo>
                    <a:pt x="527138" y="267322"/>
                  </a:moveTo>
                  <a:lnTo>
                    <a:pt x="521690" y="219138"/>
                  </a:lnTo>
                  <a:lnTo>
                    <a:pt x="508292" y="173875"/>
                  </a:lnTo>
                  <a:lnTo>
                    <a:pt x="487680" y="132245"/>
                  </a:lnTo>
                  <a:lnTo>
                    <a:pt x="460578" y="94996"/>
                  </a:lnTo>
                  <a:lnTo>
                    <a:pt x="427736" y="62839"/>
                  </a:lnTo>
                  <a:lnTo>
                    <a:pt x="389890" y="36537"/>
                  </a:lnTo>
                  <a:lnTo>
                    <a:pt x="347764" y="16814"/>
                  </a:lnTo>
                  <a:lnTo>
                    <a:pt x="302082" y="4368"/>
                  </a:lnTo>
                  <a:lnTo>
                    <a:pt x="253619" y="12"/>
                  </a:lnTo>
                  <a:lnTo>
                    <a:pt x="252387" y="0"/>
                  </a:lnTo>
                  <a:lnTo>
                    <a:pt x="204038" y="4356"/>
                  </a:lnTo>
                  <a:lnTo>
                    <a:pt x="158483" y="16713"/>
                  </a:lnTo>
                  <a:lnTo>
                    <a:pt x="116446" y="36360"/>
                  </a:lnTo>
                  <a:lnTo>
                    <a:pt x="78663" y="62560"/>
                  </a:lnTo>
                  <a:lnTo>
                    <a:pt x="45859" y="94576"/>
                  </a:lnTo>
                  <a:lnTo>
                    <a:pt x="18745" y="131686"/>
                  </a:lnTo>
                  <a:lnTo>
                    <a:pt x="0" y="169291"/>
                  </a:lnTo>
                  <a:lnTo>
                    <a:pt x="0" y="264439"/>
                  </a:lnTo>
                  <a:lnTo>
                    <a:pt x="26758" y="262178"/>
                  </a:lnTo>
                  <a:lnTo>
                    <a:pt x="71285" y="250520"/>
                  </a:lnTo>
                  <a:lnTo>
                    <a:pt x="112522" y="231914"/>
                  </a:lnTo>
                  <a:lnTo>
                    <a:pt x="149783" y="207048"/>
                  </a:lnTo>
                  <a:lnTo>
                    <a:pt x="182410" y="176593"/>
                  </a:lnTo>
                  <a:lnTo>
                    <a:pt x="209727" y="141211"/>
                  </a:lnTo>
                  <a:lnTo>
                    <a:pt x="231051" y="101600"/>
                  </a:lnTo>
                  <a:lnTo>
                    <a:pt x="245719" y="58407"/>
                  </a:lnTo>
                  <a:lnTo>
                    <a:pt x="253034" y="12357"/>
                  </a:lnTo>
                  <a:lnTo>
                    <a:pt x="260210" y="58572"/>
                  </a:lnTo>
                  <a:lnTo>
                    <a:pt x="274777" y="101942"/>
                  </a:lnTo>
                  <a:lnTo>
                    <a:pt x="296037" y="141744"/>
                  </a:lnTo>
                  <a:lnTo>
                    <a:pt x="323329" y="177279"/>
                  </a:lnTo>
                  <a:lnTo>
                    <a:pt x="355968" y="207873"/>
                  </a:lnTo>
                  <a:lnTo>
                    <a:pt x="393293" y="232854"/>
                  </a:lnTo>
                  <a:lnTo>
                    <a:pt x="434606" y="251548"/>
                  </a:lnTo>
                  <a:lnTo>
                    <a:pt x="479221" y="263258"/>
                  </a:lnTo>
                  <a:lnTo>
                    <a:pt x="527138" y="267322"/>
                  </a:lnTo>
                  <a:close/>
                </a:path>
              </a:pathLst>
            </a:custGeom>
            <a:solidFill>
              <a:srgbClr val="2DB7EA"/>
            </a:solidFill>
          </p:spPr>
          <p:txBody>
            <a:bodyPr wrap="square" lIns="0" tIns="0" rIns="0" bIns="0" rtlCol="0"/>
            <a:lstStyle/>
            <a:p>
              <a:endParaRPr dirty="0"/>
            </a:p>
          </p:txBody>
        </p:sp>
        <p:pic>
          <p:nvPicPr>
            <p:cNvPr id="62" name="object 60">
              <a:extLst>
                <a:ext uri="{FF2B5EF4-FFF2-40B4-BE49-F238E27FC236}">
                  <a16:creationId xmlns:a16="http://schemas.microsoft.com/office/drawing/2014/main" id="{B17C37E9-F0F6-B0D9-C97E-70EF94341413}"/>
                </a:ext>
              </a:extLst>
            </p:cNvPr>
            <p:cNvPicPr/>
            <p:nvPr/>
          </p:nvPicPr>
          <p:blipFill>
            <a:blip r:embed="rId18" cstate="print"/>
            <a:stretch>
              <a:fillRect/>
            </a:stretch>
          </p:blipFill>
          <p:spPr>
            <a:xfrm>
              <a:off x="7249688" y="6794307"/>
              <a:ext cx="260137" cy="63416"/>
            </a:xfrm>
            <a:prstGeom prst="rect">
              <a:avLst/>
            </a:prstGeom>
          </p:spPr>
        </p:pic>
        <p:sp>
          <p:nvSpPr>
            <p:cNvPr id="63" name="object 61">
              <a:extLst>
                <a:ext uri="{FF2B5EF4-FFF2-40B4-BE49-F238E27FC236}">
                  <a16:creationId xmlns:a16="http://schemas.microsoft.com/office/drawing/2014/main" id="{51B1A650-5F6B-4A6B-B327-4A3EFC9F54D2}"/>
                </a:ext>
              </a:extLst>
            </p:cNvPr>
            <p:cNvSpPr/>
            <p:nvPr/>
          </p:nvSpPr>
          <p:spPr>
            <a:xfrm>
              <a:off x="7226300" y="5171198"/>
              <a:ext cx="319992" cy="477101"/>
            </a:xfrm>
            <a:custGeom>
              <a:avLst/>
              <a:gdLst/>
              <a:ahLst/>
              <a:cxnLst/>
              <a:rect l="l" t="t" r="r" b="b"/>
              <a:pathLst>
                <a:path w="527684" h="786765">
                  <a:moveTo>
                    <a:pt x="527126" y="786396"/>
                  </a:moveTo>
                  <a:lnTo>
                    <a:pt x="521677" y="738225"/>
                  </a:lnTo>
                  <a:lnTo>
                    <a:pt x="508279" y="692975"/>
                  </a:lnTo>
                  <a:lnTo>
                    <a:pt x="487667" y="651344"/>
                  </a:lnTo>
                  <a:lnTo>
                    <a:pt x="460578" y="614083"/>
                  </a:lnTo>
                  <a:lnTo>
                    <a:pt x="427736" y="581939"/>
                  </a:lnTo>
                  <a:lnTo>
                    <a:pt x="389877" y="555625"/>
                  </a:lnTo>
                  <a:lnTo>
                    <a:pt x="347751" y="535889"/>
                  </a:lnTo>
                  <a:lnTo>
                    <a:pt x="302082" y="523468"/>
                  </a:lnTo>
                  <a:lnTo>
                    <a:pt x="253606" y="519087"/>
                  </a:lnTo>
                  <a:lnTo>
                    <a:pt x="252387" y="519087"/>
                  </a:lnTo>
                  <a:lnTo>
                    <a:pt x="204038" y="523455"/>
                  </a:lnTo>
                  <a:lnTo>
                    <a:pt x="158483" y="535813"/>
                  </a:lnTo>
                  <a:lnTo>
                    <a:pt x="116446" y="555459"/>
                  </a:lnTo>
                  <a:lnTo>
                    <a:pt x="78663" y="581660"/>
                  </a:lnTo>
                  <a:lnTo>
                    <a:pt x="45859" y="613676"/>
                  </a:lnTo>
                  <a:lnTo>
                    <a:pt x="18770" y="650773"/>
                  </a:lnTo>
                  <a:lnTo>
                    <a:pt x="0" y="688467"/>
                  </a:lnTo>
                  <a:lnTo>
                    <a:pt x="0" y="783564"/>
                  </a:lnTo>
                  <a:lnTo>
                    <a:pt x="71285" y="769620"/>
                  </a:lnTo>
                  <a:lnTo>
                    <a:pt x="112522" y="751027"/>
                  </a:lnTo>
                  <a:lnTo>
                    <a:pt x="149783" y="726147"/>
                  </a:lnTo>
                  <a:lnTo>
                    <a:pt x="182410" y="695680"/>
                  </a:lnTo>
                  <a:lnTo>
                    <a:pt x="209715" y="660298"/>
                  </a:lnTo>
                  <a:lnTo>
                    <a:pt x="231038" y="620674"/>
                  </a:lnTo>
                  <a:lnTo>
                    <a:pt x="245706" y="577481"/>
                  </a:lnTo>
                  <a:lnTo>
                    <a:pt x="253034" y="531393"/>
                  </a:lnTo>
                  <a:lnTo>
                    <a:pt x="260210" y="577672"/>
                  </a:lnTo>
                  <a:lnTo>
                    <a:pt x="274777" y="621042"/>
                  </a:lnTo>
                  <a:lnTo>
                    <a:pt x="296037" y="660831"/>
                  </a:lnTo>
                  <a:lnTo>
                    <a:pt x="323329" y="696366"/>
                  </a:lnTo>
                  <a:lnTo>
                    <a:pt x="355968" y="726960"/>
                  </a:lnTo>
                  <a:lnTo>
                    <a:pt x="393293" y="751941"/>
                  </a:lnTo>
                  <a:lnTo>
                    <a:pt x="434594" y="770623"/>
                  </a:lnTo>
                  <a:lnTo>
                    <a:pt x="479209" y="782332"/>
                  </a:lnTo>
                  <a:lnTo>
                    <a:pt x="527126" y="786396"/>
                  </a:lnTo>
                  <a:close/>
                </a:path>
                <a:path w="527684" h="786765">
                  <a:moveTo>
                    <a:pt x="527126" y="520865"/>
                  </a:moveTo>
                  <a:lnTo>
                    <a:pt x="521677" y="472706"/>
                  </a:lnTo>
                  <a:lnTo>
                    <a:pt x="508279" y="427443"/>
                  </a:lnTo>
                  <a:lnTo>
                    <a:pt x="487667" y="385813"/>
                  </a:lnTo>
                  <a:lnTo>
                    <a:pt x="460578" y="348551"/>
                  </a:lnTo>
                  <a:lnTo>
                    <a:pt x="427736" y="316407"/>
                  </a:lnTo>
                  <a:lnTo>
                    <a:pt x="389877" y="290093"/>
                  </a:lnTo>
                  <a:lnTo>
                    <a:pt x="347751" y="270357"/>
                  </a:lnTo>
                  <a:lnTo>
                    <a:pt x="302082" y="257937"/>
                  </a:lnTo>
                  <a:lnTo>
                    <a:pt x="253606" y="253568"/>
                  </a:lnTo>
                  <a:lnTo>
                    <a:pt x="252387" y="253568"/>
                  </a:lnTo>
                  <a:lnTo>
                    <a:pt x="204038" y="257924"/>
                  </a:lnTo>
                  <a:lnTo>
                    <a:pt x="158483" y="270281"/>
                  </a:lnTo>
                  <a:lnTo>
                    <a:pt x="116446" y="289928"/>
                  </a:lnTo>
                  <a:lnTo>
                    <a:pt x="78663" y="316128"/>
                  </a:lnTo>
                  <a:lnTo>
                    <a:pt x="45859" y="348132"/>
                  </a:lnTo>
                  <a:lnTo>
                    <a:pt x="18770" y="385241"/>
                  </a:lnTo>
                  <a:lnTo>
                    <a:pt x="0" y="422922"/>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40"/>
                  </a:lnTo>
                  <a:lnTo>
                    <a:pt x="274777" y="355511"/>
                  </a:lnTo>
                  <a:lnTo>
                    <a:pt x="296037" y="395300"/>
                  </a:lnTo>
                  <a:lnTo>
                    <a:pt x="323329" y="430834"/>
                  </a:lnTo>
                  <a:lnTo>
                    <a:pt x="355968" y="461441"/>
                  </a:lnTo>
                  <a:lnTo>
                    <a:pt x="393293" y="486410"/>
                  </a:lnTo>
                  <a:lnTo>
                    <a:pt x="434594" y="505104"/>
                  </a:lnTo>
                  <a:lnTo>
                    <a:pt x="479209" y="516813"/>
                  </a:lnTo>
                  <a:lnTo>
                    <a:pt x="527126" y="520865"/>
                  </a:lnTo>
                  <a:close/>
                </a:path>
                <a:path w="527684" h="786765">
                  <a:moveTo>
                    <a:pt x="527138" y="267322"/>
                  </a:moveTo>
                  <a:lnTo>
                    <a:pt x="521690" y="219151"/>
                  </a:lnTo>
                  <a:lnTo>
                    <a:pt x="508292" y="173875"/>
                  </a:lnTo>
                  <a:lnTo>
                    <a:pt x="487680" y="132245"/>
                  </a:lnTo>
                  <a:lnTo>
                    <a:pt x="460578" y="94996"/>
                  </a:lnTo>
                  <a:lnTo>
                    <a:pt x="427736" y="62852"/>
                  </a:lnTo>
                  <a:lnTo>
                    <a:pt x="405396" y="47332"/>
                  </a:lnTo>
                  <a:lnTo>
                    <a:pt x="389890" y="36537"/>
                  </a:lnTo>
                  <a:lnTo>
                    <a:pt x="370154" y="27305"/>
                  </a:lnTo>
                  <a:lnTo>
                    <a:pt x="347764" y="16814"/>
                  </a:lnTo>
                  <a:lnTo>
                    <a:pt x="302094" y="4394"/>
                  </a:lnTo>
                  <a:lnTo>
                    <a:pt x="253619" y="12"/>
                  </a:lnTo>
                  <a:lnTo>
                    <a:pt x="252387" y="0"/>
                  </a:lnTo>
                  <a:lnTo>
                    <a:pt x="204038" y="4356"/>
                  </a:lnTo>
                  <a:lnTo>
                    <a:pt x="158483" y="16725"/>
                  </a:lnTo>
                  <a:lnTo>
                    <a:pt x="116446" y="36372"/>
                  </a:lnTo>
                  <a:lnTo>
                    <a:pt x="78663" y="62560"/>
                  </a:lnTo>
                  <a:lnTo>
                    <a:pt x="45859" y="94576"/>
                  </a:lnTo>
                  <a:lnTo>
                    <a:pt x="18745" y="131686"/>
                  </a:lnTo>
                  <a:lnTo>
                    <a:pt x="0" y="169291"/>
                  </a:lnTo>
                  <a:lnTo>
                    <a:pt x="0" y="264439"/>
                  </a:lnTo>
                  <a:lnTo>
                    <a:pt x="26758" y="262178"/>
                  </a:lnTo>
                  <a:lnTo>
                    <a:pt x="71285" y="250520"/>
                  </a:lnTo>
                  <a:lnTo>
                    <a:pt x="112522" y="231927"/>
                  </a:lnTo>
                  <a:lnTo>
                    <a:pt x="149783" y="207048"/>
                  </a:lnTo>
                  <a:lnTo>
                    <a:pt x="182410" y="176593"/>
                  </a:lnTo>
                  <a:lnTo>
                    <a:pt x="209727" y="141211"/>
                  </a:lnTo>
                  <a:lnTo>
                    <a:pt x="231051" y="101600"/>
                  </a:lnTo>
                  <a:lnTo>
                    <a:pt x="245719" y="58407"/>
                  </a:lnTo>
                  <a:lnTo>
                    <a:pt x="253034" y="12357"/>
                  </a:lnTo>
                  <a:lnTo>
                    <a:pt x="260210" y="58572"/>
                  </a:lnTo>
                  <a:lnTo>
                    <a:pt x="274777" y="101942"/>
                  </a:lnTo>
                  <a:lnTo>
                    <a:pt x="296037" y="141744"/>
                  </a:lnTo>
                  <a:lnTo>
                    <a:pt x="323329" y="177279"/>
                  </a:lnTo>
                  <a:lnTo>
                    <a:pt x="355968" y="207873"/>
                  </a:lnTo>
                  <a:lnTo>
                    <a:pt x="393293" y="232867"/>
                  </a:lnTo>
                  <a:lnTo>
                    <a:pt x="434606" y="251548"/>
                  </a:lnTo>
                  <a:lnTo>
                    <a:pt x="479221" y="263258"/>
                  </a:lnTo>
                  <a:lnTo>
                    <a:pt x="527138" y="267322"/>
                  </a:lnTo>
                  <a:close/>
                </a:path>
              </a:pathLst>
            </a:custGeom>
            <a:solidFill>
              <a:srgbClr val="2DB7EA"/>
            </a:solidFill>
          </p:spPr>
          <p:txBody>
            <a:bodyPr wrap="square" lIns="0" tIns="0" rIns="0" bIns="0" rtlCol="0"/>
            <a:lstStyle/>
            <a:p>
              <a:endParaRPr dirty="0"/>
            </a:p>
          </p:txBody>
        </p:sp>
        <p:pic>
          <p:nvPicPr>
            <p:cNvPr id="64" name="object 62">
              <a:extLst>
                <a:ext uri="{FF2B5EF4-FFF2-40B4-BE49-F238E27FC236}">
                  <a16:creationId xmlns:a16="http://schemas.microsoft.com/office/drawing/2014/main" id="{5BFEFF9C-C3E5-FA5D-8761-7F0687B8B208}"/>
                </a:ext>
              </a:extLst>
            </p:cNvPr>
            <p:cNvPicPr/>
            <p:nvPr/>
          </p:nvPicPr>
          <p:blipFill>
            <a:blip r:embed="rId16" cstate="print"/>
            <a:stretch>
              <a:fillRect/>
            </a:stretch>
          </p:blipFill>
          <p:spPr>
            <a:xfrm>
              <a:off x="7326865" y="5626898"/>
              <a:ext cx="106445" cy="107156"/>
            </a:xfrm>
            <a:prstGeom prst="rect">
              <a:avLst/>
            </a:prstGeom>
          </p:spPr>
        </p:pic>
        <p:sp>
          <p:nvSpPr>
            <p:cNvPr id="65" name="object 63">
              <a:extLst>
                <a:ext uri="{FF2B5EF4-FFF2-40B4-BE49-F238E27FC236}">
                  <a16:creationId xmlns:a16="http://schemas.microsoft.com/office/drawing/2014/main" id="{4FEDD40E-4E86-C675-30EE-2A1F7A38DCF6}"/>
                </a:ext>
              </a:extLst>
            </p:cNvPr>
            <p:cNvSpPr/>
            <p:nvPr/>
          </p:nvSpPr>
          <p:spPr>
            <a:xfrm>
              <a:off x="7226300" y="5825360"/>
              <a:ext cx="319992" cy="477101"/>
            </a:xfrm>
            <a:custGeom>
              <a:avLst/>
              <a:gdLst/>
              <a:ahLst/>
              <a:cxnLst/>
              <a:rect l="l" t="t" r="r" b="b"/>
              <a:pathLst>
                <a:path w="527684" h="786765">
                  <a:moveTo>
                    <a:pt x="527126" y="786396"/>
                  </a:moveTo>
                  <a:lnTo>
                    <a:pt x="521677" y="738238"/>
                  </a:lnTo>
                  <a:lnTo>
                    <a:pt x="508279" y="692975"/>
                  </a:lnTo>
                  <a:lnTo>
                    <a:pt x="487667" y="651344"/>
                  </a:lnTo>
                  <a:lnTo>
                    <a:pt x="460578" y="614095"/>
                  </a:lnTo>
                  <a:lnTo>
                    <a:pt x="427736" y="581939"/>
                  </a:lnTo>
                  <a:lnTo>
                    <a:pt x="389877" y="555637"/>
                  </a:lnTo>
                  <a:lnTo>
                    <a:pt x="347751" y="535901"/>
                  </a:lnTo>
                  <a:lnTo>
                    <a:pt x="302082" y="523481"/>
                  </a:lnTo>
                  <a:lnTo>
                    <a:pt x="253606" y="519099"/>
                  </a:lnTo>
                  <a:lnTo>
                    <a:pt x="252387" y="519099"/>
                  </a:lnTo>
                  <a:lnTo>
                    <a:pt x="204038" y="523455"/>
                  </a:lnTo>
                  <a:lnTo>
                    <a:pt x="158483" y="535825"/>
                  </a:lnTo>
                  <a:lnTo>
                    <a:pt x="116446" y="555472"/>
                  </a:lnTo>
                  <a:lnTo>
                    <a:pt x="78663" y="581660"/>
                  </a:lnTo>
                  <a:lnTo>
                    <a:pt x="45859" y="613676"/>
                  </a:lnTo>
                  <a:lnTo>
                    <a:pt x="18770" y="650773"/>
                  </a:lnTo>
                  <a:lnTo>
                    <a:pt x="0" y="688467"/>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72"/>
                  </a:lnTo>
                  <a:lnTo>
                    <a:pt x="274777" y="621042"/>
                  </a:lnTo>
                  <a:lnTo>
                    <a:pt x="296037" y="660831"/>
                  </a:lnTo>
                  <a:lnTo>
                    <a:pt x="323329" y="696366"/>
                  </a:lnTo>
                  <a:lnTo>
                    <a:pt x="355968" y="726973"/>
                  </a:lnTo>
                  <a:lnTo>
                    <a:pt x="393293" y="751954"/>
                  </a:lnTo>
                  <a:lnTo>
                    <a:pt x="434594" y="770636"/>
                  </a:lnTo>
                  <a:lnTo>
                    <a:pt x="479209" y="782345"/>
                  </a:lnTo>
                  <a:lnTo>
                    <a:pt x="527126" y="786396"/>
                  </a:lnTo>
                  <a:close/>
                </a:path>
                <a:path w="527684" h="786765">
                  <a:moveTo>
                    <a:pt x="527126" y="520865"/>
                  </a:moveTo>
                  <a:lnTo>
                    <a:pt x="521677" y="472706"/>
                  </a:lnTo>
                  <a:lnTo>
                    <a:pt x="508279" y="427443"/>
                  </a:lnTo>
                  <a:lnTo>
                    <a:pt x="487667" y="385813"/>
                  </a:lnTo>
                  <a:lnTo>
                    <a:pt x="460578" y="348564"/>
                  </a:lnTo>
                  <a:lnTo>
                    <a:pt x="427736" y="316407"/>
                  </a:lnTo>
                  <a:lnTo>
                    <a:pt x="389877" y="290093"/>
                  </a:lnTo>
                  <a:lnTo>
                    <a:pt x="347751" y="270370"/>
                  </a:lnTo>
                  <a:lnTo>
                    <a:pt x="302082" y="257937"/>
                  </a:lnTo>
                  <a:lnTo>
                    <a:pt x="253606" y="253555"/>
                  </a:lnTo>
                  <a:lnTo>
                    <a:pt x="252387" y="253555"/>
                  </a:lnTo>
                  <a:lnTo>
                    <a:pt x="204038" y="257924"/>
                  </a:lnTo>
                  <a:lnTo>
                    <a:pt x="158483" y="270294"/>
                  </a:lnTo>
                  <a:lnTo>
                    <a:pt x="116446" y="289928"/>
                  </a:lnTo>
                  <a:lnTo>
                    <a:pt x="78663" y="316128"/>
                  </a:lnTo>
                  <a:lnTo>
                    <a:pt x="45859" y="348145"/>
                  </a:lnTo>
                  <a:lnTo>
                    <a:pt x="18770" y="385241"/>
                  </a:lnTo>
                  <a:lnTo>
                    <a:pt x="0" y="422935"/>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40"/>
                  </a:lnTo>
                  <a:lnTo>
                    <a:pt x="274777" y="355511"/>
                  </a:lnTo>
                  <a:lnTo>
                    <a:pt x="296037" y="395300"/>
                  </a:lnTo>
                  <a:lnTo>
                    <a:pt x="323329" y="430834"/>
                  </a:lnTo>
                  <a:lnTo>
                    <a:pt x="355968" y="461441"/>
                  </a:lnTo>
                  <a:lnTo>
                    <a:pt x="393293" y="486410"/>
                  </a:lnTo>
                  <a:lnTo>
                    <a:pt x="434594" y="505104"/>
                  </a:lnTo>
                  <a:lnTo>
                    <a:pt x="479209" y="516813"/>
                  </a:lnTo>
                  <a:lnTo>
                    <a:pt x="527126" y="520865"/>
                  </a:lnTo>
                  <a:close/>
                </a:path>
                <a:path w="527684" h="786765">
                  <a:moveTo>
                    <a:pt x="527138" y="267322"/>
                  </a:moveTo>
                  <a:lnTo>
                    <a:pt x="521690" y="219151"/>
                  </a:lnTo>
                  <a:lnTo>
                    <a:pt x="508292" y="173888"/>
                  </a:lnTo>
                  <a:lnTo>
                    <a:pt x="487680" y="132257"/>
                  </a:lnTo>
                  <a:lnTo>
                    <a:pt x="460578" y="94996"/>
                  </a:lnTo>
                  <a:lnTo>
                    <a:pt x="427736" y="62852"/>
                  </a:lnTo>
                  <a:lnTo>
                    <a:pt x="389890" y="36550"/>
                  </a:lnTo>
                  <a:lnTo>
                    <a:pt x="347764" y="16814"/>
                  </a:lnTo>
                  <a:lnTo>
                    <a:pt x="302094" y="4394"/>
                  </a:lnTo>
                  <a:lnTo>
                    <a:pt x="253606" y="0"/>
                  </a:lnTo>
                  <a:lnTo>
                    <a:pt x="252387" y="0"/>
                  </a:lnTo>
                  <a:lnTo>
                    <a:pt x="204038" y="4356"/>
                  </a:lnTo>
                  <a:lnTo>
                    <a:pt x="158483" y="16725"/>
                  </a:lnTo>
                  <a:lnTo>
                    <a:pt x="116446" y="36372"/>
                  </a:lnTo>
                  <a:lnTo>
                    <a:pt x="78663" y="62572"/>
                  </a:lnTo>
                  <a:lnTo>
                    <a:pt x="45859" y="94576"/>
                  </a:lnTo>
                  <a:lnTo>
                    <a:pt x="18745" y="131686"/>
                  </a:lnTo>
                  <a:lnTo>
                    <a:pt x="0" y="169303"/>
                  </a:lnTo>
                  <a:lnTo>
                    <a:pt x="0" y="264452"/>
                  </a:lnTo>
                  <a:lnTo>
                    <a:pt x="26758" y="262178"/>
                  </a:lnTo>
                  <a:lnTo>
                    <a:pt x="71285" y="250532"/>
                  </a:lnTo>
                  <a:lnTo>
                    <a:pt x="112522" y="231927"/>
                  </a:lnTo>
                  <a:lnTo>
                    <a:pt x="149783" y="207060"/>
                  </a:lnTo>
                  <a:lnTo>
                    <a:pt x="182410" y="176593"/>
                  </a:lnTo>
                  <a:lnTo>
                    <a:pt x="209727" y="141224"/>
                  </a:lnTo>
                  <a:lnTo>
                    <a:pt x="231051" y="101600"/>
                  </a:lnTo>
                  <a:lnTo>
                    <a:pt x="245719" y="58407"/>
                  </a:lnTo>
                  <a:lnTo>
                    <a:pt x="253034" y="12369"/>
                  </a:lnTo>
                  <a:lnTo>
                    <a:pt x="260210" y="58585"/>
                  </a:lnTo>
                  <a:lnTo>
                    <a:pt x="274777" y="101955"/>
                  </a:lnTo>
                  <a:lnTo>
                    <a:pt x="296037" y="141744"/>
                  </a:lnTo>
                  <a:lnTo>
                    <a:pt x="323329" y="177279"/>
                  </a:lnTo>
                  <a:lnTo>
                    <a:pt x="355981" y="207886"/>
                  </a:lnTo>
                  <a:lnTo>
                    <a:pt x="393293" y="232867"/>
                  </a:lnTo>
                  <a:lnTo>
                    <a:pt x="434606" y="251561"/>
                  </a:lnTo>
                  <a:lnTo>
                    <a:pt x="479221" y="263271"/>
                  </a:lnTo>
                  <a:lnTo>
                    <a:pt x="527138" y="267322"/>
                  </a:lnTo>
                  <a:close/>
                </a:path>
              </a:pathLst>
            </a:custGeom>
            <a:solidFill>
              <a:srgbClr val="7ED3F1"/>
            </a:solidFill>
          </p:spPr>
          <p:txBody>
            <a:bodyPr wrap="square" lIns="0" tIns="0" rIns="0" bIns="0" rtlCol="0"/>
            <a:lstStyle/>
            <a:p>
              <a:endParaRPr dirty="0"/>
            </a:p>
          </p:txBody>
        </p:sp>
        <p:pic>
          <p:nvPicPr>
            <p:cNvPr id="66" name="object 64">
              <a:extLst>
                <a:ext uri="{FF2B5EF4-FFF2-40B4-BE49-F238E27FC236}">
                  <a16:creationId xmlns:a16="http://schemas.microsoft.com/office/drawing/2014/main" id="{E503F6A6-58E9-133C-5EC5-3167B1701B5A}"/>
                </a:ext>
              </a:extLst>
            </p:cNvPr>
            <p:cNvPicPr/>
            <p:nvPr/>
          </p:nvPicPr>
          <p:blipFill>
            <a:blip r:embed="rId17" cstate="print"/>
            <a:stretch>
              <a:fillRect/>
            </a:stretch>
          </p:blipFill>
          <p:spPr>
            <a:xfrm>
              <a:off x="7326865" y="6281064"/>
              <a:ext cx="106445" cy="107156"/>
            </a:xfrm>
            <a:prstGeom prst="rect">
              <a:avLst/>
            </a:prstGeom>
          </p:spPr>
        </p:pic>
        <p:sp>
          <p:nvSpPr>
            <p:cNvPr id="67" name="object 65">
              <a:extLst>
                <a:ext uri="{FF2B5EF4-FFF2-40B4-BE49-F238E27FC236}">
                  <a16:creationId xmlns:a16="http://schemas.microsoft.com/office/drawing/2014/main" id="{BF572667-10B8-DC3C-88BE-46909546849C}"/>
                </a:ext>
              </a:extLst>
            </p:cNvPr>
            <p:cNvSpPr/>
            <p:nvPr/>
          </p:nvSpPr>
          <p:spPr>
            <a:xfrm>
              <a:off x="8368808" y="6037749"/>
              <a:ext cx="332700" cy="477101"/>
            </a:xfrm>
            <a:custGeom>
              <a:avLst/>
              <a:gdLst/>
              <a:ahLst/>
              <a:cxnLst/>
              <a:rect l="l" t="t" r="r" b="b"/>
              <a:pathLst>
                <a:path w="548640" h="786765">
                  <a:moveTo>
                    <a:pt x="548043" y="266611"/>
                  </a:moveTo>
                  <a:lnTo>
                    <a:pt x="500367" y="270649"/>
                  </a:lnTo>
                  <a:lnTo>
                    <a:pt x="455841" y="282308"/>
                  </a:lnTo>
                  <a:lnTo>
                    <a:pt x="414616" y="300901"/>
                  </a:lnTo>
                  <a:lnTo>
                    <a:pt x="377342" y="325780"/>
                  </a:lnTo>
                  <a:lnTo>
                    <a:pt x="344716" y="356235"/>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86"/>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26"/>
                  </a:lnTo>
                  <a:lnTo>
                    <a:pt x="225044" y="528459"/>
                  </a:lnTo>
                  <a:lnTo>
                    <a:pt x="273519" y="532841"/>
                  </a:lnTo>
                  <a:lnTo>
                    <a:pt x="274751" y="532841"/>
                  </a:lnTo>
                  <a:lnTo>
                    <a:pt x="323088" y="528472"/>
                  </a:lnTo>
                  <a:lnTo>
                    <a:pt x="368642" y="516102"/>
                  </a:lnTo>
                  <a:lnTo>
                    <a:pt x="410679" y="496468"/>
                  </a:lnTo>
                  <a:lnTo>
                    <a:pt x="448462" y="470268"/>
                  </a:lnTo>
                  <a:lnTo>
                    <a:pt x="481266" y="438251"/>
                  </a:lnTo>
                  <a:lnTo>
                    <a:pt x="508355" y="401154"/>
                  </a:lnTo>
                  <a:lnTo>
                    <a:pt x="529005" y="359689"/>
                  </a:lnTo>
                  <a:lnTo>
                    <a:pt x="542467" y="314604"/>
                  </a:lnTo>
                  <a:lnTo>
                    <a:pt x="548043" y="266611"/>
                  </a:lnTo>
                  <a:close/>
                </a:path>
                <a:path w="548640" h="786765">
                  <a:moveTo>
                    <a:pt x="548043" y="1092"/>
                  </a:moveTo>
                  <a:lnTo>
                    <a:pt x="500367" y="5130"/>
                  </a:lnTo>
                  <a:lnTo>
                    <a:pt x="455841" y="16789"/>
                  </a:lnTo>
                  <a:lnTo>
                    <a:pt x="414616" y="35382"/>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49"/>
                  </a:lnTo>
                  <a:lnTo>
                    <a:pt x="481266" y="172732"/>
                  </a:lnTo>
                  <a:lnTo>
                    <a:pt x="508355" y="135623"/>
                  </a:lnTo>
                  <a:lnTo>
                    <a:pt x="529005" y="94170"/>
                  </a:lnTo>
                  <a:lnTo>
                    <a:pt x="542467" y="49085"/>
                  </a:lnTo>
                  <a:lnTo>
                    <a:pt x="548043" y="1092"/>
                  </a:lnTo>
                  <a:close/>
                </a:path>
                <a:path w="548640" h="786765">
                  <a:moveTo>
                    <a:pt x="548093" y="520204"/>
                  </a:moveTo>
                  <a:lnTo>
                    <a:pt x="500367" y="524217"/>
                  </a:lnTo>
                  <a:lnTo>
                    <a:pt x="455841" y="535876"/>
                  </a:lnTo>
                  <a:lnTo>
                    <a:pt x="414616" y="554469"/>
                  </a:lnTo>
                  <a:lnTo>
                    <a:pt x="377342" y="579348"/>
                  </a:lnTo>
                  <a:lnTo>
                    <a:pt x="344716" y="609803"/>
                  </a:lnTo>
                  <a:lnTo>
                    <a:pt x="317411" y="645172"/>
                  </a:lnTo>
                  <a:lnTo>
                    <a:pt x="296087" y="684796"/>
                  </a:lnTo>
                  <a:lnTo>
                    <a:pt x="281419" y="727989"/>
                  </a:lnTo>
                  <a:lnTo>
                    <a:pt x="274091" y="774065"/>
                  </a:lnTo>
                  <a:lnTo>
                    <a:pt x="266915" y="727824"/>
                  </a:lnTo>
                  <a:lnTo>
                    <a:pt x="252361" y="684453"/>
                  </a:lnTo>
                  <a:lnTo>
                    <a:pt x="231089"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38"/>
                  </a:lnTo>
                  <a:lnTo>
                    <a:pt x="66548" y="691400"/>
                  </a:lnTo>
                  <a:lnTo>
                    <a:pt x="99390" y="72354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2DB7EA"/>
            </a:solidFill>
          </p:spPr>
          <p:txBody>
            <a:bodyPr wrap="square" lIns="0" tIns="0" rIns="0" bIns="0" rtlCol="0"/>
            <a:lstStyle/>
            <a:p>
              <a:endParaRPr dirty="0"/>
            </a:p>
          </p:txBody>
        </p:sp>
        <p:pic>
          <p:nvPicPr>
            <p:cNvPr id="68" name="object 66">
              <a:extLst>
                <a:ext uri="{FF2B5EF4-FFF2-40B4-BE49-F238E27FC236}">
                  <a16:creationId xmlns:a16="http://schemas.microsoft.com/office/drawing/2014/main" id="{9E559800-8911-0BAF-7746-D7CFC527D6F5}"/>
                </a:ext>
              </a:extLst>
            </p:cNvPr>
            <p:cNvPicPr/>
            <p:nvPr/>
          </p:nvPicPr>
          <p:blipFill>
            <a:blip r:embed="rId5" cstate="print"/>
            <a:stretch>
              <a:fillRect/>
            </a:stretch>
          </p:blipFill>
          <p:spPr>
            <a:xfrm>
              <a:off x="8481461" y="5951762"/>
              <a:ext cx="106445" cy="107156"/>
            </a:xfrm>
            <a:prstGeom prst="rect">
              <a:avLst/>
            </a:prstGeom>
          </p:spPr>
        </p:pic>
        <p:sp>
          <p:nvSpPr>
            <p:cNvPr id="69" name="object 67">
              <a:extLst>
                <a:ext uri="{FF2B5EF4-FFF2-40B4-BE49-F238E27FC236}">
                  <a16:creationId xmlns:a16="http://schemas.microsoft.com/office/drawing/2014/main" id="{6C396728-7F71-01E3-4ECA-F476CDB28123}"/>
                </a:ext>
              </a:extLst>
            </p:cNvPr>
            <p:cNvSpPr/>
            <p:nvPr/>
          </p:nvSpPr>
          <p:spPr>
            <a:xfrm>
              <a:off x="8368808" y="5383587"/>
              <a:ext cx="332700" cy="477101"/>
            </a:xfrm>
            <a:custGeom>
              <a:avLst/>
              <a:gdLst/>
              <a:ahLst/>
              <a:cxnLst/>
              <a:rect l="l" t="t" r="r" b="b"/>
              <a:pathLst>
                <a:path w="548640" h="786765">
                  <a:moveTo>
                    <a:pt x="548043" y="266623"/>
                  </a:moveTo>
                  <a:lnTo>
                    <a:pt x="500367" y="270649"/>
                  </a:lnTo>
                  <a:lnTo>
                    <a:pt x="455841" y="282308"/>
                  </a:lnTo>
                  <a:lnTo>
                    <a:pt x="414616" y="300913"/>
                  </a:lnTo>
                  <a:lnTo>
                    <a:pt x="377342" y="325780"/>
                  </a:lnTo>
                  <a:lnTo>
                    <a:pt x="344716" y="356235"/>
                  </a:lnTo>
                  <a:lnTo>
                    <a:pt x="317411" y="391617"/>
                  </a:lnTo>
                  <a:lnTo>
                    <a:pt x="296087" y="431241"/>
                  </a:lnTo>
                  <a:lnTo>
                    <a:pt x="281419" y="474446"/>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54"/>
                  </a:lnTo>
                  <a:lnTo>
                    <a:pt x="529005" y="359689"/>
                  </a:lnTo>
                  <a:lnTo>
                    <a:pt x="542467" y="314604"/>
                  </a:lnTo>
                  <a:lnTo>
                    <a:pt x="548043" y="266623"/>
                  </a:lnTo>
                  <a:close/>
                </a:path>
                <a:path w="548640" h="786765">
                  <a:moveTo>
                    <a:pt x="548043" y="1079"/>
                  </a:moveTo>
                  <a:lnTo>
                    <a:pt x="500367" y="5118"/>
                  </a:lnTo>
                  <a:lnTo>
                    <a:pt x="455841" y="16764"/>
                  </a:lnTo>
                  <a:lnTo>
                    <a:pt x="414616" y="35369"/>
                  </a:lnTo>
                  <a:lnTo>
                    <a:pt x="377342" y="60236"/>
                  </a:lnTo>
                  <a:lnTo>
                    <a:pt x="344716" y="90703"/>
                  </a:lnTo>
                  <a:lnTo>
                    <a:pt x="317411" y="126085"/>
                  </a:lnTo>
                  <a:lnTo>
                    <a:pt x="296087" y="165722"/>
                  </a:lnTo>
                  <a:lnTo>
                    <a:pt x="281419" y="208915"/>
                  </a:lnTo>
                  <a:lnTo>
                    <a:pt x="274091" y="255003"/>
                  </a:lnTo>
                  <a:lnTo>
                    <a:pt x="266915" y="208724"/>
                  </a:lnTo>
                  <a:lnTo>
                    <a:pt x="252361" y="165354"/>
                  </a:lnTo>
                  <a:lnTo>
                    <a:pt x="231089"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67" y="49072"/>
                  </a:lnTo>
                  <a:lnTo>
                    <a:pt x="548043" y="1079"/>
                  </a:lnTo>
                  <a:close/>
                </a:path>
                <a:path w="548640" h="786765">
                  <a:moveTo>
                    <a:pt x="548093" y="520192"/>
                  </a:moveTo>
                  <a:lnTo>
                    <a:pt x="500367" y="524217"/>
                  </a:lnTo>
                  <a:lnTo>
                    <a:pt x="455841" y="535876"/>
                  </a:lnTo>
                  <a:lnTo>
                    <a:pt x="414616" y="554469"/>
                  </a:lnTo>
                  <a:lnTo>
                    <a:pt x="377342" y="579335"/>
                  </a:lnTo>
                  <a:lnTo>
                    <a:pt x="344716" y="609790"/>
                  </a:lnTo>
                  <a:lnTo>
                    <a:pt x="317411" y="645172"/>
                  </a:lnTo>
                  <a:lnTo>
                    <a:pt x="296087" y="684796"/>
                  </a:lnTo>
                  <a:lnTo>
                    <a:pt x="281419" y="727976"/>
                  </a:lnTo>
                  <a:lnTo>
                    <a:pt x="274091" y="774065"/>
                  </a:lnTo>
                  <a:lnTo>
                    <a:pt x="266915" y="727811"/>
                  </a:lnTo>
                  <a:lnTo>
                    <a:pt x="252361" y="684441"/>
                  </a:lnTo>
                  <a:lnTo>
                    <a:pt x="231089" y="644652"/>
                  </a:lnTo>
                  <a:lnTo>
                    <a:pt x="203796" y="609117"/>
                  </a:lnTo>
                  <a:lnTo>
                    <a:pt x="171157" y="578523"/>
                  </a:lnTo>
                  <a:lnTo>
                    <a:pt x="133845" y="553542"/>
                  </a:lnTo>
                  <a:lnTo>
                    <a:pt x="92532" y="534847"/>
                  </a:lnTo>
                  <a:lnTo>
                    <a:pt x="47917" y="523125"/>
                  </a:lnTo>
                  <a:lnTo>
                    <a:pt x="0" y="519061"/>
                  </a:lnTo>
                  <a:lnTo>
                    <a:pt x="5448" y="567258"/>
                  </a:lnTo>
                  <a:lnTo>
                    <a:pt x="18846" y="612508"/>
                  </a:lnTo>
                  <a:lnTo>
                    <a:pt x="39458" y="654138"/>
                  </a:lnTo>
                  <a:lnTo>
                    <a:pt x="66548" y="691388"/>
                  </a:lnTo>
                  <a:lnTo>
                    <a:pt x="67246" y="692073"/>
                  </a:lnTo>
                  <a:lnTo>
                    <a:pt x="99390" y="723544"/>
                  </a:lnTo>
                  <a:lnTo>
                    <a:pt x="137248" y="749858"/>
                  </a:lnTo>
                  <a:lnTo>
                    <a:pt x="179374" y="769594"/>
                  </a:lnTo>
                  <a:lnTo>
                    <a:pt x="225044" y="782015"/>
                  </a:lnTo>
                  <a:lnTo>
                    <a:pt x="273519" y="786396"/>
                  </a:lnTo>
                  <a:lnTo>
                    <a:pt x="274751" y="786396"/>
                  </a:lnTo>
                  <a:lnTo>
                    <a:pt x="323088" y="782027"/>
                  </a:lnTo>
                  <a:lnTo>
                    <a:pt x="368642" y="769670"/>
                  </a:lnTo>
                  <a:lnTo>
                    <a:pt x="410679" y="750023"/>
                  </a:lnTo>
                  <a:lnTo>
                    <a:pt x="448462" y="723823"/>
                  </a:lnTo>
                  <a:lnTo>
                    <a:pt x="479691" y="693356"/>
                  </a:lnTo>
                  <a:lnTo>
                    <a:pt x="481266" y="691819"/>
                  </a:lnTo>
                  <a:lnTo>
                    <a:pt x="508393" y="654697"/>
                  </a:lnTo>
                  <a:lnTo>
                    <a:pt x="529043" y="613244"/>
                  </a:lnTo>
                  <a:lnTo>
                    <a:pt x="542518" y="568172"/>
                  </a:lnTo>
                  <a:lnTo>
                    <a:pt x="548093" y="520192"/>
                  </a:lnTo>
                  <a:close/>
                </a:path>
              </a:pathLst>
            </a:custGeom>
            <a:solidFill>
              <a:srgbClr val="7ED3F1"/>
            </a:solidFill>
          </p:spPr>
          <p:txBody>
            <a:bodyPr wrap="square" lIns="0" tIns="0" rIns="0" bIns="0" rtlCol="0"/>
            <a:lstStyle/>
            <a:p>
              <a:endParaRPr dirty="0"/>
            </a:p>
          </p:txBody>
        </p:sp>
        <p:pic>
          <p:nvPicPr>
            <p:cNvPr id="70" name="object 68">
              <a:extLst>
                <a:ext uri="{FF2B5EF4-FFF2-40B4-BE49-F238E27FC236}">
                  <a16:creationId xmlns:a16="http://schemas.microsoft.com/office/drawing/2014/main" id="{941B35C1-6813-F195-E716-B9306888FE5F}"/>
                </a:ext>
              </a:extLst>
            </p:cNvPr>
            <p:cNvPicPr/>
            <p:nvPr/>
          </p:nvPicPr>
          <p:blipFill>
            <a:blip r:embed="rId6" cstate="print"/>
            <a:stretch>
              <a:fillRect/>
            </a:stretch>
          </p:blipFill>
          <p:spPr>
            <a:xfrm>
              <a:off x="8481461" y="5297596"/>
              <a:ext cx="106445" cy="107156"/>
            </a:xfrm>
            <a:prstGeom prst="rect">
              <a:avLst/>
            </a:prstGeom>
          </p:spPr>
        </p:pic>
        <p:sp>
          <p:nvSpPr>
            <p:cNvPr id="71" name="object 69">
              <a:extLst>
                <a:ext uri="{FF2B5EF4-FFF2-40B4-BE49-F238E27FC236}">
                  <a16:creationId xmlns:a16="http://schemas.microsoft.com/office/drawing/2014/main" id="{A48B0919-8BE8-FBA3-F50E-37E0D445E6AF}"/>
                </a:ext>
              </a:extLst>
            </p:cNvPr>
            <p:cNvSpPr/>
            <p:nvPr/>
          </p:nvSpPr>
          <p:spPr>
            <a:xfrm>
              <a:off x="8368808" y="6691912"/>
              <a:ext cx="332700" cy="165965"/>
            </a:xfrm>
            <a:custGeom>
              <a:avLst/>
              <a:gdLst/>
              <a:ahLst/>
              <a:cxnLst/>
              <a:rect l="l" t="t" r="r" b="b"/>
              <a:pathLst>
                <a:path w="548640" h="273684">
                  <a:moveTo>
                    <a:pt x="62560" y="273431"/>
                  </a:moveTo>
                  <a:lnTo>
                    <a:pt x="47917" y="269595"/>
                  </a:lnTo>
                  <a:lnTo>
                    <a:pt x="0" y="265544"/>
                  </a:lnTo>
                  <a:lnTo>
                    <a:pt x="889" y="273431"/>
                  </a:lnTo>
                  <a:lnTo>
                    <a:pt x="62560" y="273431"/>
                  </a:lnTo>
                  <a:close/>
                </a:path>
                <a:path w="548640" h="273684">
                  <a:moveTo>
                    <a:pt x="548043" y="266623"/>
                  </a:moveTo>
                  <a:lnTo>
                    <a:pt x="500367" y="270649"/>
                  </a:lnTo>
                  <a:lnTo>
                    <a:pt x="489737" y="273431"/>
                  </a:lnTo>
                  <a:lnTo>
                    <a:pt x="547243" y="273431"/>
                  </a:lnTo>
                  <a:lnTo>
                    <a:pt x="548043" y="266623"/>
                  </a:lnTo>
                  <a:close/>
                </a:path>
                <a:path w="548640" h="273684">
                  <a:moveTo>
                    <a:pt x="548043" y="1079"/>
                  </a:moveTo>
                  <a:lnTo>
                    <a:pt x="500367" y="5118"/>
                  </a:lnTo>
                  <a:lnTo>
                    <a:pt x="455841" y="16776"/>
                  </a:lnTo>
                  <a:lnTo>
                    <a:pt x="414616" y="35382"/>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21"/>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57"/>
                  </a:lnTo>
                  <a:lnTo>
                    <a:pt x="542467" y="49072"/>
                  </a:lnTo>
                  <a:lnTo>
                    <a:pt x="548043" y="1079"/>
                  </a:lnTo>
                  <a:close/>
                </a:path>
              </a:pathLst>
            </a:custGeom>
            <a:solidFill>
              <a:srgbClr val="7ED3F1"/>
            </a:solidFill>
          </p:spPr>
          <p:txBody>
            <a:bodyPr wrap="square" lIns="0" tIns="0" rIns="0" bIns="0" rtlCol="0"/>
            <a:lstStyle/>
            <a:p>
              <a:endParaRPr dirty="0"/>
            </a:p>
          </p:txBody>
        </p:sp>
        <p:pic>
          <p:nvPicPr>
            <p:cNvPr id="72" name="object 70">
              <a:extLst>
                <a:ext uri="{FF2B5EF4-FFF2-40B4-BE49-F238E27FC236}">
                  <a16:creationId xmlns:a16="http://schemas.microsoft.com/office/drawing/2014/main" id="{B5DD022E-5023-035B-A92E-6E574FEC87FD}"/>
                </a:ext>
              </a:extLst>
            </p:cNvPr>
            <p:cNvPicPr/>
            <p:nvPr/>
          </p:nvPicPr>
          <p:blipFill>
            <a:blip r:embed="rId6" cstate="print"/>
            <a:stretch>
              <a:fillRect/>
            </a:stretch>
          </p:blipFill>
          <p:spPr>
            <a:xfrm>
              <a:off x="8481461" y="6605926"/>
              <a:ext cx="106445" cy="107156"/>
            </a:xfrm>
            <a:prstGeom prst="rect">
              <a:avLst/>
            </a:prstGeom>
          </p:spPr>
        </p:pic>
        <p:sp>
          <p:nvSpPr>
            <p:cNvPr id="73" name="object 71">
              <a:extLst>
                <a:ext uri="{FF2B5EF4-FFF2-40B4-BE49-F238E27FC236}">
                  <a16:creationId xmlns:a16="http://schemas.microsoft.com/office/drawing/2014/main" id="{6A36202A-14EC-F4FA-775C-F61DA83D4401}"/>
                </a:ext>
              </a:extLst>
            </p:cNvPr>
            <p:cNvSpPr/>
            <p:nvPr/>
          </p:nvSpPr>
          <p:spPr>
            <a:xfrm>
              <a:off x="7983731" y="6479532"/>
              <a:ext cx="332700" cy="316141"/>
            </a:xfrm>
            <a:custGeom>
              <a:avLst/>
              <a:gdLst/>
              <a:ahLst/>
              <a:cxnLst/>
              <a:rect l="l" t="t" r="r" b="b"/>
              <a:pathLst>
                <a:path w="548640" h="521334">
                  <a:moveTo>
                    <a:pt x="548068" y="520852"/>
                  </a:moveTo>
                  <a:lnTo>
                    <a:pt x="542632" y="472694"/>
                  </a:lnTo>
                  <a:lnTo>
                    <a:pt x="529234" y="427431"/>
                  </a:lnTo>
                  <a:lnTo>
                    <a:pt x="508609" y="385800"/>
                  </a:lnTo>
                  <a:lnTo>
                    <a:pt x="481520" y="348551"/>
                  </a:lnTo>
                  <a:lnTo>
                    <a:pt x="448678" y="316395"/>
                  </a:lnTo>
                  <a:lnTo>
                    <a:pt x="410819" y="290093"/>
                  </a:lnTo>
                  <a:lnTo>
                    <a:pt x="368693" y="270357"/>
                  </a:lnTo>
                  <a:lnTo>
                    <a:pt x="323024" y="257924"/>
                  </a:lnTo>
                  <a:lnTo>
                    <a:pt x="274548" y="253555"/>
                  </a:lnTo>
                  <a:lnTo>
                    <a:pt x="273329" y="253555"/>
                  </a:lnTo>
                  <a:lnTo>
                    <a:pt x="224980" y="257911"/>
                  </a:lnTo>
                  <a:lnTo>
                    <a:pt x="179438" y="270281"/>
                  </a:lnTo>
                  <a:lnTo>
                    <a:pt x="137401" y="289915"/>
                  </a:lnTo>
                  <a:lnTo>
                    <a:pt x="99618" y="316115"/>
                  </a:lnTo>
                  <a:lnTo>
                    <a:pt x="66814" y="348132"/>
                  </a:lnTo>
                  <a:lnTo>
                    <a:pt x="39725" y="385229"/>
                  </a:lnTo>
                  <a:lnTo>
                    <a:pt x="19075" y="426694"/>
                  </a:lnTo>
                  <a:lnTo>
                    <a:pt x="5600" y="471792"/>
                  </a:lnTo>
                  <a:lnTo>
                    <a:pt x="38" y="519772"/>
                  </a:lnTo>
                  <a:lnTo>
                    <a:pt x="47713" y="515747"/>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27"/>
                  </a:lnTo>
                  <a:lnTo>
                    <a:pt x="295719" y="355498"/>
                  </a:lnTo>
                  <a:lnTo>
                    <a:pt x="316979" y="395300"/>
                  </a:lnTo>
                  <a:lnTo>
                    <a:pt x="344271" y="430834"/>
                  </a:lnTo>
                  <a:lnTo>
                    <a:pt x="376923" y="461429"/>
                  </a:lnTo>
                  <a:lnTo>
                    <a:pt x="414235" y="486410"/>
                  </a:lnTo>
                  <a:lnTo>
                    <a:pt x="455536" y="505091"/>
                  </a:lnTo>
                  <a:lnTo>
                    <a:pt x="500164" y="516801"/>
                  </a:lnTo>
                  <a:lnTo>
                    <a:pt x="548068" y="520852"/>
                  </a:lnTo>
                  <a:close/>
                </a:path>
                <a:path w="548640" h="521334">
                  <a:moveTo>
                    <a:pt x="548081" y="267322"/>
                  </a:moveTo>
                  <a:lnTo>
                    <a:pt x="542632" y="219138"/>
                  </a:lnTo>
                  <a:lnTo>
                    <a:pt x="529234" y="173875"/>
                  </a:lnTo>
                  <a:lnTo>
                    <a:pt x="508622" y="132245"/>
                  </a:lnTo>
                  <a:lnTo>
                    <a:pt x="481533" y="94996"/>
                  </a:lnTo>
                  <a:lnTo>
                    <a:pt x="448691" y="62839"/>
                  </a:lnTo>
                  <a:lnTo>
                    <a:pt x="422376" y="44564"/>
                  </a:lnTo>
                  <a:lnTo>
                    <a:pt x="410832" y="36537"/>
                  </a:lnTo>
                  <a:lnTo>
                    <a:pt x="368706" y="16814"/>
                  </a:lnTo>
                  <a:lnTo>
                    <a:pt x="323024" y="4368"/>
                  </a:lnTo>
                  <a:lnTo>
                    <a:pt x="274561" y="12"/>
                  </a:lnTo>
                  <a:lnTo>
                    <a:pt x="273329" y="0"/>
                  </a:lnTo>
                  <a:lnTo>
                    <a:pt x="224980" y="4356"/>
                  </a:lnTo>
                  <a:lnTo>
                    <a:pt x="179438" y="16713"/>
                  </a:lnTo>
                  <a:lnTo>
                    <a:pt x="137401" y="36360"/>
                  </a:lnTo>
                  <a:lnTo>
                    <a:pt x="108216" y="56591"/>
                  </a:lnTo>
                  <a:lnTo>
                    <a:pt x="99618" y="62560"/>
                  </a:lnTo>
                  <a:lnTo>
                    <a:pt x="66814" y="94576"/>
                  </a:lnTo>
                  <a:lnTo>
                    <a:pt x="39687" y="131686"/>
                  </a:lnTo>
                  <a:lnTo>
                    <a:pt x="19037" y="173139"/>
                  </a:lnTo>
                  <a:lnTo>
                    <a:pt x="5562" y="218211"/>
                  </a:lnTo>
                  <a:lnTo>
                    <a:pt x="0" y="266192"/>
                  </a:lnTo>
                  <a:lnTo>
                    <a:pt x="47713" y="262178"/>
                  </a:lnTo>
                  <a:lnTo>
                    <a:pt x="92227" y="250520"/>
                  </a:lnTo>
                  <a:lnTo>
                    <a:pt x="133464" y="231914"/>
                  </a:lnTo>
                  <a:lnTo>
                    <a:pt x="170738" y="207048"/>
                  </a:lnTo>
                  <a:lnTo>
                    <a:pt x="203365" y="176593"/>
                  </a:lnTo>
                  <a:lnTo>
                    <a:pt x="230670" y="141211"/>
                  </a:lnTo>
                  <a:lnTo>
                    <a:pt x="251993" y="101600"/>
                  </a:lnTo>
                  <a:lnTo>
                    <a:pt x="266661" y="58407"/>
                  </a:lnTo>
                  <a:lnTo>
                    <a:pt x="273989" y="12319"/>
                  </a:lnTo>
                  <a:lnTo>
                    <a:pt x="281165" y="58572"/>
                  </a:lnTo>
                  <a:lnTo>
                    <a:pt x="295719" y="101942"/>
                  </a:lnTo>
                  <a:lnTo>
                    <a:pt x="316979" y="141744"/>
                  </a:lnTo>
                  <a:lnTo>
                    <a:pt x="344271" y="177279"/>
                  </a:lnTo>
                  <a:lnTo>
                    <a:pt x="376923" y="207873"/>
                  </a:lnTo>
                  <a:lnTo>
                    <a:pt x="414235" y="232854"/>
                  </a:lnTo>
                  <a:lnTo>
                    <a:pt x="455549" y="251548"/>
                  </a:lnTo>
                  <a:lnTo>
                    <a:pt x="500164" y="263258"/>
                  </a:lnTo>
                  <a:lnTo>
                    <a:pt x="548081" y="267322"/>
                  </a:lnTo>
                  <a:close/>
                </a:path>
              </a:pathLst>
            </a:custGeom>
            <a:solidFill>
              <a:srgbClr val="2DB7EA"/>
            </a:solidFill>
          </p:spPr>
          <p:txBody>
            <a:bodyPr wrap="square" lIns="0" tIns="0" rIns="0" bIns="0" rtlCol="0"/>
            <a:lstStyle/>
            <a:p>
              <a:endParaRPr dirty="0"/>
            </a:p>
          </p:txBody>
        </p:sp>
        <p:pic>
          <p:nvPicPr>
            <p:cNvPr id="74" name="object 72">
              <a:extLst>
                <a:ext uri="{FF2B5EF4-FFF2-40B4-BE49-F238E27FC236}">
                  <a16:creationId xmlns:a16="http://schemas.microsoft.com/office/drawing/2014/main" id="{D12B4C92-6030-05BA-02C8-54A116872631}"/>
                </a:ext>
              </a:extLst>
            </p:cNvPr>
            <p:cNvPicPr/>
            <p:nvPr/>
          </p:nvPicPr>
          <p:blipFill>
            <a:blip r:embed="rId7" cstate="print"/>
            <a:stretch>
              <a:fillRect/>
            </a:stretch>
          </p:blipFill>
          <p:spPr>
            <a:xfrm>
              <a:off x="8019821" y="6794307"/>
              <a:ext cx="260137" cy="63416"/>
            </a:xfrm>
            <a:prstGeom prst="rect">
              <a:avLst/>
            </a:prstGeom>
          </p:spPr>
        </p:pic>
        <p:sp>
          <p:nvSpPr>
            <p:cNvPr id="75" name="object 73">
              <a:extLst>
                <a:ext uri="{FF2B5EF4-FFF2-40B4-BE49-F238E27FC236}">
                  <a16:creationId xmlns:a16="http://schemas.microsoft.com/office/drawing/2014/main" id="{3B9C79B6-641C-04F8-FF98-7FBB41144E75}"/>
                </a:ext>
              </a:extLst>
            </p:cNvPr>
            <p:cNvSpPr/>
            <p:nvPr/>
          </p:nvSpPr>
          <p:spPr>
            <a:xfrm>
              <a:off x="7983731" y="5171198"/>
              <a:ext cx="332700" cy="477101"/>
            </a:xfrm>
            <a:custGeom>
              <a:avLst/>
              <a:gdLst/>
              <a:ahLst/>
              <a:cxnLst/>
              <a:rect l="l" t="t" r="r" b="b"/>
              <a:pathLst>
                <a:path w="548640" h="786765">
                  <a:moveTo>
                    <a:pt x="548068" y="786396"/>
                  </a:moveTo>
                  <a:lnTo>
                    <a:pt x="542632" y="738225"/>
                  </a:lnTo>
                  <a:lnTo>
                    <a:pt x="529234" y="692975"/>
                  </a:lnTo>
                  <a:lnTo>
                    <a:pt x="508609" y="651344"/>
                  </a:lnTo>
                  <a:lnTo>
                    <a:pt x="481520" y="614083"/>
                  </a:lnTo>
                  <a:lnTo>
                    <a:pt x="448678" y="581939"/>
                  </a:lnTo>
                  <a:lnTo>
                    <a:pt x="410819" y="555625"/>
                  </a:lnTo>
                  <a:lnTo>
                    <a:pt x="368693" y="535889"/>
                  </a:lnTo>
                  <a:lnTo>
                    <a:pt x="323024" y="523468"/>
                  </a:lnTo>
                  <a:lnTo>
                    <a:pt x="274548" y="519087"/>
                  </a:lnTo>
                  <a:lnTo>
                    <a:pt x="273329" y="519087"/>
                  </a:lnTo>
                  <a:lnTo>
                    <a:pt x="224980" y="523455"/>
                  </a:lnTo>
                  <a:lnTo>
                    <a:pt x="179438" y="535813"/>
                  </a:lnTo>
                  <a:lnTo>
                    <a:pt x="137401" y="555459"/>
                  </a:lnTo>
                  <a:lnTo>
                    <a:pt x="99618" y="581660"/>
                  </a:lnTo>
                  <a:lnTo>
                    <a:pt x="66814" y="613676"/>
                  </a:lnTo>
                  <a:lnTo>
                    <a:pt x="39725" y="650773"/>
                  </a:lnTo>
                  <a:lnTo>
                    <a:pt x="19075" y="692238"/>
                  </a:lnTo>
                  <a:lnTo>
                    <a:pt x="5600" y="737323"/>
                  </a:lnTo>
                  <a:lnTo>
                    <a:pt x="38" y="785317"/>
                  </a:lnTo>
                  <a:lnTo>
                    <a:pt x="47713" y="781278"/>
                  </a:lnTo>
                  <a:lnTo>
                    <a:pt x="92227" y="769620"/>
                  </a:lnTo>
                  <a:lnTo>
                    <a:pt x="133464" y="751027"/>
                  </a:lnTo>
                  <a:lnTo>
                    <a:pt x="170726" y="726147"/>
                  </a:lnTo>
                  <a:lnTo>
                    <a:pt x="203352" y="695680"/>
                  </a:lnTo>
                  <a:lnTo>
                    <a:pt x="230670" y="660298"/>
                  </a:lnTo>
                  <a:lnTo>
                    <a:pt x="251993" y="620674"/>
                  </a:lnTo>
                  <a:lnTo>
                    <a:pt x="266649" y="577481"/>
                  </a:lnTo>
                  <a:lnTo>
                    <a:pt x="273989" y="531393"/>
                  </a:lnTo>
                  <a:lnTo>
                    <a:pt x="281165" y="577672"/>
                  </a:lnTo>
                  <a:lnTo>
                    <a:pt x="295719" y="621042"/>
                  </a:lnTo>
                  <a:lnTo>
                    <a:pt x="316979" y="660831"/>
                  </a:lnTo>
                  <a:lnTo>
                    <a:pt x="344271" y="696366"/>
                  </a:lnTo>
                  <a:lnTo>
                    <a:pt x="376923" y="726960"/>
                  </a:lnTo>
                  <a:lnTo>
                    <a:pt x="414235" y="751941"/>
                  </a:lnTo>
                  <a:lnTo>
                    <a:pt x="455536" y="770623"/>
                  </a:lnTo>
                  <a:lnTo>
                    <a:pt x="500164" y="782332"/>
                  </a:lnTo>
                  <a:lnTo>
                    <a:pt x="548068" y="786396"/>
                  </a:lnTo>
                  <a:close/>
                </a:path>
                <a:path w="548640" h="786765">
                  <a:moveTo>
                    <a:pt x="548068" y="520865"/>
                  </a:moveTo>
                  <a:lnTo>
                    <a:pt x="542632" y="472706"/>
                  </a:lnTo>
                  <a:lnTo>
                    <a:pt x="529234" y="427443"/>
                  </a:lnTo>
                  <a:lnTo>
                    <a:pt x="508609" y="385813"/>
                  </a:lnTo>
                  <a:lnTo>
                    <a:pt x="481520" y="348551"/>
                  </a:lnTo>
                  <a:lnTo>
                    <a:pt x="448678" y="316407"/>
                  </a:lnTo>
                  <a:lnTo>
                    <a:pt x="410819" y="290093"/>
                  </a:lnTo>
                  <a:lnTo>
                    <a:pt x="368693" y="270357"/>
                  </a:lnTo>
                  <a:lnTo>
                    <a:pt x="323024" y="257937"/>
                  </a:lnTo>
                  <a:lnTo>
                    <a:pt x="274548" y="253568"/>
                  </a:lnTo>
                  <a:lnTo>
                    <a:pt x="273329" y="253568"/>
                  </a:lnTo>
                  <a:lnTo>
                    <a:pt x="224980" y="257924"/>
                  </a:lnTo>
                  <a:lnTo>
                    <a:pt x="179438" y="270281"/>
                  </a:lnTo>
                  <a:lnTo>
                    <a:pt x="137401" y="289928"/>
                  </a:lnTo>
                  <a:lnTo>
                    <a:pt x="99618" y="316128"/>
                  </a:lnTo>
                  <a:lnTo>
                    <a:pt x="66814" y="348132"/>
                  </a:lnTo>
                  <a:lnTo>
                    <a:pt x="39725" y="385241"/>
                  </a:lnTo>
                  <a:lnTo>
                    <a:pt x="19075" y="426694"/>
                  </a:lnTo>
                  <a:lnTo>
                    <a:pt x="5600" y="471792"/>
                  </a:lnTo>
                  <a:lnTo>
                    <a:pt x="38" y="519772"/>
                  </a:lnTo>
                  <a:lnTo>
                    <a:pt x="47713" y="515734"/>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40"/>
                  </a:lnTo>
                  <a:lnTo>
                    <a:pt x="295719" y="355511"/>
                  </a:lnTo>
                  <a:lnTo>
                    <a:pt x="316979" y="395300"/>
                  </a:lnTo>
                  <a:lnTo>
                    <a:pt x="344271" y="430834"/>
                  </a:lnTo>
                  <a:lnTo>
                    <a:pt x="376923" y="461441"/>
                  </a:lnTo>
                  <a:lnTo>
                    <a:pt x="414235" y="486410"/>
                  </a:lnTo>
                  <a:lnTo>
                    <a:pt x="455536" y="505104"/>
                  </a:lnTo>
                  <a:lnTo>
                    <a:pt x="500164" y="516813"/>
                  </a:lnTo>
                  <a:lnTo>
                    <a:pt x="548068" y="520865"/>
                  </a:lnTo>
                  <a:close/>
                </a:path>
                <a:path w="548640" h="786765">
                  <a:moveTo>
                    <a:pt x="548081" y="267322"/>
                  </a:moveTo>
                  <a:lnTo>
                    <a:pt x="543318" y="225285"/>
                  </a:lnTo>
                  <a:lnTo>
                    <a:pt x="542632" y="219151"/>
                  </a:lnTo>
                  <a:lnTo>
                    <a:pt x="529234" y="173875"/>
                  </a:lnTo>
                  <a:lnTo>
                    <a:pt x="508622" y="132245"/>
                  </a:lnTo>
                  <a:lnTo>
                    <a:pt x="481533" y="94996"/>
                  </a:lnTo>
                  <a:lnTo>
                    <a:pt x="449376" y="63525"/>
                  </a:lnTo>
                  <a:lnTo>
                    <a:pt x="448691" y="62852"/>
                  </a:lnTo>
                  <a:lnTo>
                    <a:pt x="437134" y="54825"/>
                  </a:lnTo>
                  <a:lnTo>
                    <a:pt x="410832" y="36537"/>
                  </a:lnTo>
                  <a:lnTo>
                    <a:pt x="391096" y="27305"/>
                  </a:lnTo>
                  <a:lnTo>
                    <a:pt x="368706" y="16814"/>
                  </a:lnTo>
                  <a:lnTo>
                    <a:pt x="323037" y="4394"/>
                  </a:lnTo>
                  <a:lnTo>
                    <a:pt x="274561" y="12"/>
                  </a:lnTo>
                  <a:lnTo>
                    <a:pt x="273329" y="0"/>
                  </a:lnTo>
                  <a:lnTo>
                    <a:pt x="224980" y="4356"/>
                  </a:lnTo>
                  <a:lnTo>
                    <a:pt x="179438" y="16725"/>
                  </a:lnTo>
                  <a:lnTo>
                    <a:pt x="137401" y="36372"/>
                  </a:lnTo>
                  <a:lnTo>
                    <a:pt x="120650" y="47980"/>
                  </a:lnTo>
                  <a:lnTo>
                    <a:pt x="99618" y="62560"/>
                  </a:lnTo>
                  <a:lnTo>
                    <a:pt x="66814" y="94576"/>
                  </a:lnTo>
                  <a:lnTo>
                    <a:pt x="39687" y="131686"/>
                  </a:lnTo>
                  <a:lnTo>
                    <a:pt x="19037" y="173139"/>
                  </a:lnTo>
                  <a:lnTo>
                    <a:pt x="5562" y="218211"/>
                  </a:lnTo>
                  <a:lnTo>
                    <a:pt x="0" y="266192"/>
                  </a:lnTo>
                  <a:lnTo>
                    <a:pt x="47713" y="262178"/>
                  </a:lnTo>
                  <a:lnTo>
                    <a:pt x="92227" y="250520"/>
                  </a:lnTo>
                  <a:lnTo>
                    <a:pt x="133464" y="231927"/>
                  </a:lnTo>
                  <a:lnTo>
                    <a:pt x="155803" y="217004"/>
                  </a:lnTo>
                  <a:lnTo>
                    <a:pt x="170738" y="207048"/>
                  </a:lnTo>
                  <a:lnTo>
                    <a:pt x="203365" y="176593"/>
                  </a:lnTo>
                  <a:lnTo>
                    <a:pt x="230670" y="141211"/>
                  </a:lnTo>
                  <a:lnTo>
                    <a:pt x="251993" y="101600"/>
                  </a:lnTo>
                  <a:lnTo>
                    <a:pt x="266661" y="58407"/>
                  </a:lnTo>
                  <a:lnTo>
                    <a:pt x="273989" y="12319"/>
                  </a:lnTo>
                  <a:lnTo>
                    <a:pt x="281165" y="58585"/>
                  </a:lnTo>
                  <a:lnTo>
                    <a:pt x="295719" y="101942"/>
                  </a:lnTo>
                  <a:lnTo>
                    <a:pt x="316979" y="141744"/>
                  </a:lnTo>
                  <a:lnTo>
                    <a:pt x="344271" y="177279"/>
                  </a:lnTo>
                  <a:lnTo>
                    <a:pt x="376923" y="207873"/>
                  </a:lnTo>
                  <a:lnTo>
                    <a:pt x="414235" y="232867"/>
                  </a:lnTo>
                  <a:lnTo>
                    <a:pt x="455549" y="251548"/>
                  </a:lnTo>
                  <a:lnTo>
                    <a:pt x="500164" y="263258"/>
                  </a:lnTo>
                  <a:lnTo>
                    <a:pt x="548081" y="267322"/>
                  </a:lnTo>
                  <a:close/>
                </a:path>
              </a:pathLst>
            </a:custGeom>
            <a:solidFill>
              <a:srgbClr val="2DB7EA"/>
            </a:solidFill>
          </p:spPr>
          <p:txBody>
            <a:bodyPr wrap="square" lIns="0" tIns="0" rIns="0" bIns="0" rtlCol="0"/>
            <a:lstStyle/>
            <a:p>
              <a:endParaRPr dirty="0"/>
            </a:p>
          </p:txBody>
        </p:sp>
        <p:pic>
          <p:nvPicPr>
            <p:cNvPr id="76" name="object 74">
              <a:extLst>
                <a:ext uri="{FF2B5EF4-FFF2-40B4-BE49-F238E27FC236}">
                  <a16:creationId xmlns:a16="http://schemas.microsoft.com/office/drawing/2014/main" id="{6A260AD1-B4B3-0368-1A7B-8457393AC8F8}"/>
                </a:ext>
              </a:extLst>
            </p:cNvPr>
            <p:cNvPicPr/>
            <p:nvPr/>
          </p:nvPicPr>
          <p:blipFill>
            <a:blip r:embed="rId16" cstate="print"/>
            <a:stretch>
              <a:fillRect/>
            </a:stretch>
          </p:blipFill>
          <p:spPr>
            <a:xfrm>
              <a:off x="8096998" y="5626898"/>
              <a:ext cx="106445" cy="107156"/>
            </a:xfrm>
            <a:prstGeom prst="rect">
              <a:avLst/>
            </a:prstGeom>
          </p:spPr>
        </p:pic>
        <p:sp>
          <p:nvSpPr>
            <p:cNvPr id="77" name="object 75">
              <a:extLst>
                <a:ext uri="{FF2B5EF4-FFF2-40B4-BE49-F238E27FC236}">
                  <a16:creationId xmlns:a16="http://schemas.microsoft.com/office/drawing/2014/main" id="{1A23A83F-9457-72CD-696B-2DB5C4683C38}"/>
                </a:ext>
              </a:extLst>
            </p:cNvPr>
            <p:cNvSpPr/>
            <p:nvPr/>
          </p:nvSpPr>
          <p:spPr>
            <a:xfrm>
              <a:off x="7983731" y="5825360"/>
              <a:ext cx="332700" cy="477101"/>
            </a:xfrm>
            <a:custGeom>
              <a:avLst/>
              <a:gdLst/>
              <a:ahLst/>
              <a:cxnLst/>
              <a:rect l="l" t="t" r="r" b="b"/>
              <a:pathLst>
                <a:path w="548640" h="786765">
                  <a:moveTo>
                    <a:pt x="548068" y="786396"/>
                  </a:moveTo>
                  <a:lnTo>
                    <a:pt x="542632" y="738238"/>
                  </a:lnTo>
                  <a:lnTo>
                    <a:pt x="529234" y="692975"/>
                  </a:lnTo>
                  <a:lnTo>
                    <a:pt x="508609" y="651344"/>
                  </a:lnTo>
                  <a:lnTo>
                    <a:pt x="481520" y="614095"/>
                  </a:lnTo>
                  <a:lnTo>
                    <a:pt x="448678" y="581939"/>
                  </a:lnTo>
                  <a:lnTo>
                    <a:pt x="410819" y="555637"/>
                  </a:lnTo>
                  <a:lnTo>
                    <a:pt x="368693" y="535901"/>
                  </a:lnTo>
                  <a:lnTo>
                    <a:pt x="323024" y="523481"/>
                  </a:lnTo>
                  <a:lnTo>
                    <a:pt x="274548" y="519099"/>
                  </a:lnTo>
                  <a:lnTo>
                    <a:pt x="273329" y="519099"/>
                  </a:lnTo>
                  <a:lnTo>
                    <a:pt x="224980" y="523455"/>
                  </a:lnTo>
                  <a:lnTo>
                    <a:pt x="179438" y="535825"/>
                  </a:lnTo>
                  <a:lnTo>
                    <a:pt x="137401" y="555472"/>
                  </a:lnTo>
                  <a:lnTo>
                    <a:pt x="99618" y="581660"/>
                  </a:lnTo>
                  <a:lnTo>
                    <a:pt x="66814" y="613676"/>
                  </a:lnTo>
                  <a:lnTo>
                    <a:pt x="39725" y="650773"/>
                  </a:lnTo>
                  <a:lnTo>
                    <a:pt x="19075" y="692238"/>
                  </a:lnTo>
                  <a:lnTo>
                    <a:pt x="5600" y="737323"/>
                  </a:lnTo>
                  <a:lnTo>
                    <a:pt x="38" y="785304"/>
                  </a:lnTo>
                  <a:lnTo>
                    <a:pt x="47713" y="781278"/>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72"/>
                  </a:lnTo>
                  <a:lnTo>
                    <a:pt x="295719" y="621042"/>
                  </a:lnTo>
                  <a:lnTo>
                    <a:pt x="316979" y="660831"/>
                  </a:lnTo>
                  <a:lnTo>
                    <a:pt x="344271" y="696366"/>
                  </a:lnTo>
                  <a:lnTo>
                    <a:pt x="376923" y="726973"/>
                  </a:lnTo>
                  <a:lnTo>
                    <a:pt x="414235" y="751954"/>
                  </a:lnTo>
                  <a:lnTo>
                    <a:pt x="455536" y="770636"/>
                  </a:lnTo>
                  <a:lnTo>
                    <a:pt x="500164" y="782345"/>
                  </a:lnTo>
                  <a:lnTo>
                    <a:pt x="548068" y="786396"/>
                  </a:lnTo>
                  <a:close/>
                </a:path>
                <a:path w="548640" h="786765">
                  <a:moveTo>
                    <a:pt x="548068" y="520865"/>
                  </a:moveTo>
                  <a:lnTo>
                    <a:pt x="542632" y="472706"/>
                  </a:lnTo>
                  <a:lnTo>
                    <a:pt x="529234" y="427443"/>
                  </a:lnTo>
                  <a:lnTo>
                    <a:pt x="508609" y="385813"/>
                  </a:lnTo>
                  <a:lnTo>
                    <a:pt x="481520" y="348564"/>
                  </a:lnTo>
                  <a:lnTo>
                    <a:pt x="448678" y="316407"/>
                  </a:lnTo>
                  <a:lnTo>
                    <a:pt x="410819" y="290093"/>
                  </a:lnTo>
                  <a:lnTo>
                    <a:pt x="368693" y="270370"/>
                  </a:lnTo>
                  <a:lnTo>
                    <a:pt x="323024" y="257937"/>
                  </a:lnTo>
                  <a:lnTo>
                    <a:pt x="274548" y="253555"/>
                  </a:lnTo>
                  <a:lnTo>
                    <a:pt x="273329" y="253555"/>
                  </a:lnTo>
                  <a:lnTo>
                    <a:pt x="224980" y="257924"/>
                  </a:lnTo>
                  <a:lnTo>
                    <a:pt x="179438" y="270294"/>
                  </a:lnTo>
                  <a:lnTo>
                    <a:pt x="137401" y="289928"/>
                  </a:lnTo>
                  <a:lnTo>
                    <a:pt x="99618" y="316128"/>
                  </a:lnTo>
                  <a:lnTo>
                    <a:pt x="66814" y="348145"/>
                  </a:lnTo>
                  <a:lnTo>
                    <a:pt x="39725" y="385241"/>
                  </a:lnTo>
                  <a:lnTo>
                    <a:pt x="19075" y="426694"/>
                  </a:lnTo>
                  <a:lnTo>
                    <a:pt x="5600" y="471792"/>
                  </a:lnTo>
                  <a:lnTo>
                    <a:pt x="38" y="519772"/>
                  </a:lnTo>
                  <a:lnTo>
                    <a:pt x="47713" y="515734"/>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40"/>
                  </a:lnTo>
                  <a:lnTo>
                    <a:pt x="295719" y="355511"/>
                  </a:lnTo>
                  <a:lnTo>
                    <a:pt x="316979" y="395300"/>
                  </a:lnTo>
                  <a:lnTo>
                    <a:pt x="344271" y="430834"/>
                  </a:lnTo>
                  <a:lnTo>
                    <a:pt x="376923" y="461441"/>
                  </a:lnTo>
                  <a:lnTo>
                    <a:pt x="414235" y="486410"/>
                  </a:lnTo>
                  <a:lnTo>
                    <a:pt x="455536" y="505104"/>
                  </a:lnTo>
                  <a:lnTo>
                    <a:pt x="500164" y="516813"/>
                  </a:lnTo>
                  <a:lnTo>
                    <a:pt x="548068" y="520865"/>
                  </a:lnTo>
                  <a:close/>
                </a:path>
                <a:path w="548640" h="786765">
                  <a:moveTo>
                    <a:pt x="548081" y="267322"/>
                  </a:moveTo>
                  <a:lnTo>
                    <a:pt x="543242" y="224586"/>
                  </a:lnTo>
                  <a:lnTo>
                    <a:pt x="542632" y="219151"/>
                  </a:lnTo>
                  <a:lnTo>
                    <a:pt x="529234" y="173888"/>
                  </a:lnTo>
                  <a:lnTo>
                    <a:pt x="508622" y="132257"/>
                  </a:lnTo>
                  <a:lnTo>
                    <a:pt x="481533" y="94996"/>
                  </a:lnTo>
                  <a:lnTo>
                    <a:pt x="448691" y="62852"/>
                  </a:lnTo>
                  <a:lnTo>
                    <a:pt x="422376" y="44577"/>
                  </a:lnTo>
                  <a:lnTo>
                    <a:pt x="410832" y="36550"/>
                  </a:lnTo>
                  <a:lnTo>
                    <a:pt x="368706" y="16814"/>
                  </a:lnTo>
                  <a:lnTo>
                    <a:pt x="323037" y="4394"/>
                  </a:lnTo>
                  <a:lnTo>
                    <a:pt x="274548" y="0"/>
                  </a:lnTo>
                  <a:lnTo>
                    <a:pt x="273329" y="0"/>
                  </a:lnTo>
                  <a:lnTo>
                    <a:pt x="224980" y="4356"/>
                  </a:lnTo>
                  <a:lnTo>
                    <a:pt x="179438" y="16725"/>
                  </a:lnTo>
                  <a:lnTo>
                    <a:pt x="137401" y="36372"/>
                  </a:lnTo>
                  <a:lnTo>
                    <a:pt x="120675" y="47967"/>
                  </a:lnTo>
                  <a:lnTo>
                    <a:pt x="99618" y="62572"/>
                  </a:lnTo>
                  <a:lnTo>
                    <a:pt x="66814" y="94576"/>
                  </a:lnTo>
                  <a:lnTo>
                    <a:pt x="39687" y="131686"/>
                  </a:lnTo>
                  <a:lnTo>
                    <a:pt x="19037" y="173139"/>
                  </a:lnTo>
                  <a:lnTo>
                    <a:pt x="5562" y="218224"/>
                  </a:lnTo>
                  <a:lnTo>
                    <a:pt x="0" y="266192"/>
                  </a:lnTo>
                  <a:lnTo>
                    <a:pt x="47713" y="262178"/>
                  </a:lnTo>
                  <a:lnTo>
                    <a:pt x="92227" y="250532"/>
                  </a:lnTo>
                  <a:lnTo>
                    <a:pt x="133464" y="231927"/>
                  </a:lnTo>
                  <a:lnTo>
                    <a:pt x="170726" y="207060"/>
                  </a:lnTo>
                  <a:lnTo>
                    <a:pt x="172897" y="205041"/>
                  </a:lnTo>
                  <a:lnTo>
                    <a:pt x="203365" y="176593"/>
                  </a:lnTo>
                  <a:lnTo>
                    <a:pt x="230670" y="141224"/>
                  </a:lnTo>
                  <a:lnTo>
                    <a:pt x="251993" y="101600"/>
                  </a:lnTo>
                  <a:lnTo>
                    <a:pt x="266661" y="58407"/>
                  </a:lnTo>
                  <a:lnTo>
                    <a:pt x="273989" y="12331"/>
                  </a:lnTo>
                  <a:lnTo>
                    <a:pt x="281165" y="58585"/>
                  </a:lnTo>
                  <a:lnTo>
                    <a:pt x="295719" y="101955"/>
                  </a:lnTo>
                  <a:lnTo>
                    <a:pt x="316979" y="141744"/>
                  </a:lnTo>
                  <a:lnTo>
                    <a:pt x="344271" y="177279"/>
                  </a:lnTo>
                  <a:lnTo>
                    <a:pt x="360070" y="192087"/>
                  </a:lnTo>
                  <a:lnTo>
                    <a:pt x="376923" y="207886"/>
                  </a:lnTo>
                  <a:lnTo>
                    <a:pt x="414235" y="232867"/>
                  </a:lnTo>
                  <a:lnTo>
                    <a:pt x="455549" y="251561"/>
                  </a:lnTo>
                  <a:lnTo>
                    <a:pt x="500164" y="263271"/>
                  </a:lnTo>
                  <a:lnTo>
                    <a:pt x="548081" y="267322"/>
                  </a:lnTo>
                  <a:close/>
                </a:path>
              </a:pathLst>
            </a:custGeom>
            <a:solidFill>
              <a:srgbClr val="7ED3F1"/>
            </a:solidFill>
          </p:spPr>
          <p:txBody>
            <a:bodyPr wrap="square" lIns="0" tIns="0" rIns="0" bIns="0" rtlCol="0"/>
            <a:lstStyle/>
            <a:p>
              <a:endParaRPr dirty="0"/>
            </a:p>
          </p:txBody>
        </p:sp>
        <p:pic>
          <p:nvPicPr>
            <p:cNvPr id="78" name="object 76">
              <a:extLst>
                <a:ext uri="{FF2B5EF4-FFF2-40B4-BE49-F238E27FC236}">
                  <a16:creationId xmlns:a16="http://schemas.microsoft.com/office/drawing/2014/main" id="{F3998477-21A0-88E4-F6F5-E46C382C8417}"/>
                </a:ext>
              </a:extLst>
            </p:cNvPr>
            <p:cNvPicPr/>
            <p:nvPr/>
          </p:nvPicPr>
          <p:blipFill>
            <a:blip r:embed="rId17" cstate="print"/>
            <a:stretch>
              <a:fillRect/>
            </a:stretch>
          </p:blipFill>
          <p:spPr>
            <a:xfrm>
              <a:off x="8096998" y="6281064"/>
              <a:ext cx="106445" cy="107156"/>
            </a:xfrm>
            <a:prstGeom prst="rect">
              <a:avLst/>
            </a:prstGeom>
          </p:spPr>
        </p:pic>
        <p:sp>
          <p:nvSpPr>
            <p:cNvPr id="79" name="object 77">
              <a:extLst>
                <a:ext uri="{FF2B5EF4-FFF2-40B4-BE49-F238E27FC236}">
                  <a16:creationId xmlns:a16="http://schemas.microsoft.com/office/drawing/2014/main" id="{694F2911-A6B7-50C8-2532-5805EBAD2840}"/>
                </a:ext>
              </a:extLst>
            </p:cNvPr>
            <p:cNvSpPr/>
            <p:nvPr/>
          </p:nvSpPr>
          <p:spPr>
            <a:xfrm>
              <a:off x="9138939" y="6037749"/>
              <a:ext cx="332700" cy="477101"/>
            </a:xfrm>
            <a:custGeom>
              <a:avLst/>
              <a:gdLst/>
              <a:ahLst/>
              <a:cxnLst/>
              <a:rect l="l" t="t" r="r" b="b"/>
              <a:pathLst>
                <a:path w="548640" h="786765">
                  <a:moveTo>
                    <a:pt x="548081" y="520179"/>
                  </a:moveTo>
                  <a:lnTo>
                    <a:pt x="500367" y="524217"/>
                  </a:lnTo>
                  <a:lnTo>
                    <a:pt x="455841" y="535876"/>
                  </a:lnTo>
                  <a:lnTo>
                    <a:pt x="414616" y="554469"/>
                  </a:lnTo>
                  <a:lnTo>
                    <a:pt x="402221" y="562749"/>
                  </a:lnTo>
                  <a:lnTo>
                    <a:pt x="377355" y="579348"/>
                  </a:lnTo>
                  <a:lnTo>
                    <a:pt x="344728" y="609803"/>
                  </a:lnTo>
                  <a:lnTo>
                    <a:pt x="317411" y="645172"/>
                  </a:lnTo>
                  <a:lnTo>
                    <a:pt x="296087" y="684796"/>
                  </a:lnTo>
                  <a:lnTo>
                    <a:pt x="281419" y="727989"/>
                  </a:lnTo>
                  <a:lnTo>
                    <a:pt x="274078" y="774039"/>
                  </a:lnTo>
                  <a:lnTo>
                    <a:pt x="268224" y="736307"/>
                  </a:lnTo>
                  <a:lnTo>
                    <a:pt x="266915" y="727824"/>
                  </a:lnTo>
                  <a:lnTo>
                    <a:pt x="252361" y="684453"/>
                  </a:lnTo>
                  <a:lnTo>
                    <a:pt x="244944" y="670598"/>
                  </a:lnTo>
                  <a:lnTo>
                    <a:pt x="231101"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38"/>
                  </a:lnTo>
                  <a:lnTo>
                    <a:pt x="66548" y="691400"/>
                  </a:lnTo>
                  <a:lnTo>
                    <a:pt x="99390" y="723544"/>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5">
                  <a:moveTo>
                    <a:pt x="548081" y="266611"/>
                  </a:moveTo>
                  <a:lnTo>
                    <a:pt x="500367" y="270649"/>
                  </a:lnTo>
                  <a:lnTo>
                    <a:pt x="455841" y="282308"/>
                  </a:lnTo>
                  <a:lnTo>
                    <a:pt x="414616" y="300901"/>
                  </a:lnTo>
                  <a:lnTo>
                    <a:pt x="377355" y="325780"/>
                  </a:lnTo>
                  <a:lnTo>
                    <a:pt x="344728" y="356235"/>
                  </a:lnTo>
                  <a:lnTo>
                    <a:pt x="317411" y="391629"/>
                  </a:lnTo>
                  <a:lnTo>
                    <a:pt x="296087" y="431253"/>
                  </a:lnTo>
                  <a:lnTo>
                    <a:pt x="281419" y="474446"/>
                  </a:lnTo>
                  <a:lnTo>
                    <a:pt x="274091" y="520534"/>
                  </a:lnTo>
                  <a:lnTo>
                    <a:pt x="266915" y="474256"/>
                  </a:lnTo>
                  <a:lnTo>
                    <a:pt x="252361" y="430885"/>
                  </a:lnTo>
                  <a:lnTo>
                    <a:pt x="231101" y="391096"/>
                  </a:lnTo>
                  <a:lnTo>
                    <a:pt x="203796" y="355561"/>
                  </a:lnTo>
                  <a:lnTo>
                    <a:pt x="171157" y="324954"/>
                  </a:lnTo>
                  <a:lnTo>
                    <a:pt x="133845" y="299986"/>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87" y="516026"/>
                  </a:lnTo>
                  <a:lnTo>
                    <a:pt x="225056" y="528459"/>
                  </a:lnTo>
                  <a:lnTo>
                    <a:pt x="273532" y="532841"/>
                  </a:lnTo>
                  <a:lnTo>
                    <a:pt x="274751" y="532841"/>
                  </a:lnTo>
                  <a:lnTo>
                    <a:pt x="323088" y="528472"/>
                  </a:lnTo>
                  <a:lnTo>
                    <a:pt x="368642" y="516102"/>
                  </a:lnTo>
                  <a:lnTo>
                    <a:pt x="410679" y="496468"/>
                  </a:lnTo>
                  <a:lnTo>
                    <a:pt x="448475" y="470268"/>
                  </a:lnTo>
                  <a:lnTo>
                    <a:pt x="481279" y="438251"/>
                  </a:lnTo>
                  <a:lnTo>
                    <a:pt x="508368" y="401154"/>
                  </a:lnTo>
                  <a:lnTo>
                    <a:pt x="529031" y="359689"/>
                  </a:lnTo>
                  <a:lnTo>
                    <a:pt x="542505" y="314604"/>
                  </a:lnTo>
                  <a:lnTo>
                    <a:pt x="548081" y="266611"/>
                  </a:lnTo>
                  <a:close/>
                </a:path>
                <a:path w="548640" h="786765">
                  <a:moveTo>
                    <a:pt x="548081" y="1092"/>
                  </a:moveTo>
                  <a:lnTo>
                    <a:pt x="500367" y="5130"/>
                  </a:lnTo>
                  <a:lnTo>
                    <a:pt x="455841" y="16789"/>
                  </a:lnTo>
                  <a:lnTo>
                    <a:pt x="414616" y="35382"/>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87" y="250507"/>
                  </a:lnTo>
                  <a:lnTo>
                    <a:pt x="225056" y="262928"/>
                  </a:lnTo>
                  <a:lnTo>
                    <a:pt x="273532" y="267309"/>
                  </a:lnTo>
                  <a:lnTo>
                    <a:pt x="274751" y="267309"/>
                  </a:lnTo>
                  <a:lnTo>
                    <a:pt x="323088" y="262953"/>
                  </a:lnTo>
                  <a:lnTo>
                    <a:pt x="368642" y="250583"/>
                  </a:lnTo>
                  <a:lnTo>
                    <a:pt x="410679" y="230936"/>
                  </a:lnTo>
                  <a:lnTo>
                    <a:pt x="448475" y="204749"/>
                  </a:lnTo>
                  <a:lnTo>
                    <a:pt x="481279" y="172732"/>
                  </a:lnTo>
                  <a:lnTo>
                    <a:pt x="508368" y="135623"/>
                  </a:lnTo>
                  <a:lnTo>
                    <a:pt x="529031" y="94170"/>
                  </a:lnTo>
                  <a:lnTo>
                    <a:pt x="542505" y="49085"/>
                  </a:lnTo>
                  <a:lnTo>
                    <a:pt x="548081" y="1092"/>
                  </a:lnTo>
                  <a:close/>
                </a:path>
              </a:pathLst>
            </a:custGeom>
            <a:solidFill>
              <a:srgbClr val="2DB7EA"/>
            </a:solidFill>
          </p:spPr>
          <p:txBody>
            <a:bodyPr wrap="square" lIns="0" tIns="0" rIns="0" bIns="0" rtlCol="0"/>
            <a:lstStyle/>
            <a:p>
              <a:endParaRPr dirty="0"/>
            </a:p>
          </p:txBody>
        </p:sp>
        <p:pic>
          <p:nvPicPr>
            <p:cNvPr id="80" name="object 78">
              <a:extLst>
                <a:ext uri="{FF2B5EF4-FFF2-40B4-BE49-F238E27FC236}">
                  <a16:creationId xmlns:a16="http://schemas.microsoft.com/office/drawing/2014/main" id="{1EF9F6D5-A7BB-8DB8-58D8-917DC0F4BA1A}"/>
                </a:ext>
              </a:extLst>
            </p:cNvPr>
            <p:cNvPicPr/>
            <p:nvPr/>
          </p:nvPicPr>
          <p:blipFill>
            <a:blip r:embed="rId10" cstate="print"/>
            <a:stretch>
              <a:fillRect/>
            </a:stretch>
          </p:blipFill>
          <p:spPr>
            <a:xfrm>
              <a:off x="9251594" y="5951762"/>
              <a:ext cx="106445" cy="107156"/>
            </a:xfrm>
            <a:prstGeom prst="rect">
              <a:avLst/>
            </a:prstGeom>
          </p:spPr>
        </p:pic>
        <p:sp>
          <p:nvSpPr>
            <p:cNvPr id="81" name="object 79">
              <a:extLst>
                <a:ext uri="{FF2B5EF4-FFF2-40B4-BE49-F238E27FC236}">
                  <a16:creationId xmlns:a16="http://schemas.microsoft.com/office/drawing/2014/main" id="{0AE0ECD0-B98E-9586-2BCB-41F30B1ED545}"/>
                </a:ext>
              </a:extLst>
            </p:cNvPr>
            <p:cNvSpPr/>
            <p:nvPr/>
          </p:nvSpPr>
          <p:spPr>
            <a:xfrm>
              <a:off x="9138939" y="5383587"/>
              <a:ext cx="332700" cy="477101"/>
            </a:xfrm>
            <a:custGeom>
              <a:avLst/>
              <a:gdLst/>
              <a:ahLst/>
              <a:cxnLst/>
              <a:rect l="l" t="t" r="r" b="b"/>
              <a:pathLst>
                <a:path w="548640" h="786765">
                  <a:moveTo>
                    <a:pt x="548081" y="520179"/>
                  </a:moveTo>
                  <a:lnTo>
                    <a:pt x="500367" y="524217"/>
                  </a:lnTo>
                  <a:lnTo>
                    <a:pt x="455841" y="535876"/>
                  </a:lnTo>
                  <a:lnTo>
                    <a:pt x="414616" y="554469"/>
                  </a:lnTo>
                  <a:lnTo>
                    <a:pt x="402209" y="562749"/>
                  </a:lnTo>
                  <a:lnTo>
                    <a:pt x="377355" y="579335"/>
                  </a:lnTo>
                  <a:lnTo>
                    <a:pt x="344716" y="609790"/>
                  </a:lnTo>
                  <a:lnTo>
                    <a:pt x="317411" y="645172"/>
                  </a:lnTo>
                  <a:lnTo>
                    <a:pt x="296087" y="684796"/>
                  </a:lnTo>
                  <a:lnTo>
                    <a:pt x="281419" y="727976"/>
                  </a:lnTo>
                  <a:lnTo>
                    <a:pt x="274078" y="774039"/>
                  </a:lnTo>
                  <a:lnTo>
                    <a:pt x="266915" y="727811"/>
                  </a:lnTo>
                  <a:lnTo>
                    <a:pt x="252361" y="684441"/>
                  </a:lnTo>
                  <a:lnTo>
                    <a:pt x="231101" y="644652"/>
                  </a:lnTo>
                  <a:lnTo>
                    <a:pt x="203796" y="609117"/>
                  </a:lnTo>
                  <a:lnTo>
                    <a:pt x="171157" y="578523"/>
                  </a:lnTo>
                  <a:lnTo>
                    <a:pt x="133845" y="553542"/>
                  </a:lnTo>
                  <a:lnTo>
                    <a:pt x="92532" y="534847"/>
                  </a:lnTo>
                  <a:lnTo>
                    <a:pt x="47917" y="523125"/>
                  </a:lnTo>
                  <a:lnTo>
                    <a:pt x="0" y="519061"/>
                  </a:lnTo>
                  <a:lnTo>
                    <a:pt x="5448" y="567258"/>
                  </a:lnTo>
                  <a:lnTo>
                    <a:pt x="18846" y="612508"/>
                  </a:lnTo>
                  <a:lnTo>
                    <a:pt x="39458" y="654138"/>
                  </a:lnTo>
                  <a:lnTo>
                    <a:pt x="66548" y="691388"/>
                  </a:lnTo>
                  <a:lnTo>
                    <a:pt x="67246" y="692073"/>
                  </a:lnTo>
                  <a:lnTo>
                    <a:pt x="99390" y="723544"/>
                  </a:lnTo>
                  <a:lnTo>
                    <a:pt x="137248" y="749858"/>
                  </a:lnTo>
                  <a:lnTo>
                    <a:pt x="179387" y="769594"/>
                  </a:lnTo>
                  <a:lnTo>
                    <a:pt x="225056" y="782015"/>
                  </a:lnTo>
                  <a:lnTo>
                    <a:pt x="273532" y="786396"/>
                  </a:lnTo>
                  <a:lnTo>
                    <a:pt x="274751" y="786396"/>
                  </a:lnTo>
                  <a:lnTo>
                    <a:pt x="323088" y="782027"/>
                  </a:lnTo>
                  <a:lnTo>
                    <a:pt x="368642" y="769670"/>
                  </a:lnTo>
                  <a:lnTo>
                    <a:pt x="410679" y="750023"/>
                  </a:lnTo>
                  <a:lnTo>
                    <a:pt x="448475" y="723823"/>
                  </a:lnTo>
                  <a:lnTo>
                    <a:pt x="481279" y="691819"/>
                  </a:lnTo>
                  <a:lnTo>
                    <a:pt x="488492" y="681939"/>
                  </a:lnTo>
                  <a:lnTo>
                    <a:pt x="508393" y="654697"/>
                  </a:lnTo>
                  <a:lnTo>
                    <a:pt x="529031" y="613257"/>
                  </a:lnTo>
                  <a:lnTo>
                    <a:pt x="542518" y="568172"/>
                  </a:lnTo>
                  <a:lnTo>
                    <a:pt x="548068" y="520204"/>
                  </a:lnTo>
                  <a:close/>
                </a:path>
                <a:path w="548640" h="786765">
                  <a:moveTo>
                    <a:pt x="548081" y="266623"/>
                  </a:moveTo>
                  <a:lnTo>
                    <a:pt x="500367" y="270649"/>
                  </a:lnTo>
                  <a:lnTo>
                    <a:pt x="455841" y="282308"/>
                  </a:lnTo>
                  <a:lnTo>
                    <a:pt x="414616" y="300913"/>
                  </a:lnTo>
                  <a:lnTo>
                    <a:pt x="377355" y="325780"/>
                  </a:lnTo>
                  <a:lnTo>
                    <a:pt x="344728" y="356235"/>
                  </a:lnTo>
                  <a:lnTo>
                    <a:pt x="317411" y="391617"/>
                  </a:lnTo>
                  <a:lnTo>
                    <a:pt x="296087" y="431241"/>
                  </a:lnTo>
                  <a:lnTo>
                    <a:pt x="281419" y="474446"/>
                  </a:lnTo>
                  <a:lnTo>
                    <a:pt x="274091" y="520522"/>
                  </a:lnTo>
                  <a:lnTo>
                    <a:pt x="266915" y="474256"/>
                  </a:lnTo>
                  <a:lnTo>
                    <a:pt x="252361" y="430885"/>
                  </a:lnTo>
                  <a:lnTo>
                    <a:pt x="231101"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76"/>
                  </a:lnTo>
                  <a:lnTo>
                    <a:pt x="137248" y="496290"/>
                  </a:lnTo>
                  <a:lnTo>
                    <a:pt x="179387" y="516026"/>
                  </a:lnTo>
                  <a:lnTo>
                    <a:pt x="225056" y="528447"/>
                  </a:lnTo>
                  <a:lnTo>
                    <a:pt x="273532" y="532828"/>
                  </a:lnTo>
                  <a:lnTo>
                    <a:pt x="274751" y="532828"/>
                  </a:lnTo>
                  <a:lnTo>
                    <a:pt x="323088" y="528472"/>
                  </a:lnTo>
                  <a:lnTo>
                    <a:pt x="368642" y="516102"/>
                  </a:lnTo>
                  <a:lnTo>
                    <a:pt x="410679" y="496455"/>
                  </a:lnTo>
                  <a:lnTo>
                    <a:pt x="448475" y="470268"/>
                  </a:lnTo>
                  <a:lnTo>
                    <a:pt x="481279" y="438251"/>
                  </a:lnTo>
                  <a:lnTo>
                    <a:pt x="508368" y="401154"/>
                  </a:lnTo>
                  <a:lnTo>
                    <a:pt x="529031" y="359689"/>
                  </a:lnTo>
                  <a:lnTo>
                    <a:pt x="542505" y="314604"/>
                  </a:lnTo>
                  <a:lnTo>
                    <a:pt x="548081" y="266623"/>
                  </a:lnTo>
                  <a:close/>
                </a:path>
                <a:path w="548640" h="786765">
                  <a:moveTo>
                    <a:pt x="548081" y="1079"/>
                  </a:moveTo>
                  <a:lnTo>
                    <a:pt x="500367" y="5118"/>
                  </a:lnTo>
                  <a:lnTo>
                    <a:pt x="455841" y="16764"/>
                  </a:lnTo>
                  <a:lnTo>
                    <a:pt x="414616" y="35369"/>
                  </a:lnTo>
                  <a:lnTo>
                    <a:pt x="377355" y="60236"/>
                  </a:lnTo>
                  <a:lnTo>
                    <a:pt x="344728" y="90703"/>
                  </a:lnTo>
                  <a:lnTo>
                    <a:pt x="317411" y="126085"/>
                  </a:lnTo>
                  <a:lnTo>
                    <a:pt x="296087" y="165722"/>
                  </a:lnTo>
                  <a:lnTo>
                    <a:pt x="281419" y="208915"/>
                  </a:lnTo>
                  <a:lnTo>
                    <a:pt x="274091" y="255003"/>
                  </a:lnTo>
                  <a:lnTo>
                    <a:pt x="266915" y="208724"/>
                  </a:lnTo>
                  <a:lnTo>
                    <a:pt x="252361" y="165354"/>
                  </a:lnTo>
                  <a:lnTo>
                    <a:pt x="231101"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36"/>
                  </a:lnTo>
                  <a:lnTo>
                    <a:pt x="481279" y="172720"/>
                  </a:lnTo>
                  <a:lnTo>
                    <a:pt x="508368" y="135623"/>
                  </a:lnTo>
                  <a:lnTo>
                    <a:pt x="529031" y="94157"/>
                  </a:lnTo>
                  <a:lnTo>
                    <a:pt x="542505" y="49072"/>
                  </a:lnTo>
                  <a:lnTo>
                    <a:pt x="548081" y="1079"/>
                  </a:lnTo>
                  <a:close/>
                </a:path>
              </a:pathLst>
            </a:custGeom>
            <a:solidFill>
              <a:srgbClr val="7ED3F1"/>
            </a:solidFill>
          </p:spPr>
          <p:txBody>
            <a:bodyPr wrap="square" lIns="0" tIns="0" rIns="0" bIns="0" rtlCol="0"/>
            <a:lstStyle/>
            <a:p>
              <a:endParaRPr dirty="0"/>
            </a:p>
          </p:txBody>
        </p:sp>
        <p:pic>
          <p:nvPicPr>
            <p:cNvPr id="82" name="object 80">
              <a:extLst>
                <a:ext uri="{FF2B5EF4-FFF2-40B4-BE49-F238E27FC236}">
                  <a16:creationId xmlns:a16="http://schemas.microsoft.com/office/drawing/2014/main" id="{4C22D238-01E7-4AFC-0708-55F253703F0E}"/>
                </a:ext>
              </a:extLst>
            </p:cNvPr>
            <p:cNvPicPr/>
            <p:nvPr/>
          </p:nvPicPr>
          <p:blipFill>
            <a:blip r:embed="rId11" cstate="print"/>
            <a:stretch>
              <a:fillRect/>
            </a:stretch>
          </p:blipFill>
          <p:spPr>
            <a:xfrm>
              <a:off x="9251594" y="5297596"/>
              <a:ext cx="106445" cy="107156"/>
            </a:xfrm>
            <a:prstGeom prst="rect">
              <a:avLst/>
            </a:prstGeom>
          </p:spPr>
        </p:pic>
        <p:sp>
          <p:nvSpPr>
            <p:cNvPr id="83" name="object 81">
              <a:extLst>
                <a:ext uri="{FF2B5EF4-FFF2-40B4-BE49-F238E27FC236}">
                  <a16:creationId xmlns:a16="http://schemas.microsoft.com/office/drawing/2014/main" id="{B85EBF18-A33C-0AA9-8F38-D542F1CF429E}"/>
                </a:ext>
              </a:extLst>
            </p:cNvPr>
            <p:cNvSpPr/>
            <p:nvPr/>
          </p:nvSpPr>
          <p:spPr>
            <a:xfrm>
              <a:off x="9138939" y="6691912"/>
              <a:ext cx="332700" cy="165965"/>
            </a:xfrm>
            <a:custGeom>
              <a:avLst/>
              <a:gdLst/>
              <a:ahLst/>
              <a:cxnLst/>
              <a:rect l="l" t="t" r="r" b="b"/>
              <a:pathLst>
                <a:path w="548640" h="273684">
                  <a:moveTo>
                    <a:pt x="62572" y="273431"/>
                  </a:moveTo>
                  <a:lnTo>
                    <a:pt x="47917" y="269595"/>
                  </a:lnTo>
                  <a:lnTo>
                    <a:pt x="0" y="265544"/>
                  </a:lnTo>
                  <a:lnTo>
                    <a:pt x="901" y="273431"/>
                  </a:lnTo>
                  <a:lnTo>
                    <a:pt x="62572" y="273431"/>
                  </a:lnTo>
                  <a:close/>
                </a:path>
                <a:path w="548640" h="273684">
                  <a:moveTo>
                    <a:pt x="548081" y="266623"/>
                  </a:moveTo>
                  <a:lnTo>
                    <a:pt x="500367" y="270649"/>
                  </a:lnTo>
                  <a:lnTo>
                    <a:pt x="489737" y="273431"/>
                  </a:lnTo>
                  <a:lnTo>
                    <a:pt x="547293" y="273431"/>
                  </a:lnTo>
                  <a:lnTo>
                    <a:pt x="548081" y="266623"/>
                  </a:lnTo>
                  <a:close/>
                </a:path>
                <a:path w="548640" h="273684">
                  <a:moveTo>
                    <a:pt x="548081" y="1079"/>
                  </a:moveTo>
                  <a:lnTo>
                    <a:pt x="500367" y="5118"/>
                  </a:lnTo>
                  <a:lnTo>
                    <a:pt x="455841" y="16776"/>
                  </a:lnTo>
                  <a:lnTo>
                    <a:pt x="414616" y="35382"/>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73"/>
                  </a:lnTo>
                  <a:lnTo>
                    <a:pt x="47917" y="4064"/>
                  </a:lnTo>
                  <a:lnTo>
                    <a:pt x="0" y="0"/>
                  </a:lnTo>
                  <a:lnTo>
                    <a:pt x="5448" y="48171"/>
                  </a:lnTo>
                  <a:lnTo>
                    <a:pt x="18846" y="93421"/>
                  </a:lnTo>
                  <a:lnTo>
                    <a:pt x="39458" y="135051"/>
                  </a:lnTo>
                  <a:lnTo>
                    <a:pt x="66560" y="172313"/>
                  </a:lnTo>
                  <a:lnTo>
                    <a:pt x="99402" y="204457"/>
                  </a:lnTo>
                  <a:lnTo>
                    <a:pt x="137248" y="230771"/>
                  </a:lnTo>
                  <a:lnTo>
                    <a:pt x="179387" y="250507"/>
                  </a:lnTo>
                  <a:lnTo>
                    <a:pt x="225056" y="262928"/>
                  </a:lnTo>
                  <a:lnTo>
                    <a:pt x="273532" y="267309"/>
                  </a:lnTo>
                  <a:lnTo>
                    <a:pt x="274751" y="267309"/>
                  </a:lnTo>
                  <a:lnTo>
                    <a:pt x="323088" y="262940"/>
                  </a:lnTo>
                  <a:lnTo>
                    <a:pt x="368642" y="250583"/>
                  </a:lnTo>
                  <a:lnTo>
                    <a:pt x="410679" y="230936"/>
                  </a:lnTo>
                  <a:lnTo>
                    <a:pt x="448475" y="204736"/>
                  </a:lnTo>
                  <a:lnTo>
                    <a:pt x="481279" y="172720"/>
                  </a:lnTo>
                  <a:lnTo>
                    <a:pt x="508368" y="135623"/>
                  </a:lnTo>
                  <a:lnTo>
                    <a:pt x="529031" y="94157"/>
                  </a:lnTo>
                  <a:lnTo>
                    <a:pt x="542505" y="49072"/>
                  </a:lnTo>
                  <a:lnTo>
                    <a:pt x="548081" y="1079"/>
                  </a:lnTo>
                  <a:close/>
                </a:path>
              </a:pathLst>
            </a:custGeom>
            <a:solidFill>
              <a:srgbClr val="7ED3F1"/>
            </a:solidFill>
          </p:spPr>
          <p:txBody>
            <a:bodyPr wrap="square" lIns="0" tIns="0" rIns="0" bIns="0" rtlCol="0"/>
            <a:lstStyle/>
            <a:p>
              <a:endParaRPr dirty="0"/>
            </a:p>
          </p:txBody>
        </p:sp>
        <p:pic>
          <p:nvPicPr>
            <p:cNvPr id="84" name="object 82">
              <a:extLst>
                <a:ext uri="{FF2B5EF4-FFF2-40B4-BE49-F238E27FC236}">
                  <a16:creationId xmlns:a16="http://schemas.microsoft.com/office/drawing/2014/main" id="{659E30E9-43BA-AD50-911E-FAA31985B0DF}"/>
                </a:ext>
              </a:extLst>
            </p:cNvPr>
            <p:cNvPicPr/>
            <p:nvPr/>
          </p:nvPicPr>
          <p:blipFill>
            <a:blip r:embed="rId11" cstate="print"/>
            <a:stretch>
              <a:fillRect/>
            </a:stretch>
          </p:blipFill>
          <p:spPr>
            <a:xfrm>
              <a:off x="9251594" y="6605926"/>
              <a:ext cx="106445" cy="107156"/>
            </a:xfrm>
            <a:prstGeom prst="rect">
              <a:avLst/>
            </a:prstGeom>
          </p:spPr>
        </p:pic>
        <p:sp>
          <p:nvSpPr>
            <p:cNvPr id="85" name="object 83">
              <a:extLst>
                <a:ext uri="{FF2B5EF4-FFF2-40B4-BE49-F238E27FC236}">
                  <a16:creationId xmlns:a16="http://schemas.microsoft.com/office/drawing/2014/main" id="{77CE04BA-76D3-41B1-93CA-FAC55F4E5527}"/>
                </a:ext>
              </a:extLst>
            </p:cNvPr>
            <p:cNvSpPr/>
            <p:nvPr/>
          </p:nvSpPr>
          <p:spPr>
            <a:xfrm>
              <a:off x="8753854" y="6479532"/>
              <a:ext cx="332700" cy="316141"/>
            </a:xfrm>
            <a:custGeom>
              <a:avLst/>
              <a:gdLst/>
              <a:ahLst/>
              <a:cxnLst/>
              <a:rect l="l" t="t" r="r" b="b"/>
              <a:pathLst>
                <a:path w="548640" h="521334">
                  <a:moveTo>
                    <a:pt x="548081" y="520852"/>
                  </a:moveTo>
                  <a:lnTo>
                    <a:pt x="542645" y="472694"/>
                  </a:lnTo>
                  <a:lnTo>
                    <a:pt x="529247" y="427431"/>
                  </a:lnTo>
                  <a:lnTo>
                    <a:pt x="508622" y="385800"/>
                  </a:lnTo>
                  <a:lnTo>
                    <a:pt x="481533" y="348551"/>
                  </a:lnTo>
                  <a:lnTo>
                    <a:pt x="448691" y="316395"/>
                  </a:lnTo>
                  <a:lnTo>
                    <a:pt x="410832" y="290093"/>
                  </a:lnTo>
                  <a:lnTo>
                    <a:pt x="368706" y="270357"/>
                  </a:lnTo>
                  <a:lnTo>
                    <a:pt x="323037" y="257924"/>
                  </a:lnTo>
                  <a:lnTo>
                    <a:pt x="274561" y="253555"/>
                  </a:lnTo>
                  <a:lnTo>
                    <a:pt x="273342" y="253555"/>
                  </a:lnTo>
                  <a:lnTo>
                    <a:pt x="224993" y="257911"/>
                  </a:lnTo>
                  <a:lnTo>
                    <a:pt x="179438" y="270281"/>
                  </a:lnTo>
                  <a:lnTo>
                    <a:pt x="137414" y="289915"/>
                  </a:lnTo>
                  <a:lnTo>
                    <a:pt x="99618" y="316115"/>
                  </a:lnTo>
                  <a:lnTo>
                    <a:pt x="66827" y="348132"/>
                  </a:lnTo>
                  <a:lnTo>
                    <a:pt x="39738" y="385229"/>
                  </a:lnTo>
                  <a:lnTo>
                    <a:pt x="19088" y="426694"/>
                  </a:lnTo>
                  <a:lnTo>
                    <a:pt x="5613" y="471792"/>
                  </a:lnTo>
                  <a:lnTo>
                    <a:pt x="50" y="519772"/>
                  </a:lnTo>
                  <a:lnTo>
                    <a:pt x="47713" y="515747"/>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27"/>
                  </a:lnTo>
                  <a:lnTo>
                    <a:pt x="295732" y="355498"/>
                  </a:lnTo>
                  <a:lnTo>
                    <a:pt x="316992" y="395300"/>
                  </a:lnTo>
                  <a:lnTo>
                    <a:pt x="344284" y="430834"/>
                  </a:lnTo>
                  <a:lnTo>
                    <a:pt x="376936" y="461429"/>
                  </a:lnTo>
                  <a:lnTo>
                    <a:pt x="414248" y="486410"/>
                  </a:lnTo>
                  <a:lnTo>
                    <a:pt x="455549" y="505091"/>
                  </a:lnTo>
                  <a:lnTo>
                    <a:pt x="500176" y="516801"/>
                  </a:lnTo>
                  <a:lnTo>
                    <a:pt x="548081" y="520852"/>
                  </a:lnTo>
                  <a:close/>
                </a:path>
                <a:path w="548640" h="521334">
                  <a:moveTo>
                    <a:pt x="548093" y="267322"/>
                  </a:moveTo>
                  <a:lnTo>
                    <a:pt x="542645" y="219138"/>
                  </a:lnTo>
                  <a:lnTo>
                    <a:pt x="529247" y="173875"/>
                  </a:lnTo>
                  <a:lnTo>
                    <a:pt x="508635" y="132245"/>
                  </a:lnTo>
                  <a:lnTo>
                    <a:pt x="481533" y="94996"/>
                  </a:lnTo>
                  <a:lnTo>
                    <a:pt x="448691" y="62839"/>
                  </a:lnTo>
                  <a:lnTo>
                    <a:pt x="410845" y="36537"/>
                  </a:lnTo>
                  <a:lnTo>
                    <a:pt x="368719" y="16814"/>
                  </a:lnTo>
                  <a:lnTo>
                    <a:pt x="323037" y="4368"/>
                  </a:lnTo>
                  <a:lnTo>
                    <a:pt x="274574" y="12"/>
                  </a:lnTo>
                  <a:lnTo>
                    <a:pt x="273342" y="0"/>
                  </a:lnTo>
                  <a:lnTo>
                    <a:pt x="224993" y="4356"/>
                  </a:lnTo>
                  <a:lnTo>
                    <a:pt x="179438" y="16713"/>
                  </a:lnTo>
                  <a:lnTo>
                    <a:pt x="137414" y="36360"/>
                  </a:lnTo>
                  <a:lnTo>
                    <a:pt x="99618" y="62560"/>
                  </a:lnTo>
                  <a:lnTo>
                    <a:pt x="98806" y="63347"/>
                  </a:lnTo>
                  <a:lnTo>
                    <a:pt x="66827" y="94576"/>
                  </a:lnTo>
                  <a:lnTo>
                    <a:pt x="39700" y="131686"/>
                  </a:lnTo>
                  <a:lnTo>
                    <a:pt x="19050" y="173139"/>
                  </a:lnTo>
                  <a:lnTo>
                    <a:pt x="5575" y="218211"/>
                  </a:lnTo>
                  <a:lnTo>
                    <a:pt x="0" y="266192"/>
                  </a:lnTo>
                  <a:lnTo>
                    <a:pt x="47713" y="262178"/>
                  </a:lnTo>
                  <a:lnTo>
                    <a:pt x="92240" y="250520"/>
                  </a:lnTo>
                  <a:lnTo>
                    <a:pt x="133477" y="231914"/>
                  </a:lnTo>
                  <a:lnTo>
                    <a:pt x="170751" y="207048"/>
                  </a:lnTo>
                  <a:lnTo>
                    <a:pt x="203377" y="176593"/>
                  </a:lnTo>
                  <a:lnTo>
                    <a:pt x="230682" y="141211"/>
                  </a:lnTo>
                  <a:lnTo>
                    <a:pt x="252006" y="101600"/>
                  </a:lnTo>
                  <a:lnTo>
                    <a:pt x="266674" y="58407"/>
                  </a:lnTo>
                  <a:lnTo>
                    <a:pt x="274002" y="12319"/>
                  </a:lnTo>
                  <a:lnTo>
                    <a:pt x="281178" y="58572"/>
                  </a:lnTo>
                  <a:lnTo>
                    <a:pt x="295732" y="101942"/>
                  </a:lnTo>
                  <a:lnTo>
                    <a:pt x="316992" y="141744"/>
                  </a:lnTo>
                  <a:lnTo>
                    <a:pt x="344284" y="177279"/>
                  </a:lnTo>
                  <a:lnTo>
                    <a:pt x="376936" y="207873"/>
                  </a:lnTo>
                  <a:lnTo>
                    <a:pt x="414248" y="232854"/>
                  </a:lnTo>
                  <a:lnTo>
                    <a:pt x="455561"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86" name="object 84">
              <a:extLst>
                <a:ext uri="{FF2B5EF4-FFF2-40B4-BE49-F238E27FC236}">
                  <a16:creationId xmlns:a16="http://schemas.microsoft.com/office/drawing/2014/main" id="{601931BC-A749-2AE2-E50B-791AA0F3E602}"/>
                </a:ext>
              </a:extLst>
            </p:cNvPr>
            <p:cNvPicPr/>
            <p:nvPr/>
          </p:nvPicPr>
          <p:blipFill>
            <a:blip r:embed="rId7" cstate="print"/>
            <a:stretch>
              <a:fillRect/>
            </a:stretch>
          </p:blipFill>
          <p:spPr>
            <a:xfrm>
              <a:off x="8789951" y="6794307"/>
              <a:ext cx="260137" cy="63416"/>
            </a:xfrm>
            <a:prstGeom prst="rect">
              <a:avLst/>
            </a:prstGeom>
          </p:spPr>
        </p:pic>
        <p:sp>
          <p:nvSpPr>
            <p:cNvPr id="87" name="object 85">
              <a:extLst>
                <a:ext uri="{FF2B5EF4-FFF2-40B4-BE49-F238E27FC236}">
                  <a16:creationId xmlns:a16="http://schemas.microsoft.com/office/drawing/2014/main" id="{62137A0F-1698-F9C9-8564-E8BDF46F73B0}"/>
                </a:ext>
              </a:extLst>
            </p:cNvPr>
            <p:cNvSpPr/>
            <p:nvPr/>
          </p:nvSpPr>
          <p:spPr>
            <a:xfrm>
              <a:off x="8753854" y="5171198"/>
              <a:ext cx="332700" cy="477101"/>
            </a:xfrm>
            <a:custGeom>
              <a:avLst/>
              <a:gdLst/>
              <a:ahLst/>
              <a:cxnLst/>
              <a:rect l="l" t="t" r="r" b="b"/>
              <a:pathLst>
                <a:path w="548640" h="786765">
                  <a:moveTo>
                    <a:pt x="548081" y="786396"/>
                  </a:moveTo>
                  <a:lnTo>
                    <a:pt x="542645" y="738225"/>
                  </a:lnTo>
                  <a:lnTo>
                    <a:pt x="529247" y="692975"/>
                  </a:lnTo>
                  <a:lnTo>
                    <a:pt x="508622" y="651344"/>
                  </a:lnTo>
                  <a:lnTo>
                    <a:pt x="481533" y="614083"/>
                  </a:lnTo>
                  <a:lnTo>
                    <a:pt x="448691" y="581939"/>
                  </a:lnTo>
                  <a:lnTo>
                    <a:pt x="410832" y="555625"/>
                  </a:lnTo>
                  <a:lnTo>
                    <a:pt x="368706" y="535889"/>
                  </a:lnTo>
                  <a:lnTo>
                    <a:pt x="323037" y="523468"/>
                  </a:lnTo>
                  <a:lnTo>
                    <a:pt x="274561" y="519087"/>
                  </a:lnTo>
                  <a:lnTo>
                    <a:pt x="273342" y="519087"/>
                  </a:lnTo>
                  <a:lnTo>
                    <a:pt x="224993" y="523455"/>
                  </a:lnTo>
                  <a:lnTo>
                    <a:pt x="179438" y="535813"/>
                  </a:lnTo>
                  <a:lnTo>
                    <a:pt x="137414" y="555459"/>
                  </a:lnTo>
                  <a:lnTo>
                    <a:pt x="99618" y="581660"/>
                  </a:lnTo>
                  <a:lnTo>
                    <a:pt x="66827" y="613676"/>
                  </a:lnTo>
                  <a:lnTo>
                    <a:pt x="39738" y="650773"/>
                  </a:lnTo>
                  <a:lnTo>
                    <a:pt x="19088" y="692238"/>
                  </a:lnTo>
                  <a:lnTo>
                    <a:pt x="5613" y="737323"/>
                  </a:lnTo>
                  <a:lnTo>
                    <a:pt x="50" y="785317"/>
                  </a:lnTo>
                  <a:lnTo>
                    <a:pt x="47713" y="781278"/>
                  </a:lnTo>
                  <a:lnTo>
                    <a:pt x="92240" y="769620"/>
                  </a:lnTo>
                  <a:lnTo>
                    <a:pt x="133477" y="751027"/>
                  </a:lnTo>
                  <a:lnTo>
                    <a:pt x="170738" y="726147"/>
                  </a:lnTo>
                  <a:lnTo>
                    <a:pt x="203365" y="695680"/>
                  </a:lnTo>
                  <a:lnTo>
                    <a:pt x="230682" y="660298"/>
                  </a:lnTo>
                  <a:lnTo>
                    <a:pt x="252006" y="620674"/>
                  </a:lnTo>
                  <a:lnTo>
                    <a:pt x="266661" y="577481"/>
                  </a:lnTo>
                  <a:lnTo>
                    <a:pt x="274002" y="531393"/>
                  </a:lnTo>
                  <a:lnTo>
                    <a:pt x="281178" y="577672"/>
                  </a:lnTo>
                  <a:lnTo>
                    <a:pt x="295732" y="621042"/>
                  </a:lnTo>
                  <a:lnTo>
                    <a:pt x="316992" y="660831"/>
                  </a:lnTo>
                  <a:lnTo>
                    <a:pt x="344284" y="696366"/>
                  </a:lnTo>
                  <a:lnTo>
                    <a:pt x="376936" y="726960"/>
                  </a:lnTo>
                  <a:lnTo>
                    <a:pt x="414248" y="751941"/>
                  </a:lnTo>
                  <a:lnTo>
                    <a:pt x="455549" y="770623"/>
                  </a:lnTo>
                  <a:lnTo>
                    <a:pt x="500176" y="782332"/>
                  </a:lnTo>
                  <a:lnTo>
                    <a:pt x="548081" y="786396"/>
                  </a:lnTo>
                  <a:close/>
                </a:path>
                <a:path w="548640" h="786765">
                  <a:moveTo>
                    <a:pt x="548081" y="520865"/>
                  </a:moveTo>
                  <a:lnTo>
                    <a:pt x="542645" y="472706"/>
                  </a:lnTo>
                  <a:lnTo>
                    <a:pt x="529247" y="427443"/>
                  </a:lnTo>
                  <a:lnTo>
                    <a:pt x="508622" y="385813"/>
                  </a:lnTo>
                  <a:lnTo>
                    <a:pt x="481533" y="348551"/>
                  </a:lnTo>
                  <a:lnTo>
                    <a:pt x="448691" y="316407"/>
                  </a:lnTo>
                  <a:lnTo>
                    <a:pt x="410832" y="290093"/>
                  </a:lnTo>
                  <a:lnTo>
                    <a:pt x="368706" y="270357"/>
                  </a:lnTo>
                  <a:lnTo>
                    <a:pt x="323037" y="257937"/>
                  </a:lnTo>
                  <a:lnTo>
                    <a:pt x="274561" y="253568"/>
                  </a:lnTo>
                  <a:lnTo>
                    <a:pt x="273342" y="253568"/>
                  </a:lnTo>
                  <a:lnTo>
                    <a:pt x="224993" y="257924"/>
                  </a:lnTo>
                  <a:lnTo>
                    <a:pt x="179438" y="270281"/>
                  </a:lnTo>
                  <a:lnTo>
                    <a:pt x="137414" y="289928"/>
                  </a:lnTo>
                  <a:lnTo>
                    <a:pt x="99618" y="316128"/>
                  </a:lnTo>
                  <a:lnTo>
                    <a:pt x="66827" y="348132"/>
                  </a:lnTo>
                  <a:lnTo>
                    <a:pt x="39738" y="385241"/>
                  </a:lnTo>
                  <a:lnTo>
                    <a:pt x="19088" y="426694"/>
                  </a:lnTo>
                  <a:lnTo>
                    <a:pt x="5613" y="471792"/>
                  </a:lnTo>
                  <a:lnTo>
                    <a:pt x="50" y="519772"/>
                  </a:lnTo>
                  <a:lnTo>
                    <a:pt x="47713" y="515734"/>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40"/>
                  </a:lnTo>
                  <a:lnTo>
                    <a:pt x="295732" y="355511"/>
                  </a:lnTo>
                  <a:lnTo>
                    <a:pt x="316992" y="395300"/>
                  </a:lnTo>
                  <a:lnTo>
                    <a:pt x="344284" y="430834"/>
                  </a:lnTo>
                  <a:lnTo>
                    <a:pt x="376936" y="461441"/>
                  </a:lnTo>
                  <a:lnTo>
                    <a:pt x="414248" y="486410"/>
                  </a:lnTo>
                  <a:lnTo>
                    <a:pt x="455549" y="505104"/>
                  </a:lnTo>
                  <a:lnTo>
                    <a:pt x="500176" y="516813"/>
                  </a:lnTo>
                  <a:lnTo>
                    <a:pt x="548081" y="520865"/>
                  </a:lnTo>
                  <a:close/>
                </a:path>
                <a:path w="548640" h="786765">
                  <a:moveTo>
                    <a:pt x="548093" y="267322"/>
                  </a:moveTo>
                  <a:lnTo>
                    <a:pt x="543331" y="225285"/>
                  </a:lnTo>
                  <a:lnTo>
                    <a:pt x="542645" y="219151"/>
                  </a:lnTo>
                  <a:lnTo>
                    <a:pt x="529247" y="173875"/>
                  </a:lnTo>
                  <a:lnTo>
                    <a:pt x="508635" y="132245"/>
                  </a:lnTo>
                  <a:lnTo>
                    <a:pt x="481533" y="94996"/>
                  </a:lnTo>
                  <a:lnTo>
                    <a:pt x="448691" y="62852"/>
                  </a:lnTo>
                  <a:lnTo>
                    <a:pt x="426351" y="47332"/>
                  </a:lnTo>
                  <a:lnTo>
                    <a:pt x="410845" y="36537"/>
                  </a:lnTo>
                  <a:lnTo>
                    <a:pt x="391109" y="27305"/>
                  </a:lnTo>
                  <a:lnTo>
                    <a:pt x="368719" y="16814"/>
                  </a:lnTo>
                  <a:lnTo>
                    <a:pt x="323049" y="4394"/>
                  </a:lnTo>
                  <a:lnTo>
                    <a:pt x="274574" y="12"/>
                  </a:lnTo>
                  <a:lnTo>
                    <a:pt x="273342" y="0"/>
                  </a:lnTo>
                  <a:lnTo>
                    <a:pt x="224993" y="4356"/>
                  </a:lnTo>
                  <a:lnTo>
                    <a:pt x="179438" y="16725"/>
                  </a:lnTo>
                  <a:lnTo>
                    <a:pt x="137414" y="36372"/>
                  </a:lnTo>
                  <a:lnTo>
                    <a:pt x="99618" y="62560"/>
                  </a:lnTo>
                  <a:lnTo>
                    <a:pt x="98806" y="63347"/>
                  </a:lnTo>
                  <a:lnTo>
                    <a:pt x="66827" y="94576"/>
                  </a:lnTo>
                  <a:lnTo>
                    <a:pt x="39700" y="131686"/>
                  </a:lnTo>
                  <a:lnTo>
                    <a:pt x="19050" y="173139"/>
                  </a:lnTo>
                  <a:lnTo>
                    <a:pt x="5575" y="218211"/>
                  </a:lnTo>
                  <a:lnTo>
                    <a:pt x="0" y="266192"/>
                  </a:lnTo>
                  <a:lnTo>
                    <a:pt x="47713" y="262178"/>
                  </a:lnTo>
                  <a:lnTo>
                    <a:pt x="92240" y="250520"/>
                  </a:lnTo>
                  <a:lnTo>
                    <a:pt x="133477" y="231927"/>
                  </a:lnTo>
                  <a:lnTo>
                    <a:pt x="155816" y="217004"/>
                  </a:lnTo>
                  <a:lnTo>
                    <a:pt x="170751" y="207048"/>
                  </a:lnTo>
                  <a:lnTo>
                    <a:pt x="203377" y="176593"/>
                  </a:lnTo>
                  <a:lnTo>
                    <a:pt x="230682" y="141211"/>
                  </a:lnTo>
                  <a:lnTo>
                    <a:pt x="252006" y="101600"/>
                  </a:lnTo>
                  <a:lnTo>
                    <a:pt x="266674" y="58407"/>
                  </a:lnTo>
                  <a:lnTo>
                    <a:pt x="274002" y="12319"/>
                  </a:lnTo>
                  <a:lnTo>
                    <a:pt x="281178" y="58585"/>
                  </a:lnTo>
                  <a:lnTo>
                    <a:pt x="295732" y="101942"/>
                  </a:lnTo>
                  <a:lnTo>
                    <a:pt x="316992" y="141744"/>
                  </a:lnTo>
                  <a:lnTo>
                    <a:pt x="344284" y="177279"/>
                  </a:lnTo>
                  <a:lnTo>
                    <a:pt x="376936" y="207873"/>
                  </a:lnTo>
                  <a:lnTo>
                    <a:pt x="414248" y="232867"/>
                  </a:lnTo>
                  <a:lnTo>
                    <a:pt x="455561" y="251548"/>
                  </a:lnTo>
                  <a:lnTo>
                    <a:pt x="500176" y="263258"/>
                  </a:lnTo>
                  <a:lnTo>
                    <a:pt x="548093" y="267322"/>
                  </a:lnTo>
                  <a:close/>
                </a:path>
              </a:pathLst>
            </a:custGeom>
            <a:solidFill>
              <a:srgbClr val="2DB7EA"/>
            </a:solidFill>
          </p:spPr>
          <p:txBody>
            <a:bodyPr wrap="square" lIns="0" tIns="0" rIns="0" bIns="0" rtlCol="0"/>
            <a:lstStyle/>
            <a:p>
              <a:endParaRPr dirty="0"/>
            </a:p>
          </p:txBody>
        </p:sp>
        <p:pic>
          <p:nvPicPr>
            <p:cNvPr id="88" name="object 86">
              <a:extLst>
                <a:ext uri="{FF2B5EF4-FFF2-40B4-BE49-F238E27FC236}">
                  <a16:creationId xmlns:a16="http://schemas.microsoft.com/office/drawing/2014/main" id="{005F4E42-2833-E7DF-C0DC-3DE93F2659BE}"/>
                </a:ext>
              </a:extLst>
            </p:cNvPr>
            <p:cNvPicPr/>
            <p:nvPr/>
          </p:nvPicPr>
          <p:blipFill>
            <a:blip r:embed="rId13" cstate="print"/>
            <a:stretch>
              <a:fillRect/>
            </a:stretch>
          </p:blipFill>
          <p:spPr>
            <a:xfrm>
              <a:off x="8867131" y="5626898"/>
              <a:ext cx="106445" cy="107156"/>
            </a:xfrm>
            <a:prstGeom prst="rect">
              <a:avLst/>
            </a:prstGeom>
          </p:spPr>
        </p:pic>
        <p:sp>
          <p:nvSpPr>
            <p:cNvPr id="89" name="object 87">
              <a:extLst>
                <a:ext uri="{FF2B5EF4-FFF2-40B4-BE49-F238E27FC236}">
                  <a16:creationId xmlns:a16="http://schemas.microsoft.com/office/drawing/2014/main" id="{A25E2D6A-F55B-C87D-E682-D5ABBDC0843F}"/>
                </a:ext>
              </a:extLst>
            </p:cNvPr>
            <p:cNvSpPr/>
            <p:nvPr/>
          </p:nvSpPr>
          <p:spPr>
            <a:xfrm>
              <a:off x="8753854" y="5825360"/>
              <a:ext cx="332700" cy="477101"/>
            </a:xfrm>
            <a:custGeom>
              <a:avLst/>
              <a:gdLst/>
              <a:ahLst/>
              <a:cxnLst/>
              <a:rect l="l" t="t" r="r" b="b"/>
              <a:pathLst>
                <a:path w="548640" h="786765">
                  <a:moveTo>
                    <a:pt x="548081" y="786396"/>
                  </a:moveTo>
                  <a:lnTo>
                    <a:pt x="542645" y="738238"/>
                  </a:lnTo>
                  <a:lnTo>
                    <a:pt x="529247" y="692975"/>
                  </a:lnTo>
                  <a:lnTo>
                    <a:pt x="508622" y="651344"/>
                  </a:lnTo>
                  <a:lnTo>
                    <a:pt x="481533" y="614095"/>
                  </a:lnTo>
                  <a:lnTo>
                    <a:pt x="448691" y="581939"/>
                  </a:lnTo>
                  <a:lnTo>
                    <a:pt x="410832" y="555637"/>
                  </a:lnTo>
                  <a:lnTo>
                    <a:pt x="368706" y="535901"/>
                  </a:lnTo>
                  <a:lnTo>
                    <a:pt x="323037" y="523481"/>
                  </a:lnTo>
                  <a:lnTo>
                    <a:pt x="274561" y="519099"/>
                  </a:lnTo>
                  <a:lnTo>
                    <a:pt x="273342" y="519099"/>
                  </a:lnTo>
                  <a:lnTo>
                    <a:pt x="224993" y="523455"/>
                  </a:lnTo>
                  <a:lnTo>
                    <a:pt x="179438" y="535825"/>
                  </a:lnTo>
                  <a:lnTo>
                    <a:pt x="137414" y="555472"/>
                  </a:lnTo>
                  <a:lnTo>
                    <a:pt x="99618" y="581660"/>
                  </a:lnTo>
                  <a:lnTo>
                    <a:pt x="66827" y="613676"/>
                  </a:lnTo>
                  <a:lnTo>
                    <a:pt x="39738" y="650773"/>
                  </a:lnTo>
                  <a:lnTo>
                    <a:pt x="19088" y="692238"/>
                  </a:lnTo>
                  <a:lnTo>
                    <a:pt x="5613" y="737323"/>
                  </a:lnTo>
                  <a:lnTo>
                    <a:pt x="50" y="785304"/>
                  </a:lnTo>
                  <a:lnTo>
                    <a:pt x="47713" y="781278"/>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72"/>
                  </a:lnTo>
                  <a:lnTo>
                    <a:pt x="295732" y="621042"/>
                  </a:lnTo>
                  <a:lnTo>
                    <a:pt x="316992" y="660831"/>
                  </a:lnTo>
                  <a:lnTo>
                    <a:pt x="344284" y="696366"/>
                  </a:lnTo>
                  <a:lnTo>
                    <a:pt x="376936" y="726973"/>
                  </a:lnTo>
                  <a:lnTo>
                    <a:pt x="414248" y="751954"/>
                  </a:lnTo>
                  <a:lnTo>
                    <a:pt x="455549" y="770636"/>
                  </a:lnTo>
                  <a:lnTo>
                    <a:pt x="500176" y="782345"/>
                  </a:lnTo>
                  <a:lnTo>
                    <a:pt x="548081" y="786396"/>
                  </a:lnTo>
                  <a:close/>
                </a:path>
                <a:path w="548640" h="786765">
                  <a:moveTo>
                    <a:pt x="548081" y="520865"/>
                  </a:moveTo>
                  <a:lnTo>
                    <a:pt x="542645" y="472706"/>
                  </a:lnTo>
                  <a:lnTo>
                    <a:pt x="529247" y="427443"/>
                  </a:lnTo>
                  <a:lnTo>
                    <a:pt x="508622" y="385813"/>
                  </a:lnTo>
                  <a:lnTo>
                    <a:pt x="481533" y="348564"/>
                  </a:lnTo>
                  <a:lnTo>
                    <a:pt x="448691" y="316407"/>
                  </a:lnTo>
                  <a:lnTo>
                    <a:pt x="410832" y="290093"/>
                  </a:lnTo>
                  <a:lnTo>
                    <a:pt x="368706" y="270370"/>
                  </a:lnTo>
                  <a:lnTo>
                    <a:pt x="323037" y="257937"/>
                  </a:lnTo>
                  <a:lnTo>
                    <a:pt x="274561" y="253555"/>
                  </a:lnTo>
                  <a:lnTo>
                    <a:pt x="273342" y="253555"/>
                  </a:lnTo>
                  <a:lnTo>
                    <a:pt x="224993" y="257924"/>
                  </a:lnTo>
                  <a:lnTo>
                    <a:pt x="179438" y="270294"/>
                  </a:lnTo>
                  <a:lnTo>
                    <a:pt x="137414" y="289928"/>
                  </a:lnTo>
                  <a:lnTo>
                    <a:pt x="99618" y="316128"/>
                  </a:lnTo>
                  <a:lnTo>
                    <a:pt x="66827" y="348145"/>
                  </a:lnTo>
                  <a:lnTo>
                    <a:pt x="39738" y="385241"/>
                  </a:lnTo>
                  <a:lnTo>
                    <a:pt x="19088" y="426694"/>
                  </a:lnTo>
                  <a:lnTo>
                    <a:pt x="5613" y="471792"/>
                  </a:lnTo>
                  <a:lnTo>
                    <a:pt x="50" y="519772"/>
                  </a:lnTo>
                  <a:lnTo>
                    <a:pt x="47713" y="515734"/>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40"/>
                  </a:lnTo>
                  <a:lnTo>
                    <a:pt x="295732" y="355511"/>
                  </a:lnTo>
                  <a:lnTo>
                    <a:pt x="316992" y="395300"/>
                  </a:lnTo>
                  <a:lnTo>
                    <a:pt x="344284" y="430834"/>
                  </a:lnTo>
                  <a:lnTo>
                    <a:pt x="376936" y="461441"/>
                  </a:lnTo>
                  <a:lnTo>
                    <a:pt x="414248" y="486410"/>
                  </a:lnTo>
                  <a:lnTo>
                    <a:pt x="455549" y="505104"/>
                  </a:lnTo>
                  <a:lnTo>
                    <a:pt x="500176" y="516813"/>
                  </a:lnTo>
                  <a:lnTo>
                    <a:pt x="548081" y="520865"/>
                  </a:lnTo>
                  <a:close/>
                </a:path>
                <a:path w="548640" h="786765">
                  <a:moveTo>
                    <a:pt x="548093" y="267322"/>
                  </a:moveTo>
                  <a:lnTo>
                    <a:pt x="543255" y="224586"/>
                  </a:lnTo>
                  <a:lnTo>
                    <a:pt x="542645" y="219151"/>
                  </a:lnTo>
                  <a:lnTo>
                    <a:pt x="529247" y="173888"/>
                  </a:lnTo>
                  <a:lnTo>
                    <a:pt x="508635" y="132257"/>
                  </a:lnTo>
                  <a:lnTo>
                    <a:pt x="481533" y="94996"/>
                  </a:lnTo>
                  <a:lnTo>
                    <a:pt x="448691" y="62852"/>
                  </a:lnTo>
                  <a:lnTo>
                    <a:pt x="410845" y="36550"/>
                  </a:lnTo>
                  <a:lnTo>
                    <a:pt x="368719" y="16814"/>
                  </a:lnTo>
                  <a:lnTo>
                    <a:pt x="323049" y="4394"/>
                  </a:lnTo>
                  <a:lnTo>
                    <a:pt x="274561" y="0"/>
                  </a:lnTo>
                  <a:lnTo>
                    <a:pt x="273342" y="0"/>
                  </a:lnTo>
                  <a:lnTo>
                    <a:pt x="224993" y="4356"/>
                  </a:lnTo>
                  <a:lnTo>
                    <a:pt x="179438" y="16725"/>
                  </a:lnTo>
                  <a:lnTo>
                    <a:pt x="137414" y="36372"/>
                  </a:lnTo>
                  <a:lnTo>
                    <a:pt x="99618" y="62572"/>
                  </a:lnTo>
                  <a:lnTo>
                    <a:pt x="98793" y="63373"/>
                  </a:lnTo>
                  <a:lnTo>
                    <a:pt x="66827" y="94576"/>
                  </a:lnTo>
                  <a:lnTo>
                    <a:pt x="39700" y="131686"/>
                  </a:lnTo>
                  <a:lnTo>
                    <a:pt x="19050" y="173139"/>
                  </a:lnTo>
                  <a:lnTo>
                    <a:pt x="5575" y="218224"/>
                  </a:lnTo>
                  <a:lnTo>
                    <a:pt x="0" y="266192"/>
                  </a:lnTo>
                  <a:lnTo>
                    <a:pt x="47713" y="262178"/>
                  </a:lnTo>
                  <a:lnTo>
                    <a:pt x="92240" y="250532"/>
                  </a:lnTo>
                  <a:lnTo>
                    <a:pt x="133477" y="231927"/>
                  </a:lnTo>
                  <a:lnTo>
                    <a:pt x="170738" y="207060"/>
                  </a:lnTo>
                  <a:lnTo>
                    <a:pt x="172910" y="205041"/>
                  </a:lnTo>
                  <a:lnTo>
                    <a:pt x="203377" y="176593"/>
                  </a:lnTo>
                  <a:lnTo>
                    <a:pt x="230682" y="141224"/>
                  </a:lnTo>
                  <a:lnTo>
                    <a:pt x="252006" y="101600"/>
                  </a:lnTo>
                  <a:lnTo>
                    <a:pt x="266674" y="58407"/>
                  </a:lnTo>
                  <a:lnTo>
                    <a:pt x="274002" y="12331"/>
                  </a:lnTo>
                  <a:lnTo>
                    <a:pt x="281178" y="58585"/>
                  </a:lnTo>
                  <a:lnTo>
                    <a:pt x="295732" y="101955"/>
                  </a:lnTo>
                  <a:lnTo>
                    <a:pt x="316992" y="141744"/>
                  </a:lnTo>
                  <a:lnTo>
                    <a:pt x="344284" y="177279"/>
                  </a:lnTo>
                  <a:lnTo>
                    <a:pt x="360083" y="192087"/>
                  </a:lnTo>
                  <a:lnTo>
                    <a:pt x="376936" y="207886"/>
                  </a:lnTo>
                  <a:lnTo>
                    <a:pt x="414248" y="232867"/>
                  </a:lnTo>
                  <a:lnTo>
                    <a:pt x="455561"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90" name="object 88">
              <a:extLst>
                <a:ext uri="{FF2B5EF4-FFF2-40B4-BE49-F238E27FC236}">
                  <a16:creationId xmlns:a16="http://schemas.microsoft.com/office/drawing/2014/main" id="{D6F531B8-EF59-01B8-C159-1EFDAEC691B2}"/>
                </a:ext>
              </a:extLst>
            </p:cNvPr>
            <p:cNvPicPr/>
            <p:nvPr/>
          </p:nvPicPr>
          <p:blipFill>
            <a:blip r:embed="rId14" cstate="print"/>
            <a:stretch>
              <a:fillRect/>
            </a:stretch>
          </p:blipFill>
          <p:spPr>
            <a:xfrm>
              <a:off x="8867131" y="6281064"/>
              <a:ext cx="106445" cy="107156"/>
            </a:xfrm>
            <a:prstGeom prst="rect">
              <a:avLst/>
            </a:prstGeom>
          </p:spPr>
        </p:pic>
        <p:sp>
          <p:nvSpPr>
            <p:cNvPr id="91" name="object 89">
              <a:extLst>
                <a:ext uri="{FF2B5EF4-FFF2-40B4-BE49-F238E27FC236}">
                  <a16:creationId xmlns:a16="http://schemas.microsoft.com/office/drawing/2014/main" id="{B5DE4107-50F7-7074-B726-FBD2CD6DE526}"/>
                </a:ext>
              </a:extLst>
            </p:cNvPr>
            <p:cNvSpPr/>
            <p:nvPr/>
          </p:nvSpPr>
          <p:spPr>
            <a:xfrm>
              <a:off x="9909070" y="6037749"/>
              <a:ext cx="332700" cy="477101"/>
            </a:xfrm>
            <a:custGeom>
              <a:avLst/>
              <a:gdLst/>
              <a:ahLst/>
              <a:cxnLst/>
              <a:rect l="l" t="t" r="r" b="b"/>
              <a:pathLst>
                <a:path w="548640" h="786765">
                  <a:moveTo>
                    <a:pt x="548093" y="520179"/>
                  </a:moveTo>
                  <a:lnTo>
                    <a:pt x="500380" y="524217"/>
                  </a:lnTo>
                  <a:lnTo>
                    <a:pt x="455853" y="535876"/>
                  </a:lnTo>
                  <a:lnTo>
                    <a:pt x="414616" y="554469"/>
                  </a:lnTo>
                  <a:lnTo>
                    <a:pt x="392264" y="569404"/>
                  </a:lnTo>
                  <a:lnTo>
                    <a:pt x="377355" y="579348"/>
                  </a:lnTo>
                  <a:lnTo>
                    <a:pt x="344728" y="609803"/>
                  </a:lnTo>
                  <a:lnTo>
                    <a:pt x="317411" y="645172"/>
                  </a:lnTo>
                  <a:lnTo>
                    <a:pt x="296087" y="684796"/>
                  </a:lnTo>
                  <a:lnTo>
                    <a:pt x="281419" y="727989"/>
                  </a:lnTo>
                  <a:lnTo>
                    <a:pt x="274091" y="774065"/>
                  </a:lnTo>
                  <a:lnTo>
                    <a:pt x="272161" y="761669"/>
                  </a:lnTo>
                  <a:lnTo>
                    <a:pt x="266928" y="727824"/>
                  </a:lnTo>
                  <a:lnTo>
                    <a:pt x="257238" y="699008"/>
                  </a:lnTo>
                  <a:lnTo>
                    <a:pt x="252361" y="684453"/>
                  </a:lnTo>
                  <a:lnTo>
                    <a:pt x="231101" y="644652"/>
                  </a:lnTo>
                  <a:lnTo>
                    <a:pt x="203809" y="609117"/>
                  </a:lnTo>
                  <a:lnTo>
                    <a:pt x="187998" y="594321"/>
                  </a:lnTo>
                  <a:lnTo>
                    <a:pt x="171157" y="578523"/>
                  </a:lnTo>
                  <a:lnTo>
                    <a:pt x="133845" y="553542"/>
                  </a:lnTo>
                  <a:lnTo>
                    <a:pt x="92532" y="534835"/>
                  </a:lnTo>
                  <a:lnTo>
                    <a:pt x="47917" y="523125"/>
                  </a:lnTo>
                  <a:lnTo>
                    <a:pt x="0" y="519074"/>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81" y="654723"/>
                  </a:lnTo>
                  <a:lnTo>
                    <a:pt x="529043" y="613257"/>
                  </a:lnTo>
                  <a:lnTo>
                    <a:pt x="542518" y="568172"/>
                  </a:lnTo>
                  <a:lnTo>
                    <a:pt x="548081" y="520217"/>
                  </a:lnTo>
                  <a:close/>
                </a:path>
                <a:path w="548640" h="786765">
                  <a:moveTo>
                    <a:pt x="548093" y="266611"/>
                  </a:moveTo>
                  <a:lnTo>
                    <a:pt x="500380" y="270649"/>
                  </a:lnTo>
                  <a:lnTo>
                    <a:pt x="455853" y="282308"/>
                  </a:lnTo>
                  <a:lnTo>
                    <a:pt x="414616" y="300901"/>
                  </a:lnTo>
                  <a:lnTo>
                    <a:pt x="377355" y="325780"/>
                  </a:lnTo>
                  <a:lnTo>
                    <a:pt x="344728" y="356235"/>
                  </a:lnTo>
                  <a:lnTo>
                    <a:pt x="317423" y="391629"/>
                  </a:lnTo>
                  <a:lnTo>
                    <a:pt x="296087" y="431253"/>
                  </a:lnTo>
                  <a:lnTo>
                    <a:pt x="281432" y="474446"/>
                  </a:lnTo>
                  <a:lnTo>
                    <a:pt x="274091" y="520534"/>
                  </a:lnTo>
                  <a:lnTo>
                    <a:pt x="266928" y="474256"/>
                  </a:lnTo>
                  <a:lnTo>
                    <a:pt x="252361" y="430885"/>
                  </a:lnTo>
                  <a:lnTo>
                    <a:pt x="231101" y="391096"/>
                  </a:lnTo>
                  <a:lnTo>
                    <a:pt x="203809" y="355561"/>
                  </a:lnTo>
                  <a:lnTo>
                    <a:pt x="171157" y="324954"/>
                  </a:lnTo>
                  <a:lnTo>
                    <a:pt x="133845" y="299986"/>
                  </a:lnTo>
                  <a:lnTo>
                    <a:pt x="92544" y="281292"/>
                  </a:lnTo>
                  <a:lnTo>
                    <a:pt x="47917" y="269582"/>
                  </a:lnTo>
                  <a:lnTo>
                    <a:pt x="12" y="265531"/>
                  </a:lnTo>
                  <a:lnTo>
                    <a:pt x="5461" y="313690"/>
                  </a:lnTo>
                  <a:lnTo>
                    <a:pt x="18859" y="358952"/>
                  </a:lnTo>
                  <a:lnTo>
                    <a:pt x="39471" y="400583"/>
                  </a:lnTo>
                  <a:lnTo>
                    <a:pt x="66560" y="437832"/>
                  </a:lnTo>
                  <a:lnTo>
                    <a:pt x="99402" y="469988"/>
                  </a:lnTo>
                  <a:lnTo>
                    <a:pt x="137261" y="496303"/>
                  </a:lnTo>
                  <a:lnTo>
                    <a:pt x="179387" y="516026"/>
                  </a:lnTo>
                  <a:lnTo>
                    <a:pt x="225056" y="528459"/>
                  </a:lnTo>
                  <a:lnTo>
                    <a:pt x="273532" y="532841"/>
                  </a:lnTo>
                  <a:lnTo>
                    <a:pt x="274751" y="532841"/>
                  </a:lnTo>
                  <a:lnTo>
                    <a:pt x="323100" y="528472"/>
                  </a:lnTo>
                  <a:lnTo>
                    <a:pt x="368655" y="516102"/>
                  </a:lnTo>
                  <a:lnTo>
                    <a:pt x="410692" y="496468"/>
                  </a:lnTo>
                  <a:lnTo>
                    <a:pt x="448475" y="470268"/>
                  </a:lnTo>
                  <a:lnTo>
                    <a:pt x="481279" y="438251"/>
                  </a:lnTo>
                  <a:lnTo>
                    <a:pt x="508381" y="401154"/>
                  </a:lnTo>
                  <a:lnTo>
                    <a:pt x="529031" y="359689"/>
                  </a:lnTo>
                  <a:lnTo>
                    <a:pt x="542505" y="314604"/>
                  </a:lnTo>
                  <a:lnTo>
                    <a:pt x="548093" y="266611"/>
                  </a:lnTo>
                  <a:close/>
                </a:path>
                <a:path w="548640" h="786765">
                  <a:moveTo>
                    <a:pt x="548093" y="1092"/>
                  </a:moveTo>
                  <a:lnTo>
                    <a:pt x="500380" y="5130"/>
                  </a:lnTo>
                  <a:lnTo>
                    <a:pt x="455853" y="16789"/>
                  </a:lnTo>
                  <a:lnTo>
                    <a:pt x="414616" y="35382"/>
                  </a:lnTo>
                  <a:lnTo>
                    <a:pt x="377355" y="60248"/>
                  </a:lnTo>
                  <a:lnTo>
                    <a:pt x="344728" y="90716"/>
                  </a:lnTo>
                  <a:lnTo>
                    <a:pt x="317423" y="126098"/>
                  </a:lnTo>
                  <a:lnTo>
                    <a:pt x="296087" y="165722"/>
                  </a:lnTo>
                  <a:lnTo>
                    <a:pt x="281432" y="208915"/>
                  </a:lnTo>
                  <a:lnTo>
                    <a:pt x="274091" y="255003"/>
                  </a:lnTo>
                  <a:lnTo>
                    <a:pt x="266928" y="208724"/>
                  </a:lnTo>
                  <a:lnTo>
                    <a:pt x="252361" y="165354"/>
                  </a:lnTo>
                  <a:lnTo>
                    <a:pt x="231101" y="125564"/>
                  </a:lnTo>
                  <a:lnTo>
                    <a:pt x="203809" y="90030"/>
                  </a:lnTo>
                  <a:lnTo>
                    <a:pt x="171157" y="59436"/>
                  </a:lnTo>
                  <a:lnTo>
                    <a:pt x="133845" y="34455"/>
                  </a:lnTo>
                  <a:lnTo>
                    <a:pt x="92544" y="15773"/>
                  </a:lnTo>
                  <a:lnTo>
                    <a:pt x="47917" y="4064"/>
                  </a:lnTo>
                  <a:lnTo>
                    <a:pt x="12" y="0"/>
                  </a:lnTo>
                  <a:lnTo>
                    <a:pt x="5461" y="48171"/>
                  </a:lnTo>
                  <a:lnTo>
                    <a:pt x="18859"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92" y="230936"/>
                  </a:lnTo>
                  <a:lnTo>
                    <a:pt x="448475" y="204749"/>
                  </a:lnTo>
                  <a:lnTo>
                    <a:pt x="481279" y="172732"/>
                  </a:lnTo>
                  <a:lnTo>
                    <a:pt x="508381" y="135623"/>
                  </a:lnTo>
                  <a:lnTo>
                    <a:pt x="529031" y="94170"/>
                  </a:lnTo>
                  <a:lnTo>
                    <a:pt x="542505" y="49085"/>
                  </a:lnTo>
                  <a:lnTo>
                    <a:pt x="548093" y="1092"/>
                  </a:lnTo>
                  <a:close/>
                </a:path>
              </a:pathLst>
            </a:custGeom>
            <a:solidFill>
              <a:srgbClr val="2DB7EA"/>
            </a:solidFill>
          </p:spPr>
          <p:txBody>
            <a:bodyPr wrap="square" lIns="0" tIns="0" rIns="0" bIns="0" rtlCol="0"/>
            <a:lstStyle/>
            <a:p>
              <a:endParaRPr dirty="0"/>
            </a:p>
          </p:txBody>
        </p:sp>
        <p:pic>
          <p:nvPicPr>
            <p:cNvPr id="92" name="object 90">
              <a:extLst>
                <a:ext uri="{FF2B5EF4-FFF2-40B4-BE49-F238E27FC236}">
                  <a16:creationId xmlns:a16="http://schemas.microsoft.com/office/drawing/2014/main" id="{4D490325-F61E-56FD-BD82-EA8FD3DA2CBF}"/>
                </a:ext>
              </a:extLst>
            </p:cNvPr>
            <p:cNvPicPr/>
            <p:nvPr/>
          </p:nvPicPr>
          <p:blipFill>
            <a:blip r:embed="rId5" cstate="print"/>
            <a:stretch>
              <a:fillRect/>
            </a:stretch>
          </p:blipFill>
          <p:spPr>
            <a:xfrm>
              <a:off x="10021726" y="5951762"/>
              <a:ext cx="106445" cy="107156"/>
            </a:xfrm>
            <a:prstGeom prst="rect">
              <a:avLst/>
            </a:prstGeom>
          </p:spPr>
        </p:pic>
        <p:sp>
          <p:nvSpPr>
            <p:cNvPr id="93" name="object 91">
              <a:extLst>
                <a:ext uri="{FF2B5EF4-FFF2-40B4-BE49-F238E27FC236}">
                  <a16:creationId xmlns:a16="http://schemas.microsoft.com/office/drawing/2014/main" id="{04368018-21C1-0742-27A7-0704D017515B}"/>
                </a:ext>
              </a:extLst>
            </p:cNvPr>
            <p:cNvSpPr/>
            <p:nvPr/>
          </p:nvSpPr>
          <p:spPr>
            <a:xfrm>
              <a:off x="9909070" y="5383587"/>
              <a:ext cx="332700" cy="477101"/>
            </a:xfrm>
            <a:custGeom>
              <a:avLst/>
              <a:gdLst/>
              <a:ahLst/>
              <a:cxnLst/>
              <a:rect l="l" t="t" r="r" b="b"/>
              <a:pathLst>
                <a:path w="548640" h="786765">
                  <a:moveTo>
                    <a:pt x="548093" y="520179"/>
                  </a:moveTo>
                  <a:lnTo>
                    <a:pt x="500380" y="524217"/>
                  </a:lnTo>
                  <a:lnTo>
                    <a:pt x="465074" y="533463"/>
                  </a:lnTo>
                  <a:lnTo>
                    <a:pt x="455853" y="535876"/>
                  </a:lnTo>
                  <a:lnTo>
                    <a:pt x="443026" y="541667"/>
                  </a:lnTo>
                  <a:lnTo>
                    <a:pt x="414616" y="554469"/>
                  </a:lnTo>
                  <a:lnTo>
                    <a:pt x="392252" y="569391"/>
                  </a:lnTo>
                  <a:lnTo>
                    <a:pt x="377355" y="579335"/>
                  </a:lnTo>
                  <a:lnTo>
                    <a:pt x="344716" y="609790"/>
                  </a:lnTo>
                  <a:lnTo>
                    <a:pt x="317411" y="645172"/>
                  </a:lnTo>
                  <a:lnTo>
                    <a:pt x="296087" y="684796"/>
                  </a:lnTo>
                  <a:lnTo>
                    <a:pt x="281419" y="727976"/>
                  </a:lnTo>
                  <a:lnTo>
                    <a:pt x="274091" y="774065"/>
                  </a:lnTo>
                  <a:lnTo>
                    <a:pt x="272389" y="763143"/>
                  </a:lnTo>
                  <a:lnTo>
                    <a:pt x="266928" y="727811"/>
                  </a:lnTo>
                  <a:lnTo>
                    <a:pt x="252361" y="684441"/>
                  </a:lnTo>
                  <a:lnTo>
                    <a:pt x="231101" y="644652"/>
                  </a:lnTo>
                  <a:lnTo>
                    <a:pt x="203809" y="609117"/>
                  </a:lnTo>
                  <a:lnTo>
                    <a:pt x="187998" y="594321"/>
                  </a:lnTo>
                  <a:lnTo>
                    <a:pt x="171157" y="578523"/>
                  </a:lnTo>
                  <a:lnTo>
                    <a:pt x="133845" y="553542"/>
                  </a:lnTo>
                  <a:lnTo>
                    <a:pt x="92544" y="534847"/>
                  </a:lnTo>
                  <a:lnTo>
                    <a:pt x="47917" y="523125"/>
                  </a:lnTo>
                  <a:lnTo>
                    <a:pt x="0" y="519061"/>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27"/>
                  </a:lnTo>
                  <a:lnTo>
                    <a:pt x="368655" y="769670"/>
                  </a:lnTo>
                  <a:lnTo>
                    <a:pt x="410692" y="750023"/>
                  </a:lnTo>
                  <a:lnTo>
                    <a:pt x="448475" y="723823"/>
                  </a:lnTo>
                  <a:lnTo>
                    <a:pt x="481279" y="691819"/>
                  </a:lnTo>
                  <a:lnTo>
                    <a:pt x="498386" y="668401"/>
                  </a:lnTo>
                  <a:lnTo>
                    <a:pt x="508381" y="654710"/>
                  </a:lnTo>
                  <a:lnTo>
                    <a:pt x="529031" y="613257"/>
                  </a:lnTo>
                  <a:lnTo>
                    <a:pt x="542518" y="568172"/>
                  </a:lnTo>
                  <a:lnTo>
                    <a:pt x="548081" y="520204"/>
                  </a:lnTo>
                  <a:close/>
                </a:path>
                <a:path w="548640" h="786765">
                  <a:moveTo>
                    <a:pt x="548093" y="266623"/>
                  </a:moveTo>
                  <a:lnTo>
                    <a:pt x="500380" y="270649"/>
                  </a:lnTo>
                  <a:lnTo>
                    <a:pt x="455853" y="282308"/>
                  </a:lnTo>
                  <a:lnTo>
                    <a:pt x="414616" y="300913"/>
                  </a:lnTo>
                  <a:lnTo>
                    <a:pt x="377355" y="325780"/>
                  </a:lnTo>
                  <a:lnTo>
                    <a:pt x="344728" y="356235"/>
                  </a:lnTo>
                  <a:lnTo>
                    <a:pt x="317423" y="391617"/>
                  </a:lnTo>
                  <a:lnTo>
                    <a:pt x="296087" y="431241"/>
                  </a:lnTo>
                  <a:lnTo>
                    <a:pt x="281432" y="474446"/>
                  </a:lnTo>
                  <a:lnTo>
                    <a:pt x="274091" y="520522"/>
                  </a:lnTo>
                  <a:lnTo>
                    <a:pt x="266928"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59" y="358952"/>
                  </a:lnTo>
                  <a:lnTo>
                    <a:pt x="39471" y="400583"/>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92" y="496455"/>
                  </a:lnTo>
                  <a:lnTo>
                    <a:pt x="448475" y="470268"/>
                  </a:lnTo>
                  <a:lnTo>
                    <a:pt x="481279" y="438251"/>
                  </a:lnTo>
                  <a:lnTo>
                    <a:pt x="508381" y="401154"/>
                  </a:lnTo>
                  <a:lnTo>
                    <a:pt x="529031" y="359689"/>
                  </a:lnTo>
                  <a:lnTo>
                    <a:pt x="542505" y="314604"/>
                  </a:lnTo>
                  <a:lnTo>
                    <a:pt x="548093" y="266623"/>
                  </a:lnTo>
                  <a:close/>
                </a:path>
                <a:path w="548640" h="786765">
                  <a:moveTo>
                    <a:pt x="548093" y="1079"/>
                  </a:moveTo>
                  <a:lnTo>
                    <a:pt x="500380" y="5118"/>
                  </a:lnTo>
                  <a:lnTo>
                    <a:pt x="455853" y="16764"/>
                  </a:lnTo>
                  <a:lnTo>
                    <a:pt x="414616" y="35369"/>
                  </a:lnTo>
                  <a:lnTo>
                    <a:pt x="377355" y="60236"/>
                  </a:lnTo>
                  <a:lnTo>
                    <a:pt x="344728" y="90703"/>
                  </a:lnTo>
                  <a:lnTo>
                    <a:pt x="317423" y="126085"/>
                  </a:lnTo>
                  <a:lnTo>
                    <a:pt x="296087" y="165722"/>
                  </a:lnTo>
                  <a:lnTo>
                    <a:pt x="281432" y="208915"/>
                  </a:lnTo>
                  <a:lnTo>
                    <a:pt x="274091" y="255003"/>
                  </a:lnTo>
                  <a:lnTo>
                    <a:pt x="266928" y="208724"/>
                  </a:lnTo>
                  <a:lnTo>
                    <a:pt x="252361" y="165354"/>
                  </a:lnTo>
                  <a:lnTo>
                    <a:pt x="231101" y="125564"/>
                  </a:lnTo>
                  <a:lnTo>
                    <a:pt x="203809" y="90030"/>
                  </a:lnTo>
                  <a:lnTo>
                    <a:pt x="171157" y="59423"/>
                  </a:lnTo>
                  <a:lnTo>
                    <a:pt x="133845" y="34442"/>
                  </a:lnTo>
                  <a:lnTo>
                    <a:pt x="92544" y="15760"/>
                  </a:lnTo>
                  <a:lnTo>
                    <a:pt x="47917" y="4051"/>
                  </a:lnTo>
                  <a:lnTo>
                    <a:pt x="12" y="0"/>
                  </a:lnTo>
                  <a:lnTo>
                    <a:pt x="5461" y="48158"/>
                  </a:lnTo>
                  <a:lnTo>
                    <a:pt x="18859"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36"/>
                  </a:lnTo>
                  <a:lnTo>
                    <a:pt x="481279" y="172720"/>
                  </a:lnTo>
                  <a:lnTo>
                    <a:pt x="508381" y="135623"/>
                  </a:lnTo>
                  <a:lnTo>
                    <a:pt x="529031" y="94157"/>
                  </a:lnTo>
                  <a:lnTo>
                    <a:pt x="542505" y="49072"/>
                  </a:lnTo>
                  <a:lnTo>
                    <a:pt x="548093" y="1079"/>
                  </a:lnTo>
                  <a:close/>
                </a:path>
              </a:pathLst>
            </a:custGeom>
            <a:solidFill>
              <a:srgbClr val="7ED3F1"/>
            </a:solidFill>
          </p:spPr>
          <p:txBody>
            <a:bodyPr wrap="square" lIns="0" tIns="0" rIns="0" bIns="0" rtlCol="0"/>
            <a:lstStyle/>
            <a:p>
              <a:endParaRPr dirty="0"/>
            </a:p>
          </p:txBody>
        </p:sp>
        <p:pic>
          <p:nvPicPr>
            <p:cNvPr id="94" name="object 92">
              <a:extLst>
                <a:ext uri="{FF2B5EF4-FFF2-40B4-BE49-F238E27FC236}">
                  <a16:creationId xmlns:a16="http://schemas.microsoft.com/office/drawing/2014/main" id="{8923705C-9829-D088-84DE-71C8CF64C6B3}"/>
                </a:ext>
              </a:extLst>
            </p:cNvPr>
            <p:cNvPicPr/>
            <p:nvPr/>
          </p:nvPicPr>
          <p:blipFill>
            <a:blip r:embed="rId6" cstate="print"/>
            <a:stretch>
              <a:fillRect/>
            </a:stretch>
          </p:blipFill>
          <p:spPr>
            <a:xfrm>
              <a:off x="10021726" y="5297596"/>
              <a:ext cx="106445" cy="107156"/>
            </a:xfrm>
            <a:prstGeom prst="rect">
              <a:avLst/>
            </a:prstGeom>
          </p:spPr>
        </p:pic>
        <p:sp>
          <p:nvSpPr>
            <p:cNvPr id="95" name="object 93">
              <a:extLst>
                <a:ext uri="{FF2B5EF4-FFF2-40B4-BE49-F238E27FC236}">
                  <a16:creationId xmlns:a16="http://schemas.microsoft.com/office/drawing/2014/main" id="{8D460DE3-EF7F-CDC6-704B-A65425F2A736}"/>
                </a:ext>
              </a:extLst>
            </p:cNvPr>
            <p:cNvSpPr/>
            <p:nvPr/>
          </p:nvSpPr>
          <p:spPr>
            <a:xfrm>
              <a:off x="9909078" y="6691912"/>
              <a:ext cx="332700" cy="165965"/>
            </a:xfrm>
            <a:custGeom>
              <a:avLst/>
              <a:gdLst/>
              <a:ahLst/>
              <a:cxnLst/>
              <a:rect l="l" t="t" r="r" b="b"/>
              <a:pathLst>
                <a:path w="548640" h="273684">
                  <a:moveTo>
                    <a:pt x="62560" y="273431"/>
                  </a:moveTo>
                  <a:lnTo>
                    <a:pt x="47904" y="269595"/>
                  </a:lnTo>
                  <a:lnTo>
                    <a:pt x="0" y="265544"/>
                  </a:lnTo>
                  <a:lnTo>
                    <a:pt x="889" y="273431"/>
                  </a:lnTo>
                  <a:lnTo>
                    <a:pt x="62560" y="273431"/>
                  </a:lnTo>
                  <a:close/>
                </a:path>
                <a:path w="548640" h="273684">
                  <a:moveTo>
                    <a:pt x="548081" y="266623"/>
                  </a:moveTo>
                  <a:lnTo>
                    <a:pt x="500367" y="270649"/>
                  </a:lnTo>
                  <a:lnTo>
                    <a:pt x="489724" y="273431"/>
                  </a:lnTo>
                  <a:lnTo>
                    <a:pt x="547281" y="273431"/>
                  </a:lnTo>
                  <a:lnTo>
                    <a:pt x="548081" y="266623"/>
                  </a:lnTo>
                  <a:close/>
                </a:path>
                <a:path w="548640" h="273684">
                  <a:moveTo>
                    <a:pt x="548081" y="1079"/>
                  </a:moveTo>
                  <a:lnTo>
                    <a:pt x="500367" y="5118"/>
                  </a:lnTo>
                  <a:lnTo>
                    <a:pt x="455841" y="16776"/>
                  </a:lnTo>
                  <a:lnTo>
                    <a:pt x="414604" y="35382"/>
                  </a:lnTo>
                  <a:lnTo>
                    <a:pt x="377342" y="60248"/>
                  </a:lnTo>
                  <a:lnTo>
                    <a:pt x="344716" y="90716"/>
                  </a:lnTo>
                  <a:lnTo>
                    <a:pt x="317411" y="126098"/>
                  </a:lnTo>
                  <a:lnTo>
                    <a:pt x="296075" y="165722"/>
                  </a:lnTo>
                  <a:lnTo>
                    <a:pt x="281419" y="208915"/>
                  </a:lnTo>
                  <a:lnTo>
                    <a:pt x="274078" y="255003"/>
                  </a:lnTo>
                  <a:lnTo>
                    <a:pt x="266915" y="208724"/>
                  </a:lnTo>
                  <a:lnTo>
                    <a:pt x="252349" y="165354"/>
                  </a:lnTo>
                  <a:lnTo>
                    <a:pt x="231089" y="125564"/>
                  </a:lnTo>
                  <a:lnTo>
                    <a:pt x="203796" y="90030"/>
                  </a:lnTo>
                  <a:lnTo>
                    <a:pt x="171145" y="59436"/>
                  </a:lnTo>
                  <a:lnTo>
                    <a:pt x="133832" y="34455"/>
                  </a:lnTo>
                  <a:lnTo>
                    <a:pt x="92532" y="15773"/>
                  </a:lnTo>
                  <a:lnTo>
                    <a:pt x="47904" y="4064"/>
                  </a:lnTo>
                  <a:lnTo>
                    <a:pt x="0" y="0"/>
                  </a:lnTo>
                  <a:lnTo>
                    <a:pt x="5448" y="48171"/>
                  </a:lnTo>
                  <a:lnTo>
                    <a:pt x="18846" y="93421"/>
                  </a:lnTo>
                  <a:lnTo>
                    <a:pt x="39458" y="135051"/>
                  </a:lnTo>
                  <a:lnTo>
                    <a:pt x="66548" y="172313"/>
                  </a:lnTo>
                  <a:lnTo>
                    <a:pt x="99390" y="204457"/>
                  </a:lnTo>
                  <a:lnTo>
                    <a:pt x="137248" y="230771"/>
                  </a:lnTo>
                  <a:lnTo>
                    <a:pt x="179374" y="250507"/>
                  </a:lnTo>
                  <a:lnTo>
                    <a:pt x="225044" y="262928"/>
                  </a:lnTo>
                  <a:lnTo>
                    <a:pt x="273519" y="267309"/>
                  </a:lnTo>
                  <a:lnTo>
                    <a:pt x="274739" y="267309"/>
                  </a:lnTo>
                  <a:lnTo>
                    <a:pt x="323088" y="262940"/>
                  </a:lnTo>
                  <a:lnTo>
                    <a:pt x="368642" y="250583"/>
                  </a:lnTo>
                  <a:lnTo>
                    <a:pt x="410679" y="230936"/>
                  </a:lnTo>
                  <a:lnTo>
                    <a:pt x="448462" y="204736"/>
                  </a:lnTo>
                  <a:lnTo>
                    <a:pt x="481266" y="172720"/>
                  </a:lnTo>
                  <a:lnTo>
                    <a:pt x="508368" y="135623"/>
                  </a:lnTo>
                  <a:lnTo>
                    <a:pt x="529018" y="94157"/>
                  </a:lnTo>
                  <a:lnTo>
                    <a:pt x="542493" y="49072"/>
                  </a:lnTo>
                  <a:lnTo>
                    <a:pt x="548081" y="1079"/>
                  </a:lnTo>
                  <a:close/>
                </a:path>
              </a:pathLst>
            </a:custGeom>
            <a:solidFill>
              <a:srgbClr val="7ED3F1"/>
            </a:solidFill>
          </p:spPr>
          <p:txBody>
            <a:bodyPr wrap="square" lIns="0" tIns="0" rIns="0" bIns="0" rtlCol="0"/>
            <a:lstStyle/>
            <a:p>
              <a:endParaRPr dirty="0"/>
            </a:p>
          </p:txBody>
        </p:sp>
        <p:pic>
          <p:nvPicPr>
            <p:cNvPr id="96" name="object 94">
              <a:extLst>
                <a:ext uri="{FF2B5EF4-FFF2-40B4-BE49-F238E27FC236}">
                  <a16:creationId xmlns:a16="http://schemas.microsoft.com/office/drawing/2014/main" id="{E797BE87-5F1B-89D0-E30C-A082BA3156A8}"/>
                </a:ext>
              </a:extLst>
            </p:cNvPr>
            <p:cNvPicPr/>
            <p:nvPr/>
          </p:nvPicPr>
          <p:blipFill>
            <a:blip r:embed="rId6" cstate="print"/>
            <a:stretch>
              <a:fillRect/>
            </a:stretch>
          </p:blipFill>
          <p:spPr>
            <a:xfrm>
              <a:off x="10021726" y="6605926"/>
              <a:ext cx="106445" cy="107156"/>
            </a:xfrm>
            <a:prstGeom prst="rect">
              <a:avLst/>
            </a:prstGeom>
          </p:spPr>
        </p:pic>
        <p:sp>
          <p:nvSpPr>
            <p:cNvPr id="97" name="object 95">
              <a:extLst>
                <a:ext uri="{FF2B5EF4-FFF2-40B4-BE49-F238E27FC236}">
                  <a16:creationId xmlns:a16="http://schemas.microsoft.com/office/drawing/2014/main" id="{BC8A69C2-E22F-CA90-7571-B0C8DDE491D5}"/>
                </a:ext>
              </a:extLst>
            </p:cNvPr>
            <p:cNvSpPr/>
            <p:nvPr/>
          </p:nvSpPr>
          <p:spPr>
            <a:xfrm>
              <a:off x="9523993" y="6479532"/>
              <a:ext cx="332700" cy="316141"/>
            </a:xfrm>
            <a:custGeom>
              <a:avLst/>
              <a:gdLst/>
              <a:ahLst/>
              <a:cxnLst/>
              <a:rect l="l" t="t" r="r" b="b"/>
              <a:pathLst>
                <a:path w="548640" h="521334">
                  <a:moveTo>
                    <a:pt x="548081" y="520852"/>
                  </a:moveTo>
                  <a:lnTo>
                    <a:pt x="542632" y="472694"/>
                  </a:lnTo>
                  <a:lnTo>
                    <a:pt x="529234" y="427431"/>
                  </a:lnTo>
                  <a:lnTo>
                    <a:pt x="508622" y="385800"/>
                  </a:lnTo>
                  <a:lnTo>
                    <a:pt x="481520" y="348551"/>
                  </a:lnTo>
                  <a:lnTo>
                    <a:pt x="448678" y="316395"/>
                  </a:lnTo>
                  <a:lnTo>
                    <a:pt x="410832" y="290093"/>
                  </a:lnTo>
                  <a:lnTo>
                    <a:pt x="368693" y="270357"/>
                  </a:lnTo>
                  <a:lnTo>
                    <a:pt x="323024" y="257924"/>
                  </a:lnTo>
                  <a:lnTo>
                    <a:pt x="274561" y="253555"/>
                  </a:lnTo>
                  <a:lnTo>
                    <a:pt x="273329" y="253555"/>
                  </a:lnTo>
                  <a:lnTo>
                    <a:pt x="224993" y="257911"/>
                  </a:lnTo>
                  <a:lnTo>
                    <a:pt x="179438" y="270281"/>
                  </a:lnTo>
                  <a:lnTo>
                    <a:pt x="137401" y="289915"/>
                  </a:lnTo>
                  <a:lnTo>
                    <a:pt x="99606" y="316115"/>
                  </a:lnTo>
                  <a:lnTo>
                    <a:pt x="66802" y="348132"/>
                  </a:lnTo>
                  <a:lnTo>
                    <a:pt x="39712" y="385229"/>
                  </a:lnTo>
                  <a:lnTo>
                    <a:pt x="19062" y="426694"/>
                  </a:lnTo>
                  <a:lnTo>
                    <a:pt x="5575" y="471792"/>
                  </a:lnTo>
                  <a:lnTo>
                    <a:pt x="0" y="519772"/>
                  </a:lnTo>
                  <a:lnTo>
                    <a:pt x="47713" y="515747"/>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27"/>
                  </a:lnTo>
                  <a:lnTo>
                    <a:pt x="295719" y="355498"/>
                  </a:lnTo>
                  <a:lnTo>
                    <a:pt x="316992" y="395300"/>
                  </a:lnTo>
                  <a:lnTo>
                    <a:pt x="344284" y="430834"/>
                  </a:lnTo>
                  <a:lnTo>
                    <a:pt x="376923" y="461429"/>
                  </a:lnTo>
                  <a:lnTo>
                    <a:pt x="414235" y="486410"/>
                  </a:lnTo>
                  <a:lnTo>
                    <a:pt x="455549" y="505091"/>
                  </a:lnTo>
                  <a:lnTo>
                    <a:pt x="500164" y="516801"/>
                  </a:lnTo>
                  <a:lnTo>
                    <a:pt x="548081" y="520852"/>
                  </a:lnTo>
                  <a:close/>
                </a:path>
                <a:path w="548640" h="521334">
                  <a:moveTo>
                    <a:pt x="548081" y="267322"/>
                  </a:moveTo>
                  <a:lnTo>
                    <a:pt x="542632" y="219138"/>
                  </a:lnTo>
                  <a:lnTo>
                    <a:pt x="529234" y="173875"/>
                  </a:lnTo>
                  <a:lnTo>
                    <a:pt x="508622" y="132245"/>
                  </a:lnTo>
                  <a:lnTo>
                    <a:pt x="481533" y="94996"/>
                  </a:lnTo>
                  <a:lnTo>
                    <a:pt x="448691" y="62839"/>
                  </a:lnTo>
                  <a:lnTo>
                    <a:pt x="433158" y="52057"/>
                  </a:lnTo>
                  <a:lnTo>
                    <a:pt x="410832" y="36537"/>
                  </a:lnTo>
                  <a:lnTo>
                    <a:pt x="368706" y="16814"/>
                  </a:lnTo>
                  <a:lnTo>
                    <a:pt x="323024" y="4368"/>
                  </a:lnTo>
                  <a:lnTo>
                    <a:pt x="274561" y="12"/>
                  </a:lnTo>
                  <a:lnTo>
                    <a:pt x="273329" y="0"/>
                  </a:lnTo>
                  <a:lnTo>
                    <a:pt x="224993" y="4356"/>
                  </a:lnTo>
                  <a:lnTo>
                    <a:pt x="179438" y="16713"/>
                  </a:lnTo>
                  <a:lnTo>
                    <a:pt x="137401" y="36360"/>
                  </a:lnTo>
                  <a:lnTo>
                    <a:pt x="99606" y="62560"/>
                  </a:lnTo>
                  <a:lnTo>
                    <a:pt x="66802" y="94576"/>
                  </a:lnTo>
                  <a:lnTo>
                    <a:pt x="39687" y="131686"/>
                  </a:lnTo>
                  <a:lnTo>
                    <a:pt x="19037" y="173139"/>
                  </a:lnTo>
                  <a:lnTo>
                    <a:pt x="5562" y="218211"/>
                  </a:lnTo>
                  <a:lnTo>
                    <a:pt x="0" y="266192"/>
                  </a:lnTo>
                  <a:lnTo>
                    <a:pt x="47713" y="262178"/>
                  </a:lnTo>
                  <a:lnTo>
                    <a:pt x="92240" y="250520"/>
                  </a:lnTo>
                  <a:lnTo>
                    <a:pt x="133464" y="231914"/>
                  </a:lnTo>
                  <a:lnTo>
                    <a:pt x="170738" y="207048"/>
                  </a:lnTo>
                  <a:lnTo>
                    <a:pt x="203365" y="176593"/>
                  </a:lnTo>
                  <a:lnTo>
                    <a:pt x="230670" y="141211"/>
                  </a:lnTo>
                  <a:lnTo>
                    <a:pt x="252006" y="101600"/>
                  </a:lnTo>
                  <a:lnTo>
                    <a:pt x="266661" y="58407"/>
                  </a:lnTo>
                  <a:lnTo>
                    <a:pt x="273989" y="12357"/>
                  </a:lnTo>
                  <a:lnTo>
                    <a:pt x="281165" y="58572"/>
                  </a:lnTo>
                  <a:lnTo>
                    <a:pt x="295719" y="101942"/>
                  </a:lnTo>
                  <a:lnTo>
                    <a:pt x="316992" y="141744"/>
                  </a:lnTo>
                  <a:lnTo>
                    <a:pt x="344284" y="177279"/>
                  </a:lnTo>
                  <a:lnTo>
                    <a:pt x="376923" y="207873"/>
                  </a:lnTo>
                  <a:lnTo>
                    <a:pt x="414235" y="232854"/>
                  </a:lnTo>
                  <a:lnTo>
                    <a:pt x="455549" y="251548"/>
                  </a:lnTo>
                  <a:lnTo>
                    <a:pt x="500176" y="263258"/>
                  </a:lnTo>
                  <a:lnTo>
                    <a:pt x="548081" y="267322"/>
                  </a:lnTo>
                  <a:close/>
                </a:path>
              </a:pathLst>
            </a:custGeom>
            <a:solidFill>
              <a:srgbClr val="2DB7EA"/>
            </a:solidFill>
          </p:spPr>
          <p:txBody>
            <a:bodyPr wrap="square" lIns="0" tIns="0" rIns="0" bIns="0" rtlCol="0"/>
            <a:lstStyle/>
            <a:p>
              <a:endParaRPr dirty="0"/>
            </a:p>
          </p:txBody>
        </p:sp>
        <p:pic>
          <p:nvPicPr>
            <p:cNvPr id="98" name="object 96">
              <a:extLst>
                <a:ext uri="{FF2B5EF4-FFF2-40B4-BE49-F238E27FC236}">
                  <a16:creationId xmlns:a16="http://schemas.microsoft.com/office/drawing/2014/main" id="{E35056FC-CA14-F42D-6E86-D906D861D75F}"/>
                </a:ext>
              </a:extLst>
            </p:cNvPr>
            <p:cNvPicPr/>
            <p:nvPr/>
          </p:nvPicPr>
          <p:blipFill>
            <a:blip r:embed="rId19" cstate="print"/>
            <a:stretch>
              <a:fillRect/>
            </a:stretch>
          </p:blipFill>
          <p:spPr>
            <a:xfrm>
              <a:off x="9560079" y="6794307"/>
              <a:ext cx="260142" cy="63416"/>
            </a:xfrm>
            <a:prstGeom prst="rect">
              <a:avLst/>
            </a:prstGeom>
          </p:spPr>
        </p:pic>
        <p:sp>
          <p:nvSpPr>
            <p:cNvPr id="99" name="object 97">
              <a:extLst>
                <a:ext uri="{FF2B5EF4-FFF2-40B4-BE49-F238E27FC236}">
                  <a16:creationId xmlns:a16="http://schemas.microsoft.com/office/drawing/2014/main" id="{EC147AC1-2447-AA73-4B11-ED87DFD3F31E}"/>
                </a:ext>
              </a:extLst>
            </p:cNvPr>
            <p:cNvSpPr/>
            <p:nvPr/>
          </p:nvSpPr>
          <p:spPr>
            <a:xfrm>
              <a:off x="9523993" y="5171198"/>
              <a:ext cx="332700" cy="477101"/>
            </a:xfrm>
            <a:custGeom>
              <a:avLst/>
              <a:gdLst/>
              <a:ahLst/>
              <a:cxnLst/>
              <a:rect l="l" t="t" r="r" b="b"/>
              <a:pathLst>
                <a:path w="548640" h="786765">
                  <a:moveTo>
                    <a:pt x="548081" y="786396"/>
                  </a:moveTo>
                  <a:lnTo>
                    <a:pt x="542632" y="738225"/>
                  </a:lnTo>
                  <a:lnTo>
                    <a:pt x="529234" y="692975"/>
                  </a:lnTo>
                  <a:lnTo>
                    <a:pt x="508622" y="651344"/>
                  </a:lnTo>
                  <a:lnTo>
                    <a:pt x="481520" y="614083"/>
                  </a:lnTo>
                  <a:lnTo>
                    <a:pt x="448678" y="581939"/>
                  </a:lnTo>
                  <a:lnTo>
                    <a:pt x="410832" y="555625"/>
                  </a:lnTo>
                  <a:lnTo>
                    <a:pt x="368693" y="535889"/>
                  </a:lnTo>
                  <a:lnTo>
                    <a:pt x="323024" y="523468"/>
                  </a:lnTo>
                  <a:lnTo>
                    <a:pt x="274561" y="519087"/>
                  </a:lnTo>
                  <a:lnTo>
                    <a:pt x="273329" y="519087"/>
                  </a:lnTo>
                  <a:lnTo>
                    <a:pt x="224993" y="523455"/>
                  </a:lnTo>
                  <a:lnTo>
                    <a:pt x="179438" y="535813"/>
                  </a:lnTo>
                  <a:lnTo>
                    <a:pt x="137401" y="555459"/>
                  </a:lnTo>
                  <a:lnTo>
                    <a:pt x="99606" y="581660"/>
                  </a:lnTo>
                  <a:lnTo>
                    <a:pt x="66802" y="613676"/>
                  </a:lnTo>
                  <a:lnTo>
                    <a:pt x="39712" y="650773"/>
                  </a:lnTo>
                  <a:lnTo>
                    <a:pt x="19062" y="692238"/>
                  </a:lnTo>
                  <a:lnTo>
                    <a:pt x="5575" y="737323"/>
                  </a:lnTo>
                  <a:lnTo>
                    <a:pt x="0" y="785317"/>
                  </a:lnTo>
                  <a:lnTo>
                    <a:pt x="47713" y="781278"/>
                  </a:lnTo>
                  <a:lnTo>
                    <a:pt x="92240" y="769620"/>
                  </a:lnTo>
                  <a:lnTo>
                    <a:pt x="133464" y="751027"/>
                  </a:lnTo>
                  <a:lnTo>
                    <a:pt x="170738" y="726147"/>
                  </a:lnTo>
                  <a:lnTo>
                    <a:pt x="203352"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35" y="751941"/>
                  </a:lnTo>
                  <a:lnTo>
                    <a:pt x="455549" y="770623"/>
                  </a:lnTo>
                  <a:lnTo>
                    <a:pt x="500164" y="782332"/>
                  </a:lnTo>
                  <a:lnTo>
                    <a:pt x="548081" y="786396"/>
                  </a:lnTo>
                  <a:close/>
                </a:path>
                <a:path w="548640" h="786765">
                  <a:moveTo>
                    <a:pt x="548081" y="520865"/>
                  </a:moveTo>
                  <a:lnTo>
                    <a:pt x="542632" y="472706"/>
                  </a:lnTo>
                  <a:lnTo>
                    <a:pt x="529234" y="427443"/>
                  </a:lnTo>
                  <a:lnTo>
                    <a:pt x="508622" y="385813"/>
                  </a:lnTo>
                  <a:lnTo>
                    <a:pt x="481520" y="348551"/>
                  </a:lnTo>
                  <a:lnTo>
                    <a:pt x="448678" y="316407"/>
                  </a:lnTo>
                  <a:lnTo>
                    <a:pt x="410832" y="290093"/>
                  </a:lnTo>
                  <a:lnTo>
                    <a:pt x="368693" y="270357"/>
                  </a:lnTo>
                  <a:lnTo>
                    <a:pt x="323024" y="257937"/>
                  </a:lnTo>
                  <a:lnTo>
                    <a:pt x="274561" y="253568"/>
                  </a:lnTo>
                  <a:lnTo>
                    <a:pt x="273329" y="253568"/>
                  </a:lnTo>
                  <a:lnTo>
                    <a:pt x="224993" y="257924"/>
                  </a:lnTo>
                  <a:lnTo>
                    <a:pt x="179438" y="270281"/>
                  </a:lnTo>
                  <a:lnTo>
                    <a:pt x="137401" y="289928"/>
                  </a:lnTo>
                  <a:lnTo>
                    <a:pt x="99606" y="316128"/>
                  </a:lnTo>
                  <a:lnTo>
                    <a:pt x="66802" y="348132"/>
                  </a:lnTo>
                  <a:lnTo>
                    <a:pt x="39712" y="385241"/>
                  </a:lnTo>
                  <a:lnTo>
                    <a:pt x="19062" y="426694"/>
                  </a:lnTo>
                  <a:lnTo>
                    <a:pt x="5575" y="471792"/>
                  </a:lnTo>
                  <a:lnTo>
                    <a:pt x="0" y="519772"/>
                  </a:lnTo>
                  <a:lnTo>
                    <a:pt x="47713" y="515734"/>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5">
                  <a:moveTo>
                    <a:pt x="548081" y="267322"/>
                  </a:moveTo>
                  <a:lnTo>
                    <a:pt x="542632" y="219151"/>
                  </a:lnTo>
                  <a:lnTo>
                    <a:pt x="529234" y="173875"/>
                  </a:lnTo>
                  <a:lnTo>
                    <a:pt x="508622" y="132245"/>
                  </a:lnTo>
                  <a:lnTo>
                    <a:pt x="481533" y="94996"/>
                  </a:lnTo>
                  <a:lnTo>
                    <a:pt x="449376" y="63525"/>
                  </a:lnTo>
                  <a:lnTo>
                    <a:pt x="448691" y="62852"/>
                  </a:lnTo>
                  <a:lnTo>
                    <a:pt x="410832" y="36537"/>
                  </a:lnTo>
                  <a:lnTo>
                    <a:pt x="368706" y="16814"/>
                  </a:lnTo>
                  <a:lnTo>
                    <a:pt x="323037" y="4394"/>
                  </a:lnTo>
                  <a:lnTo>
                    <a:pt x="274561" y="12"/>
                  </a:lnTo>
                  <a:lnTo>
                    <a:pt x="273329" y="0"/>
                  </a:lnTo>
                  <a:lnTo>
                    <a:pt x="224993" y="4356"/>
                  </a:lnTo>
                  <a:lnTo>
                    <a:pt x="179438" y="16725"/>
                  </a:lnTo>
                  <a:lnTo>
                    <a:pt x="137401" y="36372"/>
                  </a:lnTo>
                  <a:lnTo>
                    <a:pt x="99606" y="62560"/>
                  </a:lnTo>
                  <a:lnTo>
                    <a:pt x="66802" y="94576"/>
                  </a:lnTo>
                  <a:lnTo>
                    <a:pt x="39687" y="131686"/>
                  </a:lnTo>
                  <a:lnTo>
                    <a:pt x="19037" y="173139"/>
                  </a:lnTo>
                  <a:lnTo>
                    <a:pt x="5562" y="218211"/>
                  </a:lnTo>
                  <a:lnTo>
                    <a:pt x="0" y="266192"/>
                  </a:lnTo>
                  <a:lnTo>
                    <a:pt x="47713" y="262178"/>
                  </a:lnTo>
                  <a:lnTo>
                    <a:pt x="92240" y="250520"/>
                  </a:lnTo>
                  <a:lnTo>
                    <a:pt x="133464" y="231927"/>
                  </a:lnTo>
                  <a:lnTo>
                    <a:pt x="170738" y="207048"/>
                  </a:lnTo>
                  <a:lnTo>
                    <a:pt x="203365" y="176593"/>
                  </a:lnTo>
                  <a:lnTo>
                    <a:pt x="230670" y="141211"/>
                  </a:lnTo>
                  <a:lnTo>
                    <a:pt x="252006" y="101600"/>
                  </a:lnTo>
                  <a:lnTo>
                    <a:pt x="266661" y="58407"/>
                  </a:lnTo>
                  <a:lnTo>
                    <a:pt x="273989" y="12357"/>
                  </a:lnTo>
                  <a:lnTo>
                    <a:pt x="280047" y="51409"/>
                  </a:lnTo>
                  <a:lnTo>
                    <a:pt x="295719" y="101942"/>
                  </a:lnTo>
                  <a:lnTo>
                    <a:pt x="316992" y="141744"/>
                  </a:lnTo>
                  <a:lnTo>
                    <a:pt x="344284" y="177279"/>
                  </a:lnTo>
                  <a:lnTo>
                    <a:pt x="376923" y="207873"/>
                  </a:lnTo>
                  <a:lnTo>
                    <a:pt x="414248" y="232867"/>
                  </a:lnTo>
                  <a:lnTo>
                    <a:pt x="455549" y="251548"/>
                  </a:lnTo>
                  <a:lnTo>
                    <a:pt x="500176" y="263258"/>
                  </a:lnTo>
                  <a:lnTo>
                    <a:pt x="548081" y="267322"/>
                  </a:lnTo>
                  <a:close/>
                </a:path>
              </a:pathLst>
            </a:custGeom>
            <a:solidFill>
              <a:srgbClr val="2DB7EA"/>
            </a:solidFill>
          </p:spPr>
          <p:txBody>
            <a:bodyPr wrap="square" lIns="0" tIns="0" rIns="0" bIns="0" rtlCol="0"/>
            <a:lstStyle/>
            <a:p>
              <a:endParaRPr dirty="0"/>
            </a:p>
          </p:txBody>
        </p:sp>
        <p:pic>
          <p:nvPicPr>
            <p:cNvPr id="100" name="object 98">
              <a:extLst>
                <a:ext uri="{FF2B5EF4-FFF2-40B4-BE49-F238E27FC236}">
                  <a16:creationId xmlns:a16="http://schemas.microsoft.com/office/drawing/2014/main" id="{4D867446-D4E5-BF8C-E51C-4129DBF9BD06}"/>
                </a:ext>
              </a:extLst>
            </p:cNvPr>
            <p:cNvPicPr/>
            <p:nvPr/>
          </p:nvPicPr>
          <p:blipFill>
            <a:blip r:embed="rId8" cstate="print"/>
            <a:stretch>
              <a:fillRect/>
            </a:stretch>
          </p:blipFill>
          <p:spPr>
            <a:xfrm>
              <a:off x="9637261" y="5626898"/>
              <a:ext cx="106445" cy="107156"/>
            </a:xfrm>
            <a:prstGeom prst="rect">
              <a:avLst/>
            </a:prstGeom>
          </p:spPr>
        </p:pic>
        <p:sp>
          <p:nvSpPr>
            <p:cNvPr id="101" name="object 99">
              <a:extLst>
                <a:ext uri="{FF2B5EF4-FFF2-40B4-BE49-F238E27FC236}">
                  <a16:creationId xmlns:a16="http://schemas.microsoft.com/office/drawing/2014/main" id="{6F1DED9E-ADAE-4581-3119-94C5AAA5C754}"/>
                </a:ext>
              </a:extLst>
            </p:cNvPr>
            <p:cNvSpPr/>
            <p:nvPr/>
          </p:nvSpPr>
          <p:spPr>
            <a:xfrm>
              <a:off x="9523993" y="5825360"/>
              <a:ext cx="332700" cy="477101"/>
            </a:xfrm>
            <a:custGeom>
              <a:avLst/>
              <a:gdLst/>
              <a:ahLst/>
              <a:cxnLst/>
              <a:rect l="l" t="t" r="r" b="b"/>
              <a:pathLst>
                <a:path w="548640" h="786765">
                  <a:moveTo>
                    <a:pt x="548081" y="786396"/>
                  </a:moveTo>
                  <a:lnTo>
                    <a:pt x="542632" y="738238"/>
                  </a:lnTo>
                  <a:lnTo>
                    <a:pt x="529234" y="692975"/>
                  </a:lnTo>
                  <a:lnTo>
                    <a:pt x="508622" y="651344"/>
                  </a:lnTo>
                  <a:lnTo>
                    <a:pt x="481520" y="614095"/>
                  </a:lnTo>
                  <a:lnTo>
                    <a:pt x="448678" y="581939"/>
                  </a:lnTo>
                  <a:lnTo>
                    <a:pt x="410832" y="555637"/>
                  </a:lnTo>
                  <a:lnTo>
                    <a:pt x="368693" y="535901"/>
                  </a:lnTo>
                  <a:lnTo>
                    <a:pt x="323024" y="523481"/>
                  </a:lnTo>
                  <a:lnTo>
                    <a:pt x="274561" y="519099"/>
                  </a:lnTo>
                  <a:lnTo>
                    <a:pt x="273329" y="519099"/>
                  </a:lnTo>
                  <a:lnTo>
                    <a:pt x="224993" y="523455"/>
                  </a:lnTo>
                  <a:lnTo>
                    <a:pt x="179438" y="535825"/>
                  </a:lnTo>
                  <a:lnTo>
                    <a:pt x="137401" y="555472"/>
                  </a:lnTo>
                  <a:lnTo>
                    <a:pt x="99606" y="581660"/>
                  </a:lnTo>
                  <a:lnTo>
                    <a:pt x="66802" y="613676"/>
                  </a:lnTo>
                  <a:lnTo>
                    <a:pt x="39712" y="650773"/>
                  </a:lnTo>
                  <a:lnTo>
                    <a:pt x="19062" y="692238"/>
                  </a:lnTo>
                  <a:lnTo>
                    <a:pt x="5575" y="737323"/>
                  </a:lnTo>
                  <a:lnTo>
                    <a:pt x="0" y="785304"/>
                  </a:lnTo>
                  <a:lnTo>
                    <a:pt x="47713" y="781278"/>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35"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78" y="316407"/>
                  </a:lnTo>
                  <a:lnTo>
                    <a:pt x="410832" y="290093"/>
                  </a:lnTo>
                  <a:lnTo>
                    <a:pt x="368693" y="270370"/>
                  </a:lnTo>
                  <a:lnTo>
                    <a:pt x="323024" y="257937"/>
                  </a:lnTo>
                  <a:lnTo>
                    <a:pt x="274561" y="253555"/>
                  </a:lnTo>
                  <a:lnTo>
                    <a:pt x="273329" y="253555"/>
                  </a:lnTo>
                  <a:lnTo>
                    <a:pt x="224993" y="257924"/>
                  </a:lnTo>
                  <a:lnTo>
                    <a:pt x="179438" y="270294"/>
                  </a:lnTo>
                  <a:lnTo>
                    <a:pt x="137401" y="289928"/>
                  </a:lnTo>
                  <a:lnTo>
                    <a:pt x="99606" y="316128"/>
                  </a:lnTo>
                  <a:lnTo>
                    <a:pt x="66802" y="348145"/>
                  </a:lnTo>
                  <a:lnTo>
                    <a:pt x="39712" y="385241"/>
                  </a:lnTo>
                  <a:lnTo>
                    <a:pt x="19062" y="426694"/>
                  </a:lnTo>
                  <a:lnTo>
                    <a:pt x="5575" y="471792"/>
                  </a:lnTo>
                  <a:lnTo>
                    <a:pt x="0" y="519772"/>
                  </a:lnTo>
                  <a:lnTo>
                    <a:pt x="47713" y="515734"/>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5">
                  <a:moveTo>
                    <a:pt x="548081" y="267322"/>
                  </a:moveTo>
                  <a:lnTo>
                    <a:pt x="542632" y="219151"/>
                  </a:lnTo>
                  <a:lnTo>
                    <a:pt x="529234" y="173888"/>
                  </a:lnTo>
                  <a:lnTo>
                    <a:pt x="508622" y="132257"/>
                  </a:lnTo>
                  <a:lnTo>
                    <a:pt x="481533" y="94996"/>
                  </a:lnTo>
                  <a:lnTo>
                    <a:pt x="448691" y="62852"/>
                  </a:lnTo>
                  <a:lnTo>
                    <a:pt x="433158" y="52070"/>
                  </a:lnTo>
                  <a:lnTo>
                    <a:pt x="410832" y="36550"/>
                  </a:lnTo>
                  <a:lnTo>
                    <a:pt x="368706" y="16814"/>
                  </a:lnTo>
                  <a:lnTo>
                    <a:pt x="323037" y="4394"/>
                  </a:lnTo>
                  <a:lnTo>
                    <a:pt x="274561" y="0"/>
                  </a:lnTo>
                  <a:lnTo>
                    <a:pt x="273329" y="0"/>
                  </a:lnTo>
                  <a:lnTo>
                    <a:pt x="224993" y="4356"/>
                  </a:lnTo>
                  <a:lnTo>
                    <a:pt x="179438" y="16725"/>
                  </a:lnTo>
                  <a:lnTo>
                    <a:pt x="137401" y="36372"/>
                  </a:lnTo>
                  <a:lnTo>
                    <a:pt x="99606" y="62572"/>
                  </a:lnTo>
                  <a:lnTo>
                    <a:pt x="66802" y="94576"/>
                  </a:lnTo>
                  <a:lnTo>
                    <a:pt x="39687" y="131686"/>
                  </a:lnTo>
                  <a:lnTo>
                    <a:pt x="19037" y="173139"/>
                  </a:lnTo>
                  <a:lnTo>
                    <a:pt x="5562" y="218224"/>
                  </a:lnTo>
                  <a:lnTo>
                    <a:pt x="0" y="266192"/>
                  </a:lnTo>
                  <a:lnTo>
                    <a:pt x="47713" y="262178"/>
                  </a:lnTo>
                  <a:lnTo>
                    <a:pt x="92240" y="250532"/>
                  </a:lnTo>
                  <a:lnTo>
                    <a:pt x="133464" y="231927"/>
                  </a:lnTo>
                  <a:lnTo>
                    <a:pt x="170738" y="207060"/>
                  </a:lnTo>
                  <a:lnTo>
                    <a:pt x="187604" y="191312"/>
                  </a:lnTo>
                  <a:lnTo>
                    <a:pt x="203365" y="176593"/>
                  </a:lnTo>
                  <a:lnTo>
                    <a:pt x="230670" y="141224"/>
                  </a:lnTo>
                  <a:lnTo>
                    <a:pt x="252006" y="101600"/>
                  </a:lnTo>
                  <a:lnTo>
                    <a:pt x="266661" y="58407"/>
                  </a:lnTo>
                  <a:lnTo>
                    <a:pt x="273989" y="12369"/>
                  </a:lnTo>
                  <a:lnTo>
                    <a:pt x="281165" y="58585"/>
                  </a:lnTo>
                  <a:lnTo>
                    <a:pt x="295719" y="101955"/>
                  </a:lnTo>
                  <a:lnTo>
                    <a:pt x="316992" y="141744"/>
                  </a:lnTo>
                  <a:lnTo>
                    <a:pt x="344284" y="177279"/>
                  </a:lnTo>
                  <a:lnTo>
                    <a:pt x="376923" y="207886"/>
                  </a:lnTo>
                  <a:lnTo>
                    <a:pt x="414248" y="232867"/>
                  </a:lnTo>
                  <a:lnTo>
                    <a:pt x="455549" y="251561"/>
                  </a:lnTo>
                  <a:lnTo>
                    <a:pt x="500176" y="263271"/>
                  </a:lnTo>
                  <a:lnTo>
                    <a:pt x="548081" y="267322"/>
                  </a:lnTo>
                  <a:close/>
                </a:path>
              </a:pathLst>
            </a:custGeom>
            <a:solidFill>
              <a:srgbClr val="7ED3F1"/>
            </a:solidFill>
          </p:spPr>
          <p:txBody>
            <a:bodyPr wrap="square" lIns="0" tIns="0" rIns="0" bIns="0" rtlCol="0"/>
            <a:lstStyle/>
            <a:p>
              <a:endParaRPr dirty="0"/>
            </a:p>
          </p:txBody>
        </p:sp>
        <p:pic>
          <p:nvPicPr>
            <p:cNvPr id="102" name="object 100">
              <a:extLst>
                <a:ext uri="{FF2B5EF4-FFF2-40B4-BE49-F238E27FC236}">
                  <a16:creationId xmlns:a16="http://schemas.microsoft.com/office/drawing/2014/main" id="{F009D35C-62E7-C234-8CC6-B656418DD984}"/>
                </a:ext>
              </a:extLst>
            </p:cNvPr>
            <p:cNvPicPr/>
            <p:nvPr/>
          </p:nvPicPr>
          <p:blipFill>
            <a:blip r:embed="rId9" cstate="print"/>
            <a:stretch>
              <a:fillRect/>
            </a:stretch>
          </p:blipFill>
          <p:spPr>
            <a:xfrm>
              <a:off x="9637261" y="6281064"/>
              <a:ext cx="106445" cy="107156"/>
            </a:xfrm>
            <a:prstGeom prst="rect">
              <a:avLst/>
            </a:prstGeom>
          </p:spPr>
        </p:pic>
        <p:sp>
          <p:nvSpPr>
            <p:cNvPr id="103" name="object 101">
              <a:extLst>
                <a:ext uri="{FF2B5EF4-FFF2-40B4-BE49-F238E27FC236}">
                  <a16:creationId xmlns:a16="http://schemas.microsoft.com/office/drawing/2014/main" id="{04559601-95AB-4115-5F7B-5DB2DEFD9DA1}"/>
                </a:ext>
              </a:extLst>
            </p:cNvPr>
            <p:cNvSpPr/>
            <p:nvPr/>
          </p:nvSpPr>
          <p:spPr>
            <a:xfrm>
              <a:off x="10679200" y="804428"/>
              <a:ext cx="332700" cy="477101"/>
            </a:xfrm>
            <a:custGeom>
              <a:avLst/>
              <a:gdLst/>
              <a:ahLst/>
              <a:cxnLst/>
              <a:rect l="l" t="t" r="r" b="b"/>
              <a:pathLst>
                <a:path w="548640" h="786764">
                  <a:moveTo>
                    <a:pt x="548043" y="266598"/>
                  </a:moveTo>
                  <a:lnTo>
                    <a:pt x="500380" y="270637"/>
                  </a:lnTo>
                  <a:lnTo>
                    <a:pt x="455853" y="282295"/>
                  </a:lnTo>
                  <a:lnTo>
                    <a:pt x="414616" y="300901"/>
                  </a:lnTo>
                  <a:lnTo>
                    <a:pt x="377355" y="325767"/>
                  </a:lnTo>
                  <a:lnTo>
                    <a:pt x="344728" y="356235"/>
                  </a:lnTo>
                  <a:lnTo>
                    <a:pt x="317411" y="391617"/>
                  </a:lnTo>
                  <a:lnTo>
                    <a:pt x="296087" y="431241"/>
                  </a:lnTo>
                  <a:lnTo>
                    <a:pt x="281432" y="474433"/>
                  </a:lnTo>
                  <a:lnTo>
                    <a:pt x="274091" y="520522"/>
                  </a:lnTo>
                  <a:lnTo>
                    <a:pt x="266915" y="474256"/>
                  </a:lnTo>
                  <a:lnTo>
                    <a:pt x="252361" y="430872"/>
                  </a:lnTo>
                  <a:lnTo>
                    <a:pt x="231101" y="391083"/>
                  </a:lnTo>
                  <a:lnTo>
                    <a:pt x="203809" y="355549"/>
                  </a:lnTo>
                  <a:lnTo>
                    <a:pt x="171157" y="324954"/>
                  </a:lnTo>
                  <a:lnTo>
                    <a:pt x="133845" y="299974"/>
                  </a:lnTo>
                  <a:lnTo>
                    <a:pt x="92544" y="281292"/>
                  </a:lnTo>
                  <a:lnTo>
                    <a:pt x="47917" y="269582"/>
                  </a:lnTo>
                  <a:lnTo>
                    <a:pt x="12" y="265531"/>
                  </a:lnTo>
                  <a:lnTo>
                    <a:pt x="5461" y="313690"/>
                  </a:lnTo>
                  <a:lnTo>
                    <a:pt x="18846" y="358952"/>
                  </a:lnTo>
                  <a:lnTo>
                    <a:pt x="39471" y="400570"/>
                  </a:lnTo>
                  <a:lnTo>
                    <a:pt x="66560" y="437832"/>
                  </a:lnTo>
                  <a:lnTo>
                    <a:pt x="99402" y="469988"/>
                  </a:lnTo>
                  <a:lnTo>
                    <a:pt x="137261" y="496290"/>
                  </a:lnTo>
                  <a:lnTo>
                    <a:pt x="179387" y="516026"/>
                  </a:lnTo>
                  <a:lnTo>
                    <a:pt x="225056" y="528447"/>
                  </a:lnTo>
                  <a:lnTo>
                    <a:pt x="273532" y="532828"/>
                  </a:lnTo>
                  <a:lnTo>
                    <a:pt x="274751" y="532828"/>
                  </a:lnTo>
                  <a:lnTo>
                    <a:pt x="323100" y="528472"/>
                  </a:lnTo>
                  <a:lnTo>
                    <a:pt x="368655" y="516102"/>
                  </a:lnTo>
                  <a:lnTo>
                    <a:pt x="410679" y="496455"/>
                  </a:lnTo>
                  <a:lnTo>
                    <a:pt x="448475" y="470268"/>
                  </a:lnTo>
                  <a:lnTo>
                    <a:pt x="481266" y="438251"/>
                  </a:lnTo>
                  <a:lnTo>
                    <a:pt x="508368" y="401142"/>
                  </a:lnTo>
                  <a:lnTo>
                    <a:pt x="529005" y="359689"/>
                  </a:lnTo>
                  <a:lnTo>
                    <a:pt x="542480" y="314591"/>
                  </a:lnTo>
                  <a:lnTo>
                    <a:pt x="548043" y="266598"/>
                  </a:lnTo>
                  <a:close/>
                </a:path>
                <a:path w="548640" h="786764">
                  <a:moveTo>
                    <a:pt x="548043" y="1079"/>
                  </a:moveTo>
                  <a:lnTo>
                    <a:pt x="500380" y="5105"/>
                  </a:lnTo>
                  <a:lnTo>
                    <a:pt x="455853" y="16764"/>
                  </a:lnTo>
                  <a:lnTo>
                    <a:pt x="414616" y="35369"/>
                  </a:lnTo>
                  <a:lnTo>
                    <a:pt x="377355" y="60236"/>
                  </a:lnTo>
                  <a:lnTo>
                    <a:pt x="344728" y="90703"/>
                  </a:lnTo>
                  <a:lnTo>
                    <a:pt x="317411" y="126085"/>
                  </a:lnTo>
                  <a:lnTo>
                    <a:pt x="296087" y="165709"/>
                  </a:lnTo>
                  <a:lnTo>
                    <a:pt x="281432" y="208902"/>
                  </a:lnTo>
                  <a:lnTo>
                    <a:pt x="274091" y="254990"/>
                  </a:lnTo>
                  <a:lnTo>
                    <a:pt x="266915"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46"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36"/>
                  </a:lnTo>
                  <a:lnTo>
                    <a:pt x="481266" y="172720"/>
                  </a:lnTo>
                  <a:lnTo>
                    <a:pt x="508368" y="135623"/>
                  </a:lnTo>
                  <a:lnTo>
                    <a:pt x="529005" y="94157"/>
                  </a:lnTo>
                  <a:lnTo>
                    <a:pt x="542480" y="49060"/>
                  </a:lnTo>
                  <a:lnTo>
                    <a:pt x="548043" y="1079"/>
                  </a:lnTo>
                  <a:close/>
                </a:path>
                <a:path w="548640" h="786764">
                  <a:moveTo>
                    <a:pt x="548093" y="520192"/>
                  </a:moveTo>
                  <a:lnTo>
                    <a:pt x="500380" y="524205"/>
                  </a:lnTo>
                  <a:lnTo>
                    <a:pt x="455853" y="535851"/>
                  </a:lnTo>
                  <a:lnTo>
                    <a:pt x="414616" y="554456"/>
                  </a:lnTo>
                  <a:lnTo>
                    <a:pt x="377355" y="579323"/>
                  </a:lnTo>
                  <a:lnTo>
                    <a:pt x="344728" y="609790"/>
                  </a:lnTo>
                  <a:lnTo>
                    <a:pt x="317411" y="645160"/>
                  </a:lnTo>
                  <a:lnTo>
                    <a:pt x="296087" y="684784"/>
                  </a:lnTo>
                  <a:lnTo>
                    <a:pt x="281419" y="727976"/>
                  </a:lnTo>
                  <a:lnTo>
                    <a:pt x="274091" y="774065"/>
                  </a:lnTo>
                  <a:lnTo>
                    <a:pt x="266915" y="727811"/>
                  </a:lnTo>
                  <a:lnTo>
                    <a:pt x="252361" y="684441"/>
                  </a:lnTo>
                  <a:lnTo>
                    <a:pt x="231101" y="644652"/>
                  </a:lnTo>
                  <a:lnTo>
                    <a:pt x="203809" y="609117"/>
                  </a:lnTo>
                  <a:lnTo>
                    <a:pt x="171157" y="578510"/>
                  </a:lnTo>
                  <a:lnTo>
                    <a:pt x="133845" y="553529"/>
                  </a:lnTo>
                  <a:lnTo>
                    <a:pt x="92544" y="534847"/>
                  </a:lnTo>
                  <a:lnTo>
                    <a:pt x="47917" y="523113"/>
                  </a:lnTo>
                  <a:lnTo>
                    <a:pt x="0" y="519061"/>
                  </a:lnTo>
                  <a:lnTo>
                    <a:pt x="5448" y="567232"/>
                  </a:lnTo>
                  <a:lnTo>
                    <a:pt x="18846" y="612508"/>
                  </a:lnTo>
                  <a:lnTo>
                    <a:pt x="39458" y="654126"/>
                  </a:lnTo>
                  <a:lnTo>
                    <a:pt x="66560" y="691388"/>
                  </a:lnTo>
                  <a:lnTo>
                    <a:pt x="99402" y="723544"/>
                  </a:lnTo>
                  <a:lnTo>
                    <a:pt x="137261" y="749858"/>
                  </a:lnTo>
                  <a:lnTo>
                    <a:pt x="179387" y="769594"/>
                  </a:lnTo>
                  <a:lnTo>
                    <a:pt x="225056" y="782015"/>
                  </a:lnTo>
                  <a:lnTo>
                    <a:pt x="273532" y="786384"/>
                  </a:lnTo>
                  <a:lnTo>
                    <a:pt x="274751" y="786384"/>
                  </a:lnTo>
                  <a:lnTo>
                    <a:pt x="323100" y="782027"/>
                  </a:lnTo>
                  <a:lnTo>
                    <a:pt x="368655" y="769670"/>
                  </a:lnTo>
                  <a:lnTo>
                    <a:pt x="410679" y="750023"/>
                  </a:lnTo>
                  <a:lnTo>
                    <a:pt x="448475" y="723823"/>
                  </a:lnTo>
                  <a:lnTo>
                    <a:pt x="448881" y="723430"/>
                  </a:lnTo>
                  <a:lnTo>
                    <a:pt x="481304" y="691794"/>
                  </a:lnTo>
                  <a:lnTo>
                    <a:pt x="508393" y="654697"/>
                  </a:lnTo>
                  <a:lnTo>
                    <a:pt x="529056"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104" name="object 102">
              <a:extLst>
                <a:ext uri="{FF2B5EF4-FFF2-40B4-BE49-F238E27FC236}">
                  <a16:creationId xmlns:a16="http://schemas.microsoft.com/office/drawing/2014/main" id="{E0E9480F-074A-CFA1-C374-03951A5DACCA}"/>
                </a:ext>
              </a:extLst>
            </p:cNvPr>
            <p:cNvPicPr/>
            <p:nvPr/>
          </p:nvPicPr>
          <p:blipFill>
            <a:blip r:embed="rId5" cstate="print"/>
            <a:stretch>
              <a:fillRect/>
            </a:stretch>
          </p:blipFill>
          <p:spPr>
            <a:xfrm>
              <a:off x="10791857" y="718433"/>
              <a:ext cx="106445" cy="107156"/>
            </a:xfrm>
            <a:prstGeom prst="rect">
              <a:avLst/>
            </a:prstGeom>
          </p:spPr>
        </p:pic>
        <p:sp>
          <p:nvSpPr>
            <p:cNvPr id="105" name="object 103">
              <a:extLst>
                <a:ext uri="{FF2B5EF4-FFF2-40B4-BE49-F238E27FC236}">
                  <a16:creationId xmlns:a16="http://schemas.microsoft.com/office/drawing/2014/main" id="{98E08A04-4A1C-5A77-D5C4-C358FC549B92}"/>
                </a:ext>
              </a:extLst>
            </p:cNvPr>
            <p:cNvSpPr/>
            <p:nvPr/>
          </p:nvSpPr>
          <p:spPr>
            <a:xfrm>
              <a:off x="10679200" y="150257"/>
              <a:ext cx="332700" cy="477101"/>
            </a:xfrm>
            <a:custGeom>
              <a:avLst/>
              <a:gdLst/>
              <a:ahLst/>
              <a:cxnLst/>
              <a:rect l="l" t="t" r="r" b="b"/>
              <a:pathLst>
                <a:path w="548640" h="786765">
                  <a:moveTo>
                    <a:pt x="548043" y="266611"/>
                  </a:moveTo>
                  <a:lnTo>
                    <a:pt x="500380" y="270649"/>
                  </a:lnTo>
                  <a:lnTo>
                    <a:pt x="455853" y="282308"/>
                  </a:lnTo>
                  <a:lnTo>
                    <a:pt x="414616" y="300901"/>
                  </a:lnTo>
                  <a:lnTo>
                    <a:pt x="377355" y="325767"/>
                  </a:lnTo>
                  <a:lnTo>
                    <a:pt x="344728" y="356235"/>
                  </a:lnTo>
                  <a:lnTo>
                    <a:pt x="317411" y="391617"/>
                  </a:lnTo>
                  <a:lnTo>
                    <a:pt x="296087" y="431253"/>
                  </a:lnTo>
                  <a:lnTo>
                    <a:pt x="281432" y="474446"/>
                  </a:lnTo>
                  <a:lnTo>
                    <a:pt x="274091" y="520534"/>
                  </a:lnTo>
                  <a:lnTo>
                    <a:pt x="266915" y="474256"/>
                  </a:lnTo>
                  <a:lnTo>
                    <a:pt x="252361" y="430885"/>
                  </a:lnTo>
                  <a:lnTo>
                    <a:pt x="231101" y="391096"/>
                  </a:lnTo>
                  <a:lnTo>
                    <a:pt x="203809" y="355561"/>
                  </a:lnTo>
                  <a:lnTo>
                    <a:pt x="171157" y="324954"/>
                  </a:lnTo>
                  <a:lnTo>
                    <a:pt x="133845" y="299974"/>
                  </a:lnTo>
                  <a:lnTo>
                    <a:pt x="92544" y="281292"/>
                  </a:lnTo>
                  <a:lnTo>
                    <a:pt x="47917" y="269582"/>
                  </a:lnTo>
                  <a:lnTo>
                    <a:pt x="12" y="265531"/>
                  </a:lnTo>
                  <a:lnTo>
                    <a:pt x="5461" y="313690"/>
                  </a:lnTo>
                  <a:lnTo>
                    <a:pt x="18846" y="358952"/>
                  </a:lnTo>
                  <a:lnTo>
                    <a:pt x="39471" y="400583"/>
                  </a:lnTo>
                  <a:lnTo>
                    <a:pt x="66560" y="437832"/>
                  </a:lnTo>
                  <a:lnTo>
                    <a:pt x="99402" y="469988"/>
                  </a:lnTo>
                  <a:lnTo>
                    <a:pt x="137261" y="496303"/>
                  </a:lnTo>
                  <a:lnTo>
                    <a:pt x="179387" y="516039"/>
                  </a:lnTo>
                  <a:lnTo>
                    <a:pt x="225056" y="528459"/>
                  </a:lnTo>
                  <a:lnTo>
                    <a:pt x="273532" y="532828"/>
                  </a:lnTo>
                  <a:lnTo>
                    <a:pt x="274751" y="532828"/>
                  </a:lnTo>
                  <a:lnTo>
                    <a:pt x="323100" y="528472"/>
                  </a:lnTo>
                  <a:lnTo>
                    <a:pt x="368655" y="516115"/>
                  </a:lnTo>
                  <a:lnTo>
                    <a:pt x="410679" y="496468"/>
                  </a:lnTo>
                  <a:lnTo>
                    <a:pt x="448475" y="470268"/>
                  </a:lnTo>
                  <a:lnTo>
                    <a:pt x="481266" y="438251"/>
                  </a:lnTo>
                  <a:lnTo>
                    <a:pt x="508368" y="401154"/>
                  </a:lnTo>
                  <a:lnTo>
                    <a:pt x="529005" y="359689"/>
                  </a:lnTo>
                  <a:lnTo>
                    <a:pt x="542480" y="314604"/>
                  </a:lnTo>
                  <a:lnTo>
                    <a:pt x="548043" y="266611"/>
                  </a:lnTo>
                  <a:close/>
                </a:path>
                <a:path w="548640" h="786765">
                  <a:moveTo>
                    <a:pt x="548043" y="1079"/>
                  </a:moveTo>
                  <a:lnTo>
                    <a:pt x="500380" y="5118"/>
                  </a:lnTo>
                  <a:lnTo>
                    <a:pt x="455853" y="16776"/>
                  </a:lnTo>
                  <a:lnTo>
                    <a:pt x="414616" y="35369"/>
                  </a:lnTo>
                  <a:lnTo>
                    <a:pt x="377355" y="60248"/>
                  </a:lnTo>
                  <a:lnTo>
                    <a:pt x="344728" y="90716"/>
                  </a:lnTo>
                  <a:lnTo>
                    <a:pt x="317411" y="126098"/>
                  </a:lnTo>
                  <a:lnTo>
                    <a:pt x="296087" y="165722"/>
                  </a:lnTo>
                  <a:lnTo>
                    <a:pt x="281432" y="208915"/>
                  </a:lnTo>
                  <a:lnTo>
                    <a:pt x="274091" y="255003"/>
                  </a:lnTo>
                  <a:lnTo>
                    <a:pt x="266915" y="208724"/>
                  </a:lnTo>
                  <a:lnTo>
                    <a:pt x="252361" y="165354"/>
                  </a:lnTo>
                  <a:lnTo>
                    <a:pt x="231101" y="125564"/>
                  </a:lnTo>
                  <a:lnTo>
                    <a:pt x="203809" y="90030"/>
                  </a:lnTo>
                  <a:lnTo>
                    <a:pt x="171157" y="59436"/>
                  </a:lnTo>
                  <a:lnTo>
                    <a:pt x="133845" y="34455"/>
                  </a:lnTo>
                  <a:lnTo>
                    <a:pt x="92544" y="15760"/>
                  </a:lnTo>
                  <a:lnTo>
                    <a:pt x="47917" y="4064"/>
                  </a:lnTo>
                  <a:lnTo>
                    <a:pt x="12" y="0"/>
                  </a:lnTo>
                  <a:lnTo>
                    <a:pt x="5461" y="48171"/>
                  </a:lnTo>
                  <a:lnTo>
                    <a:pt x="18846"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79" y="230936"/>
                  </a:lnTo>
                  <a:lnTo>
                    <a:pt x="448475" y="204736"/>
                  </a:lnTo>
                  <a:lnTo>
                    <a:pt x="481266" y="172732"/>
                  </a:lnTo>
                  <a:lnTo>
                    <a:pt x="508368" y="135623"/>
                  </a:lnTo>
                  <a:lnTo>
                    <a:pt x="529005" y="94157"/>
                  </a:lnTo>
                  <a:lnTo>
                    <a:pt x="542480" y="49072"/>
                  </a:lnTo>
                  <a:lnTo>
                    <a:pt x="548043" y="1079"/>
                  </a:lnTo>
                  <a:close/>
                </a:path>
                <a:path w="548640" h="786765">
                  <a:moveTo>
                    <a:pt x="548093" y="520204"/>
                  </a:moveTo>
                  <a:lnTo>
                    <a:pt x="500380" y="524205"/>
                  </a:lnTo>
                  <a:lnTo>
                    <a:pt x="455853" y="535863"/>
                  </a:lnTo>
                  <a:lnTo>
                    <a:pt x="414616" y="554469"/>
                  </a:lnTo>
                  <a:lnTo>
                    <a:pt x="377355" y="579335"/>
                  </a:lnTo>
                  <a:lnTo>
                    <a:pt x="344728" y="609803"/>
                  </a:lnTo>
                  <a:lnTo>
                    <a:pt x="317411" y="645172"/>
                  </a:lnTo>
                  <a:lnTo>
                    <a:pt x="296087" y="684796"/>
                  </a:lnTo>
                  <a:lnTo>
                    <a:pt x="281419" y="727976"/>
                  </a:lnTo>
                  <a:lnTo>
                    <a:pt x="274091" y="774065"/>
                  </a:lnTo>
                  <a:lnTo>
                    <a:pt x="266915" y="727824"/>
                  </a:lnTo>
                  <a:lnTo>
                    <a:pt x="252361" y="684453"/>
                  </a:lnTo>
                  <a:lnTo>
                    <a:pt x="231101" y="644652"/>
                  </a:lnTo>
                  <a:lnTo>
                    <a:pt x="203809" y="609117"/>
                  </a:lnTo>
                  <a:lnTo>
                    <a:pt x="171157" y="578523"/>
                  </a:lnTo>
                  <a:lnTo>
                    <a:pt x="133845" y="553542"/>
                  </a:lnTo>
                  <a:lnTo>
                    <a:pt x="92544" y="534835"/>
                  </a:lnTo>
                  <a:lnTo>
                    <a:pt x="47917" y="523125"/>
                  </a:lnTo>
                  <a:lnTo>
                    <a:pt x="0" y="519074"/>
                  </a:lnTo>
                  <a:lnTo>
                    <a:pt x="5448" y="567245"/>
                  </a:lnTo>
                  <a:lnTo>
                    <a:pt x="14871" y="599122"/>
                  </a:lnTo>
                  <a:lnTo>
                    <a:pt x="18846" y="612521"/>
                  </a:lnTo>
                  <a:lnTo>
                    <a:pt x="29057" y="633133"/>
                  </a:lnTo>
                  <a:lnTo>
                    <a:pt x="39458" y="654138"/>
                  </a:lnTo>
                  <a:lnTo>
                    <a:pt x="46850" y="66429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106" name="object 104">
              <a:extLst>
                <a:ext uri="{FF2B5EF4-FFF2-40B4-BE49-F238E27FC236}">
                  <a16:creationId xmlns:a16="http://schemas.microsoft.com/office/drawing/2014/main" id="{D8F13FB3-8E61-AD4D-D852-730D17A5443F}"/>
                </a:ext>
              </a:extLst>
            </p:cNvPr>
            <p:cNvPicPr/>
            <p:nvPr/>
          </p:nvPicPr>
          <p:blipFill>
            <a:blip r:embed="rId6" cstate="print"/>
            <a:stretch>
              <a:fillRect/>
            </a:stretch>
          </p:blipFill>
          <p:spPr>
            <a:xfrm>
              <a:off x="10791857" y="64269"/>
              <a:ext cx="106445" cy="107156"/>
            </a:xfrm>
            <a:prstGeom prst="rect">
              <a:avLst/>
            </a:prstGeom>
          </p:spPr>
        </p:pic>
        <p:sp>
          <p:nvSpPr>
            <p:cNvPr id="107" name="object 105">
              <a:extLst>
                <a:ext uri="{FF2B5EF4-FFF2-40B4-BE49-F238E27FC236}">
                  <a16:creationId xmlns:a16="http://schemas.microsoft.com/office/drawing/2014/main" id="{D9D1649F-A479-A82E-DEF1-5CF6C2D2E252}"/>
                </a:ext>
              </a:extLst>
            </p:cNvPr>
            <p:cNvSpPr/>
            <p:nvPr/>
          </p:nvSpPr>
          <p:spPr>
            <a:xfrm>
              <a:off x="10679200" y="2112754"/>
              <a:ext cx="332700" cy="477101"/>
            </a:xfrm>
            <a:custGeom>
              <a:avLst/>
              <a:gdLst/>
              <a:ahLst/>
              <a:cxnLst/>
              <a:rect l="l" t="t" r="r" b="b"/>
              <a:pathLst>
                <a:path w="548640" h="786764">
                  <a:moveTo>
                    <a:pt x="548043" y="266611"/>
                  </a:moveTo>
                  <a:lnTo>
                    <a:pt x="500380" y="270649"/>
                  </a:lnTo>
                  <a:lnTo>
                    <a:pt x="455853" y="282308"/>
                  </a:lnTo>
                  <a:lnTo>
                    <a:pt x="414616" y="300901"/>
                  </a:lnTo>
                  <a:lnTo>
                    <a:pt x="377355" y="325780"/>
                  </a:lnTo>
                  <a:lnTo>
                    <a:pt x="344728" y="356247"/>
                  </a:lnTo>
                  <a:lnTo>
                    <a:pt x="317411" y="391629"/>
                  </a:lnTo>
                  <a:lnTo>
                    <a:pt x="296087" y="431253"/>
                  </a:lnTo>
                  <a:lnTo>
                    <a:pt x="281432" y="474446"/>
                  </a:lnTo>
                  <a:lnTo>
                    <a:pt x="274091" y="520534"/>
                  </a:lnTo>
                  <a:lnTo>
                    <a:pt x="266915" y="474256"/>
                  </a:lnTo>
                  <a:lnTo>
                    <a:pt x="252361" y="430885"/>
                  </a:lnTo>
                  <a:lnTo>
                    <a:pt x="231101" y="391096"/>
                  </a:lnTo>
                  <a:lnTo>
                    <a:pt x="203809" y="355561"/>
                  </a:lnTo>
                  <a:lnTo>
                    <a:pt x="171157" y="324967"/>
                  </a:lnTo>
                  <a:lnTo>
                    <a:pt x="133845" y="299986"/>
                  </a:lnTo>
                  <a:lnTo>
                    <a:pt x="92544" y="281292"/>
                  </a:lnTo>
                  <a:lnTo>
                    <a:pt x="47917" y="269582"/>
                  </a:lnTo>
                  <a:lnTo>
                    <a:pt x="12" y="265531"/>
                  </a:lnTo>
                  <a:lnTo>
                    <a:pt x="5461" y="313702"/>
                  </a:lnTo>
                  <a:lnTo>
                    <a:pt x="18846" y="358952"/>
                  </a:lnTo>
                  <a:lnTo>
                    <a:pt x="39471" y="400583"/>
                  </a:lnTo>
                  <a:lnTo>
                    <a:pt x="66560" y="437845"/>
                  </a:lnTo>
                  <a:lnTo>
                    <a:pt x="99402" y="469988"/>
                  </a:lnTo>
                  <a:lnTo>
                    <a:pt x="137261" y="496303"/>
                  </a:lnTo>
                  <a:lnTo>
                    <a:pt x="179387" y="516039"/>
                  </a:lnTo>
                  <a:lnTo>
                    <a:pt x="225056" y="528459"/>
                  </a:lnTo>
                  <a:lnTo>
                    <a:pt x="273532" y="532841"/>
                  </a:lnTo>
                  <a:lnTo>
                    <a:pt x="274751" y="532841"/>
                  </a:lnTo>
                  <a:lnTo>
                    <a:pt x="323100" y="528485"/>
                  </a:lnTo>
                  <a:lnTo>
                    <a:pt x="368655" y="516115"/>
                  </a:lnTo>
                  <a:lnTo>
                    <a:pt x="410679" y="496468"/>
                  </a:lnTo>
                  <a:lnTo>
                    <a:pt x="448475" y="470268"/>
                  </a:lnTo>
                  <a:lnTo>
                    <a:pt x="481266" y="438264"/>
                  </a:lnTo>
                  <a:lnTo>
                    <a:pt x="508368" y="401154"/>
                  </a:lnTo>
                  <a:lnTo>
                    <a:pt x="529005" y="359689"/>
                  </a:lnTo>
                  <a:lnTo>
                    <a:pt x="542480" y="314604"/>
                  </a:lnTo>
                  <a:lnTo>
                    <a:pt x="548043" y="266611"/>
                  </a:lnTo>
                  <a:close/>
                </a:path>
                <a:path w="548640" h="786764">
                  <a:moveTo>
                    <a:pt x="548043" y="1079"/>
                  </a:moveTo>
                  <a:lnTo>
                    <a:pt x="500380" y="5118"/>
                  </a:lnTo>
                  <a:lnTo>
                    <a:pt x="455853" y="16776"/>
                  </a:lnTo>
                  <a:lnTo>
                    <a:pt x="414616" y="35369"/>
                  </a:lnTo>
                  <a:lnTo>
                    <a:pt x="377355" y="60248"/>
                  </a:lnTo>
                  <a:lnTo>
                    <a:pt x="344728" y="90703"/>
                  </a:lnTo>
                  <a:lnTo>
                    <a:pt x="317411" y="126085"/>
                  </a:lnTo>
                  <a:lnTo>
                    <a:pt x="296087" y="165722"/>
                  </a:lnTo>
                  <a:lnTo>
                    <a:pt x="281432" y="208915"/>
                  </a:lnTo>
                  <a:lnTo>
                    <a:pt x="274091" y="255003"/>
                  </a:lnTo>
                  <a:lnTo>
                    <a:pt x="266915" y="208724"/>
                  </a:lnTo>
                  <a:lnTo>
                    <a:pt x="252361" y="165354"/>
                  </a:lnTo>
                  <a:lnTo>
                    <a:pt x="231101" y="125564"/>
                  </a:lnTo>
                  <a:lnTo>
                    <a:pt x="203809" y="90030"/>
                  </a:lnTo>
                  <a:lnTo>
                    <a:pt x="171157" y="59423"/>
                  </a:lnTo>
                  <a:lnTo>
                    <a:pt x="133845" y="34442"/>
                  </a:lnTo>
                  <a:lnTo>
                    <a:pt x="92544" y="15760"/>
                  </a:lnTo>
                  <a:lnTo>
                    <a:pt x="47917" y="4051"/>
                  </a:lnTo>
                  <a:lnTo>
                    <a:pt x="12" y="0"/>
                  </a:lnTo>
                  <a:lnTo>
                    <a:pt x="5461" y="48158"/>
                  </a:lnTo>
                  <a:lnTo>
                    <a:pt x="18846" y="93421"/>
                  </a:lnTo>
                  <a:lnTo>
                    <a:pt x="39471" y="135051"/>
                  </a:lnTo>
                  <a:lnTo>
                    <a:pt x="66560" y="172313"/>
                  </a:lnTo>
                  <a:lnTo>
                    <a:pt x="99402" y="204457"/>
                  </a:lnTo>
                  <a:lnTo>
                    <a:pt x="137261" y="230771"/>
                  </a:lnTo>
                  <a:lnTo>
                    <a:pt x="179387" y="250507"/>
                  </a:lnTo>
                  <a:lnTo>
                    <a:pt x="225056" y="262928"/>
                  </a:lnTo>
                  <a:lnTo>
                    <a:pt x="273532" y="267296"/>
                  </a:lnTo>
                  <a:lnTo>
                    <a:pt x="274751" y="267296"/>
                  </a:lnTo>
                  <a:lnTo>
                    <a:pt x="323100" y="262940"/>
                  </a:lnTo>
                  <a:lnTo>
                    <a:pt x="368655" y="250583"/>
                  </a:lnTo>
                  <a:lnTo>
                    <a:pt x="410679" y="230936"/>
                  </a:lnTo>
                  <a:lnTo>
                    <a:pt x="448475" y="204736"/>
                  </a:lnTo>
                  <a:lnTo>
                    <a:pt x="481266" y="172720"/>
                  </a:lnTo>
                  <a:lnTo>
                    <a:pt x="508368" y="135623"/>
                  </a:lnTo>
                  <a:lnTo>
                    <a:pt x="529005" y="94157"/>
                  </a:lnTo>
                  <a:lnTo>
                    <a:pt x="542480" y="49072"/>
                  </a:lnTo>
                  <a:lnTo>
                    <a:pt x="548043" y="1079"/>
                  </a:lnTo>
                  <a:close/>
                </a:path>
                <a:path w="548640" h="786764">
                  <a:moveTo>
                    <a:pt x="548093" y="520204"/>
                  </a:moveTo>
                  <a:lnTo>
                    <a:pt x="500380" y="524205"/>
                  </a:lnTo>
                  <a:lnTo>
                    <a:pt x="455853" y="535863"/>
                  </a:lnTo>
                  <a:lnTo>
                    <a:pt x="414616" y="554456"/>
                  </a:lnTo>
                  <a:lnTo>
                    <a:pt x="377355" y="579335"/>
                  </a:lnTo>
                  <a:lnTo>
                    <a:pt x="344728" y="609803"/>
                  </a:lnTo>
                  <a:lnTo>
                    <a:pt x="317411" y="645172"/>
                  </a:lnTo>
                  <a:lnTo>
                    <a:pt x="296087" y="684796"/>
                  </a:lnTo>
                  <a:lnTo>
                    <a:pt x="281419" y="727989"/>
                  </a:lnTo>
                  <a:lnTo>
                    <a:pt x="274091" y="774065"/>
                  </a:lnTo>
                  <a:lnTo>
                    <a:pt x="266915" y="727811"/>
                  </a:lnTo>
                  <a:lnTo>
                    <a:pt x="252361" y="684441"/>
                  </a:lnTo>
                  <a:lnTo>
                    <a:pt x="231101" y="644652"/>
                  </a:lnTo>
                  <a:lnTo>
                    <a:pt x="203809" y="609117"/>
                  </a:lnTo>
                  <a:lnTo>
                    <a:pt x="171157" y="578523"/>
                  </a:lnTo>
                  <a:lnTo>
                    <a:pt x="133845" y="553542"/>
                  </a:lnTo>
                  <a:lnTo>
                    <a:pt x="92544" y="534860"/>
                  </a:lnTo>
                  <a:lnTo>
                    <a:pt x="47917" y="523125"/>
                  </a:lnTo>
                  <a:lnTo>
                    <a:pt x="12" y="519087"/>
                  </a:lnTo>
                  <a:lnTo>
                    <a:pt x="5448" y="567245"/>
                  </a:lnTo>
                  <a:lnTo>
                    <a:pt x="18846" y="612521"/>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2DB7EA"/>
            </a:solidFill>
          </p:spPr>
          <p:txBody>
            <a:bodyPr wrap="square" lIns="0" tIns="0" rIns="0" bIns="0" rtlCol="0"/>
            <a:lstStyle/>
            <a:p>
              <a:endParaRPr dirty="0"/>
            </a:p>
          </p:txBody>
        </p:sp>
        <p:pic>
          <p:nvPicPr>
            <p:cNvPr id="108" name="object 106">
              <a:extLst>
                <a:ext uri="{FF2B5EF4-FFF2-40B4-BE49-F238E27FC236}">
                  <a16:creationId xmlns:a16="http://schemas.microsoft.com/office/drawing/2014/main" id="{CEC02E58-2FBC-265B-C669-FCB053DAD41D}"/>
                </a:ext>
              </a:extLst>
            </p:cNvPr>
            <p:cNvPicPr/>
            <p:nvPr/>
          </p:nvPicPr>
          <p:blipFill>
            <a:blip r:embed="rId5" cstate="print"/>
            <a:stretch>
              <a:fillRect/>
            </a:stretch>
          </p:blipFill>
          <p:spPr>
            <a:xfrm>
              <a:off x="10791857" y="2026765"/>
              <a:ext cx="106445" cy="107156"/>
            </a:xfrm>
            <a:prstGeom prst="rect">
              <a:avLst/>
            </a:prstGeom>
          </p:spPr>
        </p:pic>
        <p:sp>
          <p:nvSpPr>
            <p:cNvPr id="109" name="object 107">
              <a:extLst>
                <a:ext uri="{FF2B5EF4-FFF2-40B4-BE49-F238E27FC236}">
                  <a16:creationId xmlns:a16="http://schemas.microsoft.com/office/drawing/2014/main" id="{5EA8C0C6-8B51-02E3-F1EA-E989587988B0}"/>
                </a:ext>
              </a:extLst>
            </p:cNvPr>
            <p:cNvSpPr/>
            <p:nvPr/>
          </p:nvSpPr>
          <p:spPr>
            <a:xfrm>
              <a:off x="10679200" y="1458591"/>
              <a:ext cx="332700" cy="477101"/>
            </a:xfrm>
            <a:custGeom>
              <a:avLst/>
              <a:gdLst/>
              <a:ahLst/>
              <a:cxnLst/>
              <a:rect l="l" t="t" r="r" b="b"/>
              <a:pathLst>
                <a:path w="548640" h="786764">
                  <a:moveTo>
                    <a:pt x="548043" y="266611"/>
                  </a:moveTo>
                  <a:lnTo>
                    <a:pt x="500380" y="270649"/>
                  </a:lnTo>
                  <a:lnTo>
                    <a:pt x="455853" y="282295"/>
                  </a:lnTo>
                  <a:lnTo>
                    <a:pt x="414616" y="300901"/>
                  </a:lnTo>
                  <a:lnTo>
                    <a:pt x="377355" y="325767"/>
                  </a:lnTo>
                  <a:lnTo>
                    <a:pt x="344728" y="356235"/>
                  </a:lnTo>
                  <a:lnTo>
                    <a:pt x="317411" y="391617"/>
                  </a:lnTo>
                  <a:lnTo>
                    <a:pt x="296087" y="431241"/>
                  </a:lnTo>
                  <a:lnTo>
                    <a:pt x="281432" y="474446"/>
                  </a:lnTo>
                  <a:lnTo>
                    <a:pt x="274091" y="520522"/>
                  </a:lnTo>
                  <a:lnTo>
                    <a:pt x="266915"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46" y="358952"/>
                  </a:lnTo>
                  <a:lnTo>
                    <a:pt x="39471" y="400583"/>
                  </a:lnTo>
                  <a:lnTo>
                    <a:pt x="66560" y="437832"/>
                  </a:lnTo>
                  <a:lnTo>
                    <a:pt x="99402" y="469988"/>
                  </a:lnTo>
                  <a:lnTo>
                    <a:pt x="137261" y="496303"/>
                  </a:lnTo>
                  <a:lnTo>
                    <a:pt x="179387" y="516026"/>
                  </a:lnTo>
                  <a:lnTo>
                    <a:pt x="225056" y="528459"/>
                  </a:lnTo>
                  <a:lnTo>
                    <a:pt x="273532" y="532828"/>
                  </a:lnTo>
                  <a:lnTo>
                    <a:pt x="274751" y="532828"/>
                  </a:lnTo>
                  <a:lnTo>
                    <a:pt x="323100" y="528472"/>
                  </a:lnTo>
                  <a:lnTo>
                    <a:pt x="368655" y="516102"/>
                  </a:lnTo>
                  <a:lnTo>
                    <a:pt x="410679" y="496468"/>
                  </a:lnTo>
                  <a:lnTo>
                    <a:pt x="448475" y="470268"/>
                  </a:lnTo>
                  <a:lnTo>
                    <a:pt x="481266" y="438251"/>
                  </a:lnTo>
                  <a:lnTo>
                    <a:pt x="508368" y="401154"/>
                  </a:lnTo>
                  <a:lnTo>
                    <a:pt x="529005" y="359689"/>
                  </a:lnTo>
                  <a:lnTo>
                    <a:pt x="542480" y="314604"/>
                  </a:lnTo>
                  <a:lnTo>
                    <a:pt x="548043" y="266611"/>
                  </a:lnTo>
                  <a:close/>
                </a:path>
                <a:path w="548640" h="786764">
                  <a:moveTo>
                    <a:pt x="548043" y="1079"/>
                  </a:moveTo>
                  <a:lnTo>
                    <a:pt x="500380" y="5105"/>
                  </a:lnTo>
                  <a:lnTo>
                    <a:pt x="455853" y="16764"/>
                  </a:lnTo>
                  <a:lnTo>
                    <a:pt x="414616" y="35369"/>
                  </a:lnTo>
                  <a:lnTo>
                    <a:pt x="377355" y="60236"/>
                  </a:lnTo>
                  <a:lnTo>
                    <a:pt x="344728" y="90703"/>
                  </a:lnTo>
                  <a:lnTo>
                    <a:pt x="317411" y="126085"/>
                  </a:lnTo>
                  <a:lnTo>
                    <a:pt x="296087" y="165709"/>
                  </a:lnTo>
                  <a:lnTo>
                    <a:pt x="281432" y="208902"/>
                  </a:lnTo>
                  <a:lnTo>
                    <a:pt x="274091" y="254990"/>
                  </a:lnTo>
                  <a:lnTo>
                    <a:pt x="266915"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46"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36"/>
                  </a:lnTo>
                  <a:lnTo>
                    <a:pt x="481266" y="172720"/>
                  </a:lnTo>
                  <a:lnTo>
                    <a:pt x="508368" y="135623"/>
                  </a:lnTo>
                  <a:lnTo>
                    <a:pt x="529005" y="94157"/>
                  </a:lnTo>
                  <a:lnTo>
                    <a:pt x="542480" y="49060"/>
                  </a:lnTo>
                  <a:lnTo>
                    <a:pt x="548043" y="1079"/>
                  </a:lnTo>
                  <a:close/>
                </a:path>
                <a:path w="548640" h="786764">
                  <a:moveTo>
                    <a:pt x="548093" y="520192"/>
                  </a:moveTo>
                  <a:lnTo>
                    <a:pt x="500380" y="524205"/>
                  </a:lnTo>
                  <a:lnTo>
                    <a:pt x="455853" y="535863"/>
                  </a:lnTo>
                  <a:lnTo>
                    <a:pt x="414616" y="554456"/>
                  </a:lnTo>
                  <a:lnTo>
                    <a:pt x="377355" y="579335"/>
                  </a:lnTo>
                  <a:lnTo>
                    <a:pt x="344728" y="609790"/>
                  </a:lnTo>
                  <a:lnTo>
                    <a:pt x="317411" y="645172"/>
                  </a:lnTo>
                  <a:lnTo>
                    <a:pt x="296087" y="684784"/>
                  </a:lnTo>
                  <a:lnTo>
                    <a:pt x="281419" y="727976"/>
                  </a:lnTo>
                  <a:lnTo>
                    <a:pt x="274091" y="774065"/>
                  </a:lnTo>
                  <a:lnTo>
                    <a:pt x="266915" y="727811"/>
                  </a:lnTo>
                  <a:lnTo>
                    <a:pt x="252361" y="684441"/>
                  </a:lnTo>
                  <a:lnTo>
                    <a:pt x="231101" y="644652"/>
                  </a:lnTo>
                  <a:lnTo>
                    <a:pt x="203809" y="609117"/>
                  </a:lnTo>
                  <a:lnTo>
                    <a:pt x="171157" y="578510"/>
                  </a:lnTo>
                  <a:lnTo>
                    <a:pt x="133845" y="553529"/>
                  </a:lnTo>
                  <a:lnTo>
                    <a:pt x="92544" y="534847"/>
                  </a:lnTo>
                  <a:lnTo>
                    <a:pt x="47917" y="523138"/>
                  </a:lnTo>
                  <a:lnTo>
                    <a:pt x="0" y="519061"/>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84"/>
                  </a:lnTo>
                  <a:lnTo>
                    <a:pt x="274751" y="786384"/>
                  </a:lnTo>
                  <a:lnTo>
                    <a:pt x="323100" y="782027"/>
                  </a:lnTo>
                  <a:lnTo>
                    <a:pt x="368655" y="769670"/>
                  </a:lnTo>
                  <a:lnTo>
                    <a:pt x="410679" y="750023"/>
                  </a:lnTo>
                  <a:lnTo>
                    <a:pt x="448475" y="723823"/>
                  </a:lnTo>
                  <a:lnTo>
                    <a:pt x="448881" y="723430"/>
                  </a:lnTo>
                  <a:lnTo>
                    <a:pt x="481304" y="691794"/>
                  </a:lnTo>
                  <a:lnTo>
                    <a:pt x="508393" y="654697"/>
                  </a:lnTo>
                  <a:lnTo>
                    <a:pt x="529056" y="613244"/>
                  </a:lnTo>
                  <a:lnTo>
                    <a:pt x="542531" y="568172"/>
                  </a:lnTo>
                  <a:lnTo>
                    <a:pt x="548093" y="520192"/>
                  </a:lnTo>
                  <a:close/>
                </a:path>
              </a:pathLst>
            </a:custGeom>
            <a:solidFill>
              <a:srgbClr val="7ED3F1"/>
            </a:solidFill>
          </p:spPr>
          <p:txBody>
            <a:bodyPr wrap="square" lIns="0" tIns="0" rIns="0" bIns="0" rtlCol="0"/>
            <a:lstStyle/>
            <a:p>
              <a:endParaRPr dirty="0"/>
            </a:p>
          </p:txBody>
        </p:sp>
        <p:pic>
          <p:nvPicPr>
            <p:cNvPr id="110" name="object 108">
              <a:extLst>
                <a:ext uri="{FF2B5EF4-FFF2-40B4-BE49-F238E27FC236}">
                  <a16:creationId xmlns:a16="http://schemas.microsoft.com/office/drawing/2014/main" id="{EFBA086A-0152-2169-DB66-67581060DD6D}"/>
                </a:ext>
              </a:extLst>
            </p:cNvPr>
            <p:cNvPicPr/>
            <p:nvPr/>
          </p:nvPicPr>
          <p:blipFill>
            <a:blip r:embed="rId6" cstate="print"/>
            <a:stretch>
              <a:fillRect/>
            </a:stretch>
          </p:blipFill>
          <p:spPr>
            <a:xfrm>
              <a:off x="10791857" y="1372599"/>
              <a:ext cx="106445" cy="107156"/>
            </a:xfrm>
            <a:prstGeom prst="rect">
              <a:avLst/>
            </a:prstGeom>
          </p:spPr>
        </p:pic>
        <p:sp>
          <p:nvSpPr>
            <p:cNvPr id="111" name="object 109">
              <a:extLst>
                <a:ext uri="{FF2B5EF4-FFF2-40B4-BE49-F238E27FC236}">
                  <a16:creationId xmlns:a16="http://schemas.microsoft.com/office/drawing/2014/main" id="{EB2E1CF9-43A2-AEB9-A279-F924A7C8998A}"/>
                </a:ext>
              </a:extLst>
            </p:cNvPr>
            <p:cNvSpPr/>
            <p:nvPr/>
          </p:nvSpPr>
          <p:spPr>
            <a:xfrm>
              <a:off x="10679200" y="3421088"/>
              <a:ext cx="332700" cy="477101"/>
            </a:xfrm>
            <a:custGeom>
              <a:avLst/>
              <a:gdLst/>
              <a:ahLst/>
              <a:cxnLst/>
              <a:rect l="l" t="t" r="r" b="b"/>
              <a:pathLst>
                <a:path w="548640" h="786764">
                  <a:moveTo>
                    <a:pt x="548043" y="266611"/>
                  </a:moveTo>
                  <a:lnTo>
                    <a:pt x="500380" y="270637"/>
                  </a:lnTo>
                  <a:lnTo>
                    <a:pt x="455853" y="282295"/>
                  </a:lnTo>
                  <a:lnTo>
                    <a:pt x="414616" y="300901"/>
                  </a:lnTo>
                  <a:lnTo>
                    <a:pt x="377355" y="325767"/>
                  </a:lnTo>
                  <a:lnTo>
                    <a:pt x="344728" y="356235"/>
                  </a:lnTo>
                  <a:lnTo>
                    <a:pt x="317411" y="391617"/>
                  </a:lnTo>
                  <a:lnTo>
                    <a:pt x="296087" y="431241"/>
                  </a:lnTo>
                  <a:lnTo>
                    <a:pt x="281432" y="474433"/>
                  </a:lnTo>
                  <a:lnTo>
                    <a:pt x="274091" y="520522"/>
                  </a:lnTo>
                  <a:lnTo>
                    <a:pt x="266915"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46" y="358952"/>
                  </a:lnTo>
                  <a:lnTo>
                    <a:pt x="39471" y="400570"/>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79" y="496455"/>
                  </a:lnTo>
                  <a:lnTo>
                    <a:pt x="448475" y="470255"/>
                  </a:lnTo>
                  <a:lnTo>
                    <a:pt x="481266" y="438251"/>
                  </a:lnTo>
                  <a:lnTo>
                    <a:pt x="508368" y="401142"/>
                  </a:lnTo>
                  <a:lnTo>
                    <a:pt x="529005" y="359689"/>
                  </a:lnTo>
                  <a:lnTo>
                    <a:pt x="542480" y="314591"/>
                  </a:lnTo>
                  <a:lnTo>
                    <a:pt x="548043" y="266611"/>
                  </a:lnTo>
                  <a:close/>
                </a:path>
                <a:path w="548640" h="786764">
                  <a:moveTo>
                    <a:pt x="548043" y="1079"/>
                  </a:moveTo>
                  <a:lnTo>
                    <a:pt x="500380" y="5118"/>
                  </a:lnTo>
                  <a:lnTo>
                    <a:pt x="455853" y="16764"/>
                  </a:lnTo>
                  <a:lnTo>
                    <a:pt x="414616" y="35369"/>
                  </a:lnTo>
                  <a:lnTo>
                    <a:pt x="377355" y="60236"/>
                  </a:lnTo>
                  <a:lnTo>
                    <a:pt x="344728" y="90703"/>
                  </a:lnTo>
                  <a:lnTo>
                    <a:pt x="317411" y="126085"/>
                  </a:lnTo>
                  <a:lnTo>
                    <a:pt x="296087" y="165709"/>
                  </a:lnTo>
                  <a:lnTo>
                    <a:pt x="281432" y="208915"/>
                  </a:lnTo>
                  <a:lnTo>
                    <a:pt x="274091" y="254990"/>
                  </a:lnTo>
                  <a:lnTo>
                    <a:pt x="266915"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46"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36"/>
                  </a:lnTo>
                  <a:lnTo>
                    <a:pt x="481266" y="172720"/>
                  </a:lnTo>
                  <a:lnTo>
                    <a:pt x="508368" y="135623"/>
                  </a:lnTo>
                  <a:lnTo>
                    <a:pt x="529005" y="94157"/>
                  </a:lnTo>
                  <a:lnTo>
                    <a:pt x="542480" y="49072"/>
                  </a:lnTo>
                  <a:lnTo>
                    <a:pt x="548043" y="1079"/>
                  </a:lnTo>
                  <a:close/>
                </a:path>
                <a:path w="548640" h="786764">
                  <a:moveTo>
                    <a:pt x="548093" y="520192"/>
                  </a:moveTo>
                  <a:lnTo>
                    <a:pt x="500380" y="524217"/>
                  </a:lnTo>
                  <a:lnTo>
                    <a:pt x="455853" y="535863"/>
                  </a:lnTo>
                  <a:lnTo>
                    <a:pt x="414616" y="554469"/>
                  </a:lnTo>
                  <a:lnTo>
                    <a:pt x="377355" y="579335"/>
                  </a:lnTo>
                  <a:lnTo>
                    <a:pt x="344728" y="609790"/>
                  </a:lnTo>
                  <a:lnTo>
                    <a:pt x="317411" y="645172"/>
                  </a:lnTo>
                  <a:lnTo>
                    <a:pt x="296087" y="684784"/>
                  </a:lnTo>
                  <a:lnTo>
                    <a:pt x="281419" y="727976"/>
                  </a:lnTo>
                  <a:lnTo>
                    <a:pt x="274091" y="774065"/>
                  </a:lnTo>
                  <a:lnTo>
                    <a:pt x="266915" y="727811"/>
                  </a:lnTo>
                  <a:lnTo>
                    <a:pt x="252361" y="684441"/>
                  </a:lnTo>
                  <a:lnTo>
                    <a:pt x="231101" y="644652"/>
                  </a:lnTo>
                  <a:lnTo>
                    <a:pt x="203809" y="609117"/>
                  </a:lnTo>
                  <a:lnTo>
                    <a:pt x="171157" y="578510"/>
                  </a:lnTo>
                  <a:lnTo>
                    <a:pt x="133845" y="553529"/>
                  </a:lnTo>
                  <a:lnTo>
                    <a:pt x="92544" y="534847"/>
                  </a:lnTo>
                  <a:lnTo>
                    <a:pt x="47917" y="523138"/>
                  </a:lnTo>
                  <a:lnTo>
                    <a:pt x="0" y="519061"/>
                  </a:lnTo>
                  <a:lnTo>
                    <a:pt x="5448" y="567232"/>
                  </a:lnTo>
                  <a:lnTo>
                    <a:pt x="18846" y="612508"/>
                  </a:lnTo>
                  <a:lnTo>
                    <a:pt x="39458" y="654138"/>
                  </a:lnTo>
                  <a:lnTo>
                    <a:pt x="66560" y="691400"/>
                  </a:lnTo>
                  <a:lnTo>
                    <a:pt x="99402" y="723544"/>
                  </a:lnTo>
                  <a:lnTo>
                    <a:pt x="137261" y="749858"/>
                  </a:lnTo>
                  <a:lnTo>
                    <a:pt x="179387" y="769594"/>
                  </a:lnTo>
                  <a:lnTo>
                    <a:pt x="225056" y="782015"/>
                  </a:lnTo>
                  <a:lnTo>
                    <a:pt x="273532" y="786384"/>
                  </a:lnTo>
                  <a:lnTo>
                    <a:pt x="274751" y="786384"/>
                  </a:lnTo>
                  <a:lnTo>
                    <a:pt x="323100" y="782027"/>
                  </a:lnTo>
                  <a:lnTo>
                    <a:pt x="368655" y="769670"/>
                  </a:lnTo>
                  <a:lnTo>
                    <a:pt x="410679" y="750023"/>
                  </a:lnTo>
                  <a:lnTo>
                    <a:pt x="448475" y="723823"/>
                  </a:lnTo>
                  <a:lnTo>
                    <a:pt x="449313" y="723011"/>
                  </a:lnTo>
                  <a:lnTo>
                    <a:pt x="481266" y="691819"/>
                  </a:lnTo>
                  <a:lnTo>
                    <a:pt x="508393" y="654697"/>
                  </a:lnTo>
                  <a:lnTo>
                    <a:pt x="529056"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112" name="object 110">
              <a:extLst>
                <a:ext uri="{FF2B5EF4-FFF2-40B4-BE49-F238E27FC236}">
                  <a16:creationId xmlns:a16="http://schemas.microsoft.com/office/drawing/2014/main" id="{7DE67DE2-33AE-7998-B330-8AC01EF3BF0A}"/>
                </a:ext>
              </a:extLst>
            </p:cNvPr>
            <p:cNvPicPr/>
            <p:nvPr/>
          </p:nvPicPr>
          <p:blipFill>
            <a:blip r:embed="rId5" cstate="print"/>
            <a:stretch>
              <a:fillRect/>
            </a:stretch>
          </p:blipFill>
          <p:spPr>
            <a:xfrm>
              <a:off x="10791857" y="3335097"/>
              <a:ext cx="106445" cy="107156"/>
            </a:xfrm>
            <a:prstGeom prst="rect">
              <a:avLst/>
            </a:prstGeom>
          </p:spPr>
        </p:pic>
        <p:sp>
          <p:nvSpPr>
            <p:cNvPr id="113" name="object 111">
              <a:extLst>
                <a:ext uri="{FF2B5EF4-FFF2-40B4-BE49-F238E27FC236}">
                  <a16:creationId xmlns:a16="http://schemas.microsoft.com/office/drawing/2014/main" id="{6D543309-1CAD-ACFF-1BB2-4A72794E3E8B}"/>
                </a:ext>
              </a:extLst>
            </p:cNvPr>
            <p:cNvSpPr/>
            <p:nvPr/>
          </p:nvSpPr>
          <p:spPr>
            <a:xfrm>
              <a:off x="10679200" y="2766918"/>
              <a:ext cx="332700" cy="477101"/>
            </a:xfrm>
            <a:custGeom>
              <a:avLst/>
              <a:gdLst/>
              <a:ahLst/>
              <a:cxnLst/>
              <a:rect l="l" t="t" r="r" b="b"/>
              <a:pathLst>
                <a:path w="548640" h="786764">
                  <a:moveTo>
                    <a:pt x="548043" y="266611"/>
                  </a:moveTo>
                  <a:lnTo>
                    <a:pt x="500380" y="270649"/>
                  </a:lnTo>
                  <a:lnTo>
                    <a:pt x="455853" y="282308"/>
                  </a:lnTo>
                  <a:lnTo>
                    <a:pt x="414616" y="300901"/>
                  </a:lnTo>
                  <a:lnTo>
                    <a:pt x="377355" y="325780"/>
                  </a:lnTo>
                  <a:lnTo>
                    <a:pt x="344728" y="356247"/>
                  </a:lnTo>
                  <a:lnTo>
                    <a:pt x="317411" y="391629"/>
                  </a:lnTo>
                  <a:lnTo>
                    <a:pt x="296087" y="431253"/>
                  </a:lnTo>
                  <a:lnTo>
                    <a:pt x="281432" y="474446"/>
                  </a:lnTo>
                  <a:lnTo>
                    <a:pt x="274091" y="520534"/>
                  </a:lnTo>
                  <a:lnTo>
                    <a:pt x="266915" y="474256"/>
                  </a:lnTo>
                  <a:lnTo>
                    <a:pt x="252361" y="430885"/>
                  </a:lnTo>
                  <a:lnTo>
                    <a:pt x="231101" y="391096"/>
                  </a:lnTo>
                  <a:lnTo>
                    <a:pt x="203809" y="355561"/>
                  </a:lnTo>
                  <a:lnTo>
                    <a:pt x="171157" y="324967"/>
                  </a:lnTo>
                  <a:lnTo>
                    <a:pt x="133845" y="299986"/>
                  </a:lnTo>
                  <a:lnTo>
                    <a:pt x="92544" y="281292"/>
                  </a:lnTo>
                  <a:lnTo>
                    <a:pt x="47917" y="269582"/>
                  </a:lnTo>
                  <a:lnTo>
                    <a:pt x="12" y="265531"/>
                  </a:lnTo>
                  <a:lnTo>
                    <a:pt x="5461" y="313702"/>
                  </a:lnTo>
                  <a:lnTo>
                    <a:pt x="18846" y="358952"/>
                  </a:lnTo>
                  <a:lnTo>
                    <a:pt x="39471" y="400583"/>
                  </a:lnTo>
                  <a:lnTo>
                    <a:pt x="66560" y="437845"/>
                  </a:lnTo>
                  <a:lnTo>
                    <a:pt x="99402" y="469988"/>
                  </a:lnTo>
                  <a:lnTo>
                    <a:pt x="137261" y="496303"/>
                  </a:lnTo>
                  <a:lnTo>
                    <a:pt x="179387" y="516039"/>
                  </a:lnTo>
                  <a:lnTo>
                    <a:pt x="225056" y="528459"/>
                  </a:lnTo>
                  <a:lnTo>
                    <a:pt x="273532" y="532841"/>
                  </a:lnTo>
                  <a:lnTo>
                    <a:pt x="274751" y="532841"/>
                  </a:lnTo>
                  <a:lnTo>
                    <a:pt x="323100" y="528485"/>
                  </a:lnTo>
                  <a:lnTo>
                    <a:pt x="368655" y="516115"/>
                  </a:lnTo>
                  <a:lnTo>
                    <a:pt x="410679" y="496468"/>
                  </a:lnTo>
                  <a:lnTo>
                    <a:pt x="448475" y="470268"/>
                  </a:lnTo>
                  <a:lnTo>
                    <a:pt x="481266" y="438264"/>
                  </a:lnTo>
                  <a:lnTo>
                    <a:pt x="508368" y="401154"/>
                  </a:lnTo>
                  <a:lnTo>
                    <a:pt x="529005" y="359689"/>
                  </a:lnTo>
                  <a:lnTo>
                    <a:pt x="542480" y="314604"/>
                  </a:lnTo>
                  <a:lnTo>
                    <a:pt x="548043" y="266611"/>
                  </a:lnTo>
                  <a:close/>
                </a:path>
                <a:path w="548640" h="786764">
                  <a:moveTo>
                    <a:pt x="548043" y="1079"/>
                  </a:moveTo>
                  <a:lnTo>
                    <a:pt x="500380" y="5118"/>
                  </a:lnTo>
                  <a:lnTo>
                    <a:pt x="455853" y="16776"/>
                  </a:lnTo>
                  <a:lnTo>
                    <a:pt x="414616" y="35369"/>
                  </a:lnTo>
                  <a:lnTo>
                    <a:pt x="377355" y="60248"/>
                  </a:lnTo>
                  <a:lnTo>
                    <a:pt x="344728" y="90716"/>
                  </a:lnTo>
                  <a:lnTo>
                    <a:pt x="317411" y="126098"/>
                  </a:lnTo>
                  <a:lnTo>
                    <a:pt x="296087" y="165722"/>
                  </a:lnTo>
                  <a:lnTo>
                    <a:pt x="281432" y="208915"/>
                  </a:lnTo>
                  <a:lnTo>
                    <a:pt x="274091" y="255003"/>
                  </a:lnTo>
                  <a:lnTo>
                    <a:pt x="266915" y="208724"/>
                  </a:lnTo>
                  <a:lnTo>
                    <a:pt x="252361" y="165354"/>
                  </a:lnTo>
                  <a:lnTo>
                    <a:pt x="231101" y="125564"/>
                  </a:lnTo>
                  <a:lnTo>
                    <a:pt x="203809" y="90030"/>
                  </a:lnTo>
                  <a:lnTo>
                    <a:pt x="171157" y="59436"/>
                  </a:lnTo>
                  <a:lnTo>
                    <a:pt x="133845" y="34455"/>
                  </a:lnTo>
                  <a:lnTo>
                    <a:pt x="92544" y="15773"/>
                  </a:lnTo>
                  <a:lnTo>
                    <a:pt x="47917" y="4064"/>
                  </a:lnTo>
                  <a:lnTo>
                    <a:pt x="12" y="0"/>
                  </a:lnTo>
                  <a:lnTo>
                    <a:pt x="5461" y="48171"/>
                  </a:lnTo>
                  <a:lnTo>
                    <a:pt x="18846"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79" y="230936"/>
                  </a:lnTo>
                  <a:lnTo>
                    <a:pt x="448475" y="204749"/>
                  </a:lnTo>
                  <a:lnTo>
                    <a:pt x="481266" y="172732"/>
                  </a:lnTo>
                  <a:lnTo>
                    <a:pt x="508368" y="135623"/>
                  </a:lnTo>
                  <a:lnTo>
                    <a:pt x="529005" y="94157"/>
                  </a:lnTo>
                  <a:lnTo>
                    <a:pt x="542480" y="49072"/>
                  </a:lnTo>
                  <a:lnTo>
                    <a:pt x="548043" y="1079"/>
                  </a:lnTo>
                  <a:close/>
                </a:path>
                <a:path w="548640" h="786764">
                  <a:moveTo>
                    <a:pt x="548093" y="520204"/>
                  </a:moveTo>
                  <a:lnTo>
                    <a:pt x="500380" y="524205"/>
                  </a:lnTo>
                  <a:lnTo>
                    <a:pt x="455853" y="535863"/>
                  </a:lnTo>
                  <a:lnTo>
                    <a:pt x="414616" y="554469"/>
                  </a:lnTo>
                  <a:lnTo>
                    <a:pt x="377355" y="579335"/>
                  </a:lnTo>
                  <a:lnTo>
                    <a:pt x="344728" y="609803"/>
                  </a:lnTo>
                  <a:lnTo>
                    <a:pt x="317411" y="645172"/>
                  </a:lnTo>
                  <a:lnTo>
                    <a:pt x="296087" y="684796"/>
                  </a:lnTo>
                  <a:lnTo>
                    <a:pt x="281419" y="727989"/>
                  </a:lnTo>
                  <a:lnTo>
                    <a:pt x="274091" y="774065"/>
                  </a:lnTo>
                  <a:lnTo>
                    <a:pt x="266915" y="727824"/>
                  </a:lnTo>
                  <a:lnTo>
                    <a:pt x="252361" y="684453"/>
                  </a:lnTo>
                  <a:lnTo>
                    <a:pt x="231101" y="644652"/>
                  </a:lnTo>
                  <a:lnTo>
                    <a:pt x="203809" y="609117"/>
                  </a:lnTo>
                  <a:lnTo>
                    <a:pt x="171157" y="578523"/>
                  </a:lnTo>
                  <a:lnTo>
                    <a:pt x="133845" y="553542"/>
                  </a:lnTo>
                  <a:lnTo>
                    <a:pt x="92544" y="534835"/>
                  </a:lnTo>
                  <a:lnTo>
                    <a:pt x="47917" y="523125"/>
                  </a:lnTo>
                  <a:lnTo>
                    <a:pt x="0" y="519074"/>
                  </a:lnTo>
                  <a:lnTo>
                    <a:pt x="5448" y="567245"/>
                  </a:lnTo>
                  <a:lnTo>
                    <a:pt x="14871" y="599122"/>
                  </a:lnTo>
                  <a:lnTo>
                    <a:pt x="18846" y="612521"/>
                  </a:lnTo>
                  <a:lnTo>
                    <a:pt x="29057" y="633133"/>
                  </a:lnTo>
                  <a:lnTo>
                    <a:pt x="39458" y="65413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114" name="object 112">
              <a:extLst>
                <a:ext uri="{FF2B5EF4-FFF2-40B4-BE49-F238E27FC236}">
                  <a16:creationId xmlns:a16="http://schemas.microsoft.com/office/drawing/2014/main" id="{33716FBE-34B2-EB56-56B9-133FFA331E36}"/>
                </a:ext>
              </a:extLst>
            </p:cNvPr>
            <p:cNvPicPr/>
            <p:nvPr/>
          </p:nvPicPr>
          <p:blipFill>
            <a:blip r:embed="rId6" cstate="print"/>
            <a:stretch>
              <a:fillRect/>
            </a:stretch>
          </p:blipFill>
          <p:spPr>
            <a:xfrm>
              <a:off x="10791857" y="2680931"/>
              <a:ext cx="106445" cy="107156"/>
            </a:xfrm>
            <a:prstGeom prst="rect">
              <a:avLst/>
            </a:prstGeom>
          </p:spPr>
        </p:pic>
        <p:sp>
          <p:nvSpPr>
            <p:cNvPr id="115" name="object 113">
              <a:extLst>
                <a:ext uri="{FF2B5EF4-FFF2-40B4-BE49-F238E27FC236}">
                  <a16:creationId xmlns:a16="http://schemas.microsoft.com/office/drawing/2014/main" id="{EF8B89CE-81F2-DF58-1257-3EDE0372CD88}"/>
                </a:ext>
              </a:extLst>
            </p:cNvPr>
            <p:cNvSpPr/>
            <p:nvPr/>
          </p:nvSpPr>
          <p:spPr>
            <a:xfrm>
              <a:off x="10679200" y="4729423"/>
              <a:ext cx="332700" cy="477101"/>
            </a:xfrm>
            <a:custGeom>
              <a:avLst/>
              <a:gdLst/>
              <a:ahLst/>
              <a:cxnLst/>
              <a:rect l="l" t="t" r="r" b="b"/>
              <a:pathLst>
                <a:path w="548640" h="786765">
                  <a:moveTo>
                    <a:pt x="548043" y="266611"/>
                  </a:moveTo>
                  <a:lnTo>
                    <a:pt x="500380" y="270649"/>
                  </a:lnTo>
                  <a:lnTo>
                    <a:pt x="455853" y="282308"/>
                  </a:lnTo>
                  <a:lnTo>
                    <a:pt x="414616" y="300901"/>
                  </a:lnTo>
                  <a:lnTo>
                    <a:pt x="377355" y="325767"/>
                  </a:lnTo>
                  <a:lnTo>
                    <a:pt x="344728" y="356235"/>
                  </a:lnTo>
                  <a:lnTo>
                    <a:pt x="317411" y="391617"/>
                  </a:lnTo>
                  <a:lnTo>
                    <a:pt x="296087" y="431241"/>
                  </a:lnTo>
                  <a:lnTo>
                    <a:pt x="281432" y="474433"/>
                  </a:lnTo>
                  <a:lnTo>
                    <a:pt x="274091" y="520522"/>
                  </a:lnTo>
                  <a:lnTo>
                    <a:pt x="266915" y="474243"/>
                  </a:lnTo>
                  <a:lnTo>
                    <a:pt x="252361" y="430872"/>
                  </a:lnTo>
                  <a:lnTo>
                    <a:pt x="231101" y="391083"/>
                  </a:lnTo>
                  <a:lnTo>
                    <a:pt x="203809" y="355549"/>
                  </a:lnTo>
                  <a:lnTo>
                    <a:pt x="171157" y="324954"/>
                  </a:lnTo>
                  <a:lnTo>
                    <a:pt x="133845" y="299974"/>
                  </a:lnTo>
                  <a:lnTo>
                    <a:pt x="92544" y="281292"/>
                  </a:lnTo>
                  <a:lnTo>
                    <a:pt x="47917" y="269582"/>
                  </a:lnTo>
                  <a:lnTo>
                    <a:pt x="12" y="265518"/>
                  </a:lnTo>
                  <a:lnTo>
                    <a:pt x="5461" y="313690"/>
                  </a:lnTo>
                  <a:lnTo>
                    <a:pt x="18846" y="358952"/>
                  </a:lnTo>
                  <a:lnTo>
                    <a:pt x="39471" y="400570"/>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79" y="496455"/>
                  </a:lnTo>
                  <a:lnTo>
                    <a:pt x="448475" y="470268"/>
                  </a:lnTo>
                  <a:lnTo>
                    <a:pt x="481266" y="438251"/>
                  </a:lnTo>
                  <a:lnTo>
                    <a:pt x="508368" y="401154"/>
                  </a:lnTo>
                  <a:lnTo>
                    <a:pt x="529005" y="359689"/>
                  </a:lnTo>
                  <a:lnTo>
                    <a:pt x="542480" y="314604"/>
                  </a:lnTo>
                  <a:lnTo>
                    <a:pt x="548043" y="266611"/>
                  </a:lnTo>
                  <a:close/>
                </a:path>
                <a:path w="548640" h="786765">
                  <a:moveTo>
                    <a:pt x="548043" y="1079"/>
                  </a:moveTo>
                  <a:lnTo>
                    <a:pt x="500380" y="5105"/>
                  </a:lnTo>
                  <a:lnTo>
                    <a:pt x="455853" y="16764"/>
                  </a:lnTo>
                  <a:lnTo>
                    <a:pt x="414616" y="35369"/>
                  </a:lnTo>
                  <a:lnTo>
                    <a:pt x="377355" y="60236"/>
                  </a:lnTo>
                  <a:lnTo>
                    <a:pt x="344728" y="90703"/>
                  </a:lnTo>
                  <a:lnTo>
                    <a:pt x="317411" y="126085"/>
                  </a:lnTo>
                  <a:lnTo>
                    <a:pt x="296087" y="165709"/>
                  </a:lnTo>
                  <a:lnTo>
                    <a:pt x="281432" y="208902"/>
                  </a:lnTo>
                  <a:lnTo>
                    <a:pt x="274091" y="254990"/>
                  </a:lnTo>
                  <a:lnTo>
                    <a:pt x="266915"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46" y="93421"/>
                  </a:lnTo>
                  <a:lnTo>
                    <a:pt x="39471" y="135039"/>
                  </a:lnTo>
                  <a:lnTo>
                    <a:pt x="66560" y="172300"/>
                  </a:lnTo>
                  <a:lnTo>
                    <a:pt x="99402" y="204444"/>
                  </a:lnTo>
                  <a:lnTo>
                    <a:pt x="137261" y="230759"/>
                  </a:lnTo>
                  <a:lnTo>
                    <a:pt x="179387" y="250494"/>
                  </a:lnTo>
                  <a:lnTo>
                    <a:pt x="225056" y="262915"/>
                  </a:lnTo>
                  <a:lnTo>
                    <a:pt x="273532" y="267296"/>
                  </a:lnTo>
                  <a:lnTo>
                    <a:pt x="274751" y="267296"/>
                  </a:lnTo>
                  <a:lnTo>
                    <a:pt x="323100" y="262940"/>
                  </a:lnTo>
                  <a:lnTo>
                    <a:pt x="368655" y="250571"/>
                  </a:lnTo>
                  <a:lnTo>
                    <a:pt x="410679" y="230924"/>
                  </a:lnTo>
                  <a:lnTo>
                    <a:pt x="448475" y="204724"/>
                  </a:lnTo>
                  <a:lnTo>
                    <a:pt x="481266" y="172720"/>
                  </a:lnTo>
                  <a:lnTo>
                    <a:pt x="508368" y="135610"/>
                  </a:lnTo>
                  <a:lnTo>
                    <a:pt x="529005" y="94157"/>
                  </a:lnTo>
                  <a:lnTo>
                    <a:pt x="542480" y="49060"/>
                  </a:lnTo>
                  <a:lnTo>
                    <a:pt x="548043" y="1079"/>
                  </a:lnTo>
                  <a:close/>
                </a:path>
                <a:path w="548640" h="786765">
                  <a:moveTo>
                    <a:pt x="548093" y="520192"/>
                  </a:moveTo>
                  <a:lnTo>
                    <a:pt x="500380" y="524205"/>
                  </a:lnTo>
                  <a:lnTo>
                    <a:pt x="455853" y="535863"/>
                  </a:lnTo>
                  <a:lnTo>
                    <a:pt x="414616" y="554469"/>
                  </a:lnTo>
                  <a:lnTo>
                    <a:pt x="377355" y="579335"/>
                  </a:lnTo>
                  <a:lnTo>
                    <a:pt x="344728" y="609790"/>
                  </a:lnTo>
                  <a:lnTo>
                    <a:pt x="317411" y="645160"/>
                  </a:lnTo>
                  <a:lnTo>
                    <a:pt x="296087" y="684784"/>
                  </a:lnTo>
                  <a:lnTo>
                    <a:pt x="281419" y="727976"/>
                  </a:lnTo>
                  <a:lnTo>
                    <a:pt x="274091" y="774065"/>
                  </a:lnTo>
                  <a:lnTo>
                    <a:pt x="266915" y="727811"/>
                  </a:lnTo>
                  <a:lnTo>
                    <a:pt x="252361" y="684441"/>
                  </a:lnTo>
                  <a:lnTo>
                    <a:pt x="231101" y="644639"/>
                  </a:lnTo>
                  <a:lnTo>
                    <a:pt x="203809" y="609104"/>
                  </a:lnTo>
                  <a:lnTo>
                    <a:pt x="171157" y="578510"/>
                  </a:lnTo>
                  <a:lnTo>
                    <a:pt x="133845" y="553529"/>
                  </a:lnTo>
                  <a:lnTo>
                    <a:pt x="92544" y="534847"/>
                  </a:lnTo>
                  <a:lnTo>
                    <a:pt x="47917" y="523113"/>
                  </a:lnTo>
                  <a:lnTo>
                    <a:pt x="0" y="519061"/>
                  </a:lnTo>
                  <a:lnTo>
                    <a:pt x="5448" y="567232"/>
                  </a:lnTo>
                  <a:lnTo>
                    <a:pt x="18846" y="612508"/>
                  </a:lnTo>
                  <a:lnTo>
                    <a:pt x="39458" y="654126"/>
                  </a:lnTo>
                  <a:lnTo>
                    <a:pt x="66560" y="691388"/>
                  </a:lnTo>
                  <a:lnTo>
                    <a:pt x="99402" y="723544"/>
                  </a:lnTo>
                  <a:lnTo>
                    <a:pt x="137261" y="749858"/>
                  </a:lnTo>
                  <a:lnTo>
                    <a:pt x="179387" y="769581"/>
                  </a:lnTo>
                  <a:lnTo>
                    <a:pt x="225056" y="782015"/>
                  </a:lnTo>
                  <a:lnTo>
                    <a:pt x="273532" y="786384"/>
                  </a:lnTo>
                  <a:lnTo>
                    <a:pt x="274751" y="786384"/>
                  </a:lnTo>
                  <a:lnTo>
                    <a:pt x="323100" y="782027"/>
                  </a:lnTo>
                  <a:lnTo>
                    <a:pt x="368655" y="769670"/>
                  </a:lnTo>
                  <a:lnTo>
                    <a:pt x="410679" y="750023"/>
                  </a:lnTo>
                  <a:lnTo>
                    <a:pt x="448475" y="723823"/>
                  </a:lnTo>
                  <a:lnTo>
                    <a:pt x="448881" y="723430"/>
                  </a:lnTo>
                  <a:lnTo>
                    <a:pt x="481304" y="691794"/>
                  </a:lnTo>
                  <a:lnTo>
                    <a:pt x="508393" y="654697"/>
                  </a:lnTo>
                  <a:lnTo>
                    <a:pt x="529056"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116" name="object 114">
              <a:extLst>
                <a:ext uri="{FF2B5EF4-FFF2-40B4-BE49-F238E27FC236}">
                  <a16:creationId xmlns:a16="http://schemas.microsoft.com/office/drawing/2014/main" id="{DF31FE06-C60F-BB77-225B-4EBBF5665B87}"/>
                </a:ext>
              </a:extLst>
            </p:cNvPr>
            <p:cNvPicPr/>
            <p:nvPr/>
          </p:nvPicPr>
          <p:blipFill>
            <a:blip r:embed="rId5" cstate="print"/>
            <a:stretch>
              <a:fillRect/>
            </a:stretch>
          </p:blipFill>
          <p:spPr>
            <a:xfrm>
              <a:off x="10791857" y="4643430"/>
              <a:ext cx="106445" cy="107156"/>
            </a:xfrm>
            <a:prstGeom prst="rect">
              <a:avLst/>
            </a:prstGeom>
          </p:spPr>
        </p:pic>
        <p:sp>
          <p:nvSpPr>
            <p:cNvPr id="117" name="object 115">
              <a:extLst>
                <a:ext uri="{FF2B5EF4-FFF2-40B4-BE49-F238E27FC236}">
                  <a16:creationId xmlns:a16="http://schemas.microsoft.com/office/drawing/2014/main" id="{2C2D262E-4CDC-062A-D685-92E17C83AD62}"/>
                </a:ext>
              </a:extLst>
            </p:cNvPr>
            <p:cNvSpPr/>
            <p:nvPr/>
          </p:nvSpPr>
          <p:spPr>
            <a:xfrm>
              <a:off x="10679200" y="4075252"/>
              <a:ext cx="332700" cy="477101"/>
            </a:xfrm>
            <a:custGeom>
              <a:avLst/>
              <a:gdLst/>
              <a:ahLst/>
              <a:cxnLst/>
              <a:rect l="l" t="t" r="r" b="b"/>
              <a:pathLst>
                <a:path w="548640" h="786765">
                  <a:moveTo>
                    <a:pt x="548043" y="266623"/>
                  </a:moveTo>
                  <a:lnTo>
                    <a:pt x="500380" y="270662"/>
                  </a:lnTo>
                  <a:lnTo>
                    <a:pt x="455853" y="282308"/>
                  </a:lnTo>
                  <a:lnTo>
                    <a:pt x="414616" y="300913"/>
                  </a:lnTo>
                  <a:lnTo>
                    <a:pt x="377355" y="325780"/>
                  </a:lnTo>
                  <a:lnTo>
                    <a:pt x="344728" y="356247"/>
                  </a:lnTo>
                  <a:lnTo>
                    <a:pt x="317411" y="391629"/>
                  </a:lnTo>
                  <a:lnTo>
                    <a:pt x="296087" y="431253"/>
                  </a:lnTo>
                  <a:lnTo>
                    <a:pt x="281432" y="474446"/>
                  </a:lnTo>
                  <a:lnTo>
                    <a:pt x="274091" y="520534"/>
                  </a:lnTo>
                  <a:lnTo>
                    <a:pt x="266915" y="474256"/>
                  </a:lnTo>
                  <a:lnTo>
                    <a:pt x="252361" y="430885"/>
                  </a:lnTo>
                  <a:lnTo>
                    <a:pt x="231101" y="391096"/>
                  </a:lnTo>
                  <a:lnTo>
                    <a:pt x="203809" y="355561"/>
                  </a:lnTo>
                  <a:lnTo>
                    <a:pt x="171157" y="324954"/>
                  </a:lnTo>
                  <a:lnTo>
                    <a:pt x="133845" y="299974"/>
                  </a:lnTo>
                  <a:lnTo>
                    <a:pt x="92544" y="281292"/>
                  </a:lnTo>
                  <a:lnTo>
                    <a:pt x="47917" y="269582"/>
                  </a:lnTo>
                  <a:lnTo>
                    <a:pt x="12" y="265531"/>
                  </a:lnTo>
                  <a:lnTo>
                    <a:pt x="5461" y="313690"/>
                  </a:lnTo>
                  <a:lnTo>
                    <a:pt x="18846" y="358952"/>
                  </a:lnTo>
                  <a:lnTo>
                    <a:pt x="39471" y="400583"/>
                  </a:lnTo>
                  <a:lnTo>
                    <a:pt x="66560" y="437832"/>
                  </a:lnTo>
                  <a:lnTo>
                    <a:pt x="99402" y="469988"/>
                  </a:lnTo>
                  <a:lnTo>
                    <a:pt x="137261" y="496303"/>
                  </a:lnTo>
                  <a:lnTo>
                    <a:pt x="179387" y="516039"/>
                  </a:lnTo>
                  <a:lnTo>
                    <a:pt x="225056" y="528459"/>
                  </a:lnTo>
                  <a:lnTo>
                    <a:pt x="273532" y="532828"/>
                  </a:lnTo>
                  <a:lnTo>
                    <a:pt x="274751" y="532828"/>
                  </a:lnTo>
                  <a:lnTo>
                    <a:pt x="323100" y="528472"/>
                  </a:lnTo>
                  <a:lnTo>
                    <a:pt x="368655" y="516115"/>
                  </a:lnTo>
                  <a:lnTo>
                    <a:pt x="410679" y="496468"/>
                  </a:lnTo>
                  <a:lnTo>
                    <a:pt x="448475" y="470268"/>
                  </a:lnTo>
                  <a:lnTo>
                    <a:pt x="481266" y="438264"/>
                  </a:lnTo>
                  <a:lnTo>
                    <a:pt x="508368" y="401154"/>
                  </a:lnTo>
                  <a:lnTo>
                    <a:pt x="529005" y="359702"/>
                  </a:lnTo>
                  <a:lnTo>
                    <a:pt x="542480" y="314604"/>
                  </a:lnTo>
                  <a:lnTo>
                    <a:pt x="548043" y="266623"/>
                  </a:lnTo>
                  <a:close/>
                </a:path>
                <a:path w="548640" h="786765">
                  <a:moveTo>
                    <a:pt x="548043" y="1092"/>
                  </a:moveTo>
                  <a:lnTo>
                    <a:pt x="500380" y="5130"/>
                  </a:lnTo>
                  <a:lnTo>
                    <a:pt x="455853" y="16776"/>
                  </a:lnTo>
                  <a:lnTo>
                    <a:pt x="414616" y="35382"/>
                  </a:lnTo>
                  <a:lnTo>
                    <a:pt x="377355" y="60248"/>
                  </a:lnTo>
                  <a:lnTo>
                    <a:pt x="344728" y="90716"/>
                  </a:lnTo>
                  <a:lnTo>
                    <a:pt x="317411" y="126098"/>
                  </a:lnTo>
                  <a:lnTo>
                    <a:pt x="296087" y="165722"/>
                  </a:lnTo>
                  <a:lnTo>
                    <a:pt x="281432" y="208915"/>
                  </a:lnTo>
                  <a:lnTo>
                    <a:pt x="274091" y="255003"/>
                  </a:lnTo>
                  <a:lnTo>
                    <a:pt x="266915" y="208724"/>
                  </a:lnTo>
                  <a:lnTo>
                    <a:pt x="252361" y="165354"/>
                  </a:lnTo>
                  <a:lnTo>
                    <a:pt x="231101" y="125564"/>
                  </a:lnTo>
                  <a:lnTo>
                    <a:pt x="203809" y="90030"/>
                  </a:lnTo>
                  <a:lnTo>
                    <a:pt x="171157" y="59436"/>
                  </a:lnTo>
                  <a:lnTo>
                    <a:pt x="133845" y="34455"/>
                  </a:lnTo>
                  <a:lnTo>
                    <a:pt x="92544" y="15760"/>
                  </a:lnTo>
                  <a:lnTo>
                    <a:pt x="47917" y="4051"/>
                  </a:lnTo>
                  <a:lnTo>
                    <a:pt x="12" y="0"/>
                  </a:lnTo>
                  <a:lnTo>
                    <a:pt x="5461" y="48158"/>
                  </a:lnTo>
                  <a:lnTo>
                    <a:pt x="18846" y="93421"/>
                  </a:lnTo>
                  <a:lnTo>
                    <a:pt x="39471" y="135051"/>
                  </a:lnTo>
                  <a:lnTo>
                    <a:pt x="66560" y="172300"/>
                  </a:lnTo>
                  <a:lnTo>
                    <a:pt x="99402" y="204457"/>
                  </a:lnTo>
                  <a:lnTo>
                    <a:pt x="137261" y="230771"/>
                  </a:lnTo>
                  <a:lnTo>
                    <a:pt x="179387" y="250494"/>
                  </a:lnTo>
                  <a:lnTo>
                    <a:pt x="225056" y="262928"/>
                  </a:lnTo>
                  <a:lnTo>
                    <a:pt x="273532" y="267309"/>
                  </a:lnTo>
                  <a:lnTo>
                    <a:pt x="274751" y="267309"/>
                  </a:lnTo>
                  <a:lnTo>
                    <a:pt x="323100" y="262940"/>
                  </a:lnTo>
                  <a:lnTo>
                    <a:pt x="368655" y="250583"/>
                  </a:lnTo>
                  <a:lnTo>
                    <a:pt x="410679" y="230936"/>
                  </a:lnTo>
                  <a:lnTo>
                    <a:pt x="448475" y="204736"/>
                  </a:lnTo>
                  <a:lnTo>
                    <a:pt x="481266" y="172720"/>
                  </a:lnTo>
                  <a:lnTo>
                    <a:pt x="508368" y="135623"/>
                  </a:lnTo>
                  <a:lnTo>
                    <a:pt x="529005" y="94170"/>
                  </a:lnTo>
                  <a:lnTo>
                    <a:pt x="542480" y="49072"/>
                  </a:lnTo>
                  <a:lnTo>
                    <a:pt x="548043" y="1092"/>
                  </a:lnTo>
                  <a:close/>
                </a:path>
                <a:path w="548640" h="786765">
                  <a:moveTo>
                    <a:pt x="548093" y="520204"/>
                  </a:moveTo>
                  <a:lnTo>
                    <a:pt x="500380" y="524217"/>
                  </a:lnTo>
                  <a:lnTo>
                    <a:pt x="455853" y="535876"/>
                  </a:lnTo>
                  <a:lnTo>
                    <a:pt x="414616" y="554469"/>
                  </a:lnTo>
                  <a:lnTo>
                    <a:pt x="377355" y="579335"/>
                  </a:lnTo>
                  <a:lnTo>
                    <a:pt x="344728" y="609803"/>
                  </a:lnTo>
                  <a:lnTo>
                    <a:pt x="317411" y="645172"/>
                  </a:lnTo>
                  <a:lnTo>
                    <a:pt x="296087" y="684796"/>
                  </a:lnTo>
                  <a:lnTo>
                    <a:pt x="281419" y="727976"/>
                  </a:lnTo>
                  <a:lnTo>
                    <a:pt x="274091" y="774065"/>
                  </a:lnTo>
                  <a:lnTo>
                    <a:pt x="266915" y="727824"/>
                  </a:lnTo>
                  <a:lnTo>
                    <a:pt x="252361" y="684441"/>
                  </a:lnTo>
                  <a:lnTo>
                    <a:pt x="231101" y="644652"/>
                  </a:lnTo>
                  <a:lnTo>
                    <a:pt x="203809" y="609117"/>
                  </a:lnTo>
                  <a:lnTo>
                    <a:pt x="171157" y="578523"/>
                  </a:lnTo>
                  <a:lnTo>
                    <a:pt x="133845" y="553542"/>
                  </a:lnTo>
                  <a:lnTo>
                    <a:pt x="92544" y="534835"/>
                  </a:lnTo>
                  <a:lnTo>
                    <a:pt x="47917" y="523125"/>
                  </a:lnTo>
                  <a:lnTo>
                    <a:pt x="0" y="519074"/>
                  </a:lnTo>
                  <a:lnTo>
                    <a:pt x="5448" y="567245"/>
                  </a:lnTo>
                  <a:lnTo>
                    <a:pt x="18846" y="612521"/>
                  </a:lnTo>
                  <a:lnTo>
                    <a:pt x="39458" y="65413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79" y="750023"/>
                  </a:lnTo>
                  <a:lnTo>
                    <a:pt x="448475" y="723836"/>
                  </a:lnTo>
                  <a:lnTo>
                    <a:pt x="459854" y="712724"/>
                  </a:lnTo>
                  <a:lnTo>
                    <a:pt x="481304" y="691807"/>
                  </a:lnTo>
                  <a:lnTo>
                    <a:pt x="508393" y="654710"/>
                  </a:lnTo>
                  <a:lnTo>
                    <a:pt x="529056"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118" name="object 116">
              <a:extLst>
                <a:ext uri="{FF2B5EF4-FFF2-40B4-BE49-F238E27FC236}">
                  <a16:creationId xmlns:a16="http://schemas.microsoft.com/office/drawing/2014/main" id="{2ABFAC01-2319-129D-8757-C31C873CB66C}"/>
                </a:ext>
              </a:extLst>
            </p:cNvPr>
            <p:cNvPicPr/>
            <p:nvPr/>
          </p:nvPicPr>
          <p:blipFill>
            <a:blip r:embed="rId6" cstate="print"/>
            <a:stretch>
              <a:fillRect/>
            </a:stretch>
          </p:blipFill>
          <p:spPr>
            <a:xfrm>
              <a:off x="10791857" y="3989263"/>
              <a:ext cx="106445" cy="107156"/>
            </a:xfrm>
            <a:prstGeom prst="rect">
              <a:avLst/>
            </a:prstGeom>
          </p:spPr>
        </p:pic>
        <p:sp>
          <p:nvSpPr>
            <p:cNvPr id="119" name="object 117">
              <a:extLst>
                <a:ext uri="{FF2B5EF4-FFF2-40B4-BE49-F238E27FC236}">
                  <a16:creationId xmlns:a16="http://schemas.microsoft.com/office/drawing/2014/main" id="{F536798C-8F43-E1A7-0B66-6EFBFDEFB1E8}"/>
                </a:ext>
              </a:extLst>
            </p:cNvPr>
            <p:cNvSpPr/>
            <p:nvPr/>
          </p:nvSpPr>
          <p:spPr>
            <a:xfrm>
              <a:off x="10294123" y="3862863"/>
              <a:ext cx="332700" cy="477101"/>
            </a:xfrm>
            <a:custGeom>
              <a:avLst/>
              <a:gdLst/>
              <a:ahLst/>
              <a:cxnLst/>
              <a:rect l="l" t="t" r="r" b="b"/>
              <a:pathLst>
                <a:path w="548640" h="786765">
                  <a:moveTo>
                    <a:pt x="548081" y="786396"/>
                  </a:moveTo>
                  <a:lnTo>
                    <a:pt x="542632" y="738238"/>
                  </a:lnTo>
                  <a:lnTo>
                    <a:pt x="529234" y="692975"/>
                  </a:lnTo>
                  <a:lnTo>
                    <a:pt x="508622" y="651344"/>
                  </a:lnTo>
                  <a:lnTo>
                    <a:pt x="481520" y="614083"/>
                  </a:lnTo>
                  <a:lnTo>
                    <a:pt x="448691" y="581939"/>
                  </a:lnTo>
                  <a:lnTo>
                    <a:pt x="410832" y="555625"/>
                  </a:lnTo>
                  <a:lnTo>
                    <a:pt x="368706" y="535889"/>
                  </a:lnTo>
                  <a:lnTo>
                    <a:pt x="323037" y="523468"/>
                  </a:lnTo>
                  <a:lnTo>
                    <a:pt x="274561" y="519099"/>
                  </a:lnTo>
                  <a:lnTo>
                    <a:pt x="273329" y="519099"/>
                  </a:lnTo>
                  <a:lnTo>
                    <a:pt x="224993" y="523455"/>
                  </a:lnTo>
                  <a:lnTo>
                    <a:pt x="179438" y="535813"/>
                  </a:lnTo>
                  <a:lnTo>
                    <a:pt x="137401" y="555459"/>
                  </a:lnTo>
                  <a:lnTo>
                    <a:pt x="99618" y="581660"/>
                  </a:lnTo>
                  <a:lnTo>
                    <a:pt x="66814" y="613664"/>
                  </a:lnTo>
                  <a:lnTo>
                    <a:pt x="39725" y="650773"/>
                  </a:lnTo>
                  <a:lnTo>
                    <a:pt x="19075" y="692226"/>
                  </a:lnTo>
                  <a:lnTo>
                    <a:pt x="5613" y="737323"/>
                  </a:lnTo>
                  <a:lnTo>
                    <a:pt x="50" y="785304"/>
                  </a:lnTo>
                  <a:lnTo>
                    <a:pt x="47713" y="781265"/>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48"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91" y="316407"/>
                  </a:lnTo>
                  <a:lnTo>
                    <a:pt x="410832" y="290106"/>
                  </a:lnTo>
                  <a:lnTo>
                    <a:pt x="368706" y="270370"/>
                  </a:lnTo>
                  <a:lnTo>
                    <a:pt x="323037" y="257949"/>
                  </a:lnTo>
                  <a:lnTo>
                    <a:pt x="274561" y="253568"/>
                  </a:lnTo>
                  <a:lnTo>
                    <a:pt x="273329" y="253568"/>
                  </a:lnTo>
                  <a:lnTo>
                    <a:pt x="224993" y="257924"/>
                  </a:lnTo>
                  <a:lnTo>
                    <a:pt x="179438" y="270294"/>
                  </a:lnTo>
                  <a:lnTo>
                    <a:pt x="137401" y="289941"/>
                  </a:lnTo>
                  <a:lnTo>
                    <a:pt x="99618" y="316128"/>
                  </a:lnTo>
                  <a:lnTo>
                    <a:pt x="66814" y="348145"/>
                  </a:lnTo>
                  <a:lnTo>
                    <a:pt x="39725" y="385241"/>
                  </a:lnTo>
                  <a:lnTo>
                    <a:pt x="19075" y="426707"/>
                  </a:lnTo>
                  <a:lnTo>
                    <a:pt x="5613" y="471792"/>
                  </a:lnTo>
                  <a:lnTo>
                    <a:pt x="50" y="519785"/>
                  </a:lnTo>
                  <a:lnTo>
                    <a:pt x="47713" y="515747"/>
                  </a:lnTo>
                  <a:lnTo>
                    <a:pt x="92240" y="504101"/>
                  </a:lnTo>
                  <a:lnTo>
                    <a:pt x="133477" y="485495"/>
                  </a:lnTo>
                  <a:lnTo>
                    <a:pt x="170738" y="460629"/>
                  </a:lnTo>
                  <a:lnTo>
                    <a:pt x="203365" y="430161"/>
                  </a:lnTo>
                  <a:lnTo>
                    <a:pt x="230670" y="394779"/>
                  </a:lnTo>
                  <a:lnTo>
                    <a:pt x="251993" y="355142"/>
                  </a:lnTo>
                  <a:lnTo>
                    <a:pt x="266661" y="311950"/>
                  </a:lnTo>
                  <a:lnTo>
                    <a:pt x="273989" y="265874"/>
                  </a:lnTo>
                  <a:lnTo>
                    <a:pt x="281165" y="312140"/>
                  </a:lnTo>
                  <a:lnTo>
                    <a:pt x="295719" y="355511"/>
                  </a:lnTo>
                  <a:lnTo>
                    <a:pt x="316992" y="395300"/>
                  </a:lnTo>
                  <a:lnTo>
                    <a:pt x="344284" y="430847"/>
                  </a:lnTo>
                  <a:lnTo>
                    <a:pt x="376923" y="461441"/>
                  </a:lnTo>
                  <a:lnTo>
                    <a:pt x="414248" y="486422"/>
                  </a:lnTo>
                  <a:lnTo>
                    <a:pt x="455549" y="505104"/>
                  </a:lnTo>
                  <a:lnTo>
                    <a:pt x="500164" y="516813"/>
                  </a:lnTo>
                  <a:lnTo>
                    <a:pt x="548081" y="520865"/>
                  </a:lnTo>
                  <a:close/>
                </a:path>
                <a:path w="548640" h="786765">
                  <a:moveTo>
                    <a:pt x="548093" y="267322"/>
                  </a:moveTo>
                  <a:lnTo>
                    <a:pt x="542645" y="219151"/>
                  </a:lnTo>
                  <a:lnTo>
                    <a:pt x="529247" y="173888"/>
                  </a:lnTo>
                  <a:lnTo>
                    <a:pt x="508635" y="132257"/>
                  </a:lnTo>
                  <a:lnTo>
                    <a:pt x="481533" y="95008"/>
                  </a:lnTo>
                  <a:lnTo>
                    <a:pt x="448691" y="62852"/>
                  </a:lnTo>
                  <a:lnTo>
                    <a:pt x="410845" y="36550"/>
                  </a:lnTo>
                  <a:lnTo>
                    <a:pt x="368706" y="16802"/>
                  </a:lnTo>
                  <a:lnTo>
                    <a:pt x="323037" y="4381"/>
                  </a:lnTo>
                  <a:lnTo>
                    <a:pt x="274561" y="0"/>
                  </a:lnTo>
                  <a:lnTo>
                    <a:pt x="273329" y="0"/>
                  </a:lnTo>
                  <a:lnTo>
                    <a:pt x="224993" y="4356"/>
                  </a:lnTo>
                  <a:lnTo>
                    <a:pt x="179438" y="16725"/>
                  </a:lnTo>
                  <a:lnTo>
                    <a:pt x="137401" y="36372"/>
                  </a:lnTo>
                  <a:lnTo>
                    <a:pt x="99618" y="62560"/>
                  </a:lnTo>
                  <a:lnTo>
                    <a:pt x="66814" y="94576"/>
                  </a:lnTo>
                  <a:lnTo>
                    <a:pt x="39700" y="131686"/>
                  </a:lnTo>
                  <a:lnTo>
                    <a:pt x="19037" y="173139"/>
                  </a:lnTo>
                  <a:lnTo>
                    <a:pt x="5562" y="218224"/>
                  </a:lnTo>
                  <a:lnTo>
                    <a:pt x="0" y="266192"/>
                  </a:lnTo>
                  <a:lnTo>
                    <a:pt x="47713" y="262178"/>
                  </a:lnTo>
                  <a:lnTo>
                    <a:pt x="92240" y="250520"/>
                  </a:lnTo>
                  <a:lnTo>
                    <a:pt x="133477" y="231927"/>
                  </a:lnTo>
                  <a:lnTo>
                    <a:pt x="170738" y="207060"/>
                  </a:lnTo>
                  <a:lnTo>
                    <a:pt x="203365" y="176593"/>
                  </a:lnTo>
                  <a:lnTo>
                    <a:pt x="230682" y="141224"/>
                  </a:lnTo>
                  <a:lnTo>
                    <a:pt x="252006" y="101600"/>
                  </a:lnTo>
                  <a:lnTo>
                    <a:pt x="266674" y="58420"/>
                  </a:lnTo>
                  <a:lnTo>
                    <a:pt x="273989" y="12369"/>
                  </a:lnTo>
                  <a:lnTo>
                    <a:pt x="279844" y="50101"/>
                  </a:lnTo>
                  <a:lnTo>
                    <a:pt x="281165" y="58585"/>
                  </a:lnTo>
                  <a:lnTo>
                    <a:pt x="284822" y="69481"/>
                  </a:lnTo>
                  <a:lnTo>
                    <a:pt x="295719" y="101955"/>
                  </a:lnTo>
                  <a:lnTo>
                    <a:pt x="316992" y="141744"/>
                  </a:lnTo>
                  <a:lnTo>
                    <a:pt x="344284" y="177279"/>
                  </a:lnTo>
                  <a:lnTo>
                    <a:pt x="376936" y="207886"/>
                  </a:lnTo>
                  <a:lnTo>
                    <a:pt x="414248" y="232867"/>
                  </a:lnTo>
                  <a:lnTo>
                    <a:pt x="455549" y="251561"/>
                  </a:lnTo>
                  <a:lnTo>
                    <a:pt x="500176" y="263271"/>
                  </a:lnTo>
                  <a:lnTo>
                    <a:pt x="548093" y="267322"/>
                  </a:lnTo>
                  <a:close/>
                </a:path>
              </a:pathLst>
            </a:custGeom>
            <a:solidFill>
              <a:srgbClr val="2DB7EA"/>
            </a:solidFill>
          </p:spPr>
          <p:txBody>
            <a:bodyPr wrap="square" lIns="0" tIns="0" rIns="0" bIns="0" rtlCol="0"/>
            <a:lstStyle/>
            <a:p>
              <a:endParaRPr dirty="0"/>
            </a:p>
          </p:txBody>
        </p:sp>
        <p:pic>
          <p:nvPicPr>
            <p:cNvPr id="120" name="object 118">
              <a:extLst>
                <a:ext uri="{FF2B5EF4-FFF2-40B4-BE49-F238E27FC236}">
                  <a16:creationId xmlns:a16="http://schemas.microsoft.com/office/drawing/2014/main" id="{F5452193-3483-6720-1EBC-C268F422BFB2}"/>
                </a:ext>
              </a:extLst>
            </p:cNvPr>
            <p:cNvPicPr/>
            <p:nvPr/>
          </p:nvPicPr>
          <p:blipFill>
            <a:blip r:embed="rId8" cstate="print"/>
            <a:stretch>
              <a:fillRect/>
            </a:stretch>
          </p:blipFill>
          <p:spPr>
            <a:xfrm>
              <a:off x="10407394" y="4318566"/>
              <a:ext cx="106445" cy="107156"/>
            </a:xfrm>
            <a:prstGeom prst="rect">
              <a:avLst/>
            </a:prstGeom>
          </p:spPr>
        </p:pic>
        <p:sp>
          <p:nvSpPr>
            <p:cNvPr id="121" name="object 119">
              <a:extLst>
                <a:ext uri="{FF2B5EF4-FFF2-40B4-BE49-F238E27FC236}">
                  <a16:creationId xmlns:a16="http://schemas.microsoft.com/office/drawing/2014/main" id="{231FBC9E-6840-CB2B-23A4-1386575B07BD}"/>
                </a:ext>
              </a:extLst>
            </p:cNvPr>
            <p:cNvSpPr/>
            <p:nvPr/>
          </p:nvSpPr>
          <p:spPr>
            <a:xfrm>
              <a:off x="10294123" y="4517034"/>
              <a:ext cx="332700" cy="477101"/>
            </a:xfrm>
            <a:custGeom>
              <a:avLst/>
              <a:gdLst/>
              <a:ahLst/>
              <a:cxnLst/>
              <a:rect l="l" t="t" r="r" b="b"/>
              <a:pathLst>
                <a:path w="548640" h="786765">
                  <a:moveTo>
                    <a:pt x="548081" y="786384"/>
                  </a:moveTo>
                  <a:lnTo>
                    <a:pt x="542632" y="738225"/>
                  </a:lnTo>
                  <a:lnTo>
                    <a:pt x="529234" y="692962"/>
                  </a:lnTo>
                  <a:lnTo>
                    <a:pt x="508622" y="651332"/>
                  </a:lnTo>
                  <a:lnTo>
                    <a:pt x="481520" y="614083"/>
                  </a:lnTo>
                  <a:lnTo>
                    <a:pt x="448691"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50" y="785304"/>
                  </a:lnTo>
                  <a:lnTo>
                    <a:pt x="47713" y="781265"/>
                  </a:lnTo>
                  <a:lnTo>
                    <a:pt x="92240" y="769620"/>
                  </a:lnTo>
                  <a:lnTo>
                    <a:pt x="133477" y="751014"/>
                  </a:lnTo>
                  <a:lnTo>
                    <a:pt x="170738" y="726147"/>
                  </a:lnTo>
                  <a:lnTo>
                    <a:pt x="203365" y="695680"/>
                  </a:lnTo>
                  <a:lnTo>
                    <a:pt x="230670" y="660298"/>
                  </a:lnTo>
                  <a:lnTo>
                    <a:pt x="251993" y="620674"/>
                  </a:lnTo>
                  <a:lnTo>
                    <a:pt x="266661" y="577469"/>
                  </a:lnTo>
                  <a:lnTo>
                    <a:pt x="273989" y="531393"/>
                  </a:lnTo>
                  <a:lnTo>
                    <a:pt x="281165" y="577659"/>
                  </a:lnTo>
                  <a:lnTo>
                    <a:pt x="295719" y="621030"/>
                  </a:lnTo>
                  <a:lnTo>
                    <a:pt x="316992" y="660831"/>
                  </a:lnTo>
                  <a:lnTo>
                    <a:pt x="344284" y="696366"/>
                  </a:lnTo>
                  <a:lnTo>
                    <a:pt x="376923" y="726960"/>
                  </a:lnTo>
                  <a:lnTo>
                    <a:pt x="414248" y="751941"/>
                  </a:lnTo>
                  <a:lnTo>
                    <a:pt x="455549" y="770623"/>
                  </a:lnTo>
                  <a:lnTo>
                    <a:pt x="500164" y="782332"/>
                  </a:lnTo>
                  <a:lnTo>
                    <a:pt x="548081" y="786384"/>
                  </a:lnTo>
                  <a:close/>
                </a:path>
                <a:path w="548640" h="786765">
                  <a:moveTo>
                    <a:pt x="548081" y="520852"/>
                  </a:moveTo>
                  <a:lnTo>
                    <a:pt x="542632" y="472694"/>
                  </a:lnTo>
                  <a:lnTo>
                    <a:pt x="529234" y="427431"/>
                  </a:lnTo>
                  <a:lnTo>
                    <a:pt x="508622" y="385813"/>
                  </a:lnTo>
                  <a:lnTo>
                    <a:pt x="481520" y="348551"/>
                  </a:lnTo>
                  <a:lnTo>
                    <a:pt x="448691" y="316407"/>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28"/>
                  </a:lnTo>
                  <a:lnTo>
                    <a:pt x="66814" y="348132"/>
                  </a:lnTo>
                  <a:lnTo>
                    <a:pt x="39725" y="385241"/>
                  </a:lnTo>
                  <a:lnTo>
                    <a:pt x="19075" y="426694"/>
                  </a:lnTo>
                  <a:lnTo>
                    <a:pt x="5613" y="471779"/>
                  </a:lnTo>
                  <a:lnTo>
                    <a:pt x="50" y="519772"/>
                  </a:lnTo>
                  <a:lnTo>
                    <a:pt x="47713" y="515734"/>
                  </a:lnTo>
                  <a:lnTo>
                    <a:pt x="92240" y="504075"/>
                  </a:lnTo>
                  <a:lnTo>
                    <a:pt x="133477" y="485482"/>
                  </a:lnTo>
                  <a:lnTo>
                    <a:pt x="170738" y="460616"/>
                  </a:lnTo>
                  <a:lnTo>
                    <a:pt x="203365"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48" y="486410"/>
                  </a:lnTo>
                  <a:lnTo>
                    <a:pt x="455549" y="505091"/>
                  </a:lnTo>
                  <a:lnTo>
                    <a:pt x="500164" y="516801"/>
                  </a:lnTo>
                  <a:lnTo>
                    <a:pt x="548081" y="520852"/>
                  </a:lnTo>
                  <a:close/>
                </a:path>
                <a:path w="548640" h="786765">
                  <a:moveTo>
                    <a:pt x="548093" y="267322"/>
                  </a:moveTo>
                  <a:lnTo>
                    <a:pt x="542645" y="219151"/>
                  </a:lnTo>
                  <a:lnTo>
                    <a:pt x="529247" y="173875"/>
                  </a:lnTo>
                  <a:lnTo>
                    <a:pt x="508635" y="132245"/>
                  </a:lnTo>
                  <a:lnTo>
                    <a:pt x="481533" y="94996"/>
                  </a:lnTo>
                  <a:lnTo>
                    <a:pt x="465277" y="79095"/>
                  </a:lnTo>
                  <a:lnTo>
                    <a:pt x="448691" y="62852"/>
                  </a:lnTo>
                  <a:lnTo>
                    <a:pt x="426351" y="47332"/>
                  </a:lnTo>
                  <a:lnTo>
                    <a:pt x="410845" y="36537"/>
                  </a:lnTo>
                  <a:lnTo>
                    <a:pt x="397395" y="30251"/>
                  </a:lnTo>
                  <a:lnTo>
                    <a:pt x="368706" y="16814"/>
                  </a:lnTo>
                  <a:lnTo>
                    <a:pt x="323037" y="4368"/>
                  </a:lnTo>
                  <a:lnTo>
                    <a:pt x="274561" y="0"/>
                  </a:lnTo>
                  <a:lnTo>
                    <a:pt x="273329" y="0"/>
                  </a:lnTo>
                  <a:lnTo>
                    <a:pt x="224993" y="4356"/>
                  </a:lnTo>
                  <a:lnTo>
                    <a:pt x="179438" y="16725"/>
                  </a:lnTo>
                  <a:lnTo>
                    <a:pt x="137401" y="36372"/>
                  </a:lnTo>
                  <a:lnTo>
                    <a:pt x="99618" y="62560"/>
                  </a:lnTo>
                  <a:lnTo>
                    <a:pt x="98793" y="63360"/>
                  </a:lnTo>
                  <a:lnTo>
                    <a:pt x="66814" y="94576"/>
                  </a:lnTo>
                  <a:lnTo>
                    <a:pt x="39700" y="131686"/>
                  </a:lnTo>
                  <a:lnTo>
                    <a:pt x="19037" y="173139"/>
                  </a:lnTo>
                  <a:lnTo>
                    <a:pt x="5562" y="218211"/>
                  </a:lnTo>
                  <a:lnTo>
                    <a:pt x="0" y="266192"/>
                  </a:lnTo>
                  <a:lnTo>
                    <a:pt x="47713" y="262166"/>
                  </a:lnTo>
                  <a:lnTo>
                    <a:pt x="92240" y="250520"/>
                  </a:lnTo>
                  <a:lnTo>
                    <a:pt x="133477" y="231914"/>
                  </a:lnTo>
                  <a:lnTo>
                    <a:pt x="170738" y="207048"/>
                  </a:lnTo>
                  <a:lnTo>
                    <a:pt x="203365" y="176593"/>
                  </a:lnTo>
                  <a:lnTo>
                    <a:pt x="230682" y="141211"/>
                  </a:lnTo>
                  <a:lnTo>
                    <a:pt x="252006" y="101600"/>
                  </a:lnTo>
                  <a:lnTo>
                    <a:pt x="266674" y="58407"/>
                  </a:lnTo>
                  <a:lnTo>
                    <a:pt x="273989" y="12357"/>
                  </a:lnTo>
                  <a:lnTo>
                    <a:pt x="279844" y="50101"/>
                  </a:lnTo>
                  <a:lnTo>
                    <a:pt x="295719" y="101942"/>
                  </a:lnTo>
                  <a:lnTo>
                    <a:pt x="316992" y="141732"/>
                  </a:lnTo>
                  <a:lnTo>
                    <a:pt x="344284" y="177279"/>
                  </a:lnTo>
                  <a:lnTo>
                    <a:pt x="376923" y="207873"/>
                  </a:lnTo>
                  <a:lnTo>
                    <a:pt x="414248" y="232867"/>
                  </a:lnTo>
                  <a:lnTo>
                    <a:pt x="455549"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122" name="object 120">
              <a:extLst>
                <a:ext uri="{FF2B5EF4-FFF2-40B4-BE49-F238E27FC236}">
                  <a16:creationId xmlns:a16="http://schemas.microsoft.com/office/drawing/2014/main" id="{A3338496-B138-3346-443C-0419433FD2AB}"/>
                </a:ext>
              </a:extLst>
            </p:cNvPr>
            <p:cNvPicPr/>
            <p:nvPr/>
          </p:nvPicPr>
          <p:blipFill>
            <a:blip r:embed="rId9" cstate="print"/>
            <a:stretch>
              <a:fillRect/>
            </a:stretch>
          </p:blipFill>
          <p:spPr>
            <a:xfrm>
              <a:off x="10407394" y="4972731"/>
              <a:ext cx="106445" cy="107156"/>
            </a:xfrm>
            <a:prstGeom prst="rect">
              <a:avLst/>
            </a:prstGeom>
          </p:spPr>
        </p:pic>
        <p:sp>
          <p:nvSpPr>
            <p:cNvPr id="123" name="object 121">
              <a:extLst>
                <a:ext uri="{FF2B5EF4-FFF2-40B4-BE49-F238E27FC236}">
                  <a16:creationId xmlns:a16="http://schemas.microsoft.com/office/drawing/2014/main" id="{7AEB43D6-30E4-117D-8189-D32DEBFE6A2F}"/>
                </a:ext>
              </a:extLst>
            </p:cNvPr>
            <p:cNvSpPr/>
            <p:nvPr/>
          </p:nvSpPr>
          <p:spPr>
            <a:xfrm>
              <a:off x="10294123" y="2554529"/>
              <a:ext cx="332700" cy="477101"/>
            </a:xfrm>
            <a:custGeom>
              <a:avLst/>
              <a:gdLst/>
              <a:ahLst/>
              <a:cxnLst/>
              <a:rect l="l" t="t" r="r" b="b"/>
              <a:pathLst>
                <a:path w="548640" h="786764">
                  <a:moveTo>
                    <a:pt x="548081" y="786396"/>
                  </a:moveTo>
                  <a:lnTo>
                    <a:pt x="542632" y="738238"/>
                  </a:lnTo>
                  <a:lnTo>
                    <a:pt x="529234" y="692975"/>
                  </a:lnTo>
                  <a:lnTo>
                    <a:pt x="508622" y="651344"/>
                  </a:lnTo>
                  <a:lnTo>
                    <a:pt x="481520" y="614095"/>
                  </a:lnTo>
                  <a:lnTo>
                    <a:pt x="448691" y="581939"/>
                  </a:lnTo>
                  <a:lnTo>
                    <a:pt x="410832" y="555625"/>
                  </a:lnTo>
                  <a:lnTo>
                    <a:pt x="368706" y="535901"/>
                  </a:lnTo>
                  <a:lnTo>
                    <a:pt x="323037" y="523468"/>
                  </a:lnTo>
                  <a:lnTo>
                    <a:pt x="274561" y="519099"/>
                  </a:lnTo>
                  <a:lnTo>
                    <a:pt x="273329" y="519099"/>
                  </a:lnTo>
                  <a:lnTo>
                    <a:pt x="224993" y="523455"/>
                  </a:lnTo>
                  <a:lnTo>
                    <a:pt x="179438" y="535813"/>
                  </a:lnTo>
                  <a:lnTo>
                    <a:pt x="137401" y="555459"/>
                  </a:lnTo>
                  <a:lnTo>
                    <a:pt x="99618" y="581660"/>
                  </a:lnTo>
                  <a:lnTo>
                    <a:pt x="66814" y="613676"/>
                  </a:lnTo>
                  <a:lnTo>
                    <a:pt x="39725" y="650773"/>
                  </a:lnTo>
                  <a:lnTo>
                    <a:pt x="19075" y="692238"/>
                  </a:lnTo>
                  <a:lnTo>
                    <a:pt x="5613" y="737323"/>
                  </a:lnTo>
                  <a:lnTo>
                    <a:pt x="50" y="785317"/>
                  </a:lnTo>
                  <a:lnTo>
                    <a:pt x="47713" y="781278"/>
                  </a:lnTo>
                  <a:lnTo>
                    <a:pt x="92240" y="769632"/>
                  </a:lnTo>
                  <a:lnTo>
                    <a:pt x="133477" y="751027"/>
                  </a:lnTo>
                  <a:lnTo>
                    <a:pt x="170738" y="726160"/>
                  </a:lnTo>
                  <a:lnTo>
                    <a:pt x="203365" y="695693"/>
                  </a:lnTo>
                  <a:lnTo>
                    <a:pt x="230670" y="660311"/>
                  </a:lnTo>
                  <a:lnTo>
                    <a:pt x="251993" y="620687"/>
                  </a:lnTo>
                  <a:lnTo>
                    <a:pt x="266661" y="577481"/>
                  </a:lnTo>
                  <a:lnTo>
                    <a:pt x="273989" y="531406"/>
                  </a:lnTo>
                  <a:lnTo>
                    <a:pt x="281165" y="577672"/>
                  </a:lnTo>
                  <a:lnTo>
                    <a:pt x="295719" y="621042"/>
                  </a:lnTo>
                  <a:lnTo>
                    <a:pt x="316992" y="660844"/>
                  </a:lnTo>
                  <a:lnTo>
                    <a:pt x="344284" y="696379"/>
                  </a:lnTo>
                  <a:lnTo>
                    <a:pt x="376923" y="726973"/>
                  </a:lnTo>
                  <a:lnTo>
                    <a:pt x="414248" y="751954"/>
                  </a:lnTo>
                  <a:lnTo>
                    <a:pt x="455549" y="770636"/>
                  </a:lnTo>
                  <a:lnTo>
                    <a:pt x="500164" y="782345"/>
                  </a:lnTo>
                  <a:lnTo>
                    <a:pt x="548081" y="786396"/>
                  </a:lnTo>
                  <a:close/>
                </a:path>
                <a:path w="548640" h="786764">
                  <a:moveTo>
                    <a:pt x="548081" y="520865"/>
                  </a:moveTo>
                  <a:lnTo>
                    <a:pt x="542632" y="472706"/>
                  </a:lnTo>
                  <a:lnTo>
                    <a:pt x="529234" y="427443"/>
                  </a:lnTo>
                  <a:lnTo>
                    <a:pt x="508622" y="385813"/>
                  </a:lnTo>
                  <a:lnTo>
                    <a:pt x="481520" y="348564"/>
                  </a:lnTo>
                  <a:lnTo>
                    <a:pt x="448691" y="316407"/>
                  </a:lnTo>
                  <a:lnTo>
                    <a:pt x="410832" y="290106"/>
                  </a:lnTo>
                  <a:lnTo>
                    <a:pt x="368706" y="270370"/>
                  </a:lnTo>
                  <a:lnTo>
                    <a:pt x="323037" y="257949"/>
                  </a:lnTo>
                  <a:lnTo>
                    <a:pt x="274561" y="253568"/>
                  </a:lnTo>
                  <a:lnTo>
                    <a:pt x="273329" y="253568"/>
                  </a:lnTo>
                  <a:lnTo>
                    <a:pt x="224993" y="257924"/>
                  </a:lnTo>
                  <a:lnTo>
                    <a:pt x="179438" y="270294"/>
                  </a:lnTo>
                  <a:lnTo>
                    <a:pt x="137401" y="289941"/>
                  </a:lnTo>
                  <a:lnTo>
                    <a:pt x="99618" y="316128"/>
                  </a:lnTo>
                  <a:lnTo>
                    <a:pt x="66814" y="348145"/>
                  </a:lnTo>
                  <a:lnTo>
                    <a:pt x="39725" y="385254"/>
                  </a:lnTo>
                  <a:lnTo>
                    <a:pt x="19075" y="426707"/>
                  </a:lnTo>
                  <a:lnTo>
                    <a:pt x="5613" y="471805"/>
                  </a:lnTo>
                  <a:lnTo>
                    <a:pt x="50" y="519785"/>
                  </a:lnTo>
                  <a:lnTo>
                    <a:pt x="47713" y="515759"/>
                  </a:lnTo>
                  <a:lnTo>
                    <a:pt x="92240" y="504101"/>
                  </a:lnTo>
                  <a:lnTo>
                    <a:pt x="133477" y="485495"/>
                  </a:lnTo>
                  <a:lnTo>
                    <a:pt x="170738" y="460629"/>
                  </a:lnTo>
                  <a:lnTo>
                    <a:pt x="203365" y="430161"/>
                  </a:lnTo>
                  <a:lnTo>
                    <a:pt x="230670" y="394779"/>
                  </a:lnTo>
                  <a:lnTo>
                    <a:pt x="251993" y="355155"/>
                  </a:lnTo>
                  <a:lnTo>
                    <a:pt x="266661" y="311962"/>
                  </a:lnTo>
                  <a:lnTo>
                    <a:pt x="273989" y="265874"/>
                  </a:lnTo>
                  <a:lnTo>
                    <a:pt x="281165" y="312140"/>
                  </a:lnTo>
                  <a:lnTo>
                    <a:pt x="295719" y="355511"/>
                  </a:lnTo>
                  <a:lnTo>
                    <a:pt x="316992" y="395312"/>
                  </a:lnTo>
                  <a:lnTo>
                    <a:pt x="344284" y="430847"/>
                  </a:lnTo>
                  <a:lnTo>
                    <a:pt x="376923" y="461441"/>
                  </a:lnTo>
                  <a:lnTo>
                    <a:pt x="414248" y="486422"/>
                  </a:lnTo>
                  <a:lnTo>
                    <a:pt x="455549" y="505104"/>
                  </a:lnTo>
                  <a:lnTo>
                    <a:pt x="500164" y="516813"/>
                  </a:lnTo>
                  <a:lnTo>
                    <a:pt x="548081" y="520865"/>
                  </a:lnTo>
                  <a:close/>
                </a:path>
                <a:path w="548640" h="786764">
                  <a:moveTo>
                    <a:pt x="548093" y="267335"/>
                  </a:moveTo>
                  <a:lnTo>
                    <a:pt x="542645" y="219163"/>
                  </a:lnTo>
                  <a:lnTo>
                    <a:pt x="529247" y="173888"/>
                  </a:lnTo>
                  <a:lnTo>
                    <a:pt x="508635" y="132257"/>
                  </a:lnTo>
                  <a:lnTo>
                    <a:pt x="481533" y="95008"/>
                  </a:lnTo>
                  <a:lnTo>
                    <a:pt x="448691" y="62865"/>
                  </a:lnTo>
                  <a:lnTo>
                    <a:pt x="410845" y="36563"/>
                  </a:lnTo>
                  <a:lnTo>
                    <a:pt x="368706" y="16802"/>
                  </a:lnTo>
                  <a:lnTo>
                    <a:pt x="323037" y="4381"/>
                  </a:lnTo>
                  <a:lnTo>
                    <a:pt x="274561" y="0"/>
                  </a:lnTo>
                  <a:lnTo>
                    <a:pt x="273329" y="0"/>
                  </a:lnTo>
                  <a:lnTo>
                    <a:pt x="224993" y="4356"/>
                  </a:lnTo>
                  <a:lnTo>
                    <a:pt x="179438" y="16725"/>
                  </a:lnTo>
                  <a:lnTo>
                    <a:pt x="137401" y="36372"/>
                  </a:lnTo>
                  <a:lnTo>
                    <a:pt x="99618" y="62572"/>
                  </a:lnTo>
                  <a:lnTo>
                    <a:pt x="66814" y="94576"/>
                  </a:lnTo>
                  <a:lnTo>
                    <a:pt x="39700" y="131699"/>
                  </a:lnTo>
                  <a:lnTo>
                    <a:pt x="19037" y="173151"/>
                  </a:lnTo>
                  <a:lnTo>
                    <a:pt x="5562" y="218224"/>
                  </a:lnTo>
                  <a:lnTo>
                    <a:pt x="0" y="266204"/>
                  </a:lnTo>
                  <a:lnTo>
                    <a:pt x="47713" y="262191"/>
                  </a:lnTo>
                  <a:lnTo>
                    <a:pt x="92240" y="250532"/>
                  </a:lnTo>
                  <a:lnTo>
                    <a:pt x="133477" y="231940"/>
                  </a:lnTo>
                  <a:lnTo>
                    <a:pt x="170738" y="207060"/>
                  </a:lnTo>
                  <a:lnTo>
                    <a:pt x="203365" y="176606"/>
                  </a:lnTo>
                  <a:lnTo>
                    <a:pt x="230682" y="141224"/>
                  </a:lnTo>
                  <a:lnTo>
                    <a:pt x="252006" y="101612"/>
                  </a:lnTo>
                  <a:lnTo>
                    <a:pt x="266674" y="58420"/>
                  </a:lnTo>
                  <a:lnTo>
                    <a:pt x="273989" y="12369"/>
                  </a:lnTo>
                  <a:lnTo>
                    <a:pt x="279844" y="50114"/>
                  </a:lnTo>
                  <a:lnTo>
                    <a:pt x="295719" y="101955"/>
                  </a:lnTo>
                  <a:lnTo>
                    <a:pt x="316992" y="141744"/>
                  </a:lnTo>
                  <a:lnTo>
                    <a:pt x="344284" y="177279"/>
                  </a:lnTo>
                  <a:lnTo>
                    <a:pt x="376936" y="207886"/>
                  </a:lnTo>
                  <a:lnTo>
                    <a:pt x="414248" y="232867"/>
                  </a:lnTo>
                  <a:lnTo>
                    <a:pt x="455549" y="251561"/>
                  </a:lnTo>
                  <a:lnTo>
                    <a:pt x="500176" y="263271"/>
                  </a:lnTo>
                  <a:lnTo>
                    <a:pt x="548093" y="267335"/>
                  </a:lnTo>
                  <a:close/>
                </a:path>
              </a:pathLst>
            </a:custGeom>
            <a:solidFill>
              <a:srgbClr val="2DB7EA"/>
            </a:solidFill>
          </p:spPr>
          <p:txBody>
            <a:bodyPr wrap="square" lIns="0" tIns="0" rIns="0" bIns="0" rtlCol="0"/>
            <a:lstStyle/>
            <a:p>
              <a:endParaRPr dirty="0"/>
            </a:p>
          </p:txBody>
        </p:sp>
        <p:pic>
          <p:nvPicPr>
            <p:cNvPr id="124" name="object 122">
              <a:extLst>
                <a:ext uri="{FF2B5EF4-FFF2-40B4-BE49-F238E27FC236}">
                  <a16:creationId xmlns:a16="http://schemas.microsoft.com/office/drawing/2014/main" id="{4E2249D3-7DF6-687B-E2A4-FC83CAEDEA53}"/>
                </a:ext>
              </a:extLst>
            </p:cNvPr>
            <p:cNvPicPr/>
            <p:nvPr/>
          </p:nvPicPr>
          <p:blipFill>
            <a:blip r:embed="rId8" cstate="print"/>
            <a:stretch>
              <a:fillRect/>
            </a:stretch>
          </p:blipFill>
          <p:spPr>
            <a:xfrm>
              <a:off x="10407394" y="3010234"/>
              <a:ext cx="106445" cy="107156"/>
            </a:xfrm>
            <a:prstGeom prst="rect">
              <a:avLst/>
            </a:prstGeom>
          </p:spPr>
        </p:pic>
        <p:sp>
          <p:nvSpPr>
            <p:cNvPr id="125" name="object 123">
              <a:extLst>
                <a:ext uri="{FF2B5EF4-FFF2-40B4-BE49-F238E27FC236}">
                  <a16:creationId xmlns:a16="http://schemas.microsoft.com/office/drawing/2014/main" id="{B1E4695C-0F5B-F184-48D3-EFC6912F3A07}"/>
                </a:ext>
              </a:extLst>
            </p:cNvPr>
            <p:cNvSpPr/>
            <p:nvPr/>
          </p:nvSpPr>
          <p:spPr>
            <a:xfrm>
              <a:off x="10294123" y="3208700"/>
              <a:ext cx="332700" cy="477101"/>
            </a:xfrm>
            <a:custGeom>
              <a:avLst/>
              <a:gdLst/>
              <a:ahLst/>
              <a:cxnLst/>
              <a:rect l="l" t="t" r="r" b="b"/>
              <a:pathLst>
                <a:path w="548640" h="786764">
                  <a:moveTo>
                    <a:pt x="548081" y="786384"/>
                  </a:moveTo>
                  <a:lnTo>
                    <a:pt x="542632" y="738225"/>
                  </a:lnTo>
                  <a:lnTo>
                    <a:pt x="529234" y="692962"/>
                  </a:lnTo>
                  <a:lnTo>
                    <a:pt x="508622" y="651344"/>
                  </a:lnTo>
                  <a:lnTo>
                    <a:pt x="481520" y="614083"/>
                  </a:lnTo>
                  <a:lnTo>
                    <a:pt x="448691"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73"/>
                  </a:lnTo>
                  <a:lnTo>
                    <a:pt x="19075" y="692226"/>
                  </a:lnTo>
                  <a:lnTo>
                    <a:pt x="5613" y="737323"/>
                  </a:lnTo>
                  <a:lnTo>
                    <a:pt x="50" y="785317"/>
                  </a:lnTo>
                  <a:lnTo>
                    <a:pt x="47713" y="781278"/>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59"/>
                  </a:lnTo>
                  <a:lnTo>
                    <a:pt x="295719" y="621042"/>
                  </a:lnTo>
                  <a:lnTo>
                    <a:pt x="316992" y="660831"/>
                  </a:lnTo>
                  <a:lnTo>
                    <a:pt x="344284" y="696366"/>
                  </a:lnTo>
                  <a:lnTo>
                    <a:pt x="376923" y="726960"/>
                  </a:lnTo>
                  <a:lnTo>
                    <a:pt x="414248" y="751941"/>
                  </a:lnTo>
                  <a:lnTo>
                    <a:pt x="455549" y="770623"/>
                  </a:lnTo>
                  <a:lnTo>
                    <a:pt x="500164" y="782332"/>
                  </a:lnTo>
                  <a:lnTo>
                    <a:pt x="548081" y="786384"/>
                  </a:lnTo>
                  <a:close/>
                </a:path>
                <a:path w="548640" h="786764">
                  <a:moveTo>
                    <a:pt x="548081" y="520865"/>
                  </a:moveTo>
                  <a:lnTo>
                    <a:pt x="542632" y="472694"/>
                  </a:lnTo>
                  <a:lnTo>
                    <a:pt x="529234" y="427431"/>
                  </a:lnTo>
                  <a:lnTo>
                    <a:pt x="508622" y="385813"/>
                  </a:lnTo>
                  <a:lnTo>
                    <a:pt x="481520" y="348551"/>
                  </a:lnTo>
                  <a:lnTo>
                    <a:pt x="448691" y="316407"/>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15"/>
                  </a:lnTo>
                  <a:lnTo>
                    <a:pt x="66814" y="348132"/>
                  </a:lnTo>
                  <a:lnTo>
                    <a:pt x="39725" y="385241"/>
                  </a:lnTo>
                  <a:lnTo>
                    <a:pt x="19075" y="426694"/>
                  </a:lnTo>
                  <a:lnTo>
                    <a:pt x="5613" y="471792"/>
                  </a:lnTo>
                  <a:lnTo>
                    <a:pt x="50" y="519785"/>
                  </a:lnTo>
                  <a:lnTo>
                    <a:pt x="47713" y="515747"/>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29"/>
                  </a:lnTo>
                  <a:lnTo>
                    <a:pt x="414248" y="486410"/>
                  </a:lnTo>
                  <a:lnTo>
                    <a:pt x="455549" y="505091"/>
                  </a:lnTo>
                  <a:lnTo>
                    <a:pt x="500164" y="516801"/>
                  </a:lnTo>
                  <a:lnTo>
                    <a:pt x="548081" y="520865"/>
                  </a:lnTo>
                  <a:close/>
                </a:path>
                <a:path w="548640" h="786764">
                  <a:moveTo>
                    <a:pt x="548093" y="267322"/>
                  </a:moveTo>
                  <a:lnTo>
                    <a:pt x="542645" y="219151"/>
                  </a:lnTo>
                  <a:lnTo>
                    <a:pt x="529247" y="173888"/>
                  </a:lnTo>
                  <a:lnTo>
                    <a:pt x="508635" y="132257"/>
                  </a:lnTo>
                  <a:lnTo>
                    <a:pt x="481533" y="94996"/>
                  </a:lnTo>
                  <a:lnTo>
                    <a:pt x="465277" y="79095"/>
                  </a:lnTo>
                  <a:lnTo>
                    <a:pt x="448691" y="62852"/>
                  </a:lnTo>
                  <a:lnTo>
                    <a:pt x="410845" y="36550"/>
                  </a:lnTo>
                  <a:lnTo>
                    <a:pt x="368706" y="16814"/>
                  </a:lnTo>
                  <a:lnTo>
                    <a:pt x="323037" y="4368"/>
                  </a:lnTo>
                  <a:lnTo>
                    <a:pt x="274561" y="0"/>
                  </a:lnTo>
                  <a:lnTo>
                    <a:pt x="273329" y="0"/>
                  </a:lnTo>
                  <a:lnTo>
                    <a:pt x="224993" y="4356"/>
                  </a:lnTo>
                  <a:lnTo>
                    <a:pt x="179438" y="16725"/>
                  </a:lnTo>
                  <a:lnTo>
                    <a:pt x="137401" y="36360"/>
                  </a:lnTo>
                  <a:lnTo>
                    <a:pt x="99618" y="62560"/>
                  </a:lnTo>
                  <a:lnTo>
                    <a:pt x="66814" y="94576"/>
                  </a:lnTo>
                  <a:lnTo>
                    <a:pt x="39700" y="131686"/>
                  </a:lnTo>
                  <a:lnTo>
                    <a:pt x="19037" y="173139"/>
                  </a:lnTo>
                  <a:lnTo>
                    <a:pt x="5562" y="218224"/>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3989" y="12369"/>
                  </a:lnTo>
                  <a:lnTo>
                    <a:pt x="279844" y="50101"/>
                  </a:lnTo>
                  <a:lnTo>
                    <a:pt x="295719" y="101942"/>
                  </a:lnTo>
                  <a:lnTo>
                    <a:pt x="316992" y="141744"/>
                  </a:lnTo>
                  <a:lnTo>
                    <a:pt x="344284" y="177279"/>
                  </a:lnTo>
                  <a:lnTo>
                    <a:pt x="376923" y="207873"/>
                  </a:lnTo>
                  <a:lnTo>
                    <a:pt x="414248" y="232867"/>
                  </a:lnTo>
                  <a:lnTo>
                    <a:pt x="455549" y="251548"/>
                  </a:lnTo>
                  <a:lnTo>
                    <a:pt x="500176" y="263271"/>
                  </a:lnTo>
                  <a:lnTo>
                    <a:pt x="548093" y="267322"/>
                  </a:lnTo>
                  <a:close/>
                </a:path>
              </a:pathLst>
            </a:custGeom>
            <a:solidFill>
              <a:srgbClr val="7ED3F1"/>
            </a:solidFill>
          </p:spPr>
          <p:txBody>
            <a:bodyPr wrap="square" lIns="0" tIns="0" rIns="0" bIns="0" rtlCol="0"/>
            <a:lstStyle/>
            <a:p>
              <a:endParaRPr dirty="0"/>
            </a:p>
          </p:txBody>
        </p:sp>
        <p:pic>
          <p:nvPicPr>
            <p:cNvPr id="126" name="object 124">
              <a:extLst>
                <a:ext uri="{FF2B5EF4-FFF2-40B4-BE49-F238E27FC236}">
                  <a16:creationId xmlns:a16="http://schemas.microsoft.com/office/drawing/2014/main" id="{4B1545F6-74B0-3460-65D0-F41F1303A579}"/>
                </a:ext>
              </a:extLst>
            </p:cNvPr>
            <p:cNvPicPr/>
            <p:nvPr/>
          </p:nvPicPr>
          <p:blipFill>
            <a:blip r:embed="rId9" cstate="print"/>
            <a:stretch>
              <a:fillRect/>
            </a:stretch>
          </p:blipFill>
          <p:spPr>
            <a:xfrm>
              <a:off x="10407394" y="3664400"/>
              <a:ext cx="106445" cy="107156"/>
            </a:xfrm>
            <a:prstGeom prst="rect">
              <a:avLst/>
            </a:prstGeom>
          </p:spPr>
        </p:pic>
        <p:sp>
          <p:nvSpPr>
            <p:cNvPr id="127" name="object 125">
              <a:extLst>
                <a:ext uri="{FF2B5EF4-FFF2-40B4-BE49-F238E27FC236}">
                  <a16:creationId xmlns:a16="http://schemas.microsoft.com/office/drawing/2014/main" id="{B8F4A7D2-4A4B-3CD7-D188-E4EA2360C848}"/>
                </a:ext>
              </a:extLst>
            </p:cNvPr>
            <p:cNvSpPr/>
            <p:nvPr/>
          </p:nvSpPr>
          <p:spPr>
            <a:xfrm>
              <a:off x="10294123" y="1246203"/>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91"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50" y="785304"/>
                  </a:lnTo>
                  <a:lnTo>
                    <a:pt x="47713" y="781278"/>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48" y="751941"/>
                  </a:lnTo>
                  <a:lnTo>
                    <a:pt x="455549" y="770623"/>
                  </a:lnTo>
                  <a:lnTo>
                    <a:pt x="500164" y="782332"/>
                  </a:lnTo>
                  <a:lnTo>
                    <a:pt x="548081" y="786384"/>
                  </a:lnTo>
                  <a:close/>
                </a:path>
                <a:path w="548640" h="786764">
                  <a:moveTo>
                    <a:pt x="548081" y="520852"/>
                  </a:moveTo>
                  <a:lnTo>
                    <a:pt x="542632" y="472694"/>
                  </a:lnTo>
                  <a:lnTo>
                    <a:pt x="529234" y="427431"/>
                  </a:lnTo>
                  <a:lnTo>
                    <a:pt x="508622" y="385813"/>
                  </a:lnTo>
                  <a:lnTo>
                    <a:pt x="481520" y="348551"/>
                  </a:lnTo>
                  <a:lnTo>
                    <a:pt x="448691" y="316395"/>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15"/>
                  </a:lnTo>
                  <a:lnTo>
                    <a:pt x="66814" y="348132"/>
                  </a:lnTo>
                  <a:lnTo>
                    <a:pt x="39725" y="385241"/>
                  </a:lnTo>
                  <a:lnTo>
                    <a:pt x="19075" y="426694"/>
                  </a:lnTo>
                  <a:lnTo>
                    <a:pt x="5613" y="471792"/>
                  </a:lnTo>
                  <a:lnTo>
                    <a:pt x="50" y="519785"/>
                  </a:lnTo>
                  <a:lnTo>
                    <a:pt x="47713" y="515747"/>
                  </a:lnTo>
                  <a:lnTo>
                    <a:pt x="92240" y="504088"/>
                  </a:lnTo>
                  <a:lnTo>
                    <a:pt x="133477" y="485482"/>
                  </a:lnTo>
                  <a:lnTo>
                    <a:pt x="170738" y="460616"/>
                  </a:lnTo>
                  <a:lnTo>
                    <a:pt x="203365"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48" y="486410"/>
                  </a:lnTo>
                  <a:lnTo>
                    <a:pt x="455549" y="505091"/>
                  </a:lnTo>
                  <a:lnTo>
                    <a:pt x="500164" y="516801"/>
                  </a:lnTo>
                  <a:lnTo>
                    <a:pt x="548081" y="520852"/>
                  </a:lnTo>
                  <a:close/>
                </a:path>
                <a:path w="548640" h="786764">
                  <a:moveTo>
                    <a:pt x="548093" y="267322"/>
                  </a:moveTo>
                  <a:lnTo>
                    <a:pt x="542645" y="219151"/>
                  </a:lnTo>
                  <a:lnTo>
                    <a:pt x="529247" y="173875"/>
                  </a:lnTo>
                  <a:lnTo>
                    <a:pt x="508635" y="132257"/>
                  </a:lnTo>
                  <a:lnTo>
                    <a:pt x="481533" y="94996"/>
                  </a:lnTo>
                  <a:lnTo>
                    <a:pt x="465277" y="79095"/>
                  </a:lnTo>
                  <a:lnTo>
                    <a:pt x="448691" y="62852"/>
                  </a:lnTo>
                  <a:lnTo>
                    <a:pt x="410845" y="36550"/>
                  </a:lnTo>
                  <a:lnTo>
                    <a:pt x="368706" y="16789"/>
                  </a:lnTo>
                  <a:lnTo>
                    <a:pt x="323037" y="4368"/>
                  </a:lnTo>
                  <a:lnTo>
                    <a:pt x="274561" y="0"/>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3989" y="12357"/>
                  </a:lnTo>
                  <a:lnTo>
                    <a:pt x="279844" y="50101"/>
                  </a:lnTo>
                  <a:lnTo>
                    <a:pt x="295719" y="101942"/>
                  </a:lnTo>
                  <a:lnTo>
                    <a:pt x="316992" y="141744"/>
                  </a:lnTo>
                  <a:lnTo>
                    <a:pt x="344284" y="177279"/>
                  </a:lnTo>
                  <a:lnTo>
                    <a:pt x="376923" y="207873"/>
                  </a:lnTo>
                  <a:lnTo>
                    <a:pt x="414248" y="232867"/>
                  </a:lnTo>
                  <a:lnTo>
                    <a:pt x="455549" y="251548"/>
                  </a:lnTo>
                  <a:lnTo>
                    <a:pt x="500176" y="263271"/>
                  </a:lnTo>
                  <a:lnTo>
                    <a:pt x="548093" y="267322"/>
                  </a:lnTo>
                  <a:close/>
                </a:path>
              </a:pathLst>
            </a:custGeom>
            <a:solidFill>
              <a:srgbClr val="2DB7EA"/>
            </a:solidFill>
          </p:spPr>
          <p:txBody>
            <a:bodyPr wrap="square" lIns="0" tIns="0" rIns="0" bIns="0" rtlCol="0"/>
            <a:lstStyle/>
            <a:p>
              <a:endParaRPr dirty="0"/>
            </a:p>
          </p:txBody>
        </p:sp>
        <p:pic>
          <p:nvPicPr>
            <p:cNvPr id="128" name="object 126">
              <a:extLst>
                <a:ext uri="{FF2B5EF4-FFF2-40B4-BE49-F238E27FC236}">
                  <a16:creationId xmlns:a16="http://schemas.microsoft.com/office/drawing/2014/main" id="{C71A658B-72B5-9238-F0B8-A1139F3B37D1}"/>
                </a:ext>
              </a:extLst>
            </p:cNvPr>
            <p:cNvPicPr/>
            <p:nvPr/>
          </p:nvPicPr>
          <p:blipFill>
            <a:blip r:embed="rId8" cstate="print"/>
            <a:stretch>
              <a:fillRect/>
            </a:stretch>
          </p:blipFill>
          <p:spPr>
            <a:xfrm>
              <a:off x="10407394" y="1701903"/>
              <a:ext cx="106445" cy="107156"/>
            </a:xfrm>
            <a:prstGeom prst="rect">
              <a:avLst/>
            </a:prstGeom>
          </p:spPr>
        </p:pic>
        <p:sp>
          <p:nvSpPr>
            <p:cNvPr id="129" name="object 127">
              <a:extLst>
                <a:ext uri="{FF2B5EF4-FFF2-40B4-BE49-F238E27FC236}">
                  <a16:creationId xmlns:a16="http://schemas.microsoft.com/office/drawing/2014/main" id="{2978CF64-9491-A7F2-0BD8-12F7D6F7E42E}"/>
                </a:ext>
              </a:extLst>
            </p:cNvPr>
            <p:cNvSpPr/>
            <p:nvPr/>
          </p:nvSpPr>
          <p:spPr>
            <a:xfrm>
              <a:off x="10294123" y="1900365"/>
              <a:ext cx="332700" cy="477101"/>
            </a:xfrm>
            <a:custGeom>
              <a:avLst/>
              <a:gdLst/>
              <a:ahLst/>
              <a:cxnLst/>
              <a:rect l="l" t="t" r="r" b="b"/>
              <a:pathLst>
                <a:path w="548640" h="786764">
                  <a:moveTo>
                    <a:pt x="548081" y="786396"/>
                  </a:moveTo>
                  <a:lnTo>
                    <a:pt x="542632" y="738225"/>
                  </a:lnTo>
                  <a:lnTo>
                    <a:pt x="529234" y="692962"/>
                  </a:lnTo>
                  <a:lnTo>
                    <a:pt x="508622" y="651344"/>
                  </a:lnTo>
                  <a:lnTo>
                    <a:pt x="481520" y="614083"/>
                  </a:lnTo>
                  <a:lnTo>
                    <a:pt x="448691" y="581939"/>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60"/>
                  </a:lnTo>
                  <a:lnTo>
                    <a:pt x="66814" y="613664"/>
                  </a:lnTo>
                  <a:lnTo>
                    <a:pt x="39725" y="650773"/>
                  </a:lnTo>
                  <a:lnTo>
                    <a:pt x="19075" y="692238"/>
                  </a:lnTo>
                  <a:lnTo>
                    <a:pt x="5613" y="737323"/>
                  </a:lnTo>
                  <a:lnTo>
                    <a:pt x="50" y="785317"/>
                  </a:lnTo>
                  <a:lnTo>
                    <a:pt x="47713" y="781278"/>
                  </a:lnTo>
                  <a:lnTo>
                    <a:pt x="92240" y="769620"/>
                  </a:lnTo>
                  <a:lnTo>
                    <a:pt x="133477" y="751027"/>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48" y="751941"/>
                  </a:lnTo>
                  <a:lnTo>
                    <a:pt x="455549" y="770636"/>
                  </a:lnTo>
                  <a:lnTo>
                    <a:pt x="500164" y="782332"/>
                  </a:lnTo>
                  <a:lnTo>
                    <a:pt x="548081" y="786396"/>
                  </a:lnTo>
                  <a:close/>
                </a:path>
                <a:path w="548640" h="786764">
                  <a:moveTo>
                    <a:pt x="548081" y="520865"/>
                  </a:moveTo>
                  <a:lnTo>
                    <a:pt x="542632" y="472706"/>
                  </a:lnTo>
                  <a:lnTo>
                    <a:pt x="529234" y="427443"/>
                  </a:lnTo>
                  <a:lnTo>
                    <a:pt x="508622" y="385813"/>
                  </a:lnTo>
                  <a:lnTo>
                    <a:pt x="481520" y="348551"/>
                  </a:lnTo>
                  <a:lnTo>
                    <a:pt x="448691" y="316407"/>
                  </a:lnTo>
                  <a:lnTo>
                    <a:pt x="410832" y="290093"/>
                  </a:lnTo>
                  <a:lnTo>
                    <a:pt x="368706" y="270357"/>
                  </a:lnTo>
                  <a:lnTo>
                    <a:pt x="323037" y="257937"/>
                  </a:lnTo>
                  <a:lnTo>
                    <a:pt x="274561" y="253555"/>
                  </a:lnTo>
                  <a:lnTo>
                    <a:pt x="273329" y="253555"/>
                  </a:lnTo>
                  <a:lnTo>
                    <a:pt x="224993" y="257924"/>
                  </a:lnTo>
                  <a:lnTo>
                    <a:pt x="179438" y="270281"/>
                  </a:lnTo>
                  <a:lnTo>
                    <a:pt x="137401" y="289928"/>
                  </a:lnTo>
                  <a:lnTo>
                    <a:pt x="99618" y="316128"/>
                  </a:lnTo>
                  <a:lnTo>
                    <a:pt x="66814" y="348132"/>
                  </a:lnTo>
                  <a:lnTo>
                    <a:pt x="39725" y="385241"/>
                  </a:lnTo>
                  <a:lnTo>
                    <a:pt x="19075" y="426707"/>
                  </a:lnTo>
                  <a:lnTo>
                    <a:pt x="5613" y="471792"/>
                  </a:lnTo>
                  <a:lnTo>
                    <a:pt x="50" y="519785"/>
                  </a:lnTo>
                  <a:lnTo>
                    <a:pt x="47713" y="515747"/>
                  </a:lnTo>
                  <a:lnTo>
                    <a:pt x="92240" y="504088"/>
                  </a:lnTo>
                  <a:lnTo>
                    <a:pt x="133477" y="485495"/>
                  </a:lnTo>
                  <a:lnTo>
                    <a:pt x="170738" y="460616"/>
                  </a:lnTo>
                  <a:lnTo>
                    <a:pt x="203365" y="430161"/>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48" y="486410"/>
                  </a:lnTo>
                  <a:lnTo>
                    <a:pt x="455549" y="505104"/>
                  </a:lnTo>
                  <a:lnTo>
                    <a:pt x="500164" y="516813"/>
                  </a:lnTo>
                  <a:lnTo>
                    <a:pt x="548081" y="520865"/>
                  </a:lnTo>
                  <a:close/>
                </a:path>
                <a:path w="548640" h="786764">
                  <a:moveTo>
                    <a:pt x="548093" y="267322"/>
                  </a:moveTo>
                  <a:lnTo>
                    <a:pt x="542645" y="219151"/>
                  </a:lnTo>
                  <a:lnTo>
                    <a:pt x="529247" y="173888"/>
                  </a:lnTo>
                  <a:lnTo>
                    <a:pt x="508635" y="132257"/>
                  </a:lnTo>
                  <a:lnTo>
                    <a:pt x="481533" y="95008"/>
                  </a:lnTo>
                  <a:lnTo>
                    <a:pt x="448691" y="62852"/>
                  </a:lnTo>
                  <a:lnTo>
                    <a:pt x="410845" y="36550"/>
                  </a:lnTo>
                  <a:lnTo>
                    <a:pt x="368706" y="16814"/>
                  </a:lnTo>
                  <a:lnTo>
                    <a:pt x="323037" y="4381"/>
                  </a:lnTo>
                  <a:lnTo>
                    <a:pt x="274561" y="0"/>
                  </a:lnTo>
                  <a:lnTo>
                    <a:pt x="273329" y="0"/>
                  </a:lnTo>
                  <a:lnTo>
                    <a:pt x="224993" y="4356"/>
                  </a:lnTo>
                  <a:lnTo>
                    <a:pt x="179438" y="16725"/>
                  </a:lnTo>
                  <a:lnTo>
                    <a:pt x="137401" y="36372"/>
                  </a:lnTo>
                  <a:lnTo>
                    <a:pt x="99618" y="62560"/>
                  </a:lnTo>
                  <a:lnTo>
                    <a:pt x="66814" y="94576"/>
                  </a:lnTo>
                  <a:lnTo>
                    <a:pt x="39700" y="131686"/>
                  </a:lnTo>
                  <a:lnTo>
                    <a:pt x="19037" y="173139"/>
                  </a:lnTo>
                  <a:lnTo>
                    <a:pt x="5562" y="218224"/>
                  </a:lnTo>
                  <a:lnTo>
                    <a:pt x="0" y="266192"/>
                  </a:lnTo>
                  <a:lnTo>
                    <a:pt x="47713" y="262191"/>
                  </a:lnTo>
                  <a:lnTo>
                    <a:pt x="92240" y="250532"/>
                  </a:lnTo>
                  <a:lnTo>
                    <a:pt x="133477" y="231927"/>
                  </a:lnTo>
                  <a:lnTo>
                    <a:pt x="170738" y="207060"/>
                  </a:lnTo>
                  <a:lnTo>
                    <a:pt x="203365" y="176593"/>
                  </a:lnTo>
                  <a:lnTo>
                    <a:pt x="230682" y="141224"/>
                  </a:lnTo>
                  <a:lnTo>
                    <a:pt x="252006" y="101600"/>
                  </a:lnTo>
                  <a:lnTo>
                    <a:pt x="266674" y="58420"/>
                  </a:lnTo>
                  <a:lnTo>
                    <a:pt x="273989" y="12369"/>
                  </a:lnTo>
                  <a:lnTo>
                    <a:pt x="279844" y="50101"/>
                  </a:lnTo>
                  <a:lnTo>
                    <a:pt x="295719" y="101942"/>
                  </a:lnTo>
                  <a:lnTo>
                    <a:pt x="316992" y="141744"/>
                  </a:lnTo>
                  <a:lnTo>
                    <a:pt x="344284" y="177279"/>
                  </a:lnTo>
                  <a:lnTo>
                    <a:pt x="376936" y="207886"/>
                  </a:lnTo>
                  <a:lnTo>
                    <a:pt x="414248" y="232867"/>
                  </a:lnTo>
                  <a:lnTo>
                    <a:pt x="455549"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130" name="object 128">
              <a:extLst>
                <a:ext uri="{FF2B5EF4-FFF2-40B4-BE49-F238E27FC236}">
                  <a16:creationId xmlns:a16="http://schemas.microsoft.com/office/drawing/2014/main" id="{F3D9DDDF-6E3D-585A-C03F-0F7D6FB8735E}"/>
                </a:ext>
              </a:extLst>
            </p:cNvPr>
            <p:cNvPicPr/>
            <p:nvPr/>
          </p:nvPicPr>
          <p:blipFill>
            <a:blip r:embed="rId9" cstate="print"/>
            <a:stretch>
              <a:fillRect/>
            </a:stretch>
          </p:blipFill>
          <p:spPr>
            <a:xfrm>
              <a:off x="10407394" y="2356067"/>
              <a:ext cx="106445" cy="107156"/>
            </a:xfrm>
            <a:prstGeom prst="rect">
              <a:avLst/>
            </a:prstGeom>
          </p:spPr>
        </p:pic>
        <p:sp>
          <p:nvSpPr>
            <p:cNvPr id="131" name="object 129">
              <a:extLst>
                <a:ext uri="{FF2B5EF4-FFF2-40B4-BE49-F238E27FC236}">
                  <a16:creationId xmlns:a16="http://schemas.microsoft.com/office/drawing/2014/main" id="{C4D39821-9608-2DAF-53C9-0959635263DA}"/>
                </a:ext>
              </a:extLst>
            </p:cNvPr>
            <p:cNvSpPr/>
            <p:nvPr/>
          </p:nvSpPr>
          <p:spPr>
            <a:xfrm>
              <a:off x="10294127"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132" name="object 130">
              <a:extLst>
                <a:ext uri="{FF2B5EF4-FFF2-40B4-BE49-F238E27FC236}">
                  <a16:creationId xmlns:a16="http://schemas.microsoft.com/office/drawing/2014/main" id="{0ECF8B95-6EA2-F6ED-B4CB-BE1FC6F191BE}"/>
                </a:ext>
              </a:extLst>
            </p:cNvPr>
            <p:cNvPicPr/>
            <p:nvPr/>
          </p:nvPicPr>
          <p:blipFill>
            <a:blip r:embed="rId20" cstate="print"/>
            <a:stretch>
              <a:fillRect/>
            </a:stretch>
          </p:blipFill>
          <p:spPr>
            <a:xfrm>
              <a:off x="10294154" y="123"/>
              <a:ext cx="152433" cy="99184"/>
            </a:xfrm>
            <a:prstGeom prst="rect">
              <a:avLst/>
            </a:prstGeom>
          </p:spPr>
        </p:pic>
        <p:pic>
          <p:nvPicPr>
            <p:cNvPr id="133" name="object 131">
              <a:extLst>
                <a:ext uri="{FF2B5EF4-FFF2-40B4-BE49-F238E27FC236}">
                  <a16:creationId xmlns:a16="http://schemas.microsoft.com/office/drawing/2014/main" id="{3A5E320E-EABB-A94D-3596-184464AC1227}"/>
                </a:ext>
              </a:extLst>
            </p:cNvPr>
            <p:cNvPicPr/>
            <p:nvPr/>
          </p:nvPicPr>
          <p:blipFill>
            <a:blip r:embed="rId21" cstate="print"/>
            <a:stretch>
              <a:fillRect/>
            </a:stretch>
          </p:blipFill>
          <p:spPr>
            <a:xfrm>
              <a:off x="10473688" y="123"/>
              <a:ext cx="152798" cy="99837"/>
            </a:xfrm>
            <a:prstGeom prst="rect">
              <a:avLst/>
            </a:prstGeom>
          </p:spPr>
        </p:pic>
        <p:sp>
          <p:nvSpPr>
            <p:cNvPr id="134" name="object 132">
              <a:extLst>
                <a:ext uri="{FF2B5EF4-FFF2-40B4-BE49-F238E27FC236}">
                  <a16:creationId xmlns:a16="http://schemas.microsoft.com/office/drawing/2014/main" id="{FA49D60D-EF45-4A8F-38A5-EDAD67251CD4}"/>
                </a:ext>
              </a:extLst>
            </p:cNvPr>
            <p:cNvSpPr/>
            <p:nvPr/>
          </p:nvSpPr>
          <p:spPr>
            <a:xfrm>
              <a:off x="10294154" y="91626"/>
              <a:ext cx="332700" cy="323458"/>
            </a:xfrm>
            <a:custGeom>
              <a:avLst/>
              <a:gdLst/>
              <a:ahLst/>
              <a:cxnLst/>
              <a:rect l="l" t="t" r="r" b="b"/>
              <a:pathLst>
                <a:path w="548640" h="533400">
                  <a:moveTo>
                    <a:pt x="548030" y="532841"/>
                  </a:moveTo>
                  <a:lnTo>
                    <a:pt x="542582" y="484682"/>
                  </a:lnTo>
                  <a:lnTo>
                    <a:pt x="529183" y="439420"/>
                  </a:lnTo>
                  <a:lnTo>
                    <a:pt x="508571" y="397789"/>
                  </a:lnTo>
                  <a:lnTo>
                    <a:pt x="481469" y="360527"/>
                  </a:lnTo>
                  <a:lnTo>
                    <a:pt x="448640" y="328383"/>
                  </a:lnTo>
                  <a:lnTo>
                    <a:pt x="410781" y="302069"/>
                  </a:lnTo>
                  <a:lnTo>
                    <a:pt x="368655" y="282333"/>
                  </a:lnTo>
                  <a:lnTo>
                    <a:pt x="322986" y="269913"/>
                  </a:lnTo>
                  <a:lnTo>
                    <a:pt x="274510" y="265544"/>
                  </a:lnTo>
                  <a:lnTo>
                    <a:pt x="273278" y="265544"/>
                  </a:lnTo>
                  <a:lnTo>
                    <a:pt x="224942" y="269900"/>
                  </a:lnTo>
                  <a:lnTo>
                    <a:pt x="179387" y="282257"/>
                  </a:lnTo>
                  <a:lnTo>
                    <a:pt x="137350" y="301904"/>
                  </a:lnTo>
                  <a:lnTo>
                    <a:pt x="99568" y="328104"/>
                  </a:lnTo>
                  <a:lnTo>
                    <a:pt x="66763" y="360121"/>
                  </a:lnTo>
                  <a:lnTo>
                    <a:pt x="39674" y="397217"/>
                  </a:lnTo>
                  <a:lnTo>
                    <a:pt x="19024" y="438683"/>
                  </a:lnTo>
                  <a:lnTo>
                    <a:pt x="5562" y="483768"/>
                  </a:lnTo>
                  <a:lnTo>
                    <a:pt x="0" y="531761"/>
                  </a:lnTo>
                  <a:lnTo>
                    <a:pt x="47663" y="527723"/>
                  </a:lnTo>
                  <a:lnTo>
                    <a:pt x="92189" y="516064"/>
                  </a:lnTo>
                  <a:lnTo>
                    <a:pt x="133426" y="497471"/>
                  </a:lnTo>
                  <a:lnTo>
                    <a:pt x="170688" y="472592"/>
                  </a:lnTo>
                  <a:lnTo>
                    <a:pt x="203314" y="442137"/>
                  </a:lnTo>
                  <a:lnTo>
                    <a:pt x="230619" y="406755"/>
                  </a:lnTo>
                  <a:lnTo>
                    <a:pt x="251942" y="367118"/>
                  </a:lnTo>
                  <a:lnTo>
                    <a:pt x="266611" y="323926"/>
                  </a:lnTo>
                  <a:lnTo>
                    <a:pt x="273939" y="277837"/>
                  </a:lnTo>
                  <a:lnTo>
                    <a:pt x="281114" y="324116"/>
                  </a:lnTo>
                  <a:lnTo>
                    <a:pt x="295668" y="367487"/>
                  </a:lnTo>
                  <a:lnTo>
                    <a:pt x="316941" y="407276"/>
                  </a:lnTo>
                  <a:lnTo>
                    <a:pt x="344233" y="442810"/>
                  </a:lnTo>
                  <a:lnTo>
                    <a:pt x="376872" y="473417"/>
                  </a:lnTo>
                  <a:lnTo>
                    <a:pt x="414197" y="498398"/>
                  </a:lnTo>
                  <a:lnTo>
                    <a:pt x="455498" y="517080"/>
                  </a:lnTo>
                  <a:lnTo>
                    <a:pt x="500113" y="528789"/>
                  </a:lnTo>
                  <a:lnTo>
                    <a:pt x="548030" y="532841"/>
                  </a:lnTo>
                  <a:close/>
                </a:path>
                <a:path w="548640" h="533400">
                  <a:moveTo>
                    <a:pt x="548030" y="267309"/>
                  </a:moveTo>
                  <a:lnTo>
                    <a:pt x="542582" y="219138"/>
                  </a:lnTo>
                  <a:lnTo>
                    <a:pt x="529183" y="173888"/>
                  </a:lnTo>
                  <a:lnTo>
                    <a:pt x="508571" y="132257"/>
                  </a:lnTo>
                  <a:lnTo>
                    <a:pt x="481469" y="94996"/>
                  </a:lnTo>
                  <a:lnTo>
                    <a:pt x="448640" y="62852"/>
                  </a:lnTo>
                  <a:lnTo>
                    <a:pt x="410781" y="36537"/>
                  </a:lnTo>
                  <a:lnTo>
                    <a:pt x="368655" y="16802"/>
                  </a:lnTo>
                  <a:lnTo>
                    <a:pt x="322986" y="4381"/>
                  </a:lnTo>
                  <a:lnTo>
                    <a:pt x="274510" y="0"/>
                  </a:lnTo>
                  <a:lnTo>
                    <a:pt x="273278" y="0"/>
                  </a:lnTo>
                  <a:lnTo>
                    <a:pt x="224942" y="4356"/>
                  </a:lnTo>
                  <a:lnTo>
                    <a:pt x="179387" y="16725"/>
                  </a:lnTo>
                  <a:lnTo>
                    <a:pt x="137350" y="36372"/>
                  </a:lnTo>
                  <a:lnTo>
                    <a:pt x="99568" y="62572"/>
                  </a:lnTo>
                  <a:lnTo>
                    <a:pt x="66763" y="94576"/>
                  </a:lnTo>
                  <a:lnTo>
                    <a:pt x="39674" y="131686"/>
                  </a:lnTo>
                  <a:lnTo>
                    <a:pt x="19024" y="173151"/>
                  </a:lnTo>
                  <a:lnTo>
                    <a:pt x="5562" y="218236"/>
                  </a:lnTo>
                  <a:lnTo>
                    <a:pt x="0" y="266230"/>
                  </a:lnTo>
                  <a:lnTo>
                    <a:pt x="47663" y="262191"/>
                  </a:lnTo>
                  <a:lnTo>
                    <a:pt x="92189" y="250532"/>
                  </a:lnTo>
                  <a:lnTo>
                    <a:pt x="133426" y="231940"/>
                  </a:lnTo>
                  <a:lnTo>
                    <a:pt x="170688" y="207060"/>
                  </a:lnTo>
                  <a:lnTo>
                    <a:pt x="203314" y="176593"/>
                  </a:lnTo>
                  <a:lnTo>
                    <a:pt x="230619" y="141211"/>
                  </a:lnTo>
                  <a:lnTo>
                    <a:pt x="251942" y="101587"/>
                  </a:lnTo>
                  <a:lnTo>
                    <a:pt x="266611" y="58394"/>
                  </a:lnTo>
                  <a:lnTo>
                    <a:pt x="273939" y="12306"/>
                  </a:lnTo>
                  <a:lnTo>
                    <a:pt x="281114" y="58585"/>
                  </a:lnTo>
                  <a:lnTo>
                    <a:pt x="295668" y="101955"/>
                  </a:lnTo>
                  <a:lnTo>
                    <a:pt x="316941" y="141744"/>
                  </a:lnTo>
                  <a:lnTo>
                    <a:pt x="344233" y="177279"/>
                  </a:lnTo>
                  <a:lnTo>
                    <a:pt x="376872" y="207873"/>
                  </a:lnTo>
                  <a:lnTo>
                    <a:pt x="414197" y="232854"/>
                  </a:lnTo>
                  <a:lnTo>
                    <a:pt x="455498" y="251548"/>
                  </a:lnTo>
                  <a:lnTo>
                    <a:pt x="500113" y="263258"/>
                  </a:lnTo>
                  <a:lnTo>
                    <a:pt x="548030" y="267309"/>
                  </a:lnTo>
                  <a:close/>
                </a:path>
              </a:pathLst>
            </a:custGeom>
            <a:solidFill>
              <a:srgbClr val="2DB7EA"/>
            </a:solidFill>
          </p:spPr>
          <p:txBody>
            <a:bodyPr wrap="square" lIns="0" tIns="0" rIns="0" bIns="0" rtlCol="0"/>
            <a:lstStyle/>
            <a:p>
              <a:endParaRPr dirty="0"/>
            </a:p>
          </p:txBody>
        </p:sp>
        <p:pic>
          <p:nvPicPr>
            <p:cNvPr id="135" name="object 133">
              <a:extLst>
                <a:ext uri="{FF2B5EF4-FFF2-40B4-BE49-F238E27FC236}">
                  <a16:creationId xmlns:a16="http://schemas.microsoft.com/office/drawing/2014/main" id="{2BE67C11-06EC-4944-4CCD-BB72B7C1DC2F}"/>
                </a:ext>
              </a:extLst>
            </p:cNvPr>
            <p:cNvPicPr/>
            <p:nvPr/>
          </p:nvPicPr>
          <p:blipFill>
            <a:blip r:embed="rId8" cstate="print"/>
            <a:stretch>
              <a:fillRect/>
            </a:stretch>
          </p:blipFill>
          <p:spPr>
            <a:xfrm>
              <a:off x="10407394" y="393572"/>
              <a:ext cx="106445" cy="107156"/>
            </a:xfrm>
            <a:prstGeom prst="rect">
              <a:avLst/>
            </a:prstGeom>
          </p:spPr>
        </p:pic>
        <p:sp>
          <p:nvSpPr>
            <p:cNvPr id="136" name="object 134">
              <a:extLst>
                <a:ext uri="{FF2B5EF4-FFF2-40B4-BE49-F238E27FC236}">
                  <a16:creationId xmlns:a16="http://schemas.microsoft.com/office/drawing/2014/main" id="{19A91757-443B-A9AE-72E2-E46B5FBC7F88}"/>
                </a:ext>
              </a:extLst>
            </p:cNvPr>
            <p:cNvSpPr/>
            <p:nvPr/>
          </p:nvSpPr>
          <p:spPr>
            <a:xfrm>
              <a:off x="10294123" y="592039"/>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91"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50" y="785304"/>
                  </a:lnTo>
                  <a:lnTo>
                    <a:pt x="47713" y="781278"/>
                  </a:lnTo>
                  <a:lnTo>
                    <a:pt x="92240" y="769620"/>
                  </a:lnTo>
                  <a:lnTo>
                    <a:pt x="133477" y="751014"/>
                  </a:lnTo>
                  <a:lnTo>
                    <a:pt x="170738" y="726147"/>
                  </a:lnTo>
                  <a:lnTo>
                    <a:pt x="203365"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48" y="751941"/>
                  </a:lnTo>
                  <a:lnTo>
                    <a:pt x="455549" y="770623"/>
                  </a:lnTo>
                  <a:lnTo>
                    <a:pt x="500164" y="782332"/>
                  </a:lnTo>
                  <a:lnTo>
                    <a:pt x="548081" y="786384"/>
                  </a:lnTo>
                  <a:close/>
                </a:path>
                <a:path w="548640" h="786764">
                  <a:moveTo>
                    <a:pt x="548081" y="520852"/>
                  </a:moveTo>
                  <a:lnTo>
                    <a:pt x="542632" y="472694"/>
                  </a:lnTo>
                  <a:lnTo>
                    <a:pt x="529234" y="427431"/>
                  </a:lnTo>
                  <a:lnTo>
                    <a:pt x="508622" y="385800"/>
                  </a:lnTo>
                  <a:lnTo>
                    <a:pt x="481520" y="348551"/>
                  </a:lnTo>
                  <a:lnTo>
                    <a:pt x="448691" y="316395"/>
                  </a:lnTo>
                  <a:lnTo>
                    <a:pt x="410832" y="290080"/>
                  </a:lnTo>
                  <a:lnTo>
                    <a:pt x="368706" y="270357"/>
                  </a:lnTo>
                  <a:lnTo>
                    <a:pt x="323037" y="257924"/>
                  </a:lnTo>
                  <a:lnTo>
                    <a:pt x="274561" y="253555"/>
                  </a:lnTo>
                  <a:lnTo>
                    <a:pt x="273329" y="253555"/>
                  </a:lnTo>
                  <a:lnTo>
                    <a:pt x="224993" y="257911"/>
                  </a:lnTo>
                  <a:lnTo>
                    <a:pt x="179438" y="270281"/>
                  </a:lnTo>
                  <a:lnTo>
                    <a:pt x="137401" y="289915"/>
                  </a:lnTo>
                  <a:lnTo>
                    <a:pt x="99618" y="316115"/>
                  </a:lnTo>
                  <a:lnTo>
                    <a:pt x="66814" y="348132"/>
                  </a:lnTo>
                  <a:lnTo>
                    <a:pt x="39725" y="385229"/>
                  </a:lnTo>
                  <a:lnTo>
                    <a:pt x="19075" y="426694"/>
                  </a:lnTo>
                  <a:lnTo>
                    <a:pt x="5613" y="471779"/>
                  </a:lnTo>
                  <a:lnTo>
                    <a:pt x="50" y="519772"/>
                  </a:lnTo>
                  <a:lnTo>
                    <a:pt x="47713" y="515734"/>
                  </a:lnTo>
                  <a:lnTo>
                    <a:pt x="92240" y="504088"/>
                  </a:lnTo>
                  <a:lnTo>
                    <a:pt x="133477" y="485482"/>
                  </a:lnTo>
                  <a:lnTo>
                    <a:pt x="170738" y="460616"/>
                  </a:lnTo>
                  <a:lnTo>
                    <a:pt x="203365" y="430149"/>
                  </a:lnTo>
                  <a:lnTo>
                    <a:pt x="230670" y="394766"/>
                  </a:lnTo>
                  <a:lnTo>
                    <a:pt x="251993" y="355142"/>
                  </a:lnTo>
                  <a:lnTo>
                    <a:pt x="266661" y="311937"/>
                  </a:lnTo>
                  <a:lnTo>
                    <a:pt x="273989" y="265861"/>
                  </a:lnTo>
                  <a:lnTo>
                    <a:pt x="281165" y="312127"/>
                  </a:lnTo>
                  <a:lnTo>
                    <a:pt x="295719" y="355498"/>
                  </a:lnTo>
                  <a:lnTo>
                    <a:pt x="316992" y="395300"/>
                  </a:lnTo>
                  <a:lnTo>
                    <a:pt x="344284" y="430834"/>
                  </a:lnTo>
                  <a:lnTo>
                    <a:pt x="376923" y="461429"/>
                  </a:lnTo>
                  <a:lnTo>
                    <a:pt x="414248" y="486410"/>
                  </a:lnTo>
                  <a:lnTo>
                    <a:pt x="455549" y="505091"/>
                  </a:lnTo>
                  <a:lnTo>
                    <a:pt x="500164" y="516801"/>
                  </a:lnTo>
                  <a:lnTo>
                    <a:pt x="548081" y="520852"/>
                  </a:lnTo>
                  <a:close/>
                </a:path>
                <a:path w="548640" h="786764">
                  <a:moveTo>
                    <a:pt x="548093" y="267322"/>
                  </a:moveTo>
                  <a:lnTo>
                    <a:pt x="542645" y="219138"/>
                  </a:lnTo>
                  <a:lnTo>
                    <a:pt x="529247" y="173875"/>
                  </a:lnTo>
                  <a:lnTo>
                    <a:pt x="508635" y="132245"/>
                  </a:lnTo>
                  <a:lnTo>
                    <a:pt x="481533" y="94996"/>
                  </a:lnTo>
                  <a:lnTo>
                    <a:pt x="448691" y="62839"/>
                  </a:lnTo>
                  <a:lnTo>
                    <a:pt x="410845" y="36537"/>
                  </a:lnTo>
                  <a:lnTo>
                    <a:pt x="368706" y="16789"/>
                  </a:lnTo>
                  <a:lnTo>
                    <a:pt x="323037" y="4368"/>
                  </a:lnTo>
                  <a:lnTo>
                    <a:pt x="274561" y="12"/>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77" y="231927"/>
                  </a:lnTo>
                  <a:lnTo>
                    <a:pt x="170738" y="207048"/>
                  </a:lnTo>
                  <a:lnTo>
                    <a:pt x="203365" y="176593"/>
                  </a:lnTo>
                  <a:lnTo>
                    <a:pt x="230682" y="141211"/>
                  </a:lnTo>
                  <a:lnTo>
                    <a:pt x="252006" y="101587"/>
                  </a:lnTo>
                  <a:lnTo>
                    <a:pt x="266674" y="58407"/>
                  </a:lnTo>
                  <a:lnTo>
                    <a:pt x="273989" y="12357"/>
                  </a:lnTo>
                  <a:lnTo>
                    <a:pt x="281165" y="58572"/>
                  </a:lnTo>
                  <a:lnTo>
                    <a:pt x="295719" y="101942"/>
                  </a:lnTo>
                  <a:lnTo>
                    <a:pt x="316992" y="141732"/>
                  </a:lnTo>
                  <a:lnTo>
                    <a:pt x="344284" y="177266"/>
                  </a:lnTo>
                  <a:lnTo>
                    <a:pt x="376923" y="207873"/>
                  </a:lnTo>
                  <a:lnTo>
                    <a:pt x="414248" y="232854"/>
                  </a:lnTo>
                  <a:lnTo>
                    <a:pt x="455549"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137" name="object 135">
              <a:extLst>
                <a:ext uri="{FF2B5EF4-FFF2-40B4-BE49-F238E27FC236}">
                  <a16:creationId xmlns:a16="http://schemas.microsoft.com/office/drawing/2014/main" id="{44B9E17E-B9D0-CBD1-BA4A-42F1D6EA2C05}"/>
                </a:ext>
              </a:extLst>
            </p:cNvPr>
            <p:cNvPicPr/>
            <p:nvPr/>
          </p:nvPicPr>
          <p:blipFill>
            <a:blip r:embed="rId9" cstate="print"/>
            <a:stretch>
              <a:fillRect/>
            </a:stretch>
          </p:blipFill>
          <p:spPr>
            <a:xfrm>
              <a:off x="10407394" y="1047738"/>
              <a:ext cx="106445" cy="107156"/>
            </a:xfrm>
            <a:prstGeom prst="rect">
              <a:avLst/>
            </a:prstGeom>
          </p:spPr>
        </p:pic>
        <p:sp>
          <p:nvSpPr>
            <p:cNvPr id="138" name="object 136">
              <a:extLst>
                <a:ext uri="{FF2B5EF4-FFF2-40B4-BE49-F238E27FC236}">
                  <a16:creationId xmlns:a16="http://schemas.microsoft.com/office/drawing/2014/main" id="{5C9AEB25-F4CA-4E57-6167-5A48B7C4794A}"/>
                </a:ext>
              </a:extLst>
            </p:cNvPr>
            <p:cNvSpPr/>
            <p:nvPr/>
          </p:nvSpPr>
          <p:spPr>
            <a:xfrm>
              <a:off x="11449331" y="804428"/>
              <a:ext cx="332700" cy="477101"/>
            </a:xfrm>
            <a:custGeom>
              <a:avLst/>
              <a:gdLst/>
              <a:ahLst/>
              <a:cxnLst/>
              <a:rect l="l" t="t" r="r" b="b"/>
              <a:pathLst>
                <a:path w="548640" h="786764">
                  <a:moveTo>
                    <a:pt x="548055" y="266598"/>
                  </a:moveTo>
                  <a:lnTo>
                    <a:pt x="500380" y="270637"/>
                  </a:lnTo>
                  <a:lnTo>
                    <a:pt x="455853" y="282295"/>
                  </a:lnTo>
                  <a:lnTo>
                    <a:pt x="414616" y="300901"/>
                  </a:lnTo>
                  <a:lnTo>
                    <a:pt x="377355" y="325767"/>
                  </a:lnTo>
                  <a:lnTo>
                    <a:pt x="344728" y="356235"/>
                  </a:lnTo>
                  <a:lnTo>
                    <a:pt x="317423" y="391617"/>
                  </a:lnTo>
                  <a:lnTo>
                    <a:pt x="296100" y="431241"/>
                  </a:lnTo>
                  <a:lnTo>
                    <a:pt x="281432" y="474433"/>
                  </a:lnTo>
                  <a:lnTo>
                    <a:pt x="274104" y="520522"/>
                  </a:lnTo>
                  <a:lnTo>
                    <a:pt x="266928" y="474256"/>
                  </a:lnTo>
                  <a:lnTo>
                    <a:pt x="252374" y="430872"/>
                  </a:lnTo>
                  <a:lnTo>
                    <a:pt x="231101" y="391083"/>
                  </a:lnTo>
                  <a:lnTo>
                    <a:pt x="203809" y="355549"/>
                  </a:lnTo>
                  <a:lnTo>
                    <a:pt x="171170" y="324954"/>
                  </a:lnTo>
                  <a:lnTo>
                    <a:pt x="133858" y="299974"/>
                  </a:lnTo>
                  <a:lnTo>
                    <a:pt x="92544" y="281292"/>
                  </a:lnTo>
                  <a:lnTo>
                    <a:pt x="47929" y="269582"/>
                  </a:lnTo>
                  <a:lnTo>
                    <a:pt x="12" y="265531"/>
                  </a:lnTo>
                  <a:lnTo>
                    <a:pt x="5461" y="313690"/>
                  </a:lnTo>
                  <a:lnTo>
                    <a:pt x="18859" y="358952"/>
                  </a:lnTo>
                  <a:lnTo>
                    <a:pt x="39471" y="400570"/>
                  </a:lnTo>
                  <a:lnTo>
                    <a:pt x="66573" y="437832"/>
                  </a:lnTo>
                  <a:lnTo>
                    <a:pt x="99415" y="469988"/>
                  </a:lnTo>
                  <a:lnTo>
                    <a:pt x="137261" y="496290"/>
                  </a:lnTo>
                  <a:lnTo>
                    <a:pt x="179387" y="516026"/>
                  </a:lnTo>
                  <a:lnTo>
                    <a:pt x="225056" y="528447"/>
                  </a:lnTo>
                  <a:lnTo>
                    <a:pt x="273532" y="532828"/>
                  </a:lnTo>
                  <a:lnTo>
                    <a:pt x="274764" y="532828"/>
                  </a:lnTo>
                  <a:lnTo>
                    <a:pt x="323100" y="528472"/>
                  </a:lnTo>
                  <a:lnTo>
                    <a:pt x="368655" y="516102"/>
                  </a:lnTo>
                  <a:lnTo>
                    <a:pt x="410692" y="496455"/>
                  </a:lnTo>
                  <a:lnTo>
                    <a:pt x="448475" y="470268"/>
                  </a:lnTo>
                  <a:lnTo>
                    <a:pt x="481279" y="438251"/>
                  </a:lnTo>
                  <a:lnTo>
                    <a:pt x="508368" y="401142"/>
                  </a:lnTo>
                  <a:lnTo>
                    <a:pt x="529018" y="359689"/>
                  </a:lnTo>
                  <a:lnTo>
                    <a:pt x="542480" y="314591"/>
                  </a:lnTo>
                  <a:lnTo>
                    <a:pt x="548055" y="266598"/>
                  </a:lnTo>
                  <a:close/>
                </a:path>
                <a:path w="548640" h="786764">
                  <a:moveTo>
                    <a:pt x="548055" y="1079"/>
                  </a:moveTo>
                  <a:lnTo>
                    <a:pt x="500380" y="5105"/>
                  </a:lnTo>
                  <a:lnTo>
                    <a:pt x="455853" y="16764"/>
                  </a:lnTo>
                  <a:lnTo>
                    <a:pt x="414616" y="35369"/>
                  </a:lnTo>
                  <a:lnTo>
                    <a:pt x="377355" y="60236"/>
                  </a:lnTo>
                  <a:lnTo>
                    <a:pt x="344728" y="90703"/>
                  </a:lnTo>
                  <a:lnTo>
                    <a:pt x="317423" y="126085"/>
                  </a:lnTo>
                  <a:lnTo>
                    <a:pt x="296100" y="165709"/>
                  </a:lnTo>
                  <a:lnTo>
                    <a:pt x="281432" y="208902"/>
                  </a:lnTo>
                  <a:lnTo>
                    <a:pt x="274104" y="254990"/>
                  </a:lnTo>
                  <a:lnTo>
                    <a:pt x="266928" y="208724"/>
                  </a:lnTo>
                  <a:lnTo>
                    <a:pt x="252374" y="165354"/>
                  </a:lnTo>
                  <a:lnTo>
                    <a:pt x="231101" y="125552"/>
                  </a:lnTo>
                  <a:lnTo>
                    <a:pt x="203809" y="90017"/>
                  </a:lnTo>
                  <a:lnTo>
                    <a:pt x="171170" y="59423"/>
                  </a:lnTo>
                  <a:lnTo>
                    <a:pt x="133858" y="34442"/>
                  </a:lnTo>
                  <a:lnTo>
                    <a:pt x="92544" y="15760"/>
                  </a:lnTo>
                  <a:lnTo>
                    <a:pt x="47929" y="4051"/>
                  </a:lnTo>
                  <a:lnTo>
                    <a:pt x="12" y="0"/>
                  </a:lnTo>
                  <a:lnTo>
                    <a:pt x="5461" y="48158"/>
                  </a:lnTo>
                  <a:lnTo>
                    <a:pt x="18859" y="93421"/>
                  </a:lnTo>
                  <a:lnTo>
                    <a:pt x="39471" y="135051"/>
                  </a:lnTo>
                  <a:lnTo>
                    <a:pt x="66573" y="172300"/>
                  </a:lnTo>
                  <a:lnTo>
                    <a:pt x="99415" y="204457"/>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36"/>
                  </a:lnTo>
                  <a:lnTo>
                    <a:pt x="481279" y="172720"/>
                  </a:lnTo>
                  <a:lnTo>
                    <a:pt x="508368" y="135623"/>
                  </a:lnTo>
                  <a:lnTo>
                    <a:pt x="529018" y="94157"/>
                  </a:lnTo>
                  <a:lnTo>
                    <a:pt x="542480" y="49060"/>
                  </a:lnTo>
                  <a:lnTo>
                    <a:pt x="548055" y="1079"/>
                  </a:lnTo>
                  <a:close/>
                </a:path>
                <a:path w="548640" h="786764">
                  <a:moveTo>
                    <a:pt x="548093" y="520192"/>
                  </a:moveTo>
                  <a:lnTo>
                    <a:pt x="500380" y="524205"/>
                  </a:lnTo>
                  <a:lnTo>
                    <a:pt x="455853" y="535851"/>
                  </a:lnTo>
                  <a:lnTo>
                    <a:pt x="414616" y="554456"/>
                  </a:lnTo>
                  <a:lnTo>
                    <a:pt x="377355" y="579323"/>
                  </a:lnTo>
                  <a:lnTo>
                    <a:pt x="344728" y="609790"/>
                  </a:lnTo>
                  <a:lnTo>
                    <a:pt x="317411" y="645160"/>
                  </a:lnTo>
                  <a:lnTo>
                    <a:pt x="296087" y="684784"/>
                  </a:lnTo>
                  <a:lnTo>
                    <a:pt x="281419" y="727976"/>
                  </a:lnTo>
                  <a:lnTo>
                    <a:pt x="274091" y="774039"/>
                  </a:lnTo>
                  <a:lnTo>
                    <a:pt x="266928" y="727811"/>
                  </a:lnTo>
                  <a:lnTo>
                    <a:pt x="252374" y="684441"/>
                  </a:lnTo>
                  <a:lnTo>
                    <a:pt x="238506" y="658507"/>
                  </a:lnTo>
                  <a:lnTo>
                    <a:pt x="231101" y="644652"/>
                  </a:lnTo>
                  <a:lnTo>
                    <a:pt x="203809" y="609117"/>
                  </a:lnTo>
                  <a:lnTo>
                    <a:pt x="186956" y="593318"/>
                  </a:lnTo>
                  <a:lnTo>
                    <a:pt x="171170" y="578510"/>
                  </a:lnTo>
                  <a:lnTo>
                    <a:pt x="146177" y="561784"/>
                  </a:lnTo>
                  <a:lnTo>
                    <a:pt x="133858" y="553529"/>
                  </a:lnTo>
                  <a:lnTo>
                    <a:pt x="92544" y="534847"/>
                  </a:lnTo>
                  <a:lnTo>
                    <a:pt x="47917" y="523113"/>
                  </a:lnTo>
                  <a:lnTo>
                    <a:pt x="0" y="519061"/>
                  </a:lnTo>
                  <a:lnTo>
                    <a:pt x="5448" y="567232"/>
                  </a:lnTo>
                  <a:lnTo>
                    <a:pt x="18846" y="612508"/>
                  </a:lnTo>
                  <a:lnTo>
                    <a:pt x="39458" y="654126"/>
                  </a:lnTo>
                  <a:lnTo>
                    <a:pt x="66560" y="691388"/>
                  </a:lnTo>
                  <a:lnTo>
                    <a:pt x="98717" y="722871"/>
                  </a:lnTo>
                  <a:lnTo>
                    <a:pt x="137261" y="749858"/>
                  </a:lnTo>
                  <a:lnTo>
                    <a:pt x="179387" y="769594"/>
                  </a:lnTo>
                  <a:lnTo>
                    <a:pt x="225056" y="782015"/>
                  </a:lnTo>
                  <a:lnTo>
                    <a:pt x="273532" y="786384"/>
                  </a:lnTo>
                  <a:lnTo>
                    <a:pt x="274764" y="786384"/>
                  </a:lnTo>
                  <a:lnTo>
                    <a:pt x="323100" y="782027"/>
                  </a:lnTo>
                  <a:lnTo>
                    <a:pt x="368655" y="769670"/>
                  </a:lnTo>
                  <a:lnTo>
                    <a:pt x="410692" y="750023"/>
                  </a:lnTo>
                  <a:lnTo>
                    <a:pt x="448475" y="723823"/>
                  </a:lnTo>
                  <a:lnTo>
                    <a:pt x="449287" y="723023"/>
                  </a:lnTo>
                  <a:lnTo>
                    <a:pt x="481279" y="691807"/>
                  </a:lnTo>
                  <a:lnTo>
                    <a:pt x="508393" y="654697"/>
                  </a:lnTo>
                  <a:lnTo>
                    <a:pt x="529043"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139" name="object 137">
              <a:extLst>
                <a:ext uri="{FF2B5EF4-FFF2-40B4-BE49-F238E27FC236}">
                  <a16:creationId xmlns:a16="http://schemas.microsoft.com/office/drawing/2014/main" id="{8180AB42-64F5-2CB6-29E4-FACEBD2E100F}"/>
                </a:ext>
              </a:extLst>
            </p:cNvPr>
            <p:cNvPicPr/>
            <p:nvPr/>
          </p:nvPicPr>
          <p:blipFill>
            <a:blip r:embed="rId10" cstate="print"/>
            <a:stretch>
              <a:fillRect/>
            </a:stretch>
          </p:blipFill>
          <p:spPr>
            <a:xfrm>
              <a:off x="11561989" y="718433"/>
              <a:ext cx="106445" cy="107156"/>
            </a:xfrm>
            <a:prstGeom prst="rect">
              <a:avLst/>
            </a:prstGeom>
          </p:spPr>
        </p:pic>
        <p:sp>
          <p:nvSpPr>
            <p:cNvPr id="140" name="object 138">
              <a:extLst>
                <a:ext uri="{FF2B5EF4-FFF2-40B4-BE49-F238E27FC236}">
                  <a16:creationId xmlns:a16="http://schemas.microsoft.com/office/drawing/2014/main" id="{DBEF02F9-A4DD-0A87-B0FD-4A149361CE24}"/>
                </a:ext>
              </a:extLst>
            </p:cNvPr>
            <p:cNvSpPr/>
            <p:nvPr/>
          </p:nvSpPr>
          <p:spPr>
            <a:xfrm>
              <a:off x="11449331" y="150257"/>
              <a:ext cx="332700" cy="477101"/>
            </a:xfrm>
            <a:custGeom>
              <a:avLst/>
              <a:gdLst/>
              <a:ahLst/>
              <a:cxnLst/>
              <a:rect l="l" t="t" r="r" b="b"/>
              <a:pathLst>
                <a:path w="548640" h="786765">
                  <a:moveTo>
                    <a:pt x="548055" y="266611"/>
                  </a:moveTo>
                  <a:lnTo>
                    <a:pt x="500380" y="270649"/>
                  </a:lnTo>
                  <a:lnTo>
                    <a:pt x="455853" y="282308"/>
                  </a:lnTo>
                  <a:lnTo>
                    <a:pt x="414616" y="300901"/>
                  </a:lnTo>
                  <a:lnTo>
                    <a:pt x="377355" y="325767"/>
                  </a:lnTo>
                  <a:lnTo>
                    <a:pt x="344728" y="356235"/>
                  </a:lnTo>
                  <a:lnTo>
                    <a:pt x="317423" y="391617"/>
                  </a:lnTo>
                  <a:lnTo>
                    <a:pt x="296100" y="431253"/>
                  </a:lnTo>
                  <a:lnTo>
                    <a:pt x="281432" y="474446"/>
                  </a:lnTo>
                  <a:lnTo>
                    <a:pt x="274104" y="520534"/>
                  </a:lnTo>
                  <a:lnTo>
                    <a:pt x="266928" y="474256"/>
                  </a:lnTo>
                  <a:lnTo>
                    <a:pt x="252374" y="430885"/>
                  </a:lnTo>
                  <a:lnTo>
                    <a:pt x="231101" y="391096"/>
                  </a:lnTo>
                  <a:lnTo>
                    <a:pt x="203809" y="355561"/>
                  </a:lnTo>
                  <a:lnTo>
                    <a:pt x="171170" y="324954"/>
                  </a:lnTo>
                  <a:lnTo>
                    <a:pt x="133858" y="299974"/>
                  </a:lnTo>
                  <a:lnTo>
                    <a:pt x="92544" y="281292"/>
                  </a:lnTo>
                  <a:lnTo>
                    <a:pt x="47929" y="269582"/>
                  </a:lnTo>
                  <a:lnTo>
                    <a:pt x="12" y="265531"/>
                  </a:lnTo>
                  <a:lnTo>
                    <a:pt x="5461" y="313690"/>
                  </a:lnTo>
                  <a:lnTo>
                    <a:pt x="18859" y="358952"/>
                  </a:lnTo>
                  <a:lnTo>
                    <a:pt x="39471" y="400583"/>
                  </a:lnTo>
                  <a:lnTo>
                    <a:pt x="66573" y="437832"/>
                  </a:lnTo>
                  <a:lnTo>
                    <a:pt x="99415" y="469988"/>
                  </a:lnTo>
                  <a:lnTo>
                    <a:pt x="137261" y="496303"/>
                  </a:lnTo>
                  <a:lnTo>
                    <a:pt x="179387" y="516039"/>
                  </a:lnTo>
                  <a:lnTo>
                    <a:pt x="225056" y="528459"/>
                  </a:lnTo>
                  <a:lnTo>
                    <a:pt x="273532" y="532828"/>
                  </a:lnTo>
                  <a:lnTo>
                    <a:pt x="274764" y="532828"/>
                  </a:lnTo>
                  <a:lnTo>
                    <a:pt x="323100" y="528472"/>
                  </a:lnTo>
                  <a:lnTo>
                    <a:pt x="368655" y="516115"/>
                  </a:lnTo>
                  <a:lnTo>
                    <a:pt x="410692" y="496468"/>
                  </a:lnTo>
                  <a:lnTo>
                    <a:pt x="448475" y="470268"/>
                  </a:lnTo>
                  <a:lnTo>
                    <a:pt x="481279" y="438251"/>
                  </a:lnTo>
                  <a:lnTo>
                    <a:pt x="508368" y="401154"/>
                  </a:lnTo>
                  <a:lnTo>
                    <a:pt x="529018" y="359689"/>
                  </a:lnTo>
                  <a:lnTo>
                    <a:pt x="542480" y="314604"/>
                  </a:lnTo>
                  <a:lnTo>
                    <a:pt x="548055" y="266611"/>
                  </a:lnTo>
                  <a:close/>
                </a:path>
                <a:path w="548640" h="786765">
                  <a:moveTo>
                    <a:pt x="548055" y="1079"/>
                  </a:moveTo>
                  <a:lnTo>
                    <a:pt x="500380" y="5118"/>
                  </a:lnTo>
                  <a:lnTo>
                    <a:pt x="455853" y="16776"/>
                  </a:lnTo>
                  <a:lnTo>
                    <a:pt x="414616" y="35369"/>
                  </a:lnTo>
                  <a:lnTo>
                    <a:pt x="377355" y="60248"/>
                  </a:lnTo>
                  <a:lnTo>
                    <a:pt x="344728" y="90716"/>
                  </a:lnTo>
                  <a:lnTo>
                    <a:pt x="317423" y="126098"/>
                  </a:lnTo>
                  <a:lnTo>
                    <a:pt x="296100" y="165722"/>
                  </a:lnTo>
                  <a:lnTo>
                    <a:pt x="281432" y="208915"/>
                  </a:lnTo>
                  <a:lnTo>
                    <a:pt x="274104" y="255003"/>
                  </a:lnTo>
                  <a:lnTo>
                    <a:pt x="266928" y="208724"/>
                  </a:lnTo>
                  <a:lnTo>
                    <a:pt x="252374" y="165354"/>
                  </a:lnTo>
                  <a:lnTo>
                    <a:pt x="231101" y="125564"/>
                  </a:lnTo>
                  <a:lnTo>
                    <a:pt x="203809" y="90030"/>
                  </a:lnTo>
                  <a:lnTo>
                    <a:pt x="171170" y="59436"/>
                  </a:lnTo>
                  <a:lnTo>
                    <a:pt x="133858" y="34455"/>
                  </a:lnTo>
                  <a:lnTo>
                    <a:pt x="92544" y="15760"/>
                  </a:lnTo>
                  <a:lnTo>
                    <a:pt x="47929" y="4064"/>
                  </a:lnTo>
                  <a:lnTo>
                    <a:pt x="12" y="0"/>
                  </a:lnTo>
                  <a:lnTo>
                    <a:pt x="5461" y="48171"/>
                  </a:lnTo>
                  <a:lnTo>
                    <a:pt x="18859" y="93433"/>
                  </a:lnTo>
                  <a:lnTo>
                    <a:pt x="39471" y="135051"/>
                  </a:lnTo>
                  <a:lnTo>
                    <a:pt x="66573" y="172313"/>
                  </a:lnTo>
                  <a:lnTo>
                    <a:pt x="99415" y="204457"/>
                  </a:lnTo>
                  <a:lnTo>
                    <a:pt x="137261" y="230771"/>
                  </a:lnTo>
                  <a:lnTo>
                    <a:pt x="179387" y="250507"/>
                  </a:lnTo>
                  <a:lnTo>
                    <a:pt x="225056" y="262928"/>
                  </a:lnTo>
                  <a:lnTo>
                    <a:pt x="273532" y="267309"/>
                  </a:lnTo>
                  <a:lnTo>
                    <a:pt x="274764" y="267309"/>
                  </a:lnTo>
                  <a:lnTo>
                    <a:pt x="323100" y="262953"/>
                  </a:lnTo>
                  <a:lnTo>
                    <a:pt x="368655" y="250583"/>
                  </a:lnTo>
                  <a:lnTo>
                    <a:pt x="410692" y="230936"/>
                  </a:lnTo>
                  <a:lnTo>
                    <a:pt x="448475" y="204736"/>
                  </a:lnTo>
                  <a:lnTo>
                    <a:pt x="481279" y="172732"/>
                  </a:lnTo>
                  <a:lnTo>
                    <a:pt x="508368" y="135623"/>
                  </a:lnTo>
                  <a:lnTo>
                    <a:pt x="529018" y="94157"/>
                  </a:lnTo>
                  <a:lnTo>
                    <a:pt x="542480" y="49072"/>
                  </a:lnTo>
                  <a:lnTo>
                    <a:pt x="548055" y="1079"/>
                  </a:lnTo>
                  <a:close/>
                </a:path>
                <a:path w="548640" h="786765">
                  <a:moveTo>
                    <a:pt x="548093" y="520204"/>
                  </a:moveTo>
                  <a:lnTo>
                    <a:pt x="500380" y="524205"/>
                  </a:lnTo>
                  <a:lnTo>
                    <a:pt x="455853" y="535863"/>
                  </a:lnTo>
                  <a:lnTo>
                    <a:pt x="414616" y="554469"/>
                  </a:lnTo>
                  <a:lnTo>
                    <a:pt x="377355" y="579335"/>
                  </a:lnTo>
                  <a:lnTo>
                    <a:pt x="344728" y="609803"/>
                  </a:lnTo>
                  <a:lnTo>
                    <a:pt x="317411" y="645172"/>
                  </a:lnTo>
                  <a:lnTo>
                    <a:pt x="296087" y="684796"/>
                  </a:lnTo>
                  <a:lnTo>
                    <a:pt x="281419" y="727976"/>
                  </a:lnTo>
                  <a:lnTo>
                    <a:pt x="274091" y="774039"/>
                  </a:lnTo>
                  <a:lnTo>
                    <a:pt x="266928" y="727824"/>
                  </a:lnTo>
                  <a:lnTo>
                    <a:pt x="252374" y="684453"/>
                  </a:lnTo>
                  <a:lnTo>
                    <a:pt x="231101" y="644652"/>
                  </a:lnTo>
                  <a:lnTo>
                    <a:pt x="203809" y="609117"/>
                  </a:lnTo>
                  <a:lnTo>
                    <a:pt x="171170" y="578523"/>
                  </a:lnTo>
                  <a:lnTo>
                    <a:pt x="133858" y="553542"/>
                  </a:lnTo>
                  <a:lnTo>
                    <a:pt x="92532" y="534835"/>
                  </a:lnTo>
                  <a:lnTo>
                    <a:pt x="47917" y="523125"/>
                  </a:lnTo>
                  <a:lnTo>
                    <a:pt x="0" y="519074"/>
                  </a:lnTo>
                  <a:lnTo>
                    <a:pt x="5448" y="567245"/>
                  </a:lnTo>
                  <a:lnTo>
                    <a:pt x="18846" y="612508"/>
                  </a:lnTo>
                  <a:lnTo>
                    <a:pt x="39458" y="654138"/>
                  </a:lnTo>
                  <a:lnTo>
                    <a:pt x="66560" y="691388"/>
                  </a:lnTo>
                  <a:lnTo>
                    <a:pt x="99415" y="723557"/>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141" name="object 139">
              <a:extLst>
                <a:ext uri="{FF2B5EF4-FFF2-40B4-BE49-F238E27FC236}">
                  <a16:creationId xmlns:a16="http://schemas.microsoft.com/office/drawing/2014/main" id="{19F39501-E33D-1E5F-737D-53C6CA5E4687}"/>
                </a:ext>
              </a:extLst>
            </p:cNvPr>
            <p:cNvPicPr/>
            <p:nvPr/>
          </p:nvPicPr>
          <p:blipFill>
            <a:blip r:embed="rId11" cstate="print"/>
            <a:stretch>
              <a:fillRect/>
            </a:stretch>
          </p:blipFill>
          <p:spPr>
            <a:xfrm>
              <a:off x="11561989" y="64269"/>
              <a:ext cx="106445" cy="107156"/>
            </a:xfrm>
            <a:prstGeom prst="rect">
              <a:avLst/>
            </a:prstGeom>
          </p:spPr>
        </p:pic>
        <p:sp>
          <p:nvSpPr>
            <p:cNvPr id="142" name="object 140">
              <a:extLst>
                <a:ext uri="{FF2B5EF4-FFF2-40B4-BE49-F238E27FC236}">
                  <a16:creationId xmlns:a16="http://schemas.microsoft.com/office/drawing/2014/main" id="{8C56D2CD-3176-5B9B-D86E-5928465F1455}"/>
                </a:ext>
              </a:extLst>
            </p:cNvPr>
            <p:cNvSpPr/>
            <p:nvPr/>
          </p:nvSpPr>
          <p:spPr>
            <a:xfrm>
              <a:off x="11449331" y="2112754"/>
              <a:ext cx="332700" cy="477101"/>
            </a:xfrm>
            <a:custGeom>
              <a:avLst/>
              <a:gdLst/>
              <a:ahLst/>
              <a:cxnLst/>
              <a:rect l="l" t="t" r="r" b="b"/>
              <a:pathLst>
                <a:path w="548640" h="786764">
                  <a:moveTo>
                    <a:pt x="548055" y="266611"/>
                  </a:moveTo>
                  <a:lnTo>
                    <a:pt x="500380" y="270649"/>
                  </a:lnTo>
                  <a:lnTo>
                    <a:pt x="455853" y="282308"/>
                  </a:lnTo>
                  <a:lnTo>
                    <a:pt x="414616" y="300901"/>
                  </a:lnTo>
                  <a:lnTo>
                    <a:pt x="377355" y="325780"/>
                  </a:lnTo>
                  <a:lnTo>
                    <a:pt x="344728" y="356247"/>
                  </a:lnTo>
                  <a:lnTo>
                    <a:pt x="317423" y="391629"/>
                  </a:lnTo>
                  <a:lnTo>
                    <a:pt x="296100" y="431253"/>
                  </a:lnTo>
                  <a:lnTo>
                    <a:pt x="281432" y="474446"/>
                  </a:lnTo>
                  <a:lnTo>
                    <a:pt x="274104" y="520534"/>
                  </a:lnTo>
                  <a:lnTo>
                    <a:pt x="266928" y="474256"/>
                  </a:lnTo>
                  <a:lnTo>
                    <a:pt x="252374" y="430885"/>
                  </a:lnTo>
                  <a:lnTo>
                    <a:pt x="231101" y="391096"/>
                  </a:lnTo>
                  <a:lnTo>
                    <a:pt x="203809" y="355561"/>
                  </a:lnTo>
                  <a:lnTo>
                    <a:pt x="171170" y="324967"/>
                  </a:lnTo>
                  <a:lnTo>
                    <a:pt x="133858" y="299986"/>
                  </a:lnTo>
                  <a:lnTo>
                    <a:pt x="92544" y="281292"/>
                  </a:lnTo>
                  <a:lnTo>
                    <a:pt x="47929" y="269582"/>
                  </a:lnTo>
                  <a:lnTo>
                    <a:pt x="12" y="265531"/>
                  </a:lnTo>
                  <a:lnTo>
                    <a:pt x="5461" y="313702"/>
                  </a:lnTo>
                  <a:lnTo>
                    <a:pt x="18859" y="358952"/>
                  </a:lnTo>
                  <a:lnTo>
                    <a:pt x="39471" y="400583"/>
                  </a:lnTo>
                  <a:lnTo>
                    <a:pt x="66573" y="437845"/>
                  </a:lnTo>
                  <a:lnTo>
                    <a:pt x="99415" y="469988"/>
                  </a:lnTo>
                  <a:lnTo>
                    <a:pt x="137261" y="496303"/>
                  </a:lnTo>
                  <a:lnTo>
                    <a:pt x="179387" y="516039"/>
                  </a:lnTo>
                  <a:lnTo>
                    <a:pt x="225056" y="528459"/>
                  </a:lnTo>
                  <a:lnTo>
                    <a:pt x="273532" y="532841"/>
                  </a:lnTo>
                  <a:lnTo>
                    <a:pt x="274764" y="532841"/>
                  </a:lnTo>
                  <a:lnTo>
                    <a:pt x="323100" y="528485"/>
                  </a:lnTo>
                  <a:lnTo>
                    <a:pt x="368655" y="516115"/>
                  </a:lnTo>
                  <a:lnTo>
                    <a:pt x="410692" y="496468"/>
                  </a:lnTo>
                  <a:lnTo>
                    <a:pt x="448475" y="470268"/>
                  </a:lnTo>
                  <a:lnTo>
                    <a:pt x="481279" y="438264"/>
                  </a:lnTo>
                  <a:lnTo>
                    <a:pt x="508368" y="401154"/>
                  </a:lnTo>
                  <a:lnTo>
                    <a:pt x="529018" y="359689"/>
                  </a:lnTo>
                  <a:lnTo>
                    <a:pt x="542480" y="314604"/>
                  </a:lnTo>
                  <a:lnTo>
                    <a:pt x="548055" y="266611"/>
                  </a:lnTo>
                  <a:close/>
                </a:path>
                <a:path w="548640" h="786764">
                  <a:moveTo>
                    <a:pt x="548055" y="1079"/>
                  </a:moveTo>
                  <a:lnTo>
                    <a:pt x="500380" y="5118"/>
                  </a:lnTo>
                  <a:lnTo>
                    <a:pt x="455853" y="16776"/>
                  </a:lnTo>
                  <a:lnTo>
                    <a:pt x="414616" y="35369"/>
                  </a:lnTo>
                  <a:lnTo>
                    <a:pt x="377355" y="60248"/>
                  </a:lnTo>
                  <a:lnTo>
                    <a:pt x="344728" y="90703"/>
                  </a:lnTo>
                  <a:lnTo>
                    <a:pt x="317423" y="126085"/>
                  </a:lnTo>
                  <a:lnTo>
                    <a:pt x="296100" y="165722"/>
                  </a:lnTo>
                  <a:lnTo>
                    <a:pt x="281432" y="208915"/>
                  </a:lnTo>
                  <a:lnTo>
                    <a:pt x="274104" y="255003"/>
                  </a:lnTo>
                  <a:lnTo>
                    <a:pt x="266928" y="208724"/>
                  </a:lnTo>
                  <a:lnTo>
                    <a:pt x="252374" y="165354"/>
                  </a:lnTo>
                  <a:lnTo>
                    <a:pt x="231101" y="125564"/>
                  </a:lnTo>
                  <a:lnTo>
                    <a:pt x="203809" y="90030"/>
                  </a:lnTo>
                  <a:lnTo>
                    <a:pt x="171170" y="59423"/>
                  </a:lnTo>
                  <a:lnTo>
                    <a:pt x="133858" y="34442"/>
                  </a:lnTo>
                  <a:lnTo>
                    <a:pt x="92544" y="15760"/>
                  </a:lnTo>
                  <a:lnTo>
                    <a:pt x="47929" y="4051"/>
                  </a:lnTo>
                  <a:lnTo>
                    <a:pt x="12" y="0"/>
                  </a:lnTo>
                  <a:lnTo>
                    <a:pt x="5461" y="48158"/>
                  </a:lnTo>
                  <a:lnTo>
                    <a:pt x="18859" y="93421"/>
                  </a:lnTo>
                  <a:lnTo>
                    <a:pt x="39471" y="135051"/>
                  </a:lnTo>
                  <a:lnTo>
                    <a:pt x="66573" y="172313"/>
                  </a:lnTo>
                  <a:lnTo>
                    <a:pt x="99415" y="204457"/>
                  </a:lnTo>
                  <a:lnTo>
                    <a:pt x="137261" y="230771"/>
                  </a:lnTo>
                  <a:lnTo>
                    <a:pt x="179387" y="250507"/>
                  </a:lnTo>
                  <a:lnTo>
                    <a:pt x="225056" y="262928"/>
                  </a:lnTo>
                  <a:lnTo>
                    <a:pt x="273532" y="267296"/>
                  </a:lnTo>
                  <a:lnTo>
                    <a:pt x="274764" y="267296"/>
                  </a:lnTo>
                  <a:lnTo>
                    <a:pt x="323100" y="262940"/>
                  </a:lnTo>
                  <a:lnTo>
                    <a:pt x="368655" y="250583"/>
                  </a:lnTo>
                  <a:lnTo>
                    <a:pt x="410692" y="230936"/>
                  </a:lnTo>
                  <a:lnTo>
                    <a:pt x="448475" y="204736"/>
                  </a:lnTo>
                  <a:lnTo>
                    <a:pt x="481279" y="172720"/>
                  </a:lnTo>
                  <a:lnTo>
                    <a:pt x="508368" y="135623"/>
                  </a:lnTo>
                  <a:lnTo>
                    <a:pt x="529018" y="94157"/>
                  </a:lnTo>
                  <a:lnTo>
                    <a:pt x="542480" y="49072"/>
                  </a:lnTo>
                  <a:lnTo>
                    <a:pt x="548055" y="1079"/>
                  </a:lnTo>
                  <a:close/>
                </a:path>
                <a:path w="548640" h="786764">
                  <a:moveTo>
                    <a:pt x="548093" y="520204"/>
                  </a:moveTo>
                  <a:lnTo>
                    <a:pt x="500380" y="524205"/>
                  </a:lnTo>
                  <a:lnTo>
                    <a:pt x="455853" y="535863"/>
                  </a:lnTo>
                  <a:lnTo>
                    <a:pt x="414616" y="554456"/>
                  </a:lnTo>
                  <a:lnTo>
                    <a:pt x="377355" y="579335"/>
                  </a:lnTo>
                  <a:lnTo>
                    <a:pt x="344728" y="609803"/>
                  </a:lnTo>
                  <a:lnTo>
                    <a:pt x="317411" y="645172"/>
                  </a:lnTo>
                  <a:lnTo>
                    <a:pt x="296087" y="684796"/>
                  </a:lnTo>
                  <a:lnTo>
                    <a:pt x="281419" y="727989"/>
                  </a:lnTo>
                  <a:lnTo>
                    <a:pt x="274091" y="774039"/>
                  </a:lnTo>
                  <a:lnTo>
                    <a:pt x="266928" y="727811"/>
                  </a:lnTo>
                  <a:lnTo>
                    <a:pt x="252374" y="684441"/>
                  </a:lnTo>
                  <a:lnTo>
                    <a:pt x="231101" y="644652"/>
                  </a:lnTo>
                  <a:lnTo>
                    <a:pt x="203809" y="609117"/>
                  </a:lnTo>
                  <a:lnTo>
                    <a:pt x="171170" y="578523"/>
                  </a:lnTo>
                  <a:lnTo>
                    <a:pt x="146177" y="561797"/>
                  </a:lnTo>
                  <a:lnTo>
                    <a:pt x="133858" y="553542"/>
                  </a:lnTo>
                  <a:lnTo>
                    <a:pt x="92544" y="534860"/>
                  </a:lnTo>
                  <a:lnTo>
                    <a:pt x="47917" y="523125"/>
                  </a:lnTo>
                  <a:lnTo>
                    <a:pt x="12" y="519087"/>
                  </a:lnTo>
                  <a:lnTo>
                    <a:pt x="5448" y="567245"/>
                  </a:lnTo>
                  <a:lnTo>
                    <a:pt x="18846" y="612508"/>
                  </a:lnTo>
                  <a:lnTo>
                    <a:pt x="39458" y="654138"/>
                  </a:lnTo>
                  <a:lnTo>
                    <a:pt x="66560" y="691400"/>
                  </a:lnTo>
                  <a:lnTo>
                    <a:pt x="99402" y="723544"/>
                  </a:lnTo>
                  <a:lnTo>
                    <a:pt x="125717" y="741832"/>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2DB7EA"/>
            </a:solidFill>
          </p:spPr>
          <p:txBody>
            <a:bodyPr wrap="square" lIns="0" tIns="0" rIns="0" bIns="0" rtlCol="0"/>
            <a:lstStyle/>
            <a:p>
              <a:endParaRPr dirty="0"/>
            </a:p>
          </p:txBody>
        </p:sp>
        <p:pic>
          <p:nvPicPr>
            <p:cNvPr id="143" name="object 141">
              <a:extLst>
                <a:ext uri="{FF2B5EF4-FFF2-40B4-BE49-F238E27FC236}">
                  <a16:creationId xmlns:a16="http://schemas.microsoft.com/office/drawing/2014/main" id="{6E5EC671-01B7-5367-5C32-96F68E4D5CF0}"/>
                </a:ext>
              </a:extLst>
            </p:cNvPr>
            <p:cNvPicPr/>
            <p:nvPr/>
          </p:nvPicPr>
          <p:blipFill>
            <a:blip r:embed="rId10" cstate="print"/>
            <a:stretch>
              <a:fillRect/>
            </a:stretch>
          </p:blipFill>
          <p:spPr>
            <a:xfrm>
              <a:off x="11561989" y="2026765"/>
              <a:ext cx="106445" cy="107156"/>
            </a:xfrm>
            <a:prstGeom prst="rect">
              <a:avLst/>
            </a:prstGeom>
          </p:spPr>
        </p:pic>
        <p:sp>
          <p:nvSpPr>
            <p:cNvPr id="144" name="object 142">
              <a:extLst>
                <a:ext uri="{FF2B5EF4-FFF2-40B4-BE49-F238E27FC236}">
                  <a16:creationId xmlns:a16="http://schemas.microsoft.com/office/drawing/2014/main" id="{F3BB2EBF-17F6-3B56-C7CC-0A7FEBBE399C}"/>
                </a:ext>
              </a:extLst>
            </p:cNvPr>
            <p:cNvSpPr/>
            <p:nvPr/>
          </p:nvSpPr>
          <p:spPr>
            <a:xfrm>
              <a:off x="11449331" y="1458591"/>
              <a:ext cx="332700" cy="477101"/>
            </a:xfrm>
            <a:custGeom>
              <a:avLst/>
              <a:gdLst/>
              <a:ahLst/>
              <a:cxnLst/>
              <a:rect l="l" t="t" r="r" b="b"/>
              <a:pathLst>
                <a:path w="548640" h="786764">
                  <a:moveTo>
                    <a:pt x="548055" y="266611"/>
                  </a:moveTo>
                  <a:lnTo>
                    <a:pt x="500380" y="270649"/>
                  </a:lnTo>
                  <a:lnTo>
                    <a:pt x="455853" y="282295"/>
                  </a:lnTo>
                  <a:lnTo>
                    <a:pt x="414616" y="300901"/>
                  </a:lnTo>
                  <a:lnTo>
                    <a:pt x="377355" y="325767"/>
                  </a:lnTo>
                  <a:lnTo>
                    <a:pt x="344728" y="356235"/>
                  </a:lnTo>
                  <a:lnTo>
                    <a:pt x="317423" y="391617"/>
                  </a:lnTo>
                  <a:lnTo>
                    <a:pt x="296100" y="431241"/>
                  </a:lnTo>
                  <a:lnTo>
                    <a:pt x="281432" y="474446"/>
                  </a:lnTo>
                  <a:lnTo>
                    <a:pt x="274104" y="520522"/>
                  </a:lnTo>
                  <a:lnTo>
                    <a:pt x="266928" y="474256"/>
                  </a:lnTo>
                  <a:lnTo>
                    <a:pt x="252374" y="430885"/>
                  </a:lnTo>
                  <a:lnTo>
                    <a:pt x="231101" y="391083"/>
                  </a:lnTo>
                  <a:lnTo>
                    <a:pt x="203809" y="355549"/>
                  </a:lnTo>
                  <a:lnTo>
                    <a:pt x="171170" y="324954"/>
                  </a:lnTo>
                  <a:lnTo>
                    <a:pt x="133858" y="299974"/>
                  </a:lnTo>
                  <a:lnTo>
                    <a:pt x="92544" y="281292"/>
                  </a:lnTo>
                  <a:lnTo>
                    <a:pt x="47929" y="269582"/>
                  </a:lnTo>
                  <a:lnTo>
                    <a:pt x="12" y="265531"/>
                  </a:lnTo>
                  <a:lnTo>
                    <a:pt x="5461" y="313690"/>
                  </a:lnTo>
                  <a:lnTo>
                    <a:pt x="18859" y="358952"/>
                  </a:lnTo>
                  <a:lnTo>
                    <a:pt x="39471" y="400583"/>
                  </a:lnTo>
                  <a:lnTo>
                    <a:pt x="66573" y="437832"/>
                  </a:lnTo>
                  <a:lnTo>
                    <a:pt x="99415" y="469988"/>
                  </a:lnTo>
                  <a:lnTo>
                    <a:pt x="137261" y="496303"/>
                  </a:lnTo>
                  <a:lnTo>
                    <a:pt x="179387" y="516026"/>
                  </a:lnTo>
                  <a:lnTo>
                    <a:pt x="225056" y="528459"/>
                  </a:lnTo>
                  <a:lnTo>
                    <a:pt x="273532" y="532828"/>
                  </a:lnTo>
                  <a:lnTo>
                    <a:pt x="274764" y="532828"/>
                  </a:lnTo>
                  <a:lnTo>
                    <a:pt x="323100" y="528472"/>
                  </a:lnTo>
                  <a:lnTo>
                    <a:pt x="368655" y="516102"/>
                  </a:lnTo>
                  <a:lnTo>
                    <a:pt x="410692" y="496468"/>
                  </a:lnTo>
                  <a:lnTo>
                    <a:pt x="448475" y="470268"/>
                  </a:lnTo>
                  <a:lnTo>
                    <a:pt x="481279" y="438251"/>
                  </a:lnTo>
                  <a:lnTo>
                    <a:pt x="508368" y="401154"/>
                  </a:lnTo>
                  <a:lnTo>
                    <a:pt x="529018" y="359689"/>
                  </a:lnTo>
                  <a:lnTo>
                    <a:pt x="542480" y="314604"/>
                  </a:lnTo>
                  <a:lnTo>
                    <a:pt x="548055" y="266611"/>
                  </a:lnTo>
                  <a:close/>
                </a:path>
                <a:path w="548640" h="786764">
                  <a:moveTo>
                    <a:pt x="548055" y="1079"/>
                  </a:moveTo>
                  <a:lnTo>
                    <a:pt x="500380" y="5105"/>
                  </a:lnTo>
                  <a:lnTo>
                    <a:pt x="455853" y="16764"/>
                  </a:lnTo>
                  <a:lnTo>
                    <a:pt x="414616" y="35369"/>
                  </a:lnTo>
                  <a:lnTo>
                    <a:pt x="377355" y="60236"/>
                  </a:lnTo>
                  <a:lnTo>
                    <a:pt x="344728" y="90703"/>
                  </a:lnTo>
                  <a:lnTo>
                    <a:pt x="317423" y="126085"/>
                  </a:lnTo>
                  <a:lnTo>
                    <a:pt x="296100" y="165709"/>
                  </a:lnTo>
                  <a:lnTo>
                    <a:pt x="281432" y="208902"/>
                  </a:lnTo>
                  <a:lnTo>
                    <a:pt x="274104" y="254990"/>
                  </a:lnTo>
                  <a:lnTo>
                    <a:pt x="266928" y="208724"/>
                  </a:lnTo>
                  <a:lnTo>
                    <a:pt x="252374" y="165354"/>
                  </a:lnTo>
                  <a:lnTo>
                    <a:pt x="231101" y="125552"/>
                  </a:lnTo>
                  <a:lnTo>
                    <a:pt x="203809" y="90017"/>
                  </a:lnTo>
                  <a:lnTo>
                    <a:pt x="171170" y="59423"/>
                  </a:lnTo>
                  <a:lnTo>
                    <a:pt x="133858" y="34442"/>
                  </a:lnTo>
                  <a:lnTo>
                    <a:pt x="92544" y="15760"/>
                  </a:lnTo>
                  <a:lnTo>
                    <a:pt x="47929" y="4051"/>
                  </a:lnTo>
                  <a:lnTo>
                    <a:pt x="12" y="0"/>
                  </a:lnTo>
                  <a:lnTo>
                    <a:pt x="5461" y="48158"/>
                  </a:lnTo>
                  <a:lnTo>
                    <a:pt x="18859" y="93421"/>
                  </a:lnTo>
                  <a:lnTo>
                    <a:pt x="39471" y="135051"/>
                  </a:lnTo>
                  <a:lnTo>
                    <a:pt x="66573" y="172300"/>
                  </a:lnTo>
                  <a:lnTo>
                    <a:pt x="99415" y="204457"/>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36"/>
                  </a:lnTo>
                  <a:lnTo>
                    <a:pt x="481279" y="172720"/>
                  </a:lnTo>
                  <a:lnTo>
                    <a:pt x="508368" y="135623"/>
                  </a:lnTo>
                  <a:lnTo>
                    <a:pt x="529018" y="94157"/>
                  </a:lnTo>
                  <a:lnTo>
                    <a:pt x="542480" y="49060"/>
                  </a:lnTo>
                  <a:lnTo>
                    <a:pt x="548055" y="1079"/>
                  </a:lnTo>
                  <a:close/>
                </a:path>
                <a:path w="548640" h="786764">
                  <a:moveTo>
                    <a:pt x="548093" y="520192"/>
                  </a:moveTo>
                  <a:lnTo>
                    <a:pt x="500380" y="524205"/>
                  </a:lnTo>
                  <a:lnTo>
                    <a:pt x="455853" y="535863"/>
                  </a:lnTo>
                  <a:lnTo>
                    <a:pt x="414616" y="554456"/>
                  </a:lnTo>
                  <a:lnTo>
                    <a:pt x="377355" y="579335"/>
                  </a:lnTo>
                  <a:lnTo>
                    <a:pt x="344728" y="609790"/>
                  </a:lnTo>
                  <a:lnTo>
                    <a:pt x="317411" y="645172"/>
                  </a:lnTo>
                  <a:lnTo>
                    <a:pt x="296087" y="684784"/>
                  </a:lnTo>
                  <a:lnTo>
                    <a:pt x="281419" y="727976"/>
                  </a:lnTo>
                  <a:lnTo>
                    <a:pt x="274091" y="774039"/>
                  </a:lnTo>
                  <a:lnTo>
                    <a:pt x="266928" y="727811"/>
                  </a:lnTo>
                  <a:lnTo>
                    <a:pt x="252374" y="684441"/>
                  </a:lnTo>
                  <a:lnTo>
                    <a:pt x="231101" y="644652"/>
                  </a:lnTo>
                  <a:lnTo>
                    <a:pt x="203809" y="609117"/>
                  </a:lnTo>
                  <a:lnTo>
                    <a:pt x="171170" y="578510"/>
                  </a:lnTo>
                  <a:lnTo>
                    <a:pt x="133858" y="553529"/>
                  </a:lnTo>
                  <a:lnTo>
                    <a:pt x="115163" y="545084"/>
                  </a:lnTo>
                  <a:lnTo>
                    <a:pt x="92544" y="534847"/>
                  </a:lnTo>
                  <a:lnTo>
                    <a:pt x="47929" y="523138"/>
                  </a:lnTo>
                  <a:lnTo>
                    <a:pt x="0" y="519061"/>
                  </a:lnTo>
                  <a:lnTo>
                    <a:pt x="5448" y="567245"/>
                  </a:lnTo>
                  <a:lnTo>
                    <a:pt x="18846" y="612508"/>
                  </a:lnTo>
                  <a:lnTo>
                    <a:pt x="39458" y="654138"/>
                  </a:lnTo>
                  <a:lnTo>
                    <a:pt x="66560" y="691388"/>
                  </a:lnTo>
                  <a:lnTo>
                    <a:pt x="67259" y="692073"/>
                  </a:lnTo>
                  <a:lnTo>
                    <a:pt x="99402" y="723544"/>
                  </a:lnTo>
                  <a:lnTo>
                    <a:pt x="125717" y="741832"/>
                  </a:lnTo>
                  <a:lnTo>
                    <a:pt x="137261" y="749858"/>
                  </a:lnTo>
                  <a:lnTo>
                    <a:pt x="179387" y="769594"/>
                  </a:lnTo>
                  <a:lnTo>
                    <a:pt x="225056" y="782015"/>
                  </a:lnTo>
                  <a:lnTo>
                    <a:pt x="273532" y="786384"/>
                  </a:lnTo>
                  <a:lnTo>
                    <a:pt x="274764" y="786384"/>
                  </a:lnTo>
                  <a:lnTo>
                    <a:pt x="323100" y="782027"/>
                  </a:lnTo>
                  <a:lnTo>
                    <a:pt x="368655" y="769670"/>
                  </a:lnTo>
                  <a:lnTo>
                    <a:pt x="410692" y="750023"/>
                  </a:lnTo>
                  <a:lnTo>
                    <a:pt x="448475" y="723823"/>
                  </a:lnTo>
                  <a:lnTo>
                    <a:pt x="449287" y="723023"/>
                  </a:lnTo>
                  <a:lnTo>
                    <a:pt x="481279" y="691807"/>
                  </a:lnTo>
                  <a:lnTo>
                    <a:pt x="508393" y="654697"/>
                  </a:lnTo>
                  <a:lnTo>
                    <a:pt x="529043" y="613244"/>
                  </a:lnTo>
                  <a:lnTo>
                    <a:pt x="542531" y="568172"/>
                  </a:lnTo>
                  <a:lnTo>
                    <a:pt x="548093" y="520192"/>
                  </a:lnTo>
                  <a:close/>
                </a:path>
              </a:pathLst>
            </a:custGeom>
            <a:solidFill>
              <a:srgbClr val="7ED3F1"/>
            </a:solidFill>
          </p:spPr>
          <p:txBody>
            <a:bodyPr wrap="square" lIns="0" tIns="0" rIns="0" bIns="0" rtlCol="0"/>
            <a:lstStyle/>
            <a:p>
              <a:endParaRPr dirty="0"/>
            </a:p>
          </p:txBody>
        </p:sp>
        <p:pic>
          <p:nvPicPr>
            <p:cNvPr id="145" name="object 143">
              <a:extLst>
                <a:ext uri="{FF2B5EF4-FFF2-40B4-BE49-F238E27FC236}">
                  <a16:creationId xmlns:a16="http://schemas.microsoft.com/office/drawing/2014/main" id="{F00DCDCC-22D3-9534-FAAA-295C7318D16D}"/>
                </a:ext>
              </a:extLst>
            </p:cNvPr>
            <p:cNvPicPr/>
            <p:nvPr/>
          </p:nvPicPr>
          <p:blipFill>
            <a:blip r:embed="rId11" cstate="print"/>
            <a:stretch>
              <a:fillRect/>
            </a:stretch>
          </p:blipFill>
          <p:spPr>
            <a:xfrm>
              <a:off x="11561989" y="1372599"/>
              <a:ext cx="106445" cy="107156"/>
            </a:xfrm>
            <a:prstGeom prst="rect">
              <a:avLst/>
            </a:prstGeom>
          </p:spPr>
        </p:pic>
        <p:sp>
          <p:nvSpPr>
            <p:cNvPr id="146" name="object 144">
              <a:extLst>
                <a:ext uri="{FF2B5EF4-FFF2-40B4-BE49-F238E27FC236}">
                  <a16:creationId xmlns:a16="http://schemas.microsoft.com/office/drawing/2014/main" id="{6F044675-C36B-6CBA-ED6A-BFFAC41963B0}"/>
                </a:ext>
              </a:extLst>
            </p:cNvPr>
            <p:cNvSpPr/>
            <p:nvPr/>
          </p:nvSpPr>
          <p:spPr>
            <a:xfrm>
              <a:off x="11449331" y="3421088"/>
              <a:ext cx="332700" cy="477101"/>
            </a:xfrm>
            <a:custGeom>
              <a:avLst/>
              <a:gdLst/>
              <a:ahLst/>
              <a:cxnLst/>
              <a:rect l="l" t="t" r="r" b="b"/>
              <a:pathLst>
                <a:path w="548640" h="786764">
                  <a:moveTo>
                    <a:pt x="548055" y="266611"/>
                  </a:moveTo>
                  <a:lnTo>
                    <a:pt x="500380" y="270637"/>
                  </a:lnTo>
                  <a:lnTo>
                    <a:pt x="455853" y="282295"/>
                  </a:lnTo>
                  <a:lnTo>
                    <a:pt x="414616" y="300901"/>
                  </a:lnTo>
                  <a:lnTo>
                    <a:pt x="377355" y="325767"/>
                  </a:lnTo>
                  <a:lnTo>
                    <a:pt x="344728" y="356235"/>
                  </a:lnTo>
                  <a:lnTo>
                    <a:pt x="317423" y="391617"/>
                  </a:lnTo>
                  <a:lnTo>
                    <a:pt x="296100" y="431241"/>
                  </a:lnTo>
                  <a:lnTo>
                    <a:pt x="281432" y="474433"/>
                  </a:lnTo>
                  <a:lnTo>
                    <a:pt x="274104" y="520522"/>
                  </a:lnTo>
                  <a:lnTo>
                    <a:pt x="266928" y="474256"/>
                  </a:lnTo>
                  <a:lnTo>
                    <a:pt x="252374" y="430885"/>
                  </a:lnTo>
                  <a:lnTo>
                    <a:pt x="231101" y="391083"/>
                  </a:lnTo>
                  <a:lnTo>
                    <a:pt x="203809" y="355549"/>
                  </a:lnTo>
                  <a:lnTo>
                    <a:pt x="171170" y="324954"/>
                  </a:lnTo>
                  <a:lnTo>
                    <a:pt x="133858" y="299974"/>
                  </a:lnTo>
                  <a:lnTo>
                    <a:pt x="92544" y="281292"/>
                  </a:lnTo>
                  <a:lnTo>
                    <a:pt x="47929" y="269582"/>
                  </a:lnTo>
                  <a:lnTo>
                    <a:pt x="12" y="265531"/>
                  </a:lnTo>
                  <a:lnTo>
                    <a:pt x="5461" y="313690"/>
                  </a:lnTo>
                  <a:lnTo>
                    <a:pt x="18859" y="358952"/>
                  </a:lnTo>
                  <a:lnTo>
                    <a:pt x="39471" y="400570"/>
                  </a:lnTo>
                  <a:lnTo>
                    <a:pt x="66573" y="437832"/>
                  </a:lnTo>
                  <a:lnTo>
                    <a:pt x="99415" y="469976"/>
                  </a:lnTo>
                  <a:lnTo>
                    <a:pt x="137261" y="496290"/>
                  </a:lnTo>
                  <a:lnTo>
                    <a:pt x="179387" y="516026"/>
                  </a:lnTo>
                  <a:lnTo>
                    <a:pt x="225056" y="528447"/>
                  </a:lnTo>
                  <a:lnTo>
                    <a:pt x="273532" y="532828"/>
                  </a:lnTo>
                  <a:lnTo>
                    <a:pt x="274764" y="532828"/>
                  </a:lnTo>
                  <a:lnTo>
                    <a:pt x="323100" y="528472"/>
                  </a:lnTo>
                  <a:lnTo>
                    <a:pt x="368655" y="516102"/>
                  </a:lnTo>
                  <a:lnTo>
                    <a:pt x="410692" y="496455"/>
                  </a:lnTo>
                  <a:lnTo>
                    <a:pt x="448475" y="470255"/>
                  </a:lnTo>
                  <a:lnTo>
                    <a:pt x="481279" y="438251"/>
                  </a:lnTo>
                  <a:lnTo>
                    <a:pt x="508368" y="401142"/>
                  </a:lnTo>
                  <a:lnTo>
                    <a:pt x="529018" y="359689"/>
                  </a:lnTo>
                  <a:lnTo>
                    <a:pt x="542480" y="314591"/>
                  </a:lnTo>
                  <a:lnTo>
                    <a:pt x="548055" y="266611"/>
                  </a:lnTo>
                  <a:close/>
                </a:path>
                <a:path w="548640" h="786764">
                  <a:moveTo>
                    <a:pt x="548055" y="1079"/>
                  </a:moveTo>
                  <a:lnTo>
                    <a:pt x="500380" y="5118"/>
                  </a:lnTo>
                  <a:lnTo>
                    <a:pt x="455853" y="16764"/>
                  </a:lnTo>
                  <a:lnTo>
                    <a:pt x="414616" y="35369"/>
                  </a:lnTo>
                  <a:lnTo>
                    <a:pt x="377355" y="60236"/>
                  </a:lnTo>
                  <a:lnTo>
                    <a:pt x="344728" y="90703"/>
                  </a:lnTo>
                  <a:lnTo>
                    <a:pt x="317423" y="126085"/>
                  </a:lnTo>
                  <a:lnTo>
                    <a:pt x="296100" y="165709"/>
                  </a:lnTo>
                  <a:lnTo>
                    <a:pt x="281432" y="208915"/>
                  </a:lnTo>
                  <a:lnTo>
                    <a:pt x="274104" y="254990"/>
                  </a:lnTo>
                  <a:lnTo>
                    <a:pt x="266928" y="208724"/>
                  </a:lnTo>
                  <a:lnTo>
                    <a:pt x="252374" y="165354"/>
                  </a:lnTo>
                  <a:lnTo>
                    <a:pt x="231101" y="125552"/>
                  </a:lnTo>
                  <a:lnTo>
                    <a:pt x="203809" y="90017"/>
                  </a:lnTo>
                  <a:lnTo>
                    <a:pt x="171170" y="59423"/>
                  </a:lnTo>
                  <a:lnTo>
                    <a:pt x="133858" y="34442"/>
                  </a:lnTo>
                  <a:lnTo>
                    <a:pt x="92544" y="15760"/>
                  </a:lnTo>
                  <a:lnTo>
                    <a:pt x="47929" y="4051"/>
                  </a:lnTo>
                  <a:lnTo>
                    <a:pt x="12" y="0"/>
                  </a:lnTo>
                  <a:lnTo>
                    <a:pt x="5461" y="48158"/>
                  </a:lnTo>
                  <a:lnTo>
                    <a:pt x="18859" y="93421"/>
                  </a:lnTo>
                  <a:lnTo>
                    <a:pt x="39471" y="135051"/>
                  </a:lnTo>
                  <a:lnTo>
                    <a:pt x="66573" y="172300"/>
                  </a:lnTo>
                  <a:lnTo>
                    <a:pt x="99415" y="204457"/>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36"/>
                  </a:lnTo>
                  <a:lnTo>
                    <a:pt x="481279" y="172720"/>
                  </a:lnTo>
                  <a:lnTo>
                    <a:pt x="508368" y="135623"/>
                  </a:lnTo>
                  <a:lnTo>
                    <a:pt x="529018" y="94157"/>
                  </a:lnTo>
                  <a:lnTo>
                    <a:pt x="542480" y="49072"/>
                  </a:lnTo>
                  <a:lnTo>
                    <a:pt x="548055" y="1079"/>
                  </a:lnTo>
                  <a:close/>
                </a:path>
                <a:path w="548640" h="786764">
                  <a:moveTo>
                    <a:pt x="548093" y="520192"/>
                  </a:moveTo>
                  <a:lnTo>
                    <a:pt x="500380" y="524217"/>
                  </a:lnTo>
                  <a:lnTo>
                    <a:pt x="455853" y="535863"/>
                  </a:lnTo>
                  <a:lnTo>
                    <a:pt x="414616" y="554469"/>
                  </a:lnTo>
                  <a:lnTo>
                    <a:pt x="377355" y="579335"/>
                  </a:lnTo>
                  <a:lnTo>
                    <a:pt x="344728" y="609790"/>
                  </a:lnTo>
                  <a:lnTo>
                    <a:pt x="317411" y="645172"/>
                  </a:lnTo>
                  <a:lnTo>
                    <a:pt x="296087" y="684784"/>
                  </a:lnTo>
                  <a:lnTo>
                    <a:pt x="281419" y="727976"/>
                  </a:lnTo>
                  <a:lnTo>
                    <a:pt x="274091" y="774039"/>
                  </a:lnTo>
                  <a:lnTo>
                    <a:pt x="266928" y="727811"/>
                  </a:lnTo>
                  <a:lnTo>
                    <a:pt x="252374" y="684441"/>
                  </a:lnTo>
                  <a:lnTo>
                    <a:pt x="231101" y="644652"/>
                  </a:lnTo>
                  <a:lnTo>
                    <a:pt x="203809" y="609117"/>
                  </a:lnTo>
                  <a:lnTo>
                    <a:pt x="186956" y="593318"/>
                  </a:lnTo>
                  <a:lnTo>
                    <a:pt x="171170" y="578510"/>
                  </a:lnTo>
                  <a:lnTo>
                    <a:pt x="146177" y="561784"/>
                  </a:lnTo>
                  <a:lnTo>
                    <a:pt x="133858" y="553529"/>
                  </a:lnTo>
                  <a:lnTo>
                    <a:pt x="92544" y="534847"/>
                  </a:lnTo>
                  <a:lnTo>
                    <a:pt x="47929" y="523138"/>
                  </a:lnTo>
                  <a:lnTo>
                    <a:pt x="0" y="519061"/>
                  </a:lnTo>
                  <a:lnTo>
                    <a:pt x="5448" y="567232"/>
                  </a:lnTo>
                  <a:lnTo>
                    <a:pt x="18846" y="612508"/>
                  </a:lnTo>
                  <a:lnTo>
                    <a:pt x="39458" y="654138"/>
                  </a:lnTo>
                  <a:lnTo>
                    <a:pt x="66560" y="691388"/>
                  </a:lnTo>
                  <a:lnTo>
                    <a:pt x="99415" y="723544"/>
                  </a:lnTo>
                  <a:lnTo>
                    <a:pt x="137261" y="749858"/>
                  </a:lnTo>
                  <a:lnTo>
                    <a:pt x="179387" y="769594"/>
                  </a:lnTo>
                  <a:lnTo>
                    <a:pt x="225056" y="782015"/>
                  </a:lnTo>
                  <a:lnTo>
                    <a:pt x="273532" y="786384"/>
                  </a:lnTo>
                  <a:lnTo>
                    <a:pt x="274764" y="786384"/>
                  </a:lnTo>
                  <a:lnTo>
                    <a:pt x="323100" y="782027"/>
                  </a:lnTo>
                  <a:lnTo>
                    <a:pt x="368655" y="769670"/>
                  </a:lnTo>
                  <a:lnTo>
                    <a:pt x="410692" y="750023"/>
                  </a:lnTo>
                  <a:lnTo>
                    <a:pt x="448475" y="723823"/>
                  </a:lnTo>
                  <a:lnTo>
                    <a:pt x="481279" y="691819"/>
                  </a:lnTo>
                  <a:lnTo>
                    <a:pt x="508393" y="654697"/>
                  </a:lnTo>
                  <a:lnTo>
                    <a:pt x="529043"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147" name="object 145">
              <a:extLst>
                <a:ext uri="{FF2B5EF4-FFF2-40B4-BE49-F238E27FC236}">
                  <a16:creationId xmlns:a16="http://schemas.microsoft.com/office/drawing/2014/main" id="{466E1805-F429-5E3B-438F-2EB2BD3F9296}"/>
                </a:ext>
              </a:extLst>
            </p:cNvPr>
            <p:cNvPicPr/>
            <p:nvPr/>
          </p:nvPicPr>
          <p:blipFill>
            <a:blip r:embed="rId10" cstate="print"/>
            <a:stretch>
              <a:fillRect/>
            </a:stretch>
          </p:blipFill>
          <p:spPr>
            <a:xfrm>
              <a:off x="11561989" y="3335097"/>
              <a:ext cx="106445" cy="107156"/>
            </a:xfrm>
            <a:prstGeom prst="rect">
              <a:avLst/>
            </a:prstGeom>
          </p:spPr>
        </p:pic>
        <p:sp>
          <p:nvSpPr>
            <p:cNvPr id="148" name="object 146">
              <a:extLst>
                <a:ext uri="{FF2B5EF4-FFF2-40B4-BE49-F238E27FC236}">
                  <a16:creationId xmlns:a16="http://schemas.microsoft.com/office/drawing/2014/main" id="{B1D96D72-ACA7-E5BE-5433-6FACB8BE8686}"/>
                </a:ext>
              </a:extLst>
            </p:cNvPr>
            <p:cNvSpPr/>
            <p:nvPr/>
          </p:nvSpPr>
          <p:spPr>
            <a:xfrm>
              <a:off x="11449331" y="2766918"/>
              <a:ext cx="332700" cy="477101"/>
            </a:xfrm>
            <a:custGeom>
              <a:avLst/>
              <a:gdLst/>
              <a:ahLst/>
              <a:cxnLst/>
              <a:rect l="l" t="t" r="r" b="b"/>
              <a:pathLst>
                <a:path w="548640" h="786764">
                  <a:moveTo>
                    <a:pt x="548055" y="266611"/>
                  </a:moveTo>
                  <a:lnTo>
                    <a:pt x="500380" y="270649"/>
                  </a:lnTo>
                  <a:lnTo>
                    <a:pt x="455853" y="282308"/>
                  </a:lnTo>
                  <a:lnTo>
                    <a:pt x="414616" y="300901"/>
                  </a:lnTo>
                  <a:lnTo>
                    <a:pt x="377355" y="325780"/>
                  </a:lnTo>
                  <a:lnTo>
                    <a:pt x="344728" y="356247"/>
                  </a:lnTo>
                  <a:lnTo>
                    <a:pt x="317423" y="391629"/>
                  </a:lnTo>
                  <a:lnTo>
                    <a:pt x="296100" y="431253"/>
                  </a:lnTo>
                  <a:lnTo>
                    <a:pt x="281432" y="474446"/>
                  </a:lnTo>
                  <a:lnTo>
                    <a:pt x="274104" y="520534"/>
                  </a:lnTo>
                  <a:lnTo>
                    <a:pt x="266928" y="474256"/>
                  </a:lnTo>
                  <a:lnTo>
                    <a:pt x="252374" y="430885"/>
                  </a:lnTo>
                  <a:lnTo>
                    <a:pt x="231101" y="391096"/>
                  </a:lnTo>
                  <a:lnTo>
                    <a:pt x="203809" y="355561"/>
                  </a:lnTo>
                  <a:lnTo>
                    <a:pt x="171170" y="324967"/>
                  </a:lnTo>
                  <a:lnTo>
                    <a:pt x="133858" y="299986"/>
                  </a:lnTo>
                  <a:lnTo>
                    <a:pt x="92544" y="281292"/>
                  </a:lnTo>
                  <a:lnTo>
                    <a:pt x="47929" y="269582"/>
                  </a:lnTo>
                  <a:lnTo>
                    <a:pt x="12" y="265531"/>
                  </a:lnTo>
                  <a:lnTo>
                    <a:pt x="5461" y="313702"/>
                  </a:lnTo>
                  <a:lnTo>
                    <a:pt x="18859" y="358952"/>
                  </a:lnTo>
                  <a:lnTo>
                    <a:pt x="39471" y="400583"/>
                  </a:lnTo>
                  <a:lnTo>
                    <a:pt x="66573" y="437845"/>
                  </a:lnTo>
                  <a:lnTo>
                    <a:pt x="99415" y="469988"/>
                  </a:lnTo>
                  <a:lnTo>
                    <a:pt x="137261" y="496303"/>
                  </a:lnTo>
                  <a:lnTo>
                    <a:pt x="179387" y="516039"/>
                  </a:lnTo>
                  <a:lnTo>
                    <a:pt x="225056" y="528459"/>
                  </a:lnTo>
                  <a:lnTo>
                    <a:pt x="273532" y="532841"/>
                  </a:lnTo>
                  <a:lnTo>
                    <a:pt x="274764" y="532841"/>
                  </a:lnTo>
                  <a:lnTo>
                    <a:pt x="323100" y="528485"/>
                  </a:lnTo>
                  <a:lnTo>
                    <a:pt x="368655" y="516115"/>
                  </a:lnTo>
                  <a:lnTo>
                    <a:pt x="410692" y="496468"/>
                  </a:lnTo>
                  <a:lnTo>
                    <a:pt x="448475" y="470268"/>
                  </a:lnTo>
                  <a:lnTo>
                    <a:pt x="481279" y="438264"/>
                  </a:lnTo>
                  <a:lnTo>
                    <a:pt x="508368" y="401154"/>
                  </a:lnTo>
                  <a:lnTo>
                    <a:pt x="529018" y="359689"/>
                  </a:lnTo>
                  <a:lnTo>
                    <a:pt x="542480" y="314604"/>
                  </a:lnTo>
                  <a:lnTo>
                    <a:pt x="548055" y="266611"/>
                  </a:lnTo>
                  <a:close/>
                </a:path>
                <a:path w="548640" h="786764">
                  <a:moveTo>
                    <a:pt x="548055" y="1079"/>
                  </a:moveTo>
                  <a:lnTo>
                    <a:pt x="500380" y="5118"/>
                  </a:lnTo>
                  <a:lnTo>
                    <a:pt x="455853" y="16776"/>
                  </a:lnTo>
                  <a:lnTo>
                    <a:pt x="414616" y="35369"/>
                  </a:lnTo>
                  <a:lnTo>
                    <a:pt x="377355" y="60248"/>
                  </a:lnTo>
                  <a:lnTo>
                    <a:pt x="344728" y="90716"/>
                  </a:lnTo>
                  <a:lnTo>
                    <a:pt x="317423" y="126098"/>
                  </a:lnTo>
                  <a:lnTo>
                    <a:pt x="296100" y="165722"/>
                  </a:lnTo>
                  <a:lnTo>
                    <a:pt x="281432" y="208915"/>
                  </a:lnTo>
                  <a:lnTo>
                    <a:pt x="274104" y="255003"/>
                  </a:lnTo>
                  <a:lnTo>
                    <a:pt x="266928" y="208724"/>
                  </a:lnTo>
                  <a:lnTo>
                    <a:pt x="252374" y="165354"/>
                  </a:lnTo>
                  <a:lnTo>
                    <a:pt x="231101" y="125564"/>
                  </a:lnTo>
                  <a:lnTo>
                    <a:pt x="203809" y="90030"/>
                  </a:lnTo>
                  <a:lnTo>
                    <a:pt x="171170" y="59436"/>
                  </a:lnTo>
                  <a:lnTo>
                    <a:pt x="133858" y="34455"/>
                  </a:lnTo>
                  <a:lnTo>
                    <a:pt x="92544" y="15773"/>
                  </a:lnTo>
                  <a:lnTo>
                    <a:pt x="47929" y="4064"/>
                  </a:lnTo>
                  <a:lnTo>
                    <a:pt x="12" y="0"/>
                  </a:lnTo>
                  <a:lnTo>
                    <a:pt x="5461" y="48171"/>
                  </a:lnTo>
                  <a:lnTo>
                    <a:pt x="18859" y="93433"/>
                  </a:lnTo>
                  <a:lnTo>
                    <a:pt x="39471" y="135051"/>
                  </a:lnTo>
                  <a:lnTo>
                    <a:pt x="66573" y="172313"/>
                  </a:lnTo>
                  <a:lnTo>
                    <a:pt x="99415" y="204457"/>
                  </a:lnTo>
                  <a:lnTo>
                    <a:pt x="137261" y="230771"/>
                  </a:lnTo>
                  <a:lnTo>
                    <a:pt x="179387" y="250507"/>
                  </a:lnTo>
                  <a:lnTo>
                    <a:pt x="225056" y="262928"/>
                  </a:lnTo>
                  <a:lnTo>
                    <a:pt x="273532" y="267309"/>
                  </a:lnTo>
                  <a:lnTo>
                    <a:pt x="274764" y="267309"/>
                  </a:lnTo>
                  <a:lnTo>
                    <a:pt x="323100" y="262953"/>
                  </a:lnTo>
                  <a:lnTo>
                    <a:pt x="368655" y="250583"/>
                  </a:lnTo>
                  <a:lnTo>
                    <a:pt x="410692" y="230936"/>
                  </a:lnTo>
                  <a:lnTo>
                    <a:pt x="448475" y="204749"/>
                  </a:lnTo>
                  <a:lnTo>
                    <a:pt x="481279" y="172732"/>
                  </a:lnTo>
                  <a:lnTo>
                    <a:pt x="508368" y="135623"/>
                  </a:lnTo>
                  <a:lnTo>
                    <a:pt x="529018" y="94157"/>
                  </a:lnTo>
                  <a:lnTo>
                    <a:pt x="542480" y="49072"/>
                  </a:lnTo>
                  <a:lnTo>
                    <a:pt x="548055" y="1079"/>
                  </a:lnTo>
                  <a:close/>
                </a:path>
                <a:path w="548640" h="786764">
                  <a:moveTo>
                    <a:pt x="548093" y="520204"/>
                  </a:moveTo>
                  <a:lnTo>
                    <a:pt x="500380" y="524205"/>
                  </a:lnTo>
                  <a:lnTo>
                    <a:pt x="455853" y="535863"/>
                  </a:lnTo>
                  <a:lnTo>
                    <a:pt x="414616" y="554469"/>
                  </a:lnTo>
                  <a:lnTo>
                    <a:pt x="377355" y="579335"/>
                  </a:lnTo>
                  <a:lnTo>
                    <a:pt x="344728" y="609803"/>
                  </a:lnTo>
                  <a:lnTo>
                    <a:pt x="317411" y="645172"/>
                  </a:lnTo>
                  <a:lnTo>
                    <a:pt x="296087" y="684796"/>
                  </a:lnTo>
                  <a:lnTo>
                    <a:pt x="281419" y="727989"/>
                  </a:lnTo>
                  <a:lnTo>
                    <a:pt x="274091" y="774039"/>
                  </a:lnTo>
                  <a:lnTo>
                    <a:pt x="266928" y="727824"/>
                  </a:lnTo>
                  <a:lnTo>
                    <a:pt x="252374" y="684453"/>
                  </a:lnTo>
                  <a:lnTo>
                    <a:pt x="231101" y="644652"/>
                  </a:lnTo>
                  <a:lnTo>
                    <a:pt x="203809" y="609117"/>
                  </a:lnTo>
                  <a:lnTo>
                    <a:pt x="171170" y="578523"/>
                  </a:lnTo>
                  <a:lnTo>
                    <a:pt x="146177" y="561797"/>
                  </a:lnTo>
                  <a:lnTo>
                    <a:pt x="133858" y="553542"/>
                  </a:lnTo>
                  <a:lnTo>
                    <a:pt x="92532" y="534835"/>
                  </a:lnTo>
                  <a:lnTo>
                    <a:pt x="47917" y="523125"/>
                  </a:lnTo>
                  <a:lnTo>
                    <a:pt x="0" y="519074"/>
                  </a:lnTo>
                  <a:lnTo>
                    <a:pt x="5448" y="567245"/>
                  </a:lnTo>
                  <a:lnTo>
                    <a:pt x="18846" y="612508"/>
                  </a:lnTo>
                  <a:lnTo>
                    <a:pt x="39458" y="654138"/>
                  </a:lnTo>
                  <a:lnTo>
                    <a:pt x="66560" y="691400"/>
                  </a:lnTo>
                  <a:lnTo>
                    <a:pt x="98717" y="722884"/>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149" name="object 147">
              <a:extLst>
                <a:ext uri="{FF2B5EF4-FFF2-40B4-BE49-F238E27FC236}">
                  <a16:creationId xmlns:a16="http://schemas.microsoft.com/office/drawing/2014/main" id="{665CBAE8-F00E-DC15-FB2B-42BEF64CC28E}"/>
                </a:ext>
              </a:extLst>
            </p:cNvPr>
            <p:cNvPicPr/>
            <p:nvPr/>
          </p:nvPicPr>
          <p:blipFill>
            <a:blip r:embed="rId11" cstate="print"/>
            <a:stretch>
              <a:fillRect/>
            </a:stretch>
          </p:blipFill>
          <p:spPr>
            <a:xfrm>
              <a:off x="11561989" y="2680931"/>
              <a:ext cx="106445" cy="107156"/>
            </a:xfrm>
            <a:prstGeom prst="rect">
              <a:avLst/>
            </a:prstGeom>
          </p:spPr>
        </p:pic>
        <p:sp>
          <p:nvSpPr>
            <p:cNvPr id="150" name="object 148">
              <a:extLst>
                <a:ext uri="{FF2B5EF4-FFF2-40B4-BE49-F238E27FC236}">
                  <a16:creationId xmlns:a16="http://schemas.microsoft.com/office/drawing/2014/main" id="{32942474-BEF8-F091-CCCA-F9E7B86B795A}"/>
                </a:ext>
              </a:extLst>
            </p:cNvPr>
            <p:cNvSpPr/>
            <p:nvPr/>
          </p:nvSpPr>
          <p:spPr>
            <a:xfrm>
              <a:off x="11449331" y="4729423"/>
              <a:ext cx="332700" cy="477101"/>
            </a:xfrm>
            <a:custGeom>
              <a:avLst/>
              <a:gdLst/>
              <a:ahLst/>
              <a:cxnLst/>
              <a:rect l="l" t="t" r="r" b="b"/>
              <a:pathLst>
                <a:path w="548640" h="786765">
                  <a:moveTo>
                    <a:pt x="548055" y="266611"/>
                  </a:moveTo>
                  <a:lnTo>
                    <a:pt x="500380" y="270649"/>
                  </a:lnTo>
                  <a:lnTo>
                    <a:pt x="455853" y="282308"/>
                  </a:lnTo>
                  <a:lnTo>
                    <a:pt x="414616" y="300901"/>
                  </a:lnTo>
                  <a:lnTo>
                    <a:pt x="377355" y="325767"/>
                  </a:lnTo>
                  <a:lnTo>
                    <a:pt x="344728" y="356235"/>
                  </a:lnTo>
                  <a:lnTo>
                    <a:pt x="317423" y="391617"/>
                  </a:lnTo>
                  <a:lnTo>
                    <a:pt x="296100" y="431241"/>
                  </a:lnTo>
                  <a:lnTo>
                    <a:pt x="281432" y="474433"/>
                  </a:lnTo>
                  <a:lnTo>
                    <a:pt x="274104" y="520522"/>
                  </a:lnTo>
                  <a:lnTo>
                    <a:pt x="266928" y="474243"/>
                  </a:lnTo>
                  <a:lnTo>
                    <a:pt x="252374" y="430872"/>
                  </a:lnTo>
                  <a:lnTo>
                    <a:pt x="231101" y="391083"/>
                  </a:lnTo>
                  <a:lnTo>
                    <a:pt x="203809" y="355549"/>
                  </a:lnTo>
                  <a:lnTo>
                    <a:pt x="171170" y="324954"/>
                  </a:lnTo>
                  <a:lnTo>
                    <a:pt x="133858" y="299974"/>
                  </a:lnTo>
                  <a:lnTo>
                    <a:pt x="92544" y="281292"/>
                  </a:lnTo>
                  <a:lnTo>
                    <a:pt x="47929" y="269582"/>
                  </a:lnTo>
                  <a:lnTo>
                    <a:pt x="12" y="265518"/>
                  </a:lnTo>
                  <a:lnTo>
                    <a:pt x="5461" y="313690"/>
                  </a:lnTo>
                  <a:lnTo>
                    <a:pt x="18859" y="358952"/>
                  </a:lnTo>
                  <a:lnTo>
                    <a:pt x="39471" y="400570"/>
                  </a:lnTo>
                  <a:lnTo>
                    <a:pt x="66573" y="437832"/>
                  </a:lnTo>
                  <a:lnTo>
                    <a:pt x="99415" y="469976"/>
                  </a:lnTo>
                  <a:lnTo>
                    <a:pt x="137261" y="496290"/>
                  </a:lnTo>
                  <a:lnTo>
                    <a:pt x="179387" y="516026"/>
                  </a:lnTo>
                  <a:lnTo>
                    <a:pt x="225056" y="528447"/>
                  </a:lnTo>
                  <a:lnTo>
                    <a:pt x="273532" y="532828"/>
                  </a:lnTo>
                  <a:lnTo>
                    <a:pt x="274764" y="532828"/>
                  </a:lnTo>
                  <a:lnTo>
                    <a:pt x="323100" y="528472"/>
                  </a:lnTo>
                  <a:lnTo>
                    <a:pt x="368655" y="516102"/>
                  </a:lnTo>
                  <a:lnTo>
                    <a:pt x="410692" y="496455"/>
                  </a:lnTo>
                  <a:lnTo>
                    <a:pt x="448475" y="470268"/>
                  </a:lnTo>
                  <a:lnTo>
                    <a:pt x="481279" y="438251"/>
                  </a:lnTo>
                  <a:lnTo>
                    <a:pt x="508368" y="401154"/>
                  </a:lnTo>
                  <a:lnTo>
                    <a:pt x="529018" y="359689"/>
                  </a:lnTo>
                  <a:lnTo>
                    <a:pt x="542480" y="314604"/>
                  </a:lnTo>
                  <a:lnTo>
                    <a:pt x="548055" y="266611"/>
                  </a:lnTo>
                  <a:close/>
                </a:path>
                <a:path w="548640" h="786765">
                  <a:moveTo>
                    <a:pt x="548055" y="1079"/>
                  </a:moveTo>
                  <a:lnTo>
                    <a:pt x="500380" y="5105"/>
                  </a:lnTo>
                  <a:lnTo>
                    <a:pt x="455853" y="16764"/>
                  </a:lnTo>
                  <a:lnTo>
                    <a:pt x="414616" y="35369"/>
                  </a:lnTo>
                  <a:lnTo>
                    <a:pt x="377355" y="60236"/>
                  </a:lnTo>
                  <a:lnTo>
                    <a:pt x="344728" y="90703"/>
                  </a:lnTo>
                  <a:lnTo>
                    <a:pt x="317423" y="126085"/>
                  </a:lnTo>
                  <a:lnTo>
                    <a:pt x="296100" y="165709"/>
                  </a:lnTo>
                  <a:lnTo>
                    <a:pt x="281432" y="208902"/>
                  </a:lnTo>
                  <a:lnTo>
                    <a:pt x="274104" y="254990"/>
                  </a:lnTo>
                  <a:lnTo>
                    <a:pt x="266928" y="208724"/>
                  </a:lnTo>
                  <a:lnTo>
                    <a:pt x="252374" y="165354"/>
                  </a:lnTo>
                  <a:lnTo>
                    <a:pt x="231101" y="125552"/>
                  </a:lnTo>
                  <a:lnTo>
                    <a:pt x="203809" y="90017"/>
                  </a:lnTo>
                  <a:lnTo>
                    <a:pt x="171170" y="59423"/>
                  </a:lnTo>
                  <a:lnTo>
                    <a:pt x="133858" y="34442"/>
                  </a:lnTo>
                  <a:lnTo>
                    <a:pt x="92544" y="15760"/>
                  </a:lnTo>
                  <a:lnTo>
                    <a:pt x="47929" y="4051"/>
                  </a:lnTo>
                  <a:lnTo>
                    <a:pt x="12" y="0"/>
                  </a:lnTo>
                  <a:lnTo>
                    <a:pt x="5461" y="48158"/>
                  </a:lnTo>
                  <a:lnTo>
                    <a:pt x="18859" y="93421"/>
                  </a:lnTo>
                  <a:lnTo>
                    <a:pt x="39471" y="135039"/>
                  </a:lnTo>
                  <a:lnTo>
                    <a:pt x="66573" y="172300"/>
                  </a:lnTo>
                  <a:lnTo>
                    <a:pt x="99415" y="204444"/>
                  </a:lnTo>
                  <a:lnTo>
                    <a:pt x="137261" y="230759"/>
                  </a:lnTo>
                  <a:lnTo>
                    <a:pt x="179387" y="250494"/>
                  </a:lnTo>
                  <a:lnTo>
                    <a:pt x="225056" y="262915"/>
                  </a:lnTo>
                  <a:lnTo>
                    <a:pt x="273532" y="267296"/>
                  </a:lnTo>
                  <a:lnTo>
                    <a:pt x="274764" y="267296"/>
                  </a:lnTo>
                  <a:lnTo>
                    <a:pt x="323100" y="262940"/>
                  </a:lnTo>
                  <a:lnTo>
                    <a:pt x="368655" y="250571"/>
                  </a:lnTo>
                  <a:lnTo>
                    <a:pt x="410692" y="230924"/>
                  </a:lnTo>
                  <a:lnTo>
                    <a:pt x="448475" y="204724"/>
                  </a:lnTo>
                  <a:lnTo>
                    <a:pt x="481279" y="172720"/>
                  </a:lnTo>
                  <a:lnTo>
                    <a:pt x="508368" y="135610"/>
                  </a:lnTo>
                  <a:lnTo>
                    <a:pt x="529018" y="94157"/>
                  </a:lnTo>
                  <a:lnTo>
                    <a:pt x="542480" y="49060"/>
                  </a:lnTo>
                  <a:lnTo>
                    <a:pt x="548055" y="1079"/>
                  </a:lnTo>
                  <a:close/>
                </a:path>
                <a:path w="548640" h="786765">
                  <a:moveTo>
                    <a:pt x="548093" y="520192"/>
                  </a:moveTo>
                  <a:lnTo>
                    <a:pt x="500380" y="524205"/>
                  </a:lnTo>
                  <a:lnTo>
                    <a:pt x="455853" y="535863"/>
                  </a:lnTo>
                  <a:lnTo>
                    <a:pt x="414616" y="554469"/>
                  </a:lnTo>
                  <a:lnTo>
                    <a:pt x="377355" y="579335"/>
                  </a:lnTo>
                  <a:lnTo>
                    <a:pt x="344728" y="609790"/>
                  </a:lnTo>
                  <a:lnTo>
                    <a:pt x="317411" y="645160"/>
                  </a:lnTo>
                  <a:lnTo>
                    <a:pt x="296087" y="684784"/>
                  </a:lnTo>
                  <a:lnTo>
                    <a:pt x="281419" y="727976"/>
                  </a:lnTo>
                  <a:lnTo>
                    <a:pt x="274091" y="774039"/>
                  </a:lnTo>
                  <a:lnTo>
                    <a:pt x="266928" y="727811"/>
                  </a:lnTo>
                  <a:lnTo>
                    <a:pt x="252374" y="684441"/>
                  </a:lnTo>
                  <a:lnTo>
                    <a:pt x="231101" y="644639"/>
                  </a:lnTo>
                  <a:lnTo>
                    <a:pt x="203809" y="609104"/>
                  </a:lnTo>
                  <a:lnTo>
                    <a:pt x="171170" y="578510"/>
                  </a:lnTo>
                  <a:lnTo>
                    <a:pt x="146177" y="561784"/>
                  </a:lnTo>
                  <a:lnTo>
                    <a:pt x="133858" y="553529"/>
                  </a:lnTo>
                  <a:lnTo>
                    <a:pt x="92544" y="534847"/>
                  </a:lnTo>
                  <a:lnTo>
                    <a:pt x="47917" y="523113"/>
                  </a:lnTo>
                  <a:lnTo>
                    <a:pt x="0" y="519061"/>
                  </a:lnTo>
                  <a:lnTo>
                    <a:pt x="5448" y="567232"/>
                  </a:lnTo>
                  <a:lnTo>
                    <a:pt x="18846" y="612508"/>
                  </a:lnTo>
                  <a:lnTo>
                    <a:pt x="39458" y="654126"/>
                  </a:lnTo>
                  <a:lnTo>
                    <a:pt x="66560" y="691388"/>
                  </a:lnTo>
                  <a:lnTo>
                    <a:pt x="98717" y="722871"/>
                  </a:lnTo>
                  <a:lnTo>
                    <a:pt x="137261" y="749858"/>
                  </a:lnTo>
                  <a:lnTo>
                    <a:pt x="179387" y="769581"/>
                  </a:lnTo>
                  <a:lnTo>
                    <a:pt x="225056" y="782015"/>
                  </a:lnTo>
                  <a:lnTo>
                    <a:pt x="273532" y="786384"/>
                  </a:lnTo>
                  <a:lnTo>
                    <a:pt x="274764" y="786384"/>
                  </a:lnTo>
                  <a:lnTo>
                    <a:pt x="323100" y="782027"/>
                  </a:lnTo>
                  <a:lnTo>
                    <a:pt x="368655" y="769670"/>
                  </a:lnTo>
                  <a:lnTo>
                    <a:pt x="410692" y="750023"/>
                  </a:lnTo>
                  <a:lnTo>
                    <a:pt x="448475" y="723823"/>
                  </a:lnTo>
                  <a:lnTo>
                    <a:pt x="449287" y="723023"/>
                  </a:lnTo>
                  <a:lnTo>
                    <a:pt x="481279" y="691807"/>
                  </a:lnTo>
                  <a:lnTo>
                    <a:pt x="508393" y="654697"/>
                  </a:lnTo>
                  <a:lnTo>
                    <a:pt x="529043" y="613244"/>
                  </a:lnTo>
                  <a:lnTo>
                    <a:pt x="542531" y="568172"/>
                  </a:lnTo>
                  <a:lnTo>
                    <a:pt x="548093" y="520192"/>
                  </a:lnTo>
                  <a:close/>
                </a:path>
              </a:pathLst>
            </a:custGeom>
            <a:solidFill>
              <a:srgbClr val="2DB7EA"/>
            </a:solidFill>
          </p:spPr>
          <p:txBody>
            <a:bodyPr wrap="square" lIns="0" tIns="0" rIns="0" bIns="0" rtlCol="0"/>
            <a:lstStyle/>
            <a:p>
              <a:endParaRPr dirty="0"/>
            </a:p>
          </p:txBody>
        </p:sp>
        <p:pic>
          <p:nvPicPr>
            <p:cNvPr id="151" name="object 149">
              <a:extLst>
                <a:ext uri="{FF2B5EF4-FFF2-40B4-BE49-F238E27FC236}">
                  <a16:creationId xmlns:a16="http://schemas.microsoft.com/office/drawing/2014/main" id="{5A3CE6E0-DD39-8384-9DD0-E7FAF6BCD8BB}"/>
                </a:ext>
              </a:extLst>
            </p:cNvPr>
            <p:cNvPicPr/>
            <p:nvPr/>
          </p:nvPicPr>
          <p:blipFill>
            <a:blip r:embed="rId10" cstate="print"/>
            <a:stretch>
              <a:fillRect/>
            </a:stretch>
          </p:blipFill>
          <p:spPr>
            <a:xfrm>
              <a:off x="11561989" y="4643430"/>
              <a:ext cx="106445" cy="107156"/>
            </a:xfrm>
            <a:prstGeom prst="rect">
              <a:avLst/>
            </a:prstGeom>
          </p:spPr>
        </p:pic>
        <p:sp>
          <p:nvSpPr>
            <p:cNvPr id="152" name="object 150">
              <a:extLst>
                <a:ext uri="{FF2B5EF4-FFF2-40B4-BE49-F238E27FC236}">
                  <a16:creationId xmlns:a16="http://schemas.microsoft.com/office/drawing/2014/main" id="{42EE9B28-C709-FA6D-13DF-CA6AB2E7557E}"/>
                </a:ext>
              </a:extLst>
            </p:cNvPr>
            <p:cNvSpPr/>
            <p:nvPr/>
          </p:nvSpPr>
          <p:spPr>
            <a:xfrm>
              <a:off x="11449331" y="4075252"/>
              <a:ext cx="332700" cy="477101"/>
            </a:xfrm>
            <a:custGeom>
              <a:avLst/>
              <a:gdLst/>
              <a:ahLst/>
              <a:cxnLst/>
              <a:rect l="l" t="t" r="r" b="b"/>
              <a:pathLst>
                <a:path w="548640" h="786765">
                  <a:moveTo>
                    <a:pt x="548055" y="266623"/>
                  </a:moveTo>
                  <a:lnTo>
                    <a:pt x="500380" y="270662"/>
                  </a:lnTo>
                  <a:lnTo>
                    <a:pt x="455853" y="282308"/>
                  </a:lnTo>
                  <a:lnTo>
                    <a:pt x="414616" y="300913"/>
                  </a:lnTo>
                  <a:lnTo>
                    <a:pt x="377355" y="325780"/>
                  </a:lnTo>
                  <a:lnTo>
                    <a:pt x="344728" y="356247"/>
                  </a:lnTo>
                  <a:lnTo>
                    <a:pt x="317423" y="391629"/>
                  </a:lnTo>
                  <a:lnTo>
                    <a:pt x="296100" y="431253"/>
                  </a:lnTo>
                  <a:lnTo>
                    <a:pt x="281432" y="474446"/>
                  </a:lnTo>
                  <a:lnTo>
                    <a:pt x="274104" y="520534"/>
                  </a:lnTo>
                  <a:lnTo>
                    <a:pt x="266928" y="474256"/>
                  </a:lnTo>
                  <a:lnTo>
                    <a:pt x="252374" y="430885"/>
                  </a:lnTo>
                  <a:lnTo>
                    <a:pt x="231101" y="391096"/>
                  </a:lnTo>
                  <a:lnTo>
                    <a:pt x="203809" y="355561"/>
                  </a:lnTo>
                  <a:lnTo>
                    <a:pt x="171170" y="324954"/>
                  </a:lnTo>
                  <a:lnTo>
                    <a:pt x="133858" y="299974"/>
                  </a:lnTo>
                  <a:lnTo>
                    <a:pt x="92544" y="281292"/>
                  </a:lnTo>
                  <a:lnTo>
                    <a:pt x="47929" y="269582"/>
                  </a:lnTo>
                  <a:lnTo>
                    <a:pt x="12" y="265531"/>
                  </a:lnTo>
                  <a:lnTo>
                    <a:pt x="5461" y="313690"/>
                  </a:lnTo>
                  <a:lnTo>
                    <a:pt x="18859" y="358952"/>
                  </a:lnTo>
                  <a:lnTo>
                    <a:pt x="39471" y="400583"/>
                  </a:lnTo>
                  <a:lnTo>
                    <a:pt x="66573" y="437832"/>
                  </a:lnTo>
                  <a:lnTo>
                    <a:pt x="99415" y="469988"/>
                  </a:lnTo>
                  <a:lnTo>
                    <a:pt x="137261" y="496303"/>
                  </a:lnTo>
                  <a:lnTo>
                    <a:pt x="179387" y="516039"/>
                  </a:lnTo>
                  <a:lnTo>
                    <a:pt x="225056" y="528459"/>
                  </a:lnTo>
                  <a:lnTo>
                    <a:pt x="273532" y="532828"/>
                  </a:lnTo>
                  <a:lnTo>
                    <a:pt x="274764" y="532828"/>
                  </a:lnTo>
                  <a:lnTo>
                    <a:pt x="323100" y="528472"/>
                  </a:lnTo>
                  <a:lnTo>
                    <a:pt x="368655" y="516115"/>
                  </a:lnTo>
                  <a:lnTo>
                    <a:pt x="410692" y="496468"/>
                  </a:lnTo>
                  <a:lnTo>
                    <a:pt x="448475" y="470268"/>
                  </a:lnTo>
                  <a:lnTo>
                    <a:pt x="481279" y="438264"/>
                  </a:lnTo>
                  <a:lnTo>
                    <a:pt x="508368" y="401154"/>
                  </a:lnTo>
                  <a:lnTo>
                    <a:pt x="529018" y="359702"/>
                  </a:lnTo>
                  <a:lnTo>
                    <a:pt x="542480" y="314604"/>
                  </a:lnTo>
                  <a:lnTo>
                    <a:pt x="548055" y="266623"/>
                  </a:lnTo>
                  <a:close/>
                </a:path>
                <a:path w="548640" h="786765">
                  <a:moveTo>
                    <a:pt x="548055" y="1092"/>
                  </a:moveTo>
                  <a:lnTo>
                    <a:pt x="500380" y="5130"/>
                  </a:lnTo>
                  <a:lnTo>
                    <a:pt x="455853" y="16776"/>
                  </a:lnTo>
                  <a:lnTo>
                    <a:pt x="414616" y="35382"/>
                  </a:lnTo>
                  <a:lnTo>
                    <a:pt x="377355" y="60248"/>
                  </a:lnTo>
                  <a:lnTo>
                    <a:pt x="344728" y="90716"/>
                  </a:lnTo>
                  <a:lnTo>
                    <a:pt x="317423" y="126098"/>
                  </a:lnTo>
                  <a:lnTo>
                    <a:pt x="296100" y="165722"/>
                  </a:lnTo>
                  <a:lnTo>
                    <a:pt x="281432" y="208915"/>
                  </a:lnTo>
                  <a:lnTo>
                    <a:pt x="274104" y="255003"/>
                  </a:lnTo>
                  <a:lnTo>
                    <a:pt x="266928" y="208724"/>
                  </a:lnTo>
                  <a:lnTo>
                    <a:pt x="252374" y="165354"/>
                  </a:lnTo>
                  <a:lnTo>
                    <a:pt x="231101" y="125564"/>
                  </a:lnTo>
                  <a:lnTo>
                    <a:pt x="203809" y="90030"/>
                  </a:lnTo>
                  <a:lnTo>
                    <a:pt x="171170" y="59436"/>
                  </a:lnTo>
                  <a:lnTo>
                    <a:pt x="133858" y="34455"/>
                  </a:lnTo>
                  <a:lnTo>
                    <a:pt x="92544" y="15760"/>
                  </a:lnTo>
                  <a:lnTo>
                    <a:pt x="47929" y="4051"/>
                  </a:lnTo>
                  <a:lnTo>
                    <a:pt x="12" y="0"/>
                  </a:lnTo>
                  <a:lnTo>
                    <a:pt x="5461" y="48158"/>
                  </a:lnTo>
                  <a:lnTo>
                    <a:pt x="18859" y="93421"/>
                  </a:lnTo>
                  <a:lnTo>
                    <a:pt x="39471" y="135051"/>
                  </a:lnTo>
                  <a:lnTo>
                    <a:pt x="66573" y="172300"/>
                  </a:lnTo>
                  <a:lnTo>
                    <a:pt x="99415" y="204457"/>
                  </a:lnTo>
                  <a:lnTo>
                    <a:pt x="137261" y="230771"/>
                  </a:lnTo>
                  <a:lnTo>
                    <a:pt x="179387" y="250494"/>
                  </a:lnTo>
                  <a:lnTo>
                    <a:pt x="225056" y="262928"/>
                  </a:lnTo>
                  <a:lnTo>
                    <a:pt x="273532" y="267309"/>
                  </a:lnTo>
                  <a:lnTo>
                    <a:pt x="274764" y="267309"/>
                  </a:lnTo>
                  <a:lnTo>
                    <a:pt x="323100" y="262940"/>
                  </a:lnTo>
                  <a:lnTo>
                    <a:pt x="368655" y="250583"/>
                  </a:lnTo>
                  <a:lnTo>
                    <a:pt x="410692" y="230936"/>
                  </a:lnTo>
                  <a:lnTo>
                    <a:pt x="448475" y="204736"/>
                  </a:lnTo>
                  <a:lnTo>
                    <a:pt x="481279" y="172720"/>
                  </a:lnTo>
                  <a:lnTo>
                    <a:pt x="508368" y="135623"/>
                  </a:lnTo>
                  <a:lnTo>
                    <a:pt x="529018" y="94170"/>
                  </a:lnTo>
                  <a:lnTo>
                    <a:pt x="542480" y="49072"/>
                  </a:lnTo>
                  <a:lnTo>
                    <a:pt x="548055" y="1092"/>
                  </a:lnTo>
                  <a:close/>
                </a:path>
                <a:path w="548640" h="786765">
                  <a:moveTo>
                    <a:pt x="548093" y="520204"/>
                  </a:moveTo>
                  <a:lnTo>
                    <a:pt x="500380" y="524217"/>
                  </a:lnTo>
                  <a:lnTo>
                    <a:pt x="455853" y="535876"/>
                  </a:lnTo>
                  <a:lnTo>
                    <a:pt x="414616" y="554469"/>
                  </a:lnTo>
                  <a:lnTo>
                    <a:pt x="377355" y="579335"/>
                  </a:lnTo>
                  <a:lnTo>
                    <a:pt x="344728" y="609803"/>
                  </a:lnTo>
                  <a:lnTo>
                    <a:pt x="317411" y="645172"/>
                  </a:lnTo>
                  <a:lnTo>
                    <a:pt x="296087" y="684796"/>
                  </a:lnTo>
                  <a:lnTo>
                    <a:pt x="281419" y="727976"/>
                  </a:lnTo>
                  <a:lnTo>
                    <a:pt x="274091" y="774039"/>
                  </a:lnTo>
                  <a:lnTo>
                    <a:pt x="266928" y="727824"/>
                  </a:lnTo>
                  <a:lnTo>
                    <a:pt x="252374" y="684441"/>
                  </a:lnTo>
                  <a:lnTo>
                    <a:pt x="231101" y="644652"/>
                  </a:lnTo>
                  <a:lnTo>
                    <a:pt x="203809" y="609117"/>
                  </a:lnTo>
                  <a:lnTo>
                    <a:pt x="171170" y="578523"/>
                  </a:lnTo>
                  <a:lnTo>
                    <a:pt x="133858" y="553542"/>
                  </a:lnTo>
                  <a:lnTo>
                    <a:pt x="92532" y="534835"/>
                  </a:lnTo>
                  <a:lnTo>
                    <a:pt x="47917" y="523125"/>
                  </a:lnTo>
                  <a:lnTo>
                    <a:pt x="0" y="519074"/>
                  </a:lnTo>
                  <a:lnTo>
                    <a:pt x="5448" y="567245"/>
                  </a:lnTo>
                  <a:lnTo>
                    <a:pt x="18846" y="612508"/>
                  </a:lnTo>
                  <a:lnTo>
                    <a:pt x="39458" y="654138"/>
                  </a:lnTo>
                  <a:lnTo>
                    <a:pt x="66560" y="691388"/>
                  </a:lnTo>
                  <a:lnTo>
                    <a:pt x="99415" y="723557"/>
                  </a:lnTo>
                  <a:lnTo>
                    <a:pt x="137261" y="749858"/>
                  </a:lnTo>
                  <a:lnTo>
                    <a:pt x="179387" y="769594"/>
                  </a:lnTo>
                  <a:lnTo>
                    <a:pt x="225056" y="782015"/>
                  </a:lnTo>
                  <a:lnTo>
                    <a:pt x="273532" y="786396"/>
                  </a:lnTo>
                  <a:lnTo>
                    <a:pt x="274764" y="786396"/>
                  </a:lnTo>
                  <a:lnTo>
                    <a:pt x="323100" y="782040"/>
                  </a:lnTo>
                  <a:lnTo>
                    <a:pt x="368655" y="769670"/>
                  </a:lnTo>
                  <a:lnTo>
                    <a:pt x="410692" y="750023"/>
                  </a:lnTo>
                  <a:lnTo>
                    <a:pt x="448475" y="723836"/>
                  </a:lnTo>
                  <a:lnTo>
                    <a:pt x="481279" y="691819"/>
                  </a:lnTo>
                  <a:lnTo>
                    <a:pt x="508393" y="654710"/>
                  </a:lnTo>
                  <a:lnTo>
                    <a:pt x="529043" y="613257"/>
                  </a:lnTo>
                  <a:lnTo>
                    <a:pt x="542531" y="568172"/>
                  </a:lnTo>
                  <a:lnTo>
                    <a:pt x="548093" y="520204"/>
                  </a:lnTo>
                  <a:close/>
                </a:path>
              </a:pathLst>
            </a:custGeom>
            <a:solidFill>
              <a:srgbClr val="7ED3F1"/>
            </a:solidFill>
          </p:spPr>
          <p:txBody>
            <a:bodyPr wrap="square" lIns="0" tIns="0" rIns="0" bIns="0" rtlCol="0"/>
            <a:lstStyle/>
            <a:p>
              <a:endParaRPr dirty="0"/>
            </a:p>
          </p:txBody>
        </p:sp>
        <p:pic>
          <p:nvPicPr>
            <p:cNvPr id="153" name="object 151">
              <a:extLst>
                <a:ext uri="{FF2B5EF4-FFF2-40B4-BE49-F238E27FC236}">
                  <a16:creationId xmlns:a16="http://schemas.microsoft.com/office/drawing/2014/main" id="{E79C89B2-D25A-0695-C9D5-361429691704}"/>
                </a:ext>
              </a:extLst>
            </p:cNvPr>
            <p:cNvPicPr/>
            <p:nvPr/>
          </p:nvPicPr>
          <p:blipFill>
            <a:blip r:embed="rId11" cstate="print"/>
            <a:stretch>
              <a:fillRect/>
            </a:stretch>
          </p:blipFill>
          <p:spPr>
            <a:xfrm>
              <a:off x="11561989" y="3989263"/>
              <a:ext cx="106445" cy="107156"/>
            </a:xfrm>
            <a:prstGeom prst="rect">
              <a:avLst/>
            </a:prstGeom>
          </p:spPr>
        </p:pic>
        <p:sp>
          <p:nvSpPr>
            <p:cNvPr id="154" name="object 152">
              <a:extLst>
                <a:ext uri="{FF2B5EF4-FFF2-40B4-BE49-F238E27FC236}">
                  <a16:creationId xmlns:a16="http://schemas.microsoft.com/office/drawing/2014/main" id="{560A9244-12E0-739E-A956-61A5D7F5991B}"/>
                </a:ext>
              </a:extLst>
            </p:cNvPr>
            <p:cNvSpPr/>
            <p:nvPr/>
          </p:nvSpPr>
          <p:spPr>
            <a:xfrm>
              <a:off x="11064254" y="3862863"/>
              <a:ext cx="332700" cy="477101"/>
            </a:xfrm>
            <a:custGeom>
              <a:avLst/>
              <a:gdLst/>
              <a:ahLst/>
              <a:cxnLst/>
              <a:rect l="l" t="t" r="r" b="b"/>
              <a:pathLst>
                <a:path w="548640" h="786765">
                  <a:moveTo>
                    <a:pt x="548081" y="786396"/>
                  </a:moveTo>
                  <a:lnTo>
                    <a:pt x="542632" y="738238"/>
                  </a:lnTo>
                  <a:lnTo>
                    <a:pt x="529234" y="692975"/>
                  </a:lnTo>
                  <a:lnTo>
                    <a:pt x="508622" y="651344"/>
                  </a:lnTo>
                  <a:lnTo>
                    <a:pt x="481520" y="614083"/>
                  </a:lnTo>
                  <a:lnTo>
                    <a:pt x="448678" y="581939"/>
                  </a:lnTo>
                  <a:lnTo>
                    <a:pt x="410832" y="555625"/>
                  </a:lnTo>
                  <a:lnTo>
                    <a:pt x="368706" y="535889"/>
                  </a:lnTo>
                  <a:lnTo>
                    <a:pt x="323037" y="523468"/>
                  </a:lnTo>
                  <a:lnTo>
                    <a:pt x="274561" y="519099"/>
                  </a:lnTo>
                  <a:lnTo>
                    <a:pt x="273329" y="519099"/>
                  </a:lnTo>
                  <a:lnTo>
                    <a:pt x="224993" y="523455"/>
                  </a:lnTo>
                  <a:lnTo>
                    <a:pt x="179438" y="535813"/>
                  </a:lnTo>
                  <a:lnTo>
                    <a:pt x="137401" y="555459"/>
                  </a:lnTo>
                  <a:lnTo>
                    <a:pt x="99618" y="581660"/>
                  </a:lnTo>
                  <a:lnTo>
                    <a:pt x="66814" y="613664"/>
                  </a:lnTo>
                  <a:lnTo>
                    <a:pt x="39725" y="650773"/>
                  </a:lnTo>
                  <a:lnTo>
                    <a:pt x="19075" y="692226"/>
                  </a:lnTo>
                  <a:lnTo>
                    <a:pt x="5613" y="737323"/>
                  </a:lnTo>
                  <a:lnTo>
                    <a:pt x="38" y="785304"/>
                  </a:lnTo>
                  <a:lnTo>
                    <a:pt x="47713" y="781265"/>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35"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78" y="316407"/>
                  </a:lnTo>
                  <a:lnTo>
                    <a:pt x="410832" y="290106"/>
                  </a:lnTo>
                  <a:lnTo>
                    <a:pt x="368706" y="270370"/>
                  </a:lnTo>
                  <a:lnTo>
                    <a:pt x="323037" y="257949"/>
                  </a:lnTo>
                  <a:lnTo>
                    <a:pt x="274561" y="253568"/>
                  </a:lnTo>
                  <a:lnTo>
                    <a:pt x="273329" y="253568"/>
                  </a:lnTo>
                  <a:lnTo>
                    <a:pt x="224993" y="257924"/>
                  </a:lnTo>
                  <a:lnTo>
                    <a:pt x="179438" y="270294"/>
                  </a:lnTo>
                  <a:lnTo>
                    <a:pt x="137401" y="289941"/>
                  </a:lnTo>
                  <a:lnTo>
                    <a:pt x="99618" y="316128"/>
                  </a:lnTo>
                  <a:lnTo>
                    <a:pt x="66814" y="348145"/>
                  </a:lnTo>
                  <a:lnTo>
                    <a:pt x="39725" y="385241"/>
                  </a:lnTo>
                  <a:lnTo>
                    <a:pt x="19075" y="426707"/>
                  </a:lnTo>
                  <a:lnTo>
                    <a:pt x="5613" y="471792"/>
                  </a:lnTo>
                  <a:lnTo>
                    <a:pt x="38" y="519785"/>
                  </a:lnTo>
                  <a:lnTo>
                    <a:pt x="47713" y="515747"/>
                  </a:lnTo>
                  <a:lnTo>
                    <a:pt x="92240" y="504101"/>
                  </a:lnTo>
                  <a:lnTo>
                    <a:pt x="133464" y="485495"/>
                  </a:lnTo>
                  <a:lnTo>
                    <a:pt x="170738" y="460629"/>
                  </a:lnTo>
                  <a:lnTo>
                    <a:pt x="203365" y="430161"/>
                  </a:lnTo>
                  <a:lnTo>
                    <a:pt x="230670" y="394779"/>
                  </a:lnTo>
                  <a:lnTo>
                    <a:pt x="251993" y="355142"/>
                  </a:lnTo>
                  <a:lnTo>
                    <a:pt x="266661" y="311950"/>
                  </a:lnTo>
                  <a:lnTo>
                    <a:pt x="273989" y="265874"/>
                  </a:lnTo>
                  <a:lnTo>
                    <a:pt x="281165" y="312140"/>
                  </a:lnTo>
                  <a:lnTo>
                    <a:pt x="295719" y="355511"/>
                  </a:lnTo>
                  <a:lnTo>
                    <a:pt x="316992" y="395300"/>
                  </a:lnTo>
                  <a:lnTo>
                    <a:pt x="344284" y="430847"/>
                  </a:lnTo>
                  <a:lnTo>
                    <a:pt x="376923" y="461441"/>
                  </a:lnTo>
                  <a:lnTo>
                    <a:pt x="414235" y="486422"/>
                  </a:lnTo>
                  <a:lnTo>
                    <a:pt x="455549" y="505104"/>
                  </a:lnTo>
                  <a:lnTo>
                    <a:pt x="500164" y="516813"/>
                  </a:lnTo>
                  <a:lnTo>
                    <a:pt x="548081" y="520865"/>
                  </a:lnTo>
                  <a:close/>
                </a:path>
                <a:path w="548640" h="786765">
                  <a:moveTo>
                    <a:pt x="548081" y="267322"/>
                  </a:moveTo>
                  <a:lnTo>
                    <a:pt x="547458" y="261874"/>
                  </a:lnTo>
                  <a:lnTo>
                    <a:pt x="542645" y="219151"/>
                  </a:lnTo>
                  <a:lnTo>
                    <a:pt x="529247" y="173888"/>
                  </a:lnTo>
                  <a:lnTo>
                    <a:pt x="508635" y="132257"/>
                  </a:lnTo>
                  <a:lnTo>
                    <a:pt x="481533" y="95008"/>
                  </a:lnTo>
                  <a:lnTo>
                    <a:pt x="480834" y="94335"/>
                  </a:lnTo>
                  <a:lnTo>
                    <a:pt x="448691" y="62852"/>
                  </a:lnTo>
                  <a:lnTo>
                    <a:pt x="433158" y="52070"/>
                  </a:lnTo>
                  <a:lnTo>
                    <a:pt x="410832" y="36550"/>
                  </a:lnTo>
                  <a:lnTo>
                    <a:pt x="368706" y="16802"/>
                  </a:lnTo>
                  <a:lnTo>
                    <a:pt x="323037" y="4381"/>
                  </a:lnTo>
                  <a:lnTo>
                    <a:pt x="274561" y="0"/>
                  </a:lnTo>
                  <a:lnTo>
                    <a:pt x="273329" y="0"/>
                  </a:lnTo>
                  <a:lnTo>
                    <a:pt x="224993" y="4356"/>
                  </a:lnTo>
                  <a:lnTo>
                    <a:pt x="179438" y="16725"/>
                  </a:lnTo>
                  <a:lnTo>
                    <a:pt x="137401" y="36372"/>
                  </a:lnTo>
                  <a:lnTo>
                    <a:pt x="99618" y="62560"/>
                  </a:lnTo>
                  <a:lnTo>
                    <a:pt x="66814" y="94576"/>
                  </a:lnTo>
                  <a:lnTo>
                    <a:pt x="39700" y="131686"/>
                  </a:lnTo>
                  <a:lnTo>
                    <a:pt x="19037" y="173139"/>
                  </a:lnTo>
                  <a:lnTo>
                    <a:pt x="5562" y="218224"/>
                  </a:lnTo>
                  <a:lnTo>
                    <a:pt x="0" y="266192"/>
                  </a:lnTo>
                  <a:lnTo>
                    <a:pt x="47713" y="262178"/>
                  </a:lnTo>
                  <a:lnTo>
                    <a:pt x="92240" y="250520"/>
                  </a:lnTo>
                  <a:lnTo>
                    <a:pt x="133464" y="231927"/>
                  </a:lnTo>
                  <a:lnTo>
                    <a:pt x="170738" y="207060"/>
                  </a:lnTo>
                  <a:lnTo>
                    <a:pt x="203365" y="176593"/>
                  </a:lnTo>
                  <a:lnTo>
                    <a:pt x="230682" y="141224"/>
                  </a:lnTo>
                  <a:lnTo>
                    <a:pt x="252006" y="101600"/>
                  </a:lnTo>
                  <a:lnTo>
                    <a:pt x="266674" y="58420"/>
                  </a:lnTo>
                  <a:lnTo>
                    <a:pt x="273989" y="12369"/>
                  </a:lnTo>
                  <a:lnTo>
                    <a:pt x="279844" y="50101"/>
                  </a:lnTo>
                  <a:lnTo>
                    <a:pt x="281165" y="58585"/>
                  </a:lnTo>
                  <a:lnTo>
                    <a:pt x="284822" y="69481"/>
                  </a:lnTo>
                  <a:lnTo>
                    <a:pt x="295719" y="101955"/>
                  </a:lnTo>
                  <a:lnTo>
                    <a:pt x="316992" y="141744"/>
                  </a:lnTo>
                  <a:lnTo>
                    <a:pt x="344284" y="177279"/>
                  </a:lnTo>
                  <a:lnTo>
                    <a:pt x="376936" y="207886"/>
                  </a:lnTo>
                  <a:lnTo>
                    <a:pt x="414248" y="232867"/>
                  </a:lnTo>
                  <a:lnTo>
                    <a:pt x="455549" y="251561"/>
                  </a:lnTo>
                  <a:lnTo>
                    <a:pt x="500176" y="263271"/>
                  </a:lnTo>
                  <a:lnTo>
                    <a:pt x="548081" y="267322"/>
                  </a:lnTo>
                  <a:close/>
                </a:path>
              </a:pathLst>
            </a:custGeom>
            <a:solidFill>
              <a:srgbClr val="2DB7EA"/>
            </a:solidFill>
          </p:spPr>
          <p:txBody>
            <a:bodyPr wrap="square" lIns="0" tIns="0" rIns="0" bIns="0" rtlCol="0"/>
            <a:lstStyle/>
            <a:p>
              <a:endParaRPr dirty="0"/>
            </a:p>
          </p:txBody>
        </p:sp>
        <p:pic>
          <p:nvPicPr>
            <p:cNvPr id="155" name="object 153">
              <a:extLst>
                <a:ext uri="{FF2B5EF4-FFF2-40B4-BE49-F238E27FC236}">
                  <a16:creationId xmlns:a16="http://schemas.microsoft.com/office/drawing/2014/main" id="{DBC89A1E-20F6-5C90-9176-4F0766863660}"/>
                </a:ext>
              </a:extLst>
            </p:cNvPr>
            <p:cNvPicPr/>
            <p:nvPr/>
          </p:nvPicPr>
          <p:blipFill>
            <a:blip r:embed="rId13" cstate="print"/>
            <a:stretch>
              <a:fillRect/>
            </a:stretch>
          </p:blipFill>
          <p:spPr>
            <a:xfrm>
              <a:off x="11177526" y="4318566"/>
              <a:ext cx="106445" cy="107156"/>
            </a:xfrm>
            <a:prstGeom prst="rect">
              <a:avLst/>
            </a:prstGeom>
          </p:spPr>
        </p:pic>
        <p:sp>
          <p:nvSpPr>
            <p:cNvPr id="156" name="object 154">
              <a:extLst>
                <a:ext uri="{FF2B5EF4-FFF2-40B4-BE49-F238E27FC236}">
                  <a16:creationId xmlns:a16="http://schemas.microsoft.com/office/drawing/2014/main" id="{A6CFDA8C-97D5-4215-E12F-7AA4E5C0A01B}"/>
                </a:ext>
              </a:extLst>
            </p:cNvPr>
            <p:cNvSpPr/>
            <p:nvPr/>
          </p:nvSpPr>
          <p:spPr>
            <a:xfrm>
              <a:off x="11064254" y="4517034"/>
              <a:ext cx="332700" cy="477101"/>
            </a:xfrm>
            <a:custGeom>
              <a:avLst/>
              <a:gdLst/>
              <a:ahLst/>
              <a:cxnLst/>
              <a:rect l="l" t="t" r="r" b="b"/>
              <a:pathLst>
                <a:path w="548640" h="786765">
                  <a:moveTo>
                    <a:pt x="548081" y="786384"/>
                  </a:moveTo>
                  <a:lnTo>
                    <a:pt x="542632" y="738225"/>
                  </a:lnTo>
                  <a:lnTo>
                    <a:pt x="529234" y="692962"/>
                  </a:lnTo>
                  <a:lnTo>
                    <a:pt x="508622" y="651332"/>
                  </a:lnTo>
                  <a:lnTo>
                    <a:pt x="481520" y="614083"/>
                  </a:lnTo>
                  <a:lnTo>
                    <a:pt x="448678"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38" y="785304"/>
                  </a:lnTo>
                  <a:lnTo>
                    <a:pt x="47713" y="781265"/>
                  </a:lnTo>
                  <a:lnTo>
                    <a:pt x="92240" y="769620"/>
                  </a:lnTo>
                  <a:lnTo>
                    <a:pt x="133464" y="751014"/>
                  </a:lnTo>
                  <a:lnTo>
                    <a:pt x="170738" y="726147"/>
                  </a:lnTo>
                  <a:lnTo>
                    <a:pt x="203365" y="695680"/>
                  </a:lnTo>
                  <a:lnTo>
                    <a:pt x="230670" y="660298"/>
                  </a:lnTo>
                  <a:lnTo>
                    <a:pt x="251993" y="620674"/>
                  </a:lnTo>
                  <a:lnTo>
                    <a:pt x="266661" y="577469"/>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5">
                  <a:moveTo>
                    <a:pt x="548081" y="520852"/>
                  </a:moveTo>
                  <a:lnTo>
                    <a:pt x="542632" y="472694"/>
                  </a:lnTo>
                  <a:lnTo>
                    <a:pt x="529234" y="427431"/>
                  </a:lnTo>
                  <a:lnTo>
                    <a:pt x="508622" y="385813"/>
                  </a:lnTo>
                  <a:lnTo>
                    <a:pt x="481520" y="348551"/>
                  </a:lnTo>
                  <a:lnTo>
                    <a:pt x="448678" y="316407"/>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28"/>
                  </a:lnTo>
                  <a:lnTo>
                    <a:pt x="66814" y="348132"/>
                  </a:lnTo>
                  <a:lnTo>
                    <a:pt x="39725" y="385241"/>
                  </a:lnTo>
                  <a:lnTo>
                    <a:pt x="19075" y="426694"/>
                  </a:lnTo>
                  <a:lnTo>
                    <a:pt x="5613" y="471779"/>
                  </a:lnTo>
                  <a:lnTo>
                    <a:pt x="38" y="519772"/>
                  </a:lnTo>
                  <a:lnTo>
                    <a:pt x="47713" y="515734"/>
                  </a:lnTo>
                  <a:lnTo>
                    <a:pt x="92240" y="504075"/>
                  </a:lnTo>
                  <a:lnTo>
                    <a:pt x="133464" y="485482"/>
                  </a:lnTo>
                  <a:lnTo>
                    <a:pt x="170738" y="460616"/>
                  </a:lnTo>
                  <a:lnTo>
                    <a:pt x="203365"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35" y="486410"/>
                  </a:lnTo>
                  <a:lnTo>
                    <a:pt x="455549" y="505091"/>
                  </a:lnTo>
                  <a:lnTo>
                    <a:pt x="500164" y="516801"/>
                  </a:lnTo>
                  <a:lnTo>
                    <a:pt x="548081" y="520852"/>
                  </a:lnTo>
                  <a:close/>
                </a:path>
                <a:path w="548640" h="786765">
                  <a:moveTo>
                    <a:pt x="548081" y="267322"/>
                  </a:moveTo>
                  <a:lnTo>
                    <a:pt x="546976" y="257530"/>
                  </a:lnTo>
                  <a:lnTo>
                    <a:pt x="542645" y="219151"/>
                  </a:lnTo>
                  <a:lnTo>
                    <a:pt x="529247" y="173875"/>
                  </a:lnTo>
                  <a:lnTo>
                    <a:pt x="508635" y="132245"/>
                  </a:lnTo>
                  <a:lnTo>
                    <a:pt x="481533" y="94996"/>
                  </a:lnTo>
                  <a:lnTo>
                    <a:pt x="449376" y="63525"/>
                  </a:lnTo>
                  <a:lnTo>
                    <a:pt x="448691" y="62852"/>
                  </a:lnTo>
                  <a:lnTo>
                    <a:pt x="410832" y="36537"/>
                  </a:lnTo>
                  <a:lnTo>
                    <a:pt x="368706" y="16814"/>
                  </a:lnTo>
                  <a:lnTo>
                    <a:pt x="323037" y="4368"/>
                  </a:lnTo>
                  <a:lnTo>
                    <a:pt x="274561" y="0"/>
                  </a:lnTo>
                  <a:lnTo>
                    <a:pt x="273329" y="0"/>
                  </a:lnTo>
                  <a:lnTo>
                    <a:pt x="224993" y="4356"/>
                  </a:lnTo>
                  <a:lnTo>
                    <a:pt x="179438" y="16725"/>
                  </a:lnTo>
                  <a:lnTo>
                    <a:pt x="137401" y="36372"/>
                  </a:lnTo>
                  <a:lnTo>
                    <a:pt x="99618" y="62560"/>
                  </a:lnTo>
                  <a:lnTo>
                    <a:pt x="98793" y="63360"/>
                  </a:lnTo>
                  <a:lnTo>
                    <a:pt x="66814" y="94576"/>
                  </a:lnTo>
                  <a:lnTo>
                    <a:pt x="39700" y="131686"/>
                  </a:lnTo>
                  <a:lnTo>
                    <a:pt x="19037" y="173139"/>
                  </a:lnTo>
                  <a:lnTo>
                    <a:pt x="5562" y="218211"/>
                  </a:lnTo>
                  <a:lnTo>
                    <a:pt x="0" y="266192"/>
                  </a:lnTo>
                  <a:lnTo>
                    <a:pt x="47713" y="262166"/>
                  </a:lnTo>
                  <a:lnTo>
                    <a:pt x="92240" y="250520"/>
                  </a:lnTo>
                  <a:lnTo>
                    <a:pt x="133477" y="231914"/>
                  </a:lnTo>
                  <a:lnTo>
                    <a:pt x="170738" y="207048"/>
                  </a:lnTo>
                  <a:lnTo>
                    <a:pt x="203365" y="176593"/>
                  </a:lnTo>
                  <a:lnTo>
                    <a:pt x="230682" y="141211"/>
                  </a:lnTo>
                  <a:lnTo>
                    <a:pt x="252006" y="101600"/>
                  </a:lnTo>
                  <a:lnTo>
                    <a:pt x="266674" y="58407"/>
                  </a:lnTo>
                  <a:lnTo>
                    <a:pt x="273989" y="12357"/>
                  </a:lnTo>
                  <a:lnTo>
                    <a:pt x="279844" y="50101"/>
                  </a:lnTo>
                  <a:lnTo>
                    <a:pt x="295719" y="101942"/>
                  </a:lnTo>
                  <a:lnTo>
                    <a:pt x="316992" y="141732"/>
                  </a:lnTo>
                  <a:lnTo>
                    <a:pt x="344284" y="177279"/>
                  </a:lnTo>
                  <a:lnTo>
                    <a:pt x="376923" y="207873"/>
                  </a:lnTo>
                  <a:lnTo>
                    <a:pt x="414248" y="232867"/>
                  </a:lnTo>
                  <a:lnTo>
                    <a:pt x="455549" y="251548"/>
                  </a:lnTo>
                  <a:lnTo>
                    <a:pt x="500176" y="263258"/>
                  </a:lnTo>
                  <a:lnTo>
                    <a:pt x="548081" y="267322"/>
                  </a:lnTo>
                  <a:close/>
                </a:path>
              </a:pathLst>
            </a:custGeom>
            <a:solidFill>
              <a:srgbClr val="7ED3F1"/>
            </a:solidFill>
          </p:spPr>
          <p:txBody>
            <a:bodyPr wrap="square" lIns="0" tIns="0" rIns="0" bIns="0" rtlCol="0"/>
            <a:lstStyle/>
            <a:p>
              <a:endParaRPr dirty="0"/>
            </a:p>
          </p:txBody>
        </p:sp>
        <p:pic>
          <p:nvPicPr>
            <p:cNvPr id="157" name="object 155">
              <a:extLst>
                <a:ext uri="{FF2B5EF4-FFF2-40B4-BE49-F238E27FC236}">
                  <a16:creationId xmlns:a16="http://schemas.microsoft.com/office/drawing/2014/main" id="{01AD2D17-E1FF-4112-2D03-2E519EBB300D}"/>
                </a:ext>
              </a:extLst>
            </p:cNvPr>
            <p:cNvPicPr/>
            <p:nvPr/>
          </p:nvPicPr>
          <p:blipFill>
            <a:blip r:embed="rId14" cstate="print"/>
            <a:stretch>
              <a:fillRect/>
            </a:stretch>
          </p:blipFill>
          <p:spPr>
            <a:xfrm>
              <a:off x="11177526" y="4972731"/>
              <a:ext cx="106445" cy="107156"/>
            </a:xfrm>
            <a:prstGeom prst="rect">
              <a:avLst/>
            </a:prstGeom>
          </p:spPr>
        </p:pic>
        <p:sp>
          <p:nvSpPr>
            <p:cNvPr id="158" name="object 156">
              <a:extLst>
                <a:ext uri="{FF2B5EF4-FFF2-40B4-BE49-F238E27FC236}">
                  <a16:creationId xmlns:a16="http://schemas.microsoft.com/office/drawing/2014/main" id="{D015AE74-A083-A178-FBB4-1C9C3B4C8BBE}"/>
                </a:ext>
              </a:extLst>
            </p:cNvPr>
            <p:cNvSpPr/>
            <p:nvPr/>
          </p:nvSpPr>
          <p:spPr>
            <a:xfrm>
              <a:off x="11064254" y="2554529"/>
              <a:ext cx="332700" cy="477101"/>
            </a:xfrm>
            <a:custGeom>
              <a:avLst/>
              <a:gdLst/>
              <a:ahLst/>
              <a:cxnLst/>
              <a:rect l="l" t="t" r="r" b="b"/>
              <a:pathLst>
                <a:path w="548640" h="786764">
                  <a:moveTo>
                    <a:pt x="548081" y="786396"/>
                  </a:moveTo>
                  <a:lnTo>
                    <a:pt x="542632" y="738238"/>
                  </a:lnTo>
                  <a:lnTo>
                    <a:pt x="529234" y="692975"/>
                  </a:lnTo>
                  <a:lnTo>
                    <a:pt x="508622" y="651344"/>
                  </a:lnTo>
                  <a:lnTo>
                    <a:pt x="481520" y="614095"/>
                  </a:lnTo>
                  <a:lnTo>
                    <a:pt x="448678" y="581939"/>
                  </a:lnTo>
                  <a:lnTo>
                    <a:pt x="410832" y="555625"/>
                  </a:lnTo>
                  <a:lnTo>
                    <a:pt x="368706" y="535901"/>
                  </a:lnTo>
                  <a:lnTo>
                    <a:pt x="323037" y="523468"/>
                  </a:lnTo>
                  <a:lnTo>
                    <a:pt x="274561" y="519099"/>
                  </a:lnTo>
                  <a:lnTo>
                    <a:pt x="273329" y="519099"/>
                  </a:lnTo>
                  <a:lnTo>
                    <a:pt x="224993" y="523455"/>
                  </a:lnTo>
                  <a:lnTo>
                    <a:pt x="179438" y="535813"/>
                  </a:lnTo>
                  <a:lnTo>
                    <a:pt x="137401" y="555459"/>
                  </a:lnTo>
                  <a:lnTo>
                    <a:pt x="99618" y="581660"/>
                  </a:lnTo>
                  <a:lnTo>
                    <a:pt x="66814" y="613676"/>
                  </a:lnTo>
                  <a:lnTo>
                    <a:pt x="39725" y="650773"/>
                  </a:lnTo>
                  <a:lnTo>
                    <a:pt x="19075" y="692238"/>
                  </a:lnTo>
                  <a:lnTo>
                    <a:pt x="5613" y="737323"/>
                  </a:lnTo>
                  <a:lnTo>
                    <a:pt x="38" y="785317"/>
                  </a:lnTo>
                  <a:lnTo>
                    <a:pt x="47713" y="781278"/>
                  </a:lnTo>
                  <a:lnTo>
                    <a:pt x="92240" y="769632"/>
                  </a:lnTo>
                  <a:lnTo>
                    <a:pt x="133464" y="751027"/>
                  </a:lnTo>
                  <a:lnTo>
                    <a:pt x="170738" y="726160"/>
                  </a:lnTo>
                  <a:lnTo>
                    <a:pt x="203365" y="695693"/>
                  </a:lnTo>
                  <a:lnTo>
                    <a:pt x="230670" y="660311"/>
                  </a:lnTo>
                  <a:lnTo>
                    <a:pt x="251993" y="620687"/>
                  </a:lnTo>
                  <a:lnTo>
                    <a:pt x="266661" y="577481"/>
                  </a:lnTo>
                  <a:lnTo>
                    <a:pt x="273989" y="531406"/>
                  </a:lnTo>
                  <a:lnTo>
                    <a:pt x="281165" y="577672"/>
                  </a:lnTo>
                  <a:lnTo>
                    <a:pt x="295719" y="621042"/>
                  </a:lnTo>
                  <a:lnTo>
                    <a:pt x="316992" y="660844"/>
                  </a:lnTo>
                  <a:lnTo>
                    <a:pt x="344284" y="696379"/>
                  </a:lnTo>
                  <a:lnTo>
                    <a:pt x="376923" y="726973"/>
                  </a:lnTo>
                  <a:lnTo>
                    <a:pt x="414235" y="751954"/>
                  </a:lnTo>
                  <a:lnTo>
                    <a:pt x="455549" y="770636"/>
                  </a:lnTo>
                  <a:lnTo>
                    <a:pt x="500164" y="782345"/>
                  </a:lnTo>
                  <a:lnTo>
                    <a:pt x="548081" y="786396"/>
                  </a:lnTo>
                  <a:close/>
                </a:path>
                <a:path w="548640" h="786764">
                  <a:moveTo>
                    <a:pt x="548081" y="520865"/>
                  </a:moveTo>
                  <a:lnTo>
                    <a:pt x="542632" y="472706"/>
                  </a:lnTo>
                  <a:lnTo>
                    <a:pt x="529234" y="427443"/>
                  </a:lnTo>
                  <a:lnTo>
                    <a:pt x="508622" y="385813"/>
                  </a:lnTo>
                  <a:lnTo>
                    <a:pt x="481520" y="348564"/>
                  </a:lnTo>
                  <a:lnTo>
                    <a:pt x="448678" y="316407"/>
                  </a:lnTo>
                  <a:lnTo>
                    <a:pt x="410832" y="290106"/>
                  </a:lnTo>
                  <a:lnTo>
                    <a:pt x="368706" y="270370"/>
                  </a:lnTo>
                  <a:lnTo>
                    <a:pt x="323037" y="257949"/>
                  </a:lnTo>
                  <a:lnTo>
                    <a:pt x="274561" y="253568"/>
                  </a:lnTo>
                  <a:lnTo>
                    <a:pt x="273329" y="253568"/>
                  </a:lnTo>
                  <a:lnTo>
                    <a:pt x="224993" y="257924"/>
                  </a:lnTo>
                  <a:lnTo>
                    <a:pt x="179438" y="270294"/>
                  </a:lnTo>
                  <a:lnTo>
                    <a:pt x="137401" y="289941"/>
                  </a:lnTo>
                  <a:lnTo>
                    <a:pt x="99618" y="316128"/>
                  </a:lnTo>
                  <a:lnTo>
                    <a:pt x="66814" y="348145"/>
                  </a:lnTo>
                  <a:lnTo>
                    <a:pt x="39725" y="385254"/>
                  </a:lnTo>
                  <a:lnTo>
                    <a:pt x="19075" y="426707"/>
                  </a:lnTo>
                  <a:lnTo>
                    <a:pt x="5613" y="471805"/>
                  </a:lnTo>
                  <a:lnTo>
                    <a:pt x="38" y="519785"/>
                  </a:lnTo>
                  <a:lnTo>
                    <a:pt x="47713" y="515759"/>
                  </a:lnTo>
                  <a:lnTo>
                    <a:pt x="92240" y="504101"/>
                  </a:lnTo>
                  <a:lnTo>
                    <a:pt x="133464" y="485495"/>
                  </a:lnTo>
                  <a:lnTo>
                    <a:pt x="170738" y="460629"/>
                  </a:lnTo>
                  <a:lnTo>
                    <a:pt x="203365" y="430161"/>
                  </a:lnTo>
                  <a:lnTo>
                    <a:pt x="230670" y="394779"/>
                  </a:lnTo>
                  <a:lnTo>
                    <a:pt x="251993" y="355155"/>
                  </a:lnTo>
                  <a:lnTo>
                    <a:pt x="266661" y="311962"/>
                  </a:lnTo>
                  <a:lnTo>
                    <a:pt x="273989" y="265874"/>
                  </a:lnTo>
                  <a:lnTo>
                    <a:pt x="281165" y="312140"/>
                  </a:lnTo>
                  <a:lnTo>
                    <a:pt x="295719" y="355511"/>
                  </a:lnTo>
                  <a:lnTo>
                    <a:pt x="316992" y="395312"/>
                  </a:lnTo>
                  <a:lnTo>
                    <a:pt x="344284" y="430847"/>
                  </a:lnTo>
                  <a:lnTo>
                    <a:pt x="376923" y="461441"/>
                  </a:lnTo>
                  <a:lnTo>
                    <a:pt x="414235" y="486422"/>
                  </a:lnTo>
                  <a:lnTo>
                    <a:pt x="455549" y="505104"/>
                  </a:lnTo>
                  <a:lnTo>
                    <a:pt x="500164" y="516813"/>
                  </a:lnTo>
                  <a:lnTo>
                    <a:pt x="548081" y="520865"/>
                  </a:lnTo>
                  <a:close/>
                </a:path>
                <a:path w="548640" h="786764">
                  <a:moveTo>
                    <a:pt x="548081" y="267335"/>
                  </a:moveTo>
                  <a:lnTo>
                    <a:pt x="546849" y="256438"/>
                  </a:lnTo>
                  <a:lnTo>
                    <a:pt x="542645" y="219163"/>
                  </a:lnTo>
                  <a:lnTo>
                    <a:pt x="529247" y="173888"/>
                  </a:lnTo>
                  <a:lnTo>
                    <a:pt x="508635" y="132257"/>
                  </a:lnTo>
                  <a:lnTo>
                    <a:pt x="481533" y="95008"/>
                  </a:lnTo>
                  <a:lnTo>
                    <a:pt x="448691" y="62865"/>
                  </a:lnTo>
                  <a:lnTo>
                    <a:pt x="410832" y="36537"/>
                  </a:lnTo>
                  <a:lnTo>
                    <a:pt x="368706" y="16802"/>
                  </a:lnTo>
                  <a:lnTo>
                    <a:pt x="323037" y="4381"/>
                  </a:lnTo>
                  <a:lnTo>
                    <a:pt x="274561" y="0"/>
                  </a:lnTo>
                  <a:lnTo>
                    <a:pt x="273329" y="0"/>
                  </a:lnTo>
                  <a:lnTo>
                    <a:pt x="224993" y="4356"/>
                  </a:lnTo>
                  <a:lnTo>
                    <a:pt x="179438" y="16725"/>
                  </a:lnTo>
                  <a:lnTo>
                    <a:pt x="137401" y="36372"/>
                  </a:lnTo>
                  <a:lnTo>
                    <a:pt x="99618" y="62572"/>
                  </a:lnTo>
                  <a:lnTo>
                    <a:pt x="66814" y="94576"/>
                  </a:lnTo>
                  <a:lnTo>
                    <a:pt x="39700" y="131699"/>
                  </a:lnTo>
                  <a:lnTo>
                    <a:pt x="19037" y="173151"/>
                  </a:lnTo>
                  <a:lnTo>
                    <a:pt x="5562" y="218224"/>
                  </a:lnTo>
                  <a:lnTo>
                    <a:pt x="0" y="266204"/>
                  </a:lnTo>
                  <a:lnTo>
                    <a:pt x="47713" y="262191"/>
                  </a:lnTo>
                  <a:lnTo>
                    <a:pt x="92240" y="250532"/>
                  </a:lnTo>
                  <a:lnTo>
                    <a:pt x="133464" y="231940"/>
                  </a:lnTo>
                  <a:lnTo>
                    <a:pt x="170738" y="207060"/>
                  </a:lnTo>
                  <a:lnTo>
                    <a:pt x="203365" y="176606"/>
                  </a:lnTo>
                  <a:lnTo>
                    <a:pt x="230682" y="141224"/>
                  </a:lnTo>
                  <a:lnTo>
                    <a:pt x="252006" y="101612"/>
                  </a:lnTo>
                  <a:lnTo>
                    <a:pt x="266674" y="58420"/>
                  </a:lnTo>
                  <a:lnTo>
                    <a:pt x="273989" y="12369"/>
                  </a:lnTo>
                  <a:lnTo>
                    <a:pt x="279844" y="50114"/>
                  </a:lnTo>
                  <a:lnTo>
                    <a:pt x="295719" y="101955"/>
                  </a:lnTo>
                  <a:lnTo>
                    <a:pt x="316992" y="141744"/>
                  </a:lnTo>
                  <a:lnTo>
                    <a:pt x="344284" y="177279"/>
                  </a:lnTo>
                  <a:lnTo>
                    <a:pt x="376936" y="207886"/>
                  </a:lnTo>
                  <a:lnTo>
                    <a:pt x="414248" y="232867"/>
                  </a:lnTo>
                  <a:lnTo>
                    <a:pt x="455549" y="251561"/>
                  </a:lnTo>
                  <a:lnTo>
                    <a:pt x="500176" y="263271"/>
                  </a:lnTo>
                  <a:lnTo>
                    <a:pt x="548081" y="267335"/>
                  </a:lnTo>
                  <a:close/>
                </a:path>
              </a:pathLst>
            </a:custGeom>
            <a:solidFill>
              <a:srgbClr val="2DB7EA"/>
            </a:solidFill>
          </p:spPr>
          <p:txBody>
            <a:bodyPr wrap="square" lIns="0" tIns="0" rIns="0" bIns="0" rtlCol="0"/>
            <a:lstStyle/>
            <a:p>
              <a:endParaRPr dirty="0"/>
            </a:p>
          </p:txBody>
        </p:sp>
        <p:pic>
          <p:nvPicPr>
            <p:cNvPr id="159" name="object 157">
              <a:extLst>
                <a:ext uri="{FF2B5EF4-FFF2-40B4-BE49-F238E27FC236}">
                  <a16:creationId xmlns:a16="http://schemas.microsoft.com/office/drawing/2014/main" id="{115DAA0D-BFC3-CFAE-14E4-A587632E62D6}"/>
                </a:ext>
              </a:extLst>
            </p:cNvPr>
            <p:cNvPicPr/>
            <p:nvPr/>
          </p:nvPicPr>
          <p:blipFill>
            <a:blip r:embed="rId13" cstate="print"/>
            <a:stretch>
              <a:fillRect/>
            </a:stretch>
          </p:blipFill>
          <p:spPr>
            <a:xfrm>
              <a:off x="11177526" y="3010234"/>
              <a:ext cx="106445" cy="107156"/>
            </a:xfrm>
            <a:prstGeom prst="rect">
              <a:avLst/>
            </a:prstGeom>
          </p:spPr>
        </p:pic>
        <p:sp>
          <p:nvSpPr>
            <p:cNvPr id="160" name="object 158">
              <a:extLst>
                <a:ext uri="{FF2B5EF4-FFF2-40B4-BE49-F238E27FC236}">
                  <a16:creationId xmlns:a16="http://schemas.microsoft.com/office/drawing/2014/main" id="{2E72AFA3-5C59-3798-1EE0-E98DA2742585}"/>
                </a:ext>
              </a:extLst>
            </p:cNvPr>
            <p:cNvSpPr/>
            <p:nvPr/>
          </p:nvSpPr>
          <p:spPr>
            <a:xfrm>
              <a:off x="11064254" y="3208700"/>
              <a:ext cx="332700" cy="477101"/>
            </a:xfrm>
            <a:custGeom>
              <a:avLst/>
              <a:gdLst/>
              <a:ahLst/>
              <a:cxnLst/>
              <a:rect l="l" t="t" r="r" b="b"/>
              <a:pathLst>
                <a:path w="548640" h="786764">
                  <a:moveTo>
                    <a:pt x="548081" y="786384"/>
                  </a:moveTo>
                  <a:lnTo>
                    <a:pt x="542632" y="738225"/>
                  </a:lnTo>
                  <a:lnTo>
                    <a:pt x="529234" y="692962"/>
                  </a:lnTo>
                  <a:lnTo>
                    <a:pt x="508622" y="651344"/>
                  </a:lnTo>
                  <a:lnTo>
                    <a:pt x="481520" y="614083"/>
                  </a:lnTo>
                  <a:lnTo>
                    <a:pt x="448678"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73"/>
                  </a:lnTo>
                  <a:lnTo>
                    <a:pt x="19075" y="692226"/>
                  </a:lnTo>
                  <a:lnTo>
                    <a:pt x="5613" y="737323"/>
                  </a:lnTo>
                  <a:lnTo>
                    <a:pt x="38" y="785317"/>
                  </a:lnTo>
                  <a:lnTo>
                    <a:pt x="47713" y="781278"/>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59"/>
                  </a:lnTo>
                  <a:lnTo>
                    <a:pt x="295719" y="621042"/>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65"/>
                  </a:moveTo>
                  <a:lnTo>
                    <a:pt x="542632" y="472694"/>
                  </a:lnTo>
                  <a:lnTo>
                    <a:pt x="529234" y="427431"/>
                  </a:lnTo>
                  <a:lnTo>
                    <a:pt x="508622" y="385813"/>
                  </a:lnTo>
                  <a:lnTo>
                    <a:pt x="481520" y="348551"/>
                  </a:lnTo>
                  <a:lnTo>
                    <a:pt x="448678" y="316407"/>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15"/>
                  </a:lnTo>
                  <a:lnTo>
                    <a:pt x="66814" y="348132"/>
                  </a:lnTo>
                  <a:lnTo>
                    <a:pt x="39725" y="385241"/>
                  </a:lnTo>
                  <a:lnTo>
                    <a:pt x="19075" y="426694"/>
                  </a:lnTo>
                  <a:lnTo>
                    <a:pt x="5613" y="471792"/>
                  </a:lnTo>
                  <a:lnTo>
                    <a:pt x="38" y="519785"/>
                  </a:lnTo>
                  <a:lnTo>
                    <a:pt x="47713" y="515747"/>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29"/>
                  </a:lnTo>
                  <a:lnTo>
                    <a:pt x="414235" y="486410"/>
                  </a:lnTo>
                  <a:lnTo>
                    <a:pt x="455549" y="505091"/>
                  </a:lnTo>
                  <a:lnTo>
                    <a:pt x="500164" y="516801"/>
                  </a:lnTo>
                  <a:lnTo>
                    <a:pt x="548081" y="520865"/>
                  </a:lnTo>
                  <a:close/>
                </a:path>
                <a:path w="548640" h="786764">
                  <a:moveTo>
                    <a:pt x="548081" y="267322"/>
                  </a:moveTo>
                  <a:lnTo>
                    <a:pt x="546976" y="257530"/>
                  </a:lnTo>
                  <a:lnTo>
                    <a:pt x="542645" y="219151"/>
                  </a:lnTo>
                  <a:lnTo>
                    <a:pt x="529247" y="173888"/>
                  </a:lnTo>
                  <a:lnTo>
                    <a:pt x="508635" y="132257"/>
                  </a:lnTo>
                  <a:lnTo>
                    <a:pt x="481533" y="94996"/>
                  </a:lnTo>
                  <a:lnTo>
                    <a:pt x="449376" y="63525"/>
                  </a:lnTo>
                  <a:lnTo>
                    <a:pt x="448691" y="62852"/>
                  </a:lnTo>
                  <a:lnTo>
                    <a:pt x="410832" y="36525"/>
                  </a:lnTo>
                  <a:lnTo>
                    <a:pt x="368706" y="16814"/>
                  </a:lnTo>
                  <a:lnTo>
                    <a:pt x="323037" y="4368"/>
                  </a:lnTo>
                  <a:lnTo>
                    <a:pt x="274561" y="0"/>
                  </a:lnTo>
                  <a:lnTo>
                    <a:pt x="273329" y="0"/>
                  </a:lnTo>
                  <a:lnTo>
                    <a:pt x="224993" y="4356"/>
                  </a:lnTo>
                  <a:lnTo>
                    <a:pt x="179438" y="16725"/>
                  </a:lnTo>
                  <a:lnTo>
                    <a:pt x="137401" y="36360"/>
                  </a:lnTo>
                  <a:lnTo>
                    <a:pt x="99618" y="62560"/>
                  </a:lnTo>
                  <a:lnTo>
                    <a:pt x="66814" y="94576"/>
                  </a:lnTo>
                  <a:lnTo>
                    <a:pt x="39700" y="131686"/>
                  </a:lnTo>
                  <a:lnTo>
                    <a:pt x="19037" y="173139"/>
                  </a:lnTo>
                  <a:lnTo>
                    <a:pt x="5562" y="218224"/>
                  </a:lnTo>
                  <a:lnTo>
                    <a:pt x="0" y="266192"/>
                  </a:lnTo>
                  <a:lnTo>
                    <a:pt x="47713" y="262178"/>
                  </a:lnTo>
                  <a:lnTo>
                    <a:pt x="92240" y="250532"/>
                  </a:lnTo>
                  <a:lnTo>
                    <a:pt x="133464" y="231927"/>
                  </a:lnTo>
                  <a:lnTo>
                    <a:pt x="170738" y="207060"/>
                  </a:lnTo>
                  <a:lnTo>
                    <a:pt x="203365" y="176593"/>
                  </a:lnTo>
                  <a:lnTo>
                    <a:pt x="230682" y="141224"/>
                  </a:lnTo>
                  <a:lnTo>
                    <a:pt x="252006" y="101600"/>
                  </a:lnTo>
                  <a:lnTo>
                    <a:pt x="266674" y="58407"/>
                  </a:lnTo>
                  <a:lnTo>
                    <a:pt x="273989" y="12369"/>
                  </a:lnTo>
                  <a:lnTo>
                    <a:pt x="279844" y="50101"/>
                  </a:lnTo>
                  <a:lnTo>
                    <a:pt x="295719" y="101942"/>
                  </a:lnTo>
                  <a:lnTo>
                    <a:pt x="316992" y="141744"/>
                  </a:lnTo>
                  <a:lnTo>
                    <a:pt x="344284" y="177279"/>
                  </a:lnTo>
                  <a:lnTo>
                    <a:pt x="376923" y="207873"/>
                  </a:lnTo>
                  <a:lnTo>
                    <a:pt x="414248" y="232867"/>
                  </a:lnTo>
                  <a:lnTo>
                    <a:pt x="455549" y="251548"/>
                  </a:lnTo>
                  <a:lnTo>
                    <a:pt x="500176" y="263271"/>
                  </a:lnTo>
                  <a:lnTo>
                    <a:pt x="548081" y="267322"/>
                  </a:lnTo>
                  <a:close/>
                </a:path>
              </a:pathLst>
            </a:custGeom>
            <a:solidFill>
              <a:srgbClr val="7ED3F1"/>
            </a:solidFill>
          </p:spPr>
          <p:txBody>
            <a:bodyPr wrap="square" lIns="0" tIns="0" rIns="0" bIns="0" rtlCol="0"/>
            <a:lstStyle/>
            <a:p>
              <a:endParaRPr dirty="0"/>
            </a:p>
          </p:txBody>
        </p:sp>
        <p:pic>
          <p:nvPicPr>
            <p:cNvPr id="161" name="object 159">
              <a:extLst>
                <a:ext uri="{FF2B5EF4-FFF2-40B4-BE49-F238E27FC236}">
                  <a16:creationId xmlns:a16="http://schemas.microsoft.com/office/drawing/2014/main" id="{7EE83029-2796-E52F-AABD-4698C53375FA}"/>
                </a:ext>
              </a:extLst>
            </p:cNvPr>
            <p:cNvPicPr/>
            <p:nvPr/>
          </p:nvPicPr>
          <p:blipFill>
            <a:blip r:embed="rId14" cstate="print"/>
            <a:stretch>
              <a:fillRect/>
            </a:stretch>
          </p:blipFill>
          <p:spPr>
            <a:xfrm>
              <a:off x="11177526" y="3664400"/>
              <a:ext cx="106445" cy="107156"/>
            </a:xfrm>
            <a:prstGeom prst="rect">
              <a:avLst/>
            </a:prstGeom>
          </p:spPr>
        </p:pic>
        <p:sp>
          <p:nvSpPr>
            <p:cNvPr id="162" name="object 160">
              <a:extLst>
                <a:ext uri="{FF2B5EF4-FFF2-40B4-BE49-F238E27FC236}">
                  <a16:creationId xmlns:a16="http://schemas.microsoft.com/office/drawing/2014/main" id="{5D34E65E-2456-5EF4-5F7B-E7014BABDF57}"/>
                </a:ext>
              </a:extLst>
            </p:cNvPr>
            <p:cNvSpPr/>
            <p:nvPr/>
          </p:nvSpPr>
          <p:spPr>
            <a:xfrm>
              <a:off x="11064254" y="1246203"/>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78"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38" y="785304"/>
                  </a:lnTo>
                  <a:lnTo>
                    <a:pt x="47713" y="781278"/>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52"/>
                  </a:moveTo>
                  <a:lnTo>
                    <a:pt x="542632" y="472694"/>
                  </a:lnTo>
                  <a:lnTo>
                    <a:pt x="529234" y="427431"/>
                  </a:lnTo>
                  <a:lnTo>
                    <a:pt x="508622" y="385813"/>
                  </a:lnTo>
                  <a:lnTo>
                    <a:pt x="481520" y="348551"/>
                  </a:lnTo>
                  <a:lnTo>
                    <a:pt x="448678" y="316395"/>
                  </a:lnTo>
                  <a:lnTo>
                    <a:pt x="410832" y="290093"/>
                  </a:lnTo>
                  <a:lnTo>
                    <a:pt x="368706" y="270357"/>
                  </a:lnTo>
                  <a:lnTo>
                    <a:pt x="323037" y="257937"/>
                  </a:lnTo>
                  <a:lnTo>
                    <a:pt x="274561" y="253555"/>
                  </a:lnTo>
                  <a:lnTo>
                    <a:pt x="273329" y="253555"/>
                  </a:lnTo>
                  <a:lnTo>
                    <a:pt x="224993" y="257911"/>
                  </a:lnTo>
                  <a:lnTo>
                    <a:pt x="179438" y="270281"/>
                  </a:lnTo>
                  <a:lnTo>
                    <a:pt x="137401" y="289928"/>
                  </a:lnTo>
                  <a:lnTo>
                    <a:pt x="99618" y="316115"/>
                  </a:lnTo>
                  <a:lnTo>
                    <a:pt x="66814" y="348132"/>
                  </a:lnTo>
                  <a:lnTo>
                    <a:pt x="39725" y="385241"/>
                  </a:lnTo>
                  <a:lnTo>
                    <a:pt x="19075" y="426694"/>
                  </a:lnTo>
                  <a:lnTo>
                    <a:pt x="5613" y="471792"/>
                  </a:lnTo>
                  <a:lnTo>
                    <a:pt x="38" y="519785"/>
                  </a:lnTo>
                  <a:lnTo>
                    <a:pt x="47713" y="515747"/>
                  </a:lnTo>
                  <a:lnTo>
                    <a:pt x="92240" y="504088"/>
                  </a:lnTo>
                  <a:lnTo>
                    <a:pt x="133464" y="485482"/>
                  </a:lnTo>
                  <a:lnTo>
                    <a:pt x="170738" y="460616"/>
                  </a:lnTo>
                  <a:lnTo>
                    <a:pt x="203365"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35" y="486410"/>
                  </a:lnTo>
                  <a:lnTo>
                    <a:pt x="455549" y="505091"/>
                  </a:lnTo>
                  <a:lnTo>
                    <a:pt x="500164" y="516801"/>
                  </a:lnTo>
                  <a:lnTo>
                    <a:pt x="548081" y="520852"/>
                  </a:lnTo>
                  <a:close/>
                </a:path>
                <a:path w="548640" h="786764">
                  <a:moveTo>
                    <a:pt x="548081" y="267322"/>
                  </a:moveTo>
                  <a:lnTo>
                    <a:pt x="546976" y="257530"/>
                  </a:lnTo>
                  <a:lnTo>
                    <a:pt x="542645" y="219151"/>
                  </a:lnTo>
                  <a:lnTo>
                    <a:pt x="529247" y="173875"/>
                  </a:lnTo>
                  <a:lnTo>
                    <a:pt x="508635" y="132257"/>
                  </a:lnTo>
                  <a:lnTo>
                    <a:pt x="481533" y="94996"/>
                  </a:lnTo>
                  <a:lnTo>
                    <a:pt x="449376" y="63525"/>
                  </a:lnTo>
                  <a:lnTo>
                    <a:pt x="448691" y="62852"/>
                  </a:lnTo>
                  <a:lnTo>
                    <a:pt x="410832" y="36525"/>
                  </a:lnTo>
                  <a:lnTo>
                    <a:pt x="368706" y="16789"/>
                  </a:lnTo>
                  <a:lnTo>
                    <a:pt x="323037" y="4368"/>
                  </a:lnTo>
                  <a:lnTo>
                    <a:pt x="274561" y="0"/>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32"/>
                  </a:lnTo>
                  <a:lnTo>
                    <a:pt x="133464" y="231927"/>
                  </a:lnTo>
                  <a:lnTo>
                    <a:pt x="170738" y="207060"/>
                  </a:lnTo>
                  <a:lnTo>
                    <a:pt x="203365" y="176593"/>
                  </a:lnTo>
                  <a:lnTo>
                    <a:pt x="230682" y="141224"/>
                  </a:lnTo>
                  <a:lnTo>
                    <a:pt x="252006" y="101600"/>
                  </a:lnTo>
                  <a:lnTo>
                    <a:pt x="266674" y="58407"/>
                  </a:lnTo>
                  <a:lnTo>
                    <a:pt x="273989" y="12357"/>
                  </a:lnTo>
                  <a:lnTo>
                    <a:pt x="279844" y="50101"/>
                  </a:lnTo>
                  <a:lnTo>
                    <a:pt x="295719" y="101942"/>
                  </a:lnTo>
                  <a:lnTo>
                    <a:pt x="316992" y="141744"/>
                  </a:lnTo>
                  <a:lnTo>
                    <a:pt x="344284" y="177279"/>
                  </a:lnTo>
                  <a:lnTo>
                    <a:pt x="376923" y="207873"/>
                  </a:lnTo>
                  <a:lnTo>
                    <a:pt x="414248" y="232867"/>
                  </a:lnTo>
                  <a:lnTo>
                    <a:pt x="455549" y="251548"/>
                  </a:lnTo>
                  <a:lnTo>
                    <a:pt x="500176" y="263271"/>
                  </a:lnTo>
                  <a:lnTo>
                    <a:pt x="548081" y="267322"/>
                  </a:lnTo>
                  <a:close/>
                </a:path>
              </a:pathLst>
            </a:custGeom>
            <a:solidFill>
              <a:srgbClr val="2DB7EA"/>
            </a:solidFill>
          </p:spPr>
          <p:txBody>
            <a:bodyPr wrap="square" lIns="0" tIns="0" rIns="0" bIns="0" rtlCol="0"/>
            <a:lstStyle/>
            <a:p>
              <a:endParaRPr dirty="0"/>
            </a:p>
          </p:txBody>
        </p:sp>
        <p:pic>
          <p:nvPicPr>
            <p:cNvPr id="163" name="object 161">
              <a:extLst>
                <a:ext uri="{FF2B5EF4-FFF2-40B4-BE49-F238E27FC236}">
                  <a16:creationId xmlns:a16="http://schemas.microsoft.com/office/drawing/2014/main" id="{100B0AA4-6496-AD30-E182-D0C3861D5ACD}"/>
                </a:ext>
              </a:extLst>
            </p:cNvPr>
            <p:cNvPicPr/>
            <p:nvPr/>
          </p:nvPicPr>
          <p:blipFill>
            <a:blip r:embed="rId13" cstate="print"/>
            <a:stretch>
              <a:fillRect/>
            </a:stretch>
          </p:blipFill>
          <p:spPr>
            <a:xfrm>
              <a:off x="11177526" y="1701903"/>
              <a:ext cx="106445" cy="107156"/>
            </a:xfrm>
            <a:prstGeom prst="rect">
              <a:avLst/>
            </a:prstGeom>
          </p:spPr>
        </p:pic>
        <p:sp>
          <p:nvSpPr>
            <p:cNvPr id="164" name="object 162">
              <a:extLst>
                <a:ext uri="{FF2B5EF4-FFF2-40B4-BE49-F238E27FC236}">
                  <a16:creationId xmlns:a16="http://schemas.microsoft.com/office/drawing/2014/main" id="{9756AF7D-8E6B-BD96-7152-303143A33150}"/>
                </a:ext>
              </a:extLst>
            </p:cNvPr>
            <p:cNvSpPr/>
            <p:nvPr/>
          </p:nvSpPr>
          <p:spPr>
            <a:xfrm>
              <a:off x="11064254" y="1900365"/>
              <a:ext cx="332700" cy="477101"/>
            </a:xfrm>
            <a:custGeom>
              <a:avLst/>
              <a:gdLst/>
              <a:ahLst/>
              <a:cxnLst/>
              <a:rect l="l" t="t" r="r" b="b"/>
              <a:pathLst>
                <a:path w="548640" h="786764">
                  <a:moveTo>
                    <a:pt x="548081" y="786396"/>
                  </a:moveTo>
                  <a:lnTo>
                    <a:pt x="542632" y="738225"/>
                  </a:lnTo>
                  <a:lnTo>
                    <a:pt x="529234" y="692962"/>
                  </a:lnTo>
                  <a:lnTo>
                    <a:pt x="508622" y="651344"/>
                  </a:lnTo>
                  <a:lnTo>
                    <a:pt x="481520" y="614083"/>
                  </a:lnTo>
                  <a:lnTo>
                    <a:pt x="448678" y="581939"/>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60"/>
                  </a:lnTo>
                  <a:lnTo>
                    <a:pt x="66814" y="613664"/>
                  </a:lnTo>
                  <a:lnTo>
                    <a:pt x="39725" y="650773"/>
                  </a:lnTo>
                  <a:lnTo>
                    <a:pt x="19075" y="692238"/>
                  </a:lnTo>
                  <a:lnTo>
                    <a:pt x="5613" y="737323"/>
                  </a:lnTo>
                  <a:lnTo>
                    <a:pt x="38" y="785317"/>
                  </a:lnTo>
                  <a:lnTo>
                    <a:pt x="47713" y="781278"/>
                  </a:lnTo>
                  <a:lnTo>
                    <a:pt x="92240" y="769620"/>
                  </a:lnTo>
                  <a:lnTo>
                    <a:pt x="133464" y="751027"/>
                  </a:lnTo>
                  <a:lnTo>
                    <a:pt x="170738" y="726147"/>
                  </a:lnTo>
                  <a:lnTo>
                    <a:pt x="203365"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35" y="751941"/>
                  </a:lnTo>
                  <a:lnTo>
                    <a:pt x="455549" y="770636"/>
                  </a:lnTo>
                  <a:lnTo>
                    <a:pt x="500164" y="782332"/>
                  </a:lnTo>
                  <a:lnTo>
                    <a:pt x="548081" y="786396"/>
                  </a:lnTo>
                  <a:close/>
                </a:path>
                <a:path w="548640" h="786764">
                  <a:moveTo>
                    <a:pt x="548081" y="520865"/>
                  </a:moveTo>
                  <a:lnTo>
                    <a:pt x="542632" y="472706"/>
                  </a:lnTo>
                  <a:lnTo>
                    <a:pt x="529234" y="427443"/>
                  </a:lnTo>
                  <a:lnTo>
                    <a:pt x="508622" y="385813"/>
                  </a:lnTo>
                  <a:lnTo>
                    <a:pt x="481520" y="348551"/>
                  </a:lnTo>
                  <a:lnTo>
                    <a:pt x="448678" y="316407"/>
                  </a:lnTo>
                  <a:lnTo>
                    <a:pt x="410832" y="290093"/>
                  </a:lnTo>
                  <a:lnTo>
                    <a:pt x="368706" y="270357"/>
                  </a:lnTo>
                  <a:lnTo>
                    <a:pt x="323037" y="257937"/>
                  </a:lnTo>
                  <a:lnTo>
                    <a:pt x="274561" y="253555"/>
                  </a:lnTo>
                  <a:lnTo>
                    <a:pt x="273329" y="253555"/>
                  </a:lnTo>
                  <a:lnTo>
                    <a:pt x="224993" y="257924"/>
                  </a:lnTo>
                  <a:lnTo>
                    <a:pt x="179438" y="270281"/>
                  </a:lnTo>
                  <a:lnTo>
                    <a:pt x="137401" y="289928"/>
                  </a:lnTo>
                  <a:lnTo>
                    <a:pt x="99618" y="316128"/>
                  </a:lnTo>
                  <a:lnTo>
                    <a:pt x="66814" y="348132"/>
                  </a:lnTo>
                  <a:lnTo>
                    <a:pt x="39725" y="385241"/>
                  </a:lnTo>
                  <a:lnTo>
                    <a:pt x="19075" y="426707"/>
                  </a:lnTo>
                  <a:lnTo>
                    <a:pt x="5613" y="471792"/>
                  </a:lnTo>
                  <a:lnTo>
                    <a:pt x="38" y="519785"/>
                  </a:lnTo>
                  <a:lnTo>
                    <a:pt x="47713" y="515747"/>
                  </a:lnTo>
                  <a:lnTo>
                    <a:pt x="92240" y="504088"/>
                  </a:lnTo>
                  <a:lnTo>
                    <a:pt x="133464" y="485495"/>
                  </a:lnTo>
                  <a:lnTo>
                    <a:pt x="170738" y="460616"/>
                  </a:lnTo>
                  <a:lnTo>
                    <a:pt x="203365" y="430161"/>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4">
                  <a:moveTo>
                    <a:pt x="548081" y="267322"/>
                  </a:moveTo>
                  <a:lnTo>
                    <a:pt x="546976" y="257530"/>
                  </a:lnTo>
                  <a:lnTo>
                    <a:pt x="542645" y="219151"/>
                  </a:lnTo>
                  <a:lnTo>
                    <a:pt x="529247" y="173888"/>
                  </a:lnTo>
                  <a:lnTo>
                    <a:pt x="508635" y="132257"/>
                  </a:lnTo>
                  <a:lnTo>
                    <a:pt x="481533" y="95008"/>
                  </a:lnTo>
                  <a:lnTo>
                    <a:pt x="448691" y="62852"/>
                  </a:lnTo>
                  <a:lnTo>
                    <a:pt x="410832" y="36550"/>
                  </a:lnTo>
                  <a:lnTo>
                    <a:pt x="368706" y="16814"/>
                  </a:lnTo>
                  <a:lnTo>
                    <a:pt x="323037" y="4381"/>
                  </a:lnTo>
                  <a:lnTo>
                    <a:pt x="274561" y="0"/>
                  </a:lnTo>
                  <a:lnTo>
                    <a:pt x="273329" y="0"/>
                  </a:lnTo>
                  <a:lnTo>
                    <a:pt x="224993" y="4356"/>
                  </a:lnTo>
                  <a:lnTo>
                    <a:pt x="179438" y="16725"/>
                  </a:lnTo>
                  <a:lnTo>
                    <a:pt x="137401" y="36372"/>
                  </a:lnTo>
                  <a:lnTo>
                    <a:pt x="99618" y="62560"/>
                  </a:lnTo>
                  <a:lnTo>
                    <a:pt x="66814" y="94576"/>
                  </a:lnTo>
                  <a:lnTo>
                    <a:pt x="39700" y="131686"/>
                  </a:lnTo>
                  <a:lnTo>
                    <a:pt x="19037" y="173139"/>
                  </a:lnTo>
                  <a:lnTo>
                    <a:pt x="5562" y="218224"/>
                  </a:lnTo>
                  <a:lnTo>
                    <a:pt x="0" y="266192"/>
                  </a:lnTo>
                  <a:lnTo>
                    <a:pt x="47713" y="262191"/>
                  </a:lnTo>
                  <a:lnTo>
                    <a:pt x="92240" y="250532"/>
                  </a:lnTo>
                  <a:lnTo>
                    <a:pt x="133464" y="231927"/>
                  </a:lnTo>
                  <a:lnTo>
                    <a:pt x="170738" y="207060"/>
                  </a:lnTo>
                  <a:lnTo>
                    <a:pt x="203365" y="176593"/>
                  </a:lnTo>
                  <a:lnTo>
                    <a:pt x="230682" y="141224"/>
                  </a:lnTo>
                  <a:lnTo>
                    <a:pt x="252006" y="101600"/>
                  </a:lnTo>
                  <a:lnTo>
                    <a:pt x="266674" y="58420"/>
                  </a:lnTo>
                  <a:lnTo>
                    <a:pt x="273989" y="12369"/>
                  </a:lnTo>
                  <a:lnTo>
                    <a:pt x="279844" y="50101"/>
                  </a:lnTo>
                  <a:lnTo>
                    <a:pt x="295719" y="101942"/>
                  </a:lnTo>
                  <a:lnTo>
                    <a:pt x="316992" y="141744"/>
                  </a:lnTo>
                  <a:lnTo>
                    <a:pt x="344284" y="177279"/>
                  </a:lnTo>
                  <a:lnTo>
                    <a:pt x="376936" y="207886"/>
                  </a:lnTo>
                  <a:lnTo>
                    <a:pt x="414248" y="232867"/>
                  </a:lnTo>
                  <a:lnTo>
                    <a:pt x="455549" y="251561"/>
                  </a:lnTo>
                  <a:lnTo>
                    <a:pt x="500176" y="263271"/>
                  </a:lnTo>
                  <a:lnTo>
                    <a:pt x="548081" y="267322"/>
                  </a:lnTo>
                  <a:close/>
                </a:path>
              </a:pathLst>
            </a:custGeom>
            <a:solidFill>
              <a:srgbClr val="7ED3F1"/>
            </a:solidFill>
          </p:spPr>
          <p:txBody>
            <a:bodyPr wrap="square" lIns="0" tIns="0" rIns="0" bIns="0" rtlCol="0"/>
            <a:lstStyle/>
            <a:p>
              <a:endParaRPr dirty="0"/>
            </a:p>
          </p:txBody>
        </p:sp>
        <p:pic>
          <p:nvPicPr>
            <p:cNvPr id="165" name="object 163">
              <a:extLst>
                <a:ext uri="{FF2B5EF4-FFF2-40B4-BE49-F238E27FC236}">
                  <a16:creationId xmlns:a16="http://schemas.microsoft.com/office/drawing/2014/main" id="{2877FE78-B9C3-856A-F16E-53658205EFCF}"/>
                </a:ext>
              </a:extLst>
            </p:cNvPr>
            <p:cNvPicPr/>
            <p:nvPr/>
          </p:nvPicPr>
          <p:blipFill>
            <a:blip r:embed="rId14" cstate="print"/>
            <a:stretch>
              <a:fillRect/>
            </a:stretch>
          </p:blipFill>
          <p:spPr>
            <a:xfrm>
              <a:off x="11177526" y="2356067"/>
              <a:ext cx="106445" cy="107156"/>
            </a:xfrm>
            <a:prstGeom prst="rect">
              <a:avLst/>
            </a:prstGeom>
          </p:spPr>
        </p:pic>
        <p:sp>
          <p:nvSpPr>
            <p:cNvPr id="166" name="object 164">
              <a:extLst>
                <a:ext uri="{FF2B5EF4-FFF2-40B4-BE49-F238E27FC236}">
                  <a16:creationId xmlns:a16="http://schemas.microsoft.com/office/drawing/2014/main" id="{74B71D12-804B-FE89-BDD1-E63911B87D4B}"/>
                </a:ext>
              </a:extLst>
            </p:cNvPr>
            <p:cNvSpPr/>
            <p:nvPr/>
          </p:nvSpPr>
          <p:spPr>
            <a:xfrm>
              <a:off x="11064256"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167" name="object 165">
              <a:extLst>
                <a:ext uri="{FF2B5EF4-FFF2-40B4-BE49-F238E27FC236}">
                  <a16:creationId xmlns:a16="http://schemas.microsoft.com/office/drawing/2014/main" id="{1AA5305C-2DE4-BB9F-E65D-4D5AEECB1B27}"/>
                </a:ext>
              </a:extLst>
            </p:cNvPr>
            <p:cNvPicPr/>
            <p:nvPr/>
          </p:nvPicPr>
          <p:blipFill>
            <a:blip r:embed="rId22" cstate="print"/>
            <a:stretch>
              <a:fillRect/>
            </a:stretch>
          </p:blipFill>
          <p:spPr>
            <a:xfrm>
              <a:off x="11064284" y="123"/>
              <a:ext cx="152433" cy="99184"/>
            </a:xfrm>
            <a:prstGeom prst="rect">
              <a:avLst/>
            </a:prstGeom>
          </p:spPr>
        </p:pic>
        <p:pic>
          <p:nvPicPr>
            <p:cNvPr id="168" name="object 166">
              <a:extLst>
                <a:ext uri="{FF2B5EF4-FFF2-40B4-BE49-F238E27FC236}">
                  <a16:creationId xmlns:a16="http://schemas.microsoft.com/office/drawing/2014/main" id="{8369D700-5A4D-69C9-5E1E-0E5ADEDC2349}"/>
                </a:ext>
              </a:extLst>
            </p:cNvPr>
            <p:cNvPicPr/>
            <p:nvPr/>
          </p:nvPicPr>
          <p:blipFill>
            <a:blip r:embed="rId23" cstate="print"/>
            <a:stretch>
              <a:fillRect/>
            </a:stretch>
          </p:blipFill>
          <p:spPr>
            <a:xfrm>
              <a:off x="11243818" y="123"/>
              <a:ext cx="152798" cy="99837"/>
            </a:xfrm>
            <a:prstGeom prst="rect">
              <a:avLst/>
            </a:prstGeom>
          </p:spPr>
        </p:pic>
        <p:sp>
          <p:nvSpPr>
            <p:cNvPr id="169" name="object 167">
              <a:extLst>
                <a:ext uri="{FF2B5EF4-FFF2-40B4-BE49-F238E27FC236}">
                  <a16:creationId xmlns:a16="http://schemas.microsoft.com/office/drawing/2014/main" id="{9C78F140-D43F-A7F5-557C-4A8F591DAE3E}"/>
                </a:ext>
              </a:extLst>
            </p:cNvPr>
            <p:cNvSpPr/>
            <p:nvPr/>
          </p:nvSpPr>
          <p:spPr>
            <a:xfrm>
              <a:off x="11064277" y="91626"/>
              <a:ext cx="332700" cy="323458"/>
            </a:xfrm>
            <a:custGeom>
              <a:avLst/>
              <a:gdLst/>
              <a:ahLst/>
              <a:cxnLst/>
              <a:rect l="l" t="t" r="r" b="b"/>
              <a:pathLst>
                <a:path w="548640" h="533400">
                  <a:moveTo>
                    <a:pt x="548043" y="532841"/>
                  </a:moveTo>
                  <a:lnTo>
                    <a:pt x="542594" y="484682"/>
                  </a:lnTo>
                  <a:lnTo>
                    <a:pt x="529196" y="439420"/>
                  </a:lnTo>
                  <a:lnTo>
                    <a:pt x="508584" y="397789"/>
                  </a:lnTo>
                  <a:lnTo>
                    <a:pt x="481482" y="360527"/>
                  </a:lnTo>
                  <a:lnTo>
                    <a:pt x="448640" y="328383"/>
                  </a:lnTo>
                  <a:lnTo>
                    <a:pt x="410794" y="302069"/>
                  </a:lnTo>
                  <a:lnTo>
                    <a:pt x="368668" y="282333"/>
                  </a:lnTo>
                  <a:lnTo>
                    <a:pt x="322999" y="269913"/>
                  </a:lnTo>
                  <a:lnTo>
                    <a:pt x="274523" y="265544"/>
                  </a:lnTo>
                  <a:lnTo>
                    <a:pt x="273291" y="265544"/>
                  </a:lnTo>
                  <a:lnTo>
                    <a:pt x="224955" y="269900"/>
                  </a:lnTo>
                  <a:lnTo>
                    <a:pt x="179400" y="282257"/>
                  </a:lnTo>
                  <a:lnTo>
                    <a:pt x="137363" y="301904"/>
                  </a:lnTo>
                  <a:lnTo>
                    <a:pt x="99580" y="328104"/>
                  </a:lnTo>
                  <a:lnTo>
                    <a:pt x="66776" y="360121"/>
                  </a:lnTo>
                  <a:lnTo>
                    <a:pt x="39687" y="397217"/>
                  </a:lnTo>
                  <a:lnTo>
                    <a:pt x="19037" y="438683"/>
                  </a:lnTo>
                  <a:lnTo>
                    <a:pt x="5575" y="483768"/>
                  </a:lnTo>
                  <a:lnTo>
                    <a:pt x="0" y="531761"/>
                  </a:lnTo>
                  <a:lnTo>
                    <a:pt x="47675" y="527723"/>
                  </a:lnTo>
                  <a:lnTo>
                    <a:pt x="92202" y="516064"/>
                  </a:lnTo>
                  <a:lnTo>
                    <a:pt x="133426" y="497471"/>
                  </a:lnTo>
                  <a:lnTo>
                    <a:pt x="170700" y="472592"/>
                  </a:lnTo>
                  <a:lnTo>
                    <a:pt x="203327" y="442137"/>
                  </a:lnTo>
                  <a:lnTo>
                    <a:pt x="230632" y="406755"/>
                  </a:lnTo>
                  <a:lnTo>
                    <a:pt x="251955" y="367118"/>
                  </a:lnTo>
                  <a:lnTo>
                    <a:pt x="266623" y="323926"/>
                  </a:lnTo>
                  <a:lnTo>
                    <a:pt x="273951" y="277837"/>
                  </a:lnTo>
                  <a:lnTo>
                    <a:pt x="281127" y="324116"/>
                  </a:lnTo>
                  <a:lnTo>
                    <a:pt x="295681" y="367487"/>
                  </a:lnTo>
                  <a:lnTo>
                    <a:pt x="316953" y="407276"/>
                  </a:lnTo>
                  <a:lnTo>
                    <a:pt x="344246" y="442810"/>
                  </a:lnTo>
                  <a:lnTo>
                    <a:pt x="376885" y="473417"/>
                  </a:lnTo>
                  <a:lnTo>
                    <a:pt x="414197" y="498398"/>
                  </a:lnTo>
                  <a:lnTo>
                    <a:pt x="455510" y="517080"/>
                  </a:lnTo>
                  <a:lnTo>
                    <a:pt x="500126" y="528789"/>
                  </a:lnTo>
                  <a:lnTo>
                    <a:pt x="548043" y="532841"/>
                  </a:lnTo>
                  <a:close/>
                </a:path>
                <a:path w="548640" h="533400">
                  <a:moveTo>
                    <a:pt x="548043" y="267309"/>
                  </a:moveTo>
                  <a:lnTo>
                    <a:pt x="542594" y="219138"/>
                  </a:lnTo>
                  <a:lnTo>
                    <a:pt x="529196" y="173888"/>
                  </a:lnTo>
                  <a:lnTo>
                    <a:pt x="508584" y="132257"/>
                  </a:lnTo>
                  <a:lnTo>
                    <a:pt x="481482" y="94996"/>
                  </a:lnTo>
                  <a:lnTo>
                    <a:pt x="448640" y="62852"/>
                  </a:lnTo>
                  <a:lnTo>
                    <a:pt x="410794" y="36537"/>
                  </a:lnTo>
                  <a:lnTo>
                    <a:pt x="368668" y="16802"/>
                  </a:lnTo>
                  <a:lnTo>
                    <a:pt x="322999" y="4381"/>
                  </a:lnTo>
                  <a:lnTo>
                    <a:pt x="274523" y="0"/>
                  </a:lnTo>
                  <a:lnTo>
                    <a:pt x="273291" y="0"/>
                  </a:lnTo>
                  <a:lnTo>
                    <a:pt x="224955" y="4356"/>
                  </a:lnTo>
                  <a:lnTo>
                    <a:pt x="179400" y="16725"/>
                  </a:lnTo>
                  <a:lnTo>
                    <a:pt x="137363" y="36372"/>
                  </a:lnTo>
                  <a:lnTo>
                    <a:pt x="99580" y="62572"/>
                  </a:lnTo>
                  <a:lnTo>
                    <a:pt x="66776" y="94576"/>
                  </a:lnTo>
                  <a:lnTo>
                    <a:pt x="39687" y="131686"/>
                  </a:lnTo>
                  <a:lnTo>
                    <a:pt x="19037" y="173151"/>
                  </a:lnTo>
                  <a:lnTo>
                    <a:pt x="5575" y="218236"/>
                  </a:lnTo>
                  <a:lnTo>
                    <a:pt x="0" y="266230"/>
                  </a:lnTo>
                  <a:lnTo>
                    <a:pt x="47675" y="262191"/>
                  </a:lnTo>
                  <a:lnTo>
                    <a:pt x="92202" y="250532"/>
                  </a:lnTo>
                  <a:lnTo>
                    <a:pt x="133426" y="231940"/>
                  </a:lnTo>
                  <a:lnTo>
                    <a:pt x="170700" y="207060"/>
                  </a:lnTo>
                  <a:lnTo>
                    <a:pt x="203327" y="176593"/>
                  </a:lnTo>
                  <a:lnTo>
                    <a:pt x="230632" y="141211"/>
                  </a:lnTo>
                  <a:lnTo>
                    <a:pt x="251955" y="101587"/>
                  </a:lnTo>
                  <a:lnTo>
                    <a:pt x="266623" y="58394"/>
                  </a:lnTo>
                  <a:lnTo>
                    <a:pt x="273951" y="12306"/>
                  </a:lnTo>
                  <a:lnTo>
                    <a:pt x="281127" y="58585"/>
                  </a:lnTo>
                  <a:lnTo>
                    <a:pt x="295681" y="101955"/>
                  </a:lnTo>
                  <a:lnTo>
                    <a:pt x="316953" y="141744"/>
                  </a:lnTo>
                  <a:lnTo>
                    <a:pt x="344246" y="177279"/>
                  </a:lnTo>
                  <a:lnTo>
                    <a:pt x="376885" y="207873"/>
                  </a:lnTo>
                  <a:lnTo>
                    <a:pt x="414197" y="232854"/>
                  </a:lnTo>
                  <a:lnTo>
                    <a:pt x="455510" y="251548"/>
                  </a:lnTo>
                  <a:lnTo>
                    <a:pt x="500126" y="263258"/>
                  </a:lnTo>
                  <a:lnTo>
                    <a:pt x="548043" y="267309"/>
                  </a:lnTo>
                  <a:close/>
                </a:path>
              </a:pathLst>
            </a:custGeom>
            <a:solidFill>
              <a:srgbClr val="2DB7EA"/>
            </a:solidFill>
          </p:spPr>
          <p:txBody>
            <a:bodyPr wrap="square" lIns="0" tIns="0" rIns="0" bIns="0" rtlCol="0"/>
            <a:lstStyle/>
            <a:p>
              <a:endParaRPr dirty="0"/>
            </a:p>
          </p:txBody>
        </p:sp>
        <p:pic>
          <p:nvPicPr>
            <p:cNvPr id="170" name="object 168">
              <a:extLst>
                <a:ext uri="{FF2B5EF4-FFF2-40B4-BE49-F238E27FC236}">
                  <a16:creationId xmlns:a16="http://schemas.microsoft.com/office/drawing/2014/main" id="{19995FF3-CDFC-6FA5-DE39-0301A4EFDB21}"/>
                </a:ext>
              </a:extLst>
            </p:cNvPr>
            <p:cNvPicPr/>
            <p:nvPr/>
          </p:nvPicPr>
          <p:blipFill>
            <a:blip r:embed="rId13" cstate="print"/>
            <a:stretch>
              <a:fillRect/>
            </a:stretch>
          </p:blipFill>
          <p:spPr>
            <a:xfrm>
              <a:off x="11177526" y="393572"/>
              <a:ext cx="106445" cy="107156"/>
            </a:xfrm>
            <a:prstGeom prst="rect">
              <a:avLst/>
            </a:prstGeom>
          </p:spPr>
        </p:pic>
        <p:sp>
          <p:nvSpPr>
            <p:cNvPr id="171" name="object 169">
              <a:extLst>
                <a:ext uri="{FF2B5EF4-FFF2-40B4-BE49-F238E27FC236}">
                  <a16:creationId xmlns:a16="http://schemas.microsoft.com/office/drawing/2014/main" id="{5633DB41-73E3-64D3-4CBE-22D151643371}"/>
                </a:ext>
              </a:extLst>
            </p:cNvPr>
            <p:cNvSpPr/>
            <p:nvPr/>
          </p:nvSpPr>
          <p:spPr>
            <a:xfrm>
              <a:off x="11064254" y="592039"/>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78" y="581926"/>
                  </a:lnTo>
                  <a:lnTo>
                    <a:pt x="410832" y="555625"/>
                  </a:lnTo>
                  <a:lnTo>
                    <a:pt x="368706" y="535889"/>
                  </a:lnTo>
                  <a:lnTo>
                    <a:pt x="323037" y="523468"/>
                  </a:lnTo>
                  <a:lnTo>
                    <a:pt x="274561" y="519087"/>
                  </a:lnTo>
                  <a:lnTo>
                    <a:pt x="273329" y="519087"/>
                  </a:lnTo>
                  <a:lnTo>
                    <a:pt x="224993" y="523443"/>
                  </a:lnTo>
                  <a:lnTo>
                    <a:pt x="179438" y="535813"/>
                  </a:lnTo>
                  <a:lnTo>
                    <a:pt x="137401" y="555459"/>
                  </a:lnTo>
                  <a:lnTo>
                    <a:pt x="99618" y="581647"/>
                  </a:lnTo>
                  <a:lnTo>
                    <a:pt x="66814" y="613664"/>
                  </a:lnTo>
                  <a:lnTo>
                    <a:pt x="39725" y="650760"/>
                  </a:lnTo>
                  <a:lnTo>
                    <a:pt x="19075" y="692226"/>
                  </a:lnTo>
                  <a:lnTo>
                    <a:pt x="5613" y="737323"/>
                  </a:lnTo>
                  <a:lnTo>
                    <a:pt x="38" y="785304"/>
                  </a:lnTo>
                  <a:lnTo>
                    <a:pt x="47713" y="781278"/>
                  </a:lnTo>
                  <a:lnTo>
                    <a:pt x="92240" y="769620"/>
                  </a:lnTo>
                  <a:lnTo>
                    <a:pt x="133464" y="751014"/>
                  </a:lnTo>
                  <a:lnTo>
                    <a:pt x="170738" y="726147"/>
                  </a:lnTo>
                  <a:lnTo>
                    <a:pt x="203365"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52"/>
                  </a:moveTo>
                  <a:lnTo>
                    <a:pt x="542632" y="472694"/>
                  </a:lnTo>
                  <a:lnTo>
                    <a:pt x="529234" y="427431"/>
                  </a:lnTo>
                  <a:lnTo>
                    <a:pt x="508622" y="385800"/>
                  </a:lnTo>
                  <a:lnTo>
                    <a:pt x="481520" y="348551"/>
                  </a:lnTo>
                  <a:lnTo>
                    <a:pt x="448678" y="316395"/>
                  </a:lnTo>
                  <a:lnTo>
                    <a:pt x="410832" y="290080"/>
                  </a:lnTo>
                  <a:lnTo>
                    <a:pt x="368706" y="270357"/>
                  </a:lnTo>
                  <a:lnTo>
                    <a:pt x="323037" y="257924"/>
                  </a:lnTo>
                  <a:lnTo>
                    <a:pt x="274561" y="253555"/>
                  </a:lnTo>
                  <a:lnTo>
                    <a:pt x="273329" y="253555"/>
                  </a:lnTo>
                  <a:lnTo>
                    <a:pt x="224993" y="257911"/>
                  </a:lnTo>
                  <a:lnTo>
                    <a:pt x="179438" y="270281"/>
                  </a:lnTo>
                  <a:lnTo>
                    <a:pt x="137401" y="289915"/>
                  </a:lnTo>
                  <a:lnTo>
                    <a:pt x="99618" y="316115"/>
                  </a:lnTo>
                  <a:lnTo>
                    <a:pt x="66814" y="348132"/>
                  </a:lnTo>
                  <a:lnTo>
                    <a:pt x="39725" y="385229"/>
                  </a:lnTo>
                  <a:lnTo>
                    <a:pt x="19075" y="426694"/>
                  </a:lnTo>
                  <a:lnTo>
                    <a:pt x="5613" y="471779"/>
                  </a:lnTo>
                  <a:lnTo>
                    <a:pt x="38" y="519772"/>
                  </a:lnTo>
                  <a:lnTo>
                    <a:pt x="47713" y="515734"/>
                  </a:lnTo>
                  <a:lnTo>
                    <a:pt x="92240" y="504088"/>
                  </a:lnTo>
                  <a:lnTo>
                    <a:pt x="133464" y="485482"/>
                  </a:lnTo>
                  <a:lnTo>
                    <a:pt x="170738" y="460616"/>
                  </a:lnTo>
                  <a:lnTo>
                    <a:pt x="203365" y="430149"/>
                  </a:lnTo>
                  <a:lnTo>
                    <a:pt x="230670" y="394766"/>
                  </a:lnTo>
                  <a:lnTo>
                    <a:pt x="251993" y="355142"/>
                  </a:lnTo>
                  <a:lnTo>
                    <a:pt x="266661" y="311937"/>
                  </a:lnTo>
                  <a:lnTo>
                    <a:pt x="273989" y="265861"/>
                  </a:lnTo>
                  <a:lnTo>
                    <a:pt x="281165" y="312127"/>
                  </a:lnTo>
                  <a:lnTo>
                    <a:pt x="295719" y="355498"/>
                  </a:lnTo>
                  <a:lnTo>
                    <a:pt x="316992" y="395300"/>
                  </a:lnTo>
                  <a:lnTo>
                    <a:pt x="344284" y="430834"/>
                  </a:lnTo>
                  <a:lnTo>
                    <a:pt x="376923" y="461429"/>
                  </a:lnTo>
                  <a:lnTo>
                    <a:pt x="414235" y="486410"/>
                  </a:lnTo>
                  <a:lnTo>
                    <a:pt x="455549" y="505091"/>
                  </a:lnTo>
                  <a:lnTo>
                    <a:pt x="500164" y="516801"/>
                  </a:lnTo>
                  <a:lnTo>
                    <a:pt x="548081" y="520852"/>
                  </a:lnTo>
                  <a:close/>
                </a:path>
                <a:path w="548640" h="786764">
                  <a:moveTo>
                    <a:pt x="548081" y="267322"/>
                  </a:moveTo>
                  <a:lnTo>
                    <a:pt x="547077" y="258432"/>
                  </a:lnTo>
                  <a:lnTo>
                    <a:pt x="542645" y="219138"/>
                  </a:lnTo>
                  <a:lnTo>
                    <a:pt x="529247" y="173875"/>
                  </a:lnTo>
                  <a:lnTo>
                    <a:pt x="508635" y="132245"/>
                  </a:lnTo>
                  <a:lnTo>
                    <a:pt x="481533" y="94996"/>
                  </a:lnTo>
                  <a:lnTo>
                    <a:pt x="480834" y="94322"/>
                  </a:lnTo>
                  <a:lnTo>
                    <a:pt x="448691" y="62839"/>
                  </a:lnTo>
                  <a:lnTo>
                    <a:pt x="433158" y="52057"/>
                  </a:lnTo>
                  <a:lnTo>
                    <a:pt x="410832" y="36537"/>
                  </a:lnTo>
                  <a:lnTo>
                    <a:pt x="368706" y="16789"/>
                  </a:lnTo>
                  <a:lnTo>
                    <a:pt x="323037" y="4368"/>
                  </a:lnTo>
                  <a:lnTo>
                    <a:pt x="274561" y="12"/>
                  </a:lnTo>
                  <a:lnTo>
                    <a:pt x="273329" y="0"/>
                  </a:lnTo>
                  <a:lnTo>
                    <a:pt x="224993" y="4356"/>
                  </a:lnTo>
                  <a:lnTo>
                    <a:pt x="179438" y="16713"/>
                  </a:lnTo>
                  <a:lnTo>
                    <a:pt x="137401" y="36360"/>
                  </a:lnTo>
                  <a:lnTo>
                    <a:pt x="99618" y="62560"/>
                  </a:lnTo>
                  <a:lnTo>
                    <a:pt x="98793" y="63360"/>
                  </a:lnTo>
                  <a:lnTo>
                    <a:pt x="66814" y="94576"/>
                  </a:lnTo>
                  <a:lnTo>
                    <a:pt x="39700" y="131686"/>
                  </a:lnTo>
                  <a:lnTo>
                    <a:pt x="19037" y="173139"/>
                  </a:lnTo>
                  <a:lnTo>
                    <a:pt x="5562" y="218211"/>
                  </a:lnTo>
                  <a:lnTo>
                    <a:pt x="0" y="266192"/>
                  </a:lnTo>
                  <a:lnTo>
                    <a:pt x="47713" y="262178"/>
                  </a:lnTo>
                  <a:lnTo>
                    <a:pt x="92240" y="250520"/>
                  </a:lnTo>
                  <a:lnTo>
                    <a:pt x="133464" y="231927"/>
                  </a:lnTo>
                  <a:lnTo>
                    <a:pt x="170738" y="207048"/>
                  </a:lnTo>
                  <a:lnTo>
                    <a:pt x="203365" y="176593"/>
                  </a:lnTo>
                  <a:lnTo>
                    <a:pt x="230682" y="141211"/>
                  </a:lnTo>
                  <a:lnTo>
                    <a:pt x="252006" y="101587"/>
                  </a:lnTo>
                  <a:lnTo>
                    <a:pt x="266674" y="58407"/>
                  </a:lnTo>
                  <a:lnTo>
                    <a:pt x="273989" y="12357"/>
                  </a:lnTo>
                  <a:lnTo>
                    <a:pt x="281165" y="58572"/>
                  </a:lnTo>
                  <a:lnTo>
                    <a:pt x="295719" y="101942"/>
                  </a:lnTo>
                  <a:lnTo>
                    <a:pt x="316992" y="141732"/>
                  </a:lnTo>
                  <a:lnTo>
                    <a:pt x="344284" y="177266"/>
                  </a:lnTo>
                  <a:lnTo>
                    <a:pt x="376923" y="207873"/>
                  </a:lnTo>
                  <a:lnTo>
                    <a:pt x="414235" y="232854"/>
                  </a:lnTo>
                  <a:lnTo>
                    <a:pt x="455549" y="251548"/>
                  </a:lnTo>
                  <a:lnTo>
                    <a:pt x="500176" y="263258"/>
                  </a:lnTo>
                  <a:lnTo>
                    <a:pt x="548081" y="267322"/>
                  </a:lnTo>
                  <a:close/>
                </a:path>
              </a:pathLst>
            </a:custGeom>
            <a:solidFill>
              <a:srgbClr val="7ED3F1"/>
            </a:solidFill>
          </p:spPr>
          <p:txBody>
            <a:bodyPr wrap="square" lIns="0" tIns="0" rIns="0" bIns="0" rtlCol="0"/>
            <a:lstStyle/>
            <a:p>
              <a:endParaRPr dirty="0"/>
            </a:p>
          </p:txBody>
        </p:sp>
        <p:pic>
          <p:nvPicPr>
            <p:cNvPr id="172" name="object 170">
              <a:extLst>
                <a:ext uri="{FF2B5EF4-FFF2-40B4-BE49-F238E27FC236}">
                  <a16:creationId xmlns:a16="http://schemas.microsoft.com/office/drawing/2014/main" id="{DEDD2D03-374B-45C1-DDFF-DECBEAC3601B}"/>
                </a:ext>
              </a:extLst>
            </p:cNvPr>
            <p:cNvPicPr/>
            <p:nvPr/>
          </p:nvPicPr>
          <p:blipFill>
            <a:blip r:embed="rId14" cstate="print"/>
            <a:stretch>
              <a:fillRect/>
            </a:stretch>
          </p:blipFill>
          <p:spPr>
            <a:xfrm>
              <a:off x="11177526" y="1047738"/>
              <a:ext cx="106445" cy="107156"/>
            </a:xfrm>
            <a:prstGeom prst="rect">
              <a:avLst/>
            </a:prstGeom>
          </p:spPr>
        </p:pic>
        <p:sp>
          <p:nvSpPr>
            <p:cNvPr id="189" name="object 187">
              <a:extLst>
                <a:ext uri="{FF2B5EF4-FFF2-40B4-BE49-F238E27FC236}">
                  <a16:creationId xmlns:a16="http://schemas.microsoft.com/office/drawing/2014/main" id="{2AA8AD30-5A30-CA9E-A4F8-D273D477669D}"/>
                </a:ext>
              </a:extLst>
            </p:cNvPr>
            <p:cNvSpPr/>
            <p:nvPr/>
          </p:nvSpPr>
          <p:spPr>
            <a:xfrm>
              <a:off x="11834385" y="3862863"/>
              <a:ext cx="332700" cy="477101"/>
            </a:xfrm>
            <a:custGeom>
              <a:avLst/>
              <a:gdLst/>
              <a:ahLst/>
              <a:cxnLst/>
              <a:rect l="l" t="t" r="r" b="b"/>
              <a:pathLst>
                <a:path w="548640" h="786765">
                  <a:moveTo>
                    <a:pt x="548081" y="786396"/>
                  </a:moveTo>
                  <a:lnTo>
                    <a:pt x="542632" y="738238"/>
                  </a:lnTo>
                  <a:lnTo>
                    <a:pt x="529234" y="692975"/>
                  </a:lnTo>
                  <a:lnTo>
                    <a:pt x="508622" y="651344"/>
                  </a:lnTo>
                  <a:lnTo>
                    <a:pt x="481533" y="614083"/>
                  </a:lnTo>
                  <a:lnTo>
                    <a:pt x="448691" y="581939"/>
                  </a:lnTo>
                  <a:lnTo>
                    <a:pt x="410832" y="555625"/>
                  </a:lnTo>
                  <a:lnTo>
                    <a:pt x="368706" y="535889"/>
                  </a:lnTo>
                  <a:lnTo>
                    <a:pt x="323037" y="523468"/>
                  </a:lnTo>
                  <a:lnTo>
                    <a:pt x="274561" y="519099"/>
                  </a:lnTo>
                  <a:lnTo>
                    <a:pt x="273342" y="519099"/>
                  </a:lnTo>
                  <a:lnTo>
                    <a:pt x="224993" y="523455"/>
                  </a:lnTo>
                  <a:lnTo>
                    <a:pt x="179438" y="535813"/>
                  </a:lnTo>
                  <a:lnTo>
                    <a:pt x="137401" y="555459"/>
                  </a:lnTo>
                  <a:lnTo>
                    <a:pt x="99618" y="581660"/>
                  </a:lnTo>
                  <a:lnTo>
                    <a:pt x="66814" y="613664"/>
                  </a:lnTo>
                  <a:lnTo>
                    <a:pt x="39725" y="650773"/>
                  </a:lnTo>
                  <a:lnTo>
                    <a:pt x="19088" y="692226"/>
                  </a:lnTo>
                  <a:lnTo>
                    <a:pt x="5613" y="737323"/>
                  </a:lnTo>
                  <a:lnTo>
                    <a:pt x="50" y="785304"/>
                  </a:lnTo>
                  <a:lnTo>
                    <a:pt x="47713" y="781265"/>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72"/>
                  </a:lnTo>
                  <a:lnTo>
                    <a:pt x="295732" y="621042"/>
                  </a:lnTo>
                  <a:lnTo>
                    <a:pt x="316992" y="660831"/>
                  </a:lnTo>
                  <a:lnTo>
                    <a:pt x="344284" y="696366"/>
                  </a:lnTo>
                  <a:lnTo>
                    <a:pt x="376936" y="726973"/>
                  </a:lnTo>
                  <a:lnTo>
                    <a:pt x="414248"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33" y="348564"/>
                  </a:lnTo>
                  <a:lnTo>
                    <a:pt x="448691" y="316407"/>
                  </a:lnTo>
                  <a:lnTo>
                    <a:pt x="410832" y="290106"/>
                  </a:lnTo>
                  <a:lnTo>
                    <a:pt x="368706" y="270370"/>
                  </a:lnTo>
                  <a:lnTo>
                    <a:pt x="323037" y="257949"/>
                  </a:lnTo>
                  <a:lnTo>
                    <a:pt x="274561" y="253568"/>
                  </a:lnTo>
                  <a:lnTo>
                    <a:pt x="273342" y="253568"/>
                  </a:lnTo>
                  <a:lnTo>
                    <a:pt x="224993" y="257924"/>
                  </a:lnTo>
                  <a:lnTo>
                    <a:pt x="179438" y="270294"/>
                  </a:lnTo>
                  <a:lnTo>
                    <a:pt x="137401" y="289941"/>
                  </a:lnTo>
                  <a:lnTo>
                    <a:pt x="99618" y="316128"/>
                  </a:lnTo>
                  <a:lnTo>
                    <a:pt x="66814" y="348145"/>
                  </a:lnTo>
                  <a:lnTo>
                    <a:pt x="39725" y="385241"/>
                  </a:lnTo>
                  <a:lnTo>
                    <a:pt x="19088" y="426707"/>
                  </a:lnTo>
                  <a:lnTo>
                    <a:pt x="5613" y="471792"/>
                  </a:lnTo>
                  <a:lnTo>
                    <a:pt x="50" y="519785"/>
                  </a:lnTo>
                  <a:lnTo>
                    <a:pt x="47713" y="515747"/>
                  </a:lnTo>
                  <a:lnTo>
                    <a:pt x="92240" y="504101"/>
                  </a:lnTo>
                  <a:lnTo>
                    <a:pt x="133477" y="485495"/>
                  </a:lnTo>
                  <a:lnTo>
                    <a:pt x="170738" y="460629"/>
                  </a:lnTo>
                  <a:lnTo>
                    <a:pt x="203365" y="430161"/>
                  </a:lnTo>
                  <a:lnTo>
                    <a:pt x="230670" y="394779"/>
                  </a:lnTo>
                  <a:lnTo>
                    <a:pt x="252006" y="355142"/>
                  </a:lnTo>
                  <a:lnTo>
                    <a:pt x="266661" y="311950"/>
                  </a:lnTo>
                  <a:lnTo>
                    <a:pt x="274002" y="265874"/>
                  </a:lnTo>
                  <a:lnTo>
                    <a:pt x="281165" y="312140"/>
                  </a:lnTo>
                  <a:lnTo>
                    <a:pt x="295732" y="355511"/>
                  </a:lnTo>
                  <a:lnTo>
                    <a:pt x="316992" y="395300"/>
                  </a:lnTo>
                  <a:lnTo>
                    <a:pt x="344284" y="430847"/>
                  </a:lnTo>
                  <a:lnTo>
                    <a:pt x="376936" y="461441"/>
                  </a:lnTo>
                  <a:lnTo>
                    <a:pt x="414248" y="486422"/>
                  </a:lnTo>
                  <a:lnTo>
                    <a:pt x="455549" y="505104"/>
                  </a:lnTo>
                  <a:lnTo>
                    <a:pt x="500164" y="516813"/>
                  </a:lnTo>
                  <a:lnTo>
                    <a:pt x="548081" y="520865"/>
                  </a:lnTo>
                  <a:close/>
                </a:path>
                <a:path w="548640" h="786765">
                  <a:moveTo>
                    <a:pt x="548093" y="267322"/>
                  </a:moveTo>
                  <a:lnTo>
                    <a:pt x="542645" y="219151"/>
                  </a:lnTo>
                  <a:lnTo>
                    <a:pt x="529247" y="173888"/>
                  </a:lnTo>
                  <a:lnTo>
                    <a:pt x="508635" y="132257"/>
                  </a:lnTo>
                  <a:lnTo>
                    <a:pt x="492937" y="110693"/>
                  </a:lnTo>
                  <a:lnTo>
                    <a:pt x="481533" y="95008"/>
                  </a:lnTo>
                  <a:lnTo>
                    <a:pt x="448691" y="62852"/>
                  </a:lnTo>
                  <a:lnTo>
                    <a:pt x="410845" y="36550"/>
                  </a:lnTo>
                  <a:lnTo>
                    <a:pt x="368706" y="16802"/>
                  </a:lnTo>
                  <a:lnTo>
                    <a:pt x="323037" y="4381"/>
                  </a:lnTo>
                  <a:lnTo>
                    <a:pt x="274561" y="0"/>
                  </a:lnTo>
                  <a:lnTo>
                    <a:pt x="273342" y="0"/>
                  </a:lnTo>
                  <a:lnTo>
                    <a:pt x="224993" y="4356"/>
                  </a:lnTo>
                  <a:lnTo>
                    <a:pt x="179438" y="16725"/>
                  </a:lnTo>
                  <a:lnTo>
                    <a:pt x="137401" y="36372"/>
                  </a:lnTo>
                  <a:lnTo>
                    <a:pt x="99618" y="62560"/>
                  </a:lnTo>
                  <a:lnTo>
                    <a:pt x="66814" y="94576"/>
                  </a:lnTo>
                  <a:lnTo>
                    <a:pt x="39700" y="131686"/>
                  </a:lnTo>
                  <a:lnTo>
                    <a:pt x="19050" y="173139"/>
                  </a:lnTo>
                  <a:lnTo>
                    <a:pt x="5575" y="218224"/>
                  </a:lnTo>
                  <a:lnTo>
                    <a:pt x="0" y="266192"/>
                  </a:lnTo>
                  <a:lnTo>
                    <a:pt x="47713" y="262178"/>
                  </a:lnTo>
                  <a:lnTo>
                    <a:pt x="92240" y="250520"/>
                  </a:lnTo>
                  <a:lnTo>
                    <a:pt x="133477" y="231927"/>
                  </a:lnTo>
                  <a:lnTo>
                    <a:pt x="170738" y="207060"/>
                  </a:lnTo>
                  <a:lnTo>
                    <a:pt x="203365" y="176593"/>
                  </a:lnTo>
                  <a:lnTo>
                    <a:pt x="230682" y="141224"/>
                  </a:lnTo>
                  <a:lnTo>
                    <a:pt x="252006" y="101600"/>
                  </a:lnTo>
                  <a:lnTo>
                    <a:pt x="266674" y="58420"/>
                  </a:lnTo>
                  <a:lnTo>
                    <a:pt x="274002" y="12331"/>
                  </a:lnTo>
                  <a:lnTo>
                    <a:pt x="275920" y="24739"/>
                  </a:lnTo>
                  <a:lnTo>
                    <a:pt x="281165" y="58572"/>
                  </a:lnTo>
                  <a:lnTo>
                    <a:pt x="295732" y="101955"/>
                  </a:lnTo>
                  <a:lnTo>
                    <a:pt x="316992" y="141744"/>
                  </a:lnTo>
                  <a:lnTo>
                    <a:pt x="344284" y="177279"/>
                  </a:lnTo>
                  <a:lnTo>
                    <a:pt x="376936" y="207886"/>
                  </a:lnTo>
                  <a:lnTo>
                    <a:pt x="414248" y="232867"/>
                  </a:lnTo>
                  <a:lnTo>
                    <a:pt x="455561" y="251561"/>
                  </a:lnTo>
                  <a:lnTo>
                    <a:pt x="500176" y="263271"/>
                  </a:lnTo>
                  <a:lnTo>
                    <a:pt x="548093" y="267322"/>
                  </a:lnTo>
                  <a:close/>
                </a:path>
              </a:pathLst>
            </a:custGeom>
            <a:solidFill>
              <a:srgbClr val="2DB7EA"/>
            </a:solidFill>
          </p:spPr>
          <p:txBody>
            <a:bodyPr wrap="square" lIns="0" tIns="0" rIns="0" bIns="0" rtlCol="0"/>
            <a:lstStyle/>
            <a:p>
              <a:endParaRPr dirty="0"/>
            </a:p>
          </p:txBody>
        </p:sp>
        <p:pic>
          <p:nvPicPr>
            <p:cNvPr id="190" name="object 188">
              <a:extLst>
                <a:ext uri="{FF2B5EF4-FFF2-40B4-BE49-F238E27FC236}">
                  <a16:creationId xmlns:a16="http://schemas.microsoft.com/office/drawing/2014/main" id="{D42ADF91-77AE-9F15-8AE2-658FD1B72648}"/>
                </a:ext>
              </a:extLst>
            </p:cNvPr>
            <p:cNvPicPr/>
            <p:nvPr/>
          </p:nvPicPr>
          <p:blipFill>
            <a:blip r:embed="rId16" cstate="print"/>
            <a:stretch>
              <a:fillRect/>
            </a:stretch>
          </p:blipFill>
          <p:spPr>
            <a:xfrm>
              <a:off x="11947657" y="4318566"/>
              <a:ext cx="106445" cy="107156"/>
            </a:xfrm>
            <a:prstGeom prst="rect">
              <a:avLst/>
            </a:prstGeom>
          </p:spPr>
        </p:pic>
        <p:sp>
          <p:nvSpPr>
            <p:cNvPr id="191" name="object 189">
              <a:extLst>
                <a:ext uri="{FF2B5EF4-FFF2-40B4-BE49-F238E27FC236}">
                  <a16:creationId xmlns:a16="http://schemas.microsoft.com/office/drawing/2014/main" id="{CABF2EFC-282D-186A-321E-9B5866E909FA}"/>
                </a:ext>
              </a:extLst>
            </p:cNvPr>
            <p:cNvSpPr/>
            <p:nvPr/>
          </p:nvSpPr>
          <p:spPr>
            <a:xfrm>
              <a:off x="11834385" y="4517034"/>
              <a:ext cx="332700" cy="477101"/>
            </a:xfrm>
            <a:custGeom>
              <a:avLst/>
              <a:gdLst/>
              <a:ahLst/>
              <a:cxnLst/>
              <a:rect l="l" t="t" r="r" b="b"/>
              <a:pathLst>
                <a:path w="548640" h="786765">
                  <a:moveTo>
                    <a:pt x="548081" y="786384"/>
                  </a:moveTo>
                  <a:lnTo>
                    <a:pt x="542632" y="738225"/>
                  </a:lnTo>
                  <a:lnTo>
                    <a:pt x="529234"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47"/>
                  </a:lnTo>
                  <a:lnTo>
                    <a:pt x="66814" y="613664"/>
                  </a:lnTo>
                  <a:lnTo>
                    <a:pt x="39725" y="650760"/>
                  </a:lnTo>
                  <a:lnTo>
                    <a:pt x="19088" y="692226"/>
                  </a:lnTo>
                  <a:lnTo>
                    <a:pt x="5613" y="737323"/>
                  </a:lnTo>
                  <a:lnTo>
                    <a:pt x="50" y="785304"/>
                  </a:lnTo>
                  <a:lnTo>
                    <a:pt x="47713" y="781265"/>
                  </a:lnTo>
                  <a:lnTo>
                    <a:pt x="92240" y="769620"/>
                  </a:lnTo>
                  <a:lnTo>
                    <a:pt x="133477" y="751014"/>
                  </a:lnTo>
                  <a:lnTo>
                    <a:pt x="170738" y="726147"/>
                  </a:lnTo>
                  <a:lnTo>
                    <a:pt x="203365" y="695680"/>
                  </a:lnTo>
                  <a:lnTo>
                    <a:pt x="230670" y="660298"/>
                  </a:lnTo>
                  <a:lnTo>
                    <a:pt x="252006" y="620674"/>
                  </a:lnTo>
                  <a:lnTo>
                    <a:pt x="266661" y="577469"/>
                  </a:lnTo>
                  <a:lnTo>
                    <a:pt x="274002" y="531393"/>
                  </a:lnTo>
                  <a:lnTo>
                    <a:pt x="281165" y="577659"/>
                  </a:lnTo>
                  <a:lnTo>
                    <a:pt x="295732" y="621030"/>
                  </a:lnTo>
                  <a:lnTo>
                    <a:pt x="316992" y="660831"/>
                  </a:lnTo>
                  <a:lnTo>
                    <a:pt x="344284" y="696366"/>
                  </a:lnTo>
                  <a:lnTo>
                    <a:pt x="376936" y="726960"/>
                  </a:lnTo>
                  <a:lnTo>
                    <a:pt x="414248" y="751941"/>
                  </a:lnTo>
                  <a:lnTo>
                    <a:pt x="455549" y="770623"/>
                  </a:lnTo>
                  <a:lnTo>
                    <a:pt x="500164" y="782332"/>
                  </a:lnTo>
                  <a:lnTo>
                    <a:pt x="548081" y="786384"/>
                  </a:lnTo>
                  <a:close/>
                </a:path>
                <a:path w="548640" h="786765">
                  <a:moveTo>
                    <a:pt x="548081" y="520852"/>
                  </a:moveTo>
                  <a:lnTo>
                    <a:pt x="542632" y="472694"/>
                  </a:lnTo>
                  <a:lnTo>
                    <a:pt x="529234" y="427431"/>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11"/>
                  </a:lnTo>
                  <a:lnTo>
                    <a:pt x="179438" y="270281"/>
                  </a:lnTo>
                  <a:lnTo>
                    <a:pt x="137401" y="289928"/>
                  </a:lnTo>
                  <a:lnTo>
                    <a:pt x="99618" y="316128"/>
                  </a:lnTo>
                  <a:lnTo>
                    <a:pt x="66814" y="348132"/>
                  </a:lnTo>
                  <a:lnTo>
                    <a:pt x="39725" y="385241"/>
                  </a:lnTo>
                  <a:lnTo>
                    <a:pt x="19088" y="426694"/>
                  </a:lnTo>
                  <a:lnTo>
                    <a:pt x="5613" y="471779"/>
                  </a:lnTo>
                  <a:lnTo>
                    <a:pt x="50" y="519772"/>
                  </a:lnTo>
                  <a:lnTo>
                    <a:pt x="47713" y="515734"/>
                  </a:lnTo>
                  <a:lnTo>
                    <a:pt x="92240" y="504075"/>
                  </a:lnTo>
                  <a:lnTo>
                    <a:pt x="133477" y="485482"/>
                  </a:lnTo>
                  <a:lnTo>
                    <a:pt x="170738" y="460616"/>
                  </a:lnTo>
                  <a:lnTo>
                    <a:pt x="203365" y="430149"/>
                  </a:lnTo>
                  <a:lnTo>
                    <a:pt x="230670" y="394766"/>
                  </a:lnTo>
                  <a:lnTo>
                    <a:pt x="252006" y="355142"/>
                  </a:lnTo>
                  <a:lnTo>
                    <a:pt x="266661" y="311950"/>
                  </a:lnTo>
                  <a:lnTo>
                    <a:pt x="274002" y="265861"/>
                  </a:lnTo>
                  <a:lnTo>
                    <a:pt x="281165" y="312127"/>
                  </a:lnTo>
                  <a:lnTo>
                    <a:pt x="295732" y="355511"/>
                  </a:lnTo>
                  <a:lnTo>
                    <a:pt x="316992" y="395300"/>
                  </a:lnTo>
                  <a:lnTo>
                    <a:pt x="344284" y="430834"/>
                  </a:lnTo>
                  <a:lnTo>
                    <a:pt x="376936" y="461429"/>
                  </a:lnTo>
                  <a:lnTo>
                    <a:pt x="414248" y="486410"/>
                  </a:lnTo>
                  <a:lnTo>
                    <a:pt x="455549" y="505091"/>
                  </a:lnTo>
                  <a:lnTo>
                    <a:pt x="500164" y="516801"/>
                  </a:lnTo>
                  <a:lnTo>
                    <a:pt x="548081" y="520852"/>
                  </a:lnTo>
                  <a:close/>
                </a:path>
                <a:path w="548640" h="786765">
                  <a:moveTo>
                    <a:pt x="548093" y="267322"/>
                  </a:moveTo>
                  <a:lnTo>
                    <a:pt x="542645" y="219151"/>
                  </a:lnTo>
                  <a:lnTo>
                    <a:pt x="529247" y="173875"/>
                  </a:lnTo>
                  <a:lnTo>
                    <a:pt x="508635" y="132245"/>
                  </a:lnTo>
                  <a:lnTo>
                    <a:pt x="481533" y="94996"/>
                  </a:lnTo>
                  <a:lnTo>
                    <a:pt x="448691" y="62852"/>
                  </a:lnTo>
                  <a:lnTo>
                    <a:pt x="426351" y="47332"/>
                  </a:lnTo>
                  <a:lnTo>
                    <a:pt x="410845" y="36537"/>
                  </a:lnTo>
                  <a:lnTo>
                    <a:pt x="391109" y="27305"/>
                  </a:lnTo>
                  <a:lnTo>
                    <a:pt x="368719" y="16814"/>
                  </a:lnTo>
                  <a:lnTo>
                    <a:pt x="323037" y="4368"/>
                  </a:lnTo>
                  <a:lnTo>
                    <a:pt x="274561" y="0"/>
                  </a:lnTo>
                  <a:lnTo>
                    <a:pt x="273342" y="0"/>
                  </a:lnTo>
                  <a:lnTo>
                    <a:pt x="224993" y="4356"/>
                  </a:lnTo>
                  <a:lnTo>
                    <a:pt x="179438" y="16725"/>
                  </a:lnTo>
                  <a:lnTo>
                    <a:pt x="137401" y="36372"/>
                  </a:lnTo>
                  <a:lnTo>
                    <a:pt x="99618" y="62560"/>
                  </a:lnTo>
                  <a:lnTo>
                    <a:pt x="66814" y="94576"/>
                  </a:lnTo>
                  <a:lnTo>
                    <a:pt x="39700" y="131686"/>
                  </a:lnTo>
                  <a:lnTo>
                    <a:pt x="19050" y="173139"/>
                  </a:lnTo>
                  <a:lnTo>
                    <a:pt x="5575" y="218211"/>
                  </a:lnTo>
                  <a:lnTo>
                    <a:pt x="0" y="266192"/>
                  </a:lnTo>
                  <a:lnTo>
                    <a:pt x="47713" y="262166"/>
                  </a:lnTo>
                  <a:lnTo>
                    <a:pt x="92240" y="250520"/>
                  </a:lnTo>
                  <a:lnTo>
                    <a:pt x="133477" y="231914"/>
                  </a:lnTo>
                  <a:lnTo>
                    <a:pt x="170738" y="207048"/>
                  </a:lnTo>
                  <a:lnTo>
                    <a:pt x="203365" y="176593"/>
                  </a:lnTo>
                  <a:lnTo>
                    <a:pt x="230682" y="141211"/>
                  </a:lnTo>
                  <a:lnTo>
                    <a:pt x="252006" y="101600"/>
                  </a:lnTo>
                  <a:lnTo>
                    <a:pt x="266674" y="58407"/>
                  </a:lnTo>
                  <a:lnTo>
                    <a:pt x="274002" y="12319"/>
                  </a:lnTo>
                  <a:lnTo>
                    <a:pt x="275920" y="24726"/>
                  </a:lnTo>
                  <a:lnTo>
                    <a:pt x="281165" y="58572"/>
                  </a:lnTo>
                  <a:lnTo>
                    <a:pt x="295732" y="101942"/>
                  </a:lnTo>
                  <a:lnTo>
                    <a:pt x="316992" y="141732"/>
                  </a:lnTo>
                  <a:lnTo>
                    <a:pt x="344284" y="177279"/>
                  </a:lnTo>
                  <a:lnTo>
                    <a:pt x="376936" y="207873"/>
                  </a:lnTo>
                  <a:lnTo>
                    <a:pt x="414248" y="232867"/>
                  </a:lnTo>
                  <a:lnTo>
                    <a:pt x="455561"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192" name="object 190">
              <a:extLst>
                <a:ext uri="{FF2B5EF4-FFF2-40B4-BE49-F238E27FC236}">
                  <a16:creationId xmlns:a16="http://schemas.microsoft.com/office/drawing/2014/main" id="{4BE64FC9-F4F6-68A5-6DC8-9472032FA14D}"/>
                </a:ext>
              </a:extLst>
            </p:cNvPr>
            <p:cNvPicPr/>
            <p:nvPr/>
          </p:nvPicPr>
          <p:blipFill>
            <a:blip r:embed="rId17" cstate="print"/>
            <a:stretch>
              <a:fillRect/>
            </a:stretch>
          </p:blipFill>
          <p:spPr>
            <a:xfrm>
              <a:off x="11947657" y="4972731"/>
              <a:ext cx="106445" cy="107156"/>
            </a:xfrm>
            <a:prstGeom prst="rect">
              <a:avLst/>
            </a:prstGeom>
          </p:spPr>
        </p:pic>
        <p:sp>
          <p:nvSpPr>
            <p:cNvPr id="193" name="object 191">
              <a:extLst>
                <a:ext uri="{FF2B5EF4-FFF2-40B4-BE49-F238E27FC236}">
                  <a16:creationId xmlns:a16="http://schemas.microsoft.com/office/drawing/2014/main" id="{1BAA3709-C972-0F6C-6CA5-5CB11E25C8CD}"/>
                </a:ext>
              </a:extLst>
            </p:cNvPr>
            <p:cNvSpPr/>
            <p:nvPr/>
          </p:nvSpPr>
          <p:spPr>
            <a:xfrm>
              <a:off x="11834385" y="2554529"/>
              <a:ext cx="332700" cy="477101"/>
            </a:xfrm>
            <a:custGeom>
              <a:avLst/>
              <a:gdLst/>
              <a:ahLst/>
              <a:cxnLst/>
              <a:rect l="l" t="t" r="r" b="b"/>
              <a:pathLst>
                <a:path w="548640" h="786764">
                  <a:moveTo>
                    <a:pt x="548081" y="786396"/>
                  </a:moveTo>
                  <a:lnTo>
                    <a:pt x="542632" y="738238"/>
                  </a:lnTo>
                  <a:lnTo>
                    <a:pt x="529234" y="692975"/>
                  </a:lnTo>
                  <a:lnTo>
                    <a:pt x="508622" y="651344"/>
                  </a:lnTo>
                  <a:lnTo>
                    <a:pt x="481533" y="614095"/>
                  </a:lnTo>
                  <a:lnTo>
                    <a:pt x="448691" y="581939"/>
                  </a:lnTo>
                  <a:lnTo>
                    <a:pt x="410832" y="555625"/>
                  </a:lnTo>
                  <a:lnTo>
                    <a:pt x="368706" y="535901"/>
                  </a:lnTo>
                  <a:lnTo>
                    <a:pt x="323037" y="523468"/>
                  </a:lnTo>
                  <a:lnTo>
                    <a:pt x="274561" y="519099"/>
                  </a:lnTo>
                  <a:lnTo>
                    <a:pt x="273342" y="519099"/>
                  </a:lnTo>
                  <a:lnTo>
                    <a:pt x="224993" y="523455"/>
                  </a:lnTo>
                  <a:lnTo>
                    <a:pt x="179438" y="535813"/>
                  </a:lnTo>
                  <a:lnTo>
                    <a:pt x="137401" y="555459"/>
                  </a:lnTo>
                  <a:lnTo>
                    <a:pt x="99618" y="581660"/>
                  </a:lnTo>
                  <a:lnTo>
                    <a:pt x="66814" y="613676"/>
                  </a:lnTo>
                  <a:lnTo>
                    <a:pt x="39725" y="650773"/>
                  </a:lnTo>
                  <a:lnTo>
                    <a:pt x="19088" y="692238"/>
                  </a:lnTo>
                  <a:lnTo>
                    <a:pt x="5613" y="737323"/>
                  </a:lnTo>
                  <a:lnTo>
                    <a:pt x="50" y="785317"/>
                  </a:lnTo>
                  <a:lnTo>
                    <a:pt x="47713" y="781278"/>
                  </a:lnTo>
                  <a:lnTo>
                    <a:pt x="92240" y="769632"/>
                  </a:lnTo>
                  <a:lnTo>
                    <a:pt x="133477" y="751027"/>
                  </a:lnTo>
                  <a:lnTo>
                    <a:pt x="170738" y="726160"/>
                  </a:lnTo>
                  <a:lnTo>
                    <a:pt x="203365" y="695693"/>
                  </a:lnTo>
                  <a:lnTo>
                    <a:pt x="230670" y="660311"/>
                  </a:lnTo>
                  <a:lnTo>
                    <a:pt x="252006" y="620687"/>
                  </a:lnTo>
                  <a:lnTo>
                    <a:pt x="266661" y="577481"/>
                  </a:lnTo>
                  <a:lnTo>
                    <a:pt x="274002" y="531406"/>
                  </a:lnTo>
                  <a:lnTo>
                    <a:pt x="281165" y="577672"/>
                  </a:lnTo>
                  <a:lnTo>
                    <a:pt x="295732" y="621042"/>
                  </a:lnTo>
                  <a:lnTo>
                    <a:pt x="316992" y="660844"/>
                  </a:lnTo>
                  <a:lnTo>
                    <a:pt x="344284" y="696379"/>
                  </a:lnTo>
                  <a:lnTo>
                    <a:pt x="376936" y="726973"/>
                  </a:lnTo>
                  <a:lnTo>
                    <a:pt x="414248" y="751954"/>
                  </a:lnTo>
                  <a:lnTo>
                    <a:pt x="455549" y="770636"/>
                  </a:lnTo>
                  <a:lnTo>
                    <a:pt x="500164" y="782345"/>
                  </a:lnTo>
                  <a:lnTo>
                    <a:pt x="548081" y="786396"/>
                  </a:lnTo>
                  <a:close/>
                </a:path>
                <a:path w="548640" h="786764">
                  <a:moveTo>
                    <a:pt x="548081" y="520865"/>
                  </a:moveTo>
                  <a:lnTo>
                    <a:pt x="542632" y="472706"/>
                  </a:lnTo>
                  <a:lnTo>
                    <a:pt x="529234" y="427443"/>
                  </a:lnTo>
                  <a:lnTo>
                    <a:pt x="508622" y="385813"/>
                  </a:lnTo>
                  <a:lnTo>
                    <a:pt x="481533" y="348564"/>
                  </a:lnTo>
                  <a:lnTo>
                    <a:pt x="448691" y="316407"/>
                  </a:lnTo>
                  <a:lnTo>
                    <a:pt x="410832" y="290106"/>
                  </a:lnTo>
                  <a:lnTo>
                    <a:pt x="368706" y="270370"/>
                  </a:lnTo>
                  <a:lnTo>
                    <a:pt x="323037" y="257949"/>
                  </a:lnTo>
                  <a:lnTo>
                    <a:pt x="274561" y="253568"/>
                  </a:lnTo>
                  <a:lnTo>
                    <a:pt x="273342" y="253568"/>
                  </a:lnTo>
                  <a:lnTo>
                    <a:pt x="224993" y="257924"/>
                  </a:lnTo>
                  <a:lnTo>
                    <a:pt x="179438" y="270294"/>
                  </a:lnTo>
                  <a:lnTo>
                    <a:pt x="137401" y="289941"/>
                  </a:lnTo>
                  <a:lnTo>
                    <a:pt x="99618" y="316128"/>
                  </a:lnTo>
                  <a:lnTo>
                    <a:pt x="66814" y="348145"/>
                  </a:lnTo>
                  <a:lnTo>
                    <a:pt x="39725" y="385254"/>
                  </a:lnTo>
                  <a:lnTo>
                    <a:pt x="19088" y="426707"/>
                  </a:lnTo>
                  <a:lnTo>
                    <a:pt x="5613" y="471805"/>
                  </a:lnTo>
                  <a:lnTo>
                    <a:pt x="50" y="519785"/>
                  </a:lnTo>
                  <a:lnTo>
                    <a:pt x="47713" y="515759"/>
                  </a:lnTo>
                  <a:lnTo>
                    <a:pt x="92240" y="504101"/>
                  </a:lnTo>
                  <a:lnTo>
                    <a:pt x="133477" y="485495"/>
                  </a:lnTo>
                  <a:lnTo>
                    <a:pt x="170738" y="460629"/>
                  </a:lnTo>
                  <a:lnTo>
                    <a:pt x="203365" y="430161"/>
                  </a:lnTo>
                  <a:lnTo>
                    <a:pt x="230670" y="394779"/>
                  </a:lnTo>
                  <a:lnTo>
                    <a:pt x="252006" y="355155"/>
                  </a:lnTo>
                  <a:lnTo>
                    <a:pt x="266661" y="311962"/>
                  </a:lnTo>
                  <a:lnTo>
                    <a:pt x="274002" y="265874"/>
                  </a:lnTo>
                  <a:lnTo>
                    <a:pt x="281165" y="312140"/>
                  </a:lnTo>
                  <a:lnTo>
                    <a:pt x="295732" y="355511"/>
                  </a:lnTo>
                  <a:lnTo>
                    <a:pt x="316992" y="395312"/>
                  </a:lnTo>
                  <a:lnTo>
                    <a:pt x="344284" y="430847"/>
                  </a:lnTo>
                  <a:lnTo>
                    <a:pt x="376936" y="461441"/>
                  </a:lnTo>
                  <a:lnTo>
                    <a:pt x="414248" y="486422"/>
                  </a:lnTo>
                  <a:lnTo>
                    <a:pt x="455549" y="505104"/>
                  </a:lnTo>
                  <a:lnTo>
                    <a:pt x="500164" y="516813"/>
                  </a:lnTo>
                  <a:lnTo>
                    <a:pt x="548081" y="520865"/>
                  </a:lnTo>
                  <a:close/>
                </a:path>
                <a:path w="548640" h="786764">
                  <a:moveTo>
                    <a:pt x="548093" y="267335"/>
                  </a:moveTo>
                  <a:lnTo>
                    <a:pt x="542645" y="219163"/>
                  </a:lnTo>
                  <a:lnTo>
                    <a:pt x="529247" y="173888"/>
                  </a:lnTo>
                  <a:lnTo>
                    <a:pt x="508635" y="132257"/>
                  </a:lnTo>
                  <a:lnTo>
                    <a:pt x="492937" y="110693"/>
                  </a:lnTo>
                  <a:lnTo>
                    <a:pt x="481533" y="95008"/>
                  </a:lnTo>
                  <a:lnTo>
                    <a:pt x="448691" y="62865"/>
                  </a:lnTo>
                  <a:lnTo>
                    <a:pt x="410845" y="36563"/>
                  </a:lnTo>
                  <a:lnTo>
                    <a:pt x="368706" y="16802"/>
                  </a:lnTo>
                  <a:lnTo>
                    <a:pt x="323037" y="4381"/>
                  </a:lnTo>
                  <a:lnTo>
                    <a:pt x="274561" y="0"/>
                  </a:lnTo>
                  <a:lnTo>
                    <a:pt x="273342" y="0"/>
                  </a:lnTo>
                  <a:lnTo>
                    <a:pt x="224993" y="4356"/>
                  </a:lnTo>
                  <a:lnTo>
                    <a:pt x="179438" y="16725"/>
                  </a:lnTo>
                  <a:lnTo>
                    <a:pt x="137401" y="36372"/>
                  </a:lnTo>
                  <a:lnTo>
                    <a:pt x="99618" y="62572"/>
                  </a:lnTo>
                  <a:lnTo>
                    <a:pt x="66814" y="94576"/>
                  </a:lnTo>
                  <a:lnTo>
                    <a:pt x="59588" y="104470"/>
                  </a:lnTo>
                  <a:lnTo>
                    <a:pt x="39700" y="131699"/>
                  </a:lnTo>
                  <a:lnTo>
                    <a:pt x="19050" y="173151"/>
                  </a:lnTo>
                  <a:lnTo>
                    <a:pt x="5575" y="218224"/>
                  </a:lnTo>
                  <a:lnTo>
                    <a:pt x="0" y="266204"/>
                  </a:lnTo>
                  <a:lnTo>
                    <a:pt x="47713" y="262191"/>
                  </a:lnTo>
                  <a:lnTo>
                    <a:pt x="92240" y="250532"/>
                  </a:lnTo>
                  <a:lnTo>
                    <a:pt x="133477" y="231940"/>
                  </a:lnTo>
                  <a:lnTo>
                    <a:pt x="170738" y="207060"/>
                  </a:lnTo>
                  <a:lnTo>
                    <a:pt x="203365" y="176606"/>
                  </a:lnTo>
                  <a:lnTo>
                    <a:pt x="230682" y="141224"/>
                  </a:lnTo>
                  <a:lnTo>
                    <a:pt x="252006" y="101612"/>
                  </a:lnTo>
                  <a:lnTo>
                    <a:pt x="266674" y="58420"/>
                  </a:lnTo>
                  <a:lnTo>
                    <a:pt x="274002" y="12331"/>
                  </a:lnTo>
                  <a:lnTo>
                    <a:pt x="275920" y="24739"/>
                  </a:lnTo>
                  <a:lnTo>
                    <a:pt x="281165" y="58585"/>
                  </a:lnTo>
                  <a:lnTo>
                    <a:pt x="295732" y="101955"/>
                  </a:lnTo>
                  <a:lnTo>
                    <a:pt x="316992" y="141744"/>
                  </a:lnTo>
                  <a:lnTo>
                    <a:pt x="344284" y="177279"/>
                  </a:lnTo>
                  <a:lnTo>
                    <a:pt x="376936" y="207886"/>
                  </a:lnTo>
                  <a:lnTo>
                    <a:pt x="414248" y="232867"/>
                  </a:lnTo>
                  <a:lnTo>
                    <a:pt x="455561" y="251561"/>
                  </a:lnTo>
                  <a:lnTo>
                    <a:pt x="500176" y="263271"/>
                  </a:lnTo>
                  <a:lnTo>
                    <a:pt x="548093" y="267335"/>
                  </a:lnTo>
                  <a:close/>
                </a:path>
              </a:pathLst>
            </a:custGeom>
            <a:solidFill>
              <a:srgbClr val="2DB7EA"/>
            </a:solidFill>
          </p:spPr>
          <p:txBody>
            <a:bodyPr wrap="square" lIns="0" tIns="0" rIns="0" bIns="0" rtlCol="0"/>
            <a:lstStyle/>
            <a:p>
              <a:endParaRPr dirty="0"/>
            </a:p>
          </p:txBody>
        </p:sp>
        <p:pic>
          <p:nvPicPr>
            <p:cNvPr id="194" name="object 192">
              <a:extLst>
                <a:ext uri="{FF2B5EF4-FFF2-40B4-BE49-F238E27FC236}">
                  <a16:creationId xmlns:a16="http://schemas.microsoft.com/office/drawing/2014/main" id="{A38B6B6C-332C-FAD0-4CFE-B9BC4F7D8AF5}"/>
                </a:ext>
              </a:extLst>
            </p:cNvPr>
            <p:cNvPicPr/>
            <p:nvPr/>
          </p:nvPicPr>
          <p:blipFill>
            <a:blip r:embed="rId16" cstate="print"/>
            <a:stretch>
              <a:fillRect/>
            </a:stretch>
          </p:blipFill>
          <p:spPr>
            <a:xfrm>
              <a:off x="11947657" y="3010234"/>
              <a:ext cx="106445" cy="107156"/>
            </a:xfrm>
            <a:prstGeom prst="rect">
              <a:avLst/>
            </a:prstGeom>
          </p:spPr>
        </p:pic>
        <p:sp>
          <p:nvSpPr>
            <p:cNvPr id="195" name="object 193">
              <a:extLst>
                <a:ext uri="{FF2B5EF4-FFF2-40B4-BE49-F238E27FC236}">
                  <a16:creationId xmlns:a16="http://schemas.microsoft.com/office/drawing/2014/main" id="{5C8E8148-33F4-7F1D-808F-8C5491575D83}"/>
                </a:ext>
              </a:extLst>
            </p:cNvPr>
            <p:cNvSpPr/>
            <p:nvPr/>
          </p:nvSpPr>
          <p:spPr>
            <a:xfrm>
              <a:off x="11834385" y="3208700"/>
              <a:ext cx="332700" cy="477101"/>
            </a:xfrm>
            <a:custGeom>
              <a:avLst/>
              <a:gdLst/>
              <a:ahLst/>
              <a:cxnLst/>
              <a:rect l="l" t="t" r="r" b="b"/>
              <a:pathLst>
                <a:path w="548640" h="786764">
                  <a:moveTo>
                    <a:pt x="548081" y="786384"/>
                  </a:moveTo>
                  <a:lnTo>
                    <a:pt x="542632" y="738225"/>
                  </a:lnTo>
                  <a:lnTo>
                    <a:pt x="529234" y="692962"/>
                  </a:lnTo>
                  <a:lnTo>
                    <a:pt x="508622" y="651344"/>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47"/>
                  </a:lnTo>
                  <a:lnTo>
                    <a:pt x="66814" y="613664"/>
                  </a:lnTo>
                  <a:lnTo>
                    <a:pt x="39725" y="650773"/>
                  </a:lnTo>
                  <a:lnTo>
                    <a:pt x="19088" y="692226"/>
                  </a:lnTo>
                  <a:lnTo>
                    <a:pt x="5613" y="737323"/>
                  </a:lnTo>
                  <a:lnTo>
                    <a:pt x="50" y="785317"/>
                  </a:lnTo>
                  <a:lnTo>
                    <a:pt x="47713" y="781278"/>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59"/>
                  </a:lnTo>
                  <a:lnTo>
                    <a:pt x="295732" y="621042"/>
                  </a:lnTo>
                  <a:lnTo>
                    <a:pt x="316992" y="660831"/>
                  </a:lnTo>
                  <a:lnTo>
                    <a:pt x="344284" y="696366"/>
                  </a:lnTo>
                  <a:lnTo>
                    <a:pt x="376936" y="726960"/>
                  </a:lnTo>
                  <a:lnTo>
                    <a:pt x="414248" y="751941"/>
                  </a:lnTo>
                  <a:lnTo>
                    <a:pt x="455549" y="770623"/>
                  </a:lnTo>
                  <a:lnTo>
                    <a:pt x="500164" y="782332"/>
                  </a:lnTo>
                  <a:lnTo>
                    <a:pt x="548081" y="786384"/>
                  </a:lnTo>
                  <a:close/>
                </a:path>
                <a:path w="548640" h="786764">
                  <a:moveTo>
                    <a:pt x="548081" y="520865"/>
                  </a:moveTo>
                  <a:lnTo>
                    <a:pt x="542632" y="472694"/>
                  </a:lnTo>
                  <a:lnTo>
                    <a:pt x="529234" y="427431"/>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11"/>
                  </a:lnTo>
                  <a:lnTo>
                    <a:pt x="179438" y="270281"/>
                  </a:lnTo>
                  <a:lnTo>
                    <a:pt x="137401" y="289928"/>
                  </a:lnTo>
                  <a:lnTo>
                    <a:pt x="99618" y="316115"/>
                  </a:lnTo>
                  <a:lnTo>
                    <a:pt x="66814" y="348132"/>
                  </a:lnTo>
                  <a:lnTo>
                    <a:pt x="39725" y="385241"/>
                  </a:lnTo>
                  <a:lnTo>
                    <a:pt x="19088" y="426694"/>
                  </a:lnTo>
                  <a:lnTo>
                    <a:pt x="5613" y="471792"/>
                  </a:lnTo>
                  <a:lnTo>
                    <a:pt x="50" y="519785"/>
                  </a:lnTo>
                  <a:lnTo>
                    <a:pt x="47713" y="515747"/>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40"/>
                  </a:lnTo>
                  <a:lnTo>
                    <a:pt x="295732" y="355511"/>
                  </a:lnTo>
                  <a:lnTo>
                    <a:pt x="316992" y="395300"/>
                  </a:lnTo>
                  <a:lnTo>
                    <a:pt x="344284" y="430834"/>
                  </a:lnTo>
                  <a:lnTo>
                    <a:pt x="376936" y="461429"/>
                  </a:lnTo>
                  <a:lnTo>
                    <a:pt x="414248" y="486410"/>
                  </a:lnTo>
                  <a:lnTo>
                    <a:pt x="455549" y="505091"/>
                  </a:lnTo>
                  <a:lnTo>
                    <a:pt x="500164" y="516801"/>
                  </a:lnTo>
                  <a:lnTo>
                    <a:pt x="548081" y="520865"/>
                  </a:lnTo>
                  <a:close/>
                </a:path>
                <a:path w="548640" h="786764">
                  <a:moveTo>
                    <a:pt x="548093" y="267322"/>
                  </a:moveTo>
                  <a:lnTo>
                    <a:pt x="542645" y="219151"/>
                  </a:lnTo>
                  <a:lnTo>
                    <a:pt x="529247" y="173888"/>
                  </a:lnTo>
                  <a:lnTo>
                    <a:pt x="508635" y="132257"/>
                  </a:lnTo>
                  <a:lnTo>
                    <a:pt x="481533" y="94996"/>
                  </a:lnTo>
                  <a:lnTo>
                    <a:pt x="448691" y="62852"/>
                  </a:lnTo>
                  <a:lnTo>
                    <a:pt x="410845" y="36550"/>
                  </a:lnTo>
                  <a:lnTo>
                    <a:pt x="368719" y="16814"/>
                  </a:lnTo>
                  <a:lnTo>
                    <a:pt x="323037" y="4368"/>
                  </a:lnTo>
                  <a:lnTo>
                    <a:pt x="274561" y="0"/>
                  </a:lnTo>
                  <a:lnTo>
                    <a:pt x="273342" y="0"/>
                  </a:lnTo>
                  <a:lnTo>
                    <a:pt x="224993" y="4356"/>
                  </a:lnTo>
                  <a:lnTo>
                    <a:pt x="179438" y="16725"/>
                  </a:lnTo>
                  <a:lnTo>
                    <a:pt x="137401" y="36360"/>
                  </a:lnTo>
                  <a:lnTo>
                    <a:pt x="99618" y="62560"/>
                  </a:lnTo>
                  <a:lnTo>
                    <a:pt x="66814" y="94576"/>
                  </a:lnTo>
                  <a:lnTo>
                    <a:pt x="39700" y="131686"/>
                  </a:lnTo>
                  <a:lnTo>
                    <a:pt x="19050" y="173139"/>
                  </a:lnTo>
                  <a:lnTo>
                    <a:pt x="5575" y="218224"/>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4002" y="12331"/>
                  </a:lnTo>
                  <a:lnTo>
                    <a:pt x="275920" y="24739"/>
                  </a:lnTo>
                  <a:lnTo>
                    <a:pt x="281165" y="58572"/>
                  </a:lnTo>
                  <a:lnTo>
                    <a:pt x="295732" y="101942"/>
                  </a:lnTo>
                  <a:lnTo>
                    <a:pt x="316992" y="141744"/>
                  </a:lnTo>
                  <a:lnTo>
                    <a:pt x="344284" y="177279"/>
                  </a:lnTo>
                  <a:lnTo>
                    <a:pt x="376936" y="207873"/>
                  </a:lnTo>
                  <a:lnTo>
                    <a:pt x="414248" y="232867"/>
                  </a:lnTo>
                  <a:lnTo>
                    <a:pt x="455561" y="251548"/>
                  </a:lnTo>
                  <a:lnTo>
                    <a:pt x="500176" y="263271"/>
                  </a:lnTo>
                  <a:lnTo>
                    <a:pt x="548093" y="267322"/>
                  </a:lnTo>
                  <a:close/>
                </a:path>
              </a:pathLst>
            </a:custGeom>
            <a:solidFill>
              <a:srgbClr val="7ED3F1"/>
            </a:solidFill>
          </p:spPr>
          <p:txBody>
            <a:bodyPr wrap="square" lIns="0" tIns="0" rIns="0" bIns="0" rtlCol="0"/>
            <a:lstStyle/>
            <a:p>
              <a:endParaRPr dirty="0"/>
            </a:p>
          </p:txBody>
        </p:sp>
        <p:pic>
          <p:nvPicPr>
            <p:cNvPr id="196" name="object 194">
              <a:extLst>
                <a:ext uri="{FF2B5EF4-FFF2-40B4-BE49-F238E27FC236}">
                  <a16:creationId xmlns:a16="http://schemas.microsoft.com/office/drawing/2014/main" id="{567EBAAD-F3CD-AD4A-777C-969E1EE95E8D}"/>
                </a:ext>
              </a:extLst>
            </p:cNvPr>
            <p:cNvPicPr/>
            <p:nvPr/>
          </p:nvPicPr>
          <p:blipFill>
            <a:blip r:embed="rId17" cstate="print"/>
            <a:stretch>
              <a:fillRect/>
            </a:stretch>
          </p:blipFill>
          <p:spPr>
            <a:xfrm>
              <a:off x="11947657" y="3664400"/>
              <a:ext cx="106445" cy="107156"/>
            </a:xfrm>
            <a:prstGeom prst="rect">
              <a:avLst/>
            </a:prstGeom>
          </p:spPr>
        </p:pic>
        <p:sp>
          <p:nvSpPr>
            <p:cNvPr id="197" name="object 195">
              <a:extLst>
                <a:ext uri="{FF2B5EF4-FFF2-40B4-BE49-F238E27FC236}">
                  <a16:creationId xmlns:a16="http://schemas.microsoft.com/office/drawing/2014/main" id="{B8BD3672-0886-3300-7721-BA4A28C18501}"/>
                </a:ext>
              </a:extLst>
            </p:cNvPr>
            <p:cNvSpPr/>
            <p:nvPr/>
          </p:nvSpPr>
          <p:spPr>
            <a:xfrm>
              <a:off x="11834385" y="1246203"/>
              <a:ext cx="332700" cy="477101"/>
            </a:xfrm>
            <a:custGeom>
              <a:avLst/>
              <a:gdLst/>
              <a:ahLst/>
              <a:cxnLst/>
              <a:rect l="l" t="t" r="r" b="b"/>
              <a:pathLst>
                <a:path w="548640" h="786764">
                  <a:moveTo>
                    <a:pt x="548081" y="786384"/>
                  </a:moveTo>
                  <a:lnTo>
                    <a:pt x="542632" y="738225"/>
                  </a:lnTo>
                  <a:lnTo>
                    <a:pt x="529234"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47"/>
                  </a:lnTo>
                  <a:lnTo>
                    <a:pt x="66814" y="613664"/>
                  </a:lnTo>
                  <a:lnTo>
                    <a:pt x="39725" y="650760"/>
                  </a:lnTo>
                  <a:lnTo>
                    <a:pt x="19088" y="692226"/>
                  </a:lnTo>
                  <a:lnTo>
                    <a:pt x="5613" y="737323"/>
                  </a:lnTo>
                  <a:lnTo>
                    <a:pt x="50" y="785304"/>
                  </a:lnTo>
                  <a:lnTo>
                    <a:pt x="47713" y="781278"/>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59"/>
                  </a:lnTo>
                  <a:lnTo>
                    <a:pt x="295732" y="621030"/>
                  </a:lnTo>
                  <a:lnTo>
                    <a:pt x="316992" y="660831"/>
                  </a:lnTo>
                  <a:lnTo>
                    <a:pt x="344284" y="696366"/>
                  </a:lnTo>
                  <a:lnTo>
                    <a:pt x="376936" y="726960"/>
                  </a:lnTo>
                  <a:lnTo>
                    <a:pt x="414248" y="751941"/>
                  </a:lnTo>
                  <a:lnTo>
                    <a:pt x="455549" y="770623"/>
                  </a:lnTo>
                  <a:lnTo>
                    <a:pt x="500164" y="782332"/>
                  </a:lnTo>
                  <a:lnTo>
                    <a:pt x="548081" y="786384"/>
                  </a:lnTo>
                  <a:close/>
                </a:path>
                <a:path w="548640" h="786764">
                  <a:moveTo>
                    <a:pt x="548081" y="520852"/>
                  </a:moveTo>
                  <a:lnTo>
                    <a:pt x="542632" y="472694"/>
                  </a:lnTo>
                  <a:lnTo>
                    <a:pt x="529234" y="427431"/>
                  </a:lnTo>
                  <a:lnTo>
                    <a:pt x="508622" y="385813"/>
                  </a:lnTo>
                  <a:lnTo>
                    <a:pt x="481533" y="348551"/>
                  </a:lnTo>
                  <a:lnTo>
                    <a:pt x="448691" y="316395"/>
                  </a:lnTo>
                  <a:lnTo>
                    <a:pt x="410832" y="290093"/>
                  </a:lnTo>
                  <a:lnTo>
                    <a:pt x="368706" y="270357"/>
                  </a:lnTo>
                  <a:lnTo>
                    <a:pt x="323037" y="257937"/>
                  </a:lnTo>
                  <a:lnTo>
                    <a:pt x="274561" y="253555"/>
                  </a:lnTo>
                  <a:lnTo>
                    <a:pt x="273342" y="253555"/>
                  </a:lnTo>
                  <a:lnTo>
                    <a:pt x="224993" y="257911"/>
                  </a:lnTo>
                  <a:lnTo>
                    <a:pt x="179438" y="270281"/>
                  </a:lnTo>
                  <a:lnTo>
                    <a:pt x="137401" y="289928"/>
                  </a:lnTo>
                  <a:lnTo>
                    <a:pt x="99618" y="316115"/>
                  </a:lnTo>
                  <a:lnTo>
                    <a:pt x="66814" y="348132"/>
                  </a:lnTo>
                  <a:lnTo>
                    <a:pt x="39725" y="385241"/>
                  </a:lnTo>
                  <a:lnTo>
                    <a:pt x="19088" y="426694"/>
                  </a:lnTo>
                  <a:lnTo>
                    <a:pt x="5613" y="471792"/>
                  </a:lnTo>
                  <a:lnTo>
                    <a:pt x="50" y="519785"/>
                  </a:lnTo>
                  <a:lnTo>
                    <a:pt x="47713" y="515747"/>
                  </a:lnTo>
                  <a:lnTo>
                    <a:pt x="92240" y="504088"/>
                  </a:lnTo>
                  <a:lnTo>
                    <a:pt x="133477" y="485482"/>
                  </a:lnTo>
                  <a:lnTo>
                    <a:pt x="170738" y="460616"/>
                  </a:lnTo>
                  <a:lnTo>
                    <a:pt x="203365" y="430149"/>
                  </a:lnTo>
                  <a:lnTo>
                    <a:pt x="230670" y="394766"/>
                  </a:lnTo>
                  <a:lnTo>
                    <a:pt x="252006" y="355142"/>
                  </a:lnTo>
                  <a:lnTo>
                    <a:pt x="266661" y="311950"/>
                  </a:lnTo>
                  <a:lnTo>
                    <a:pt x="274002" y="265861"/>
                  </a:lnTo>
                  <a:lnTo>
                    <a:pt x="281165" y="312127"/>
                  </a:lnTo>
                  <a:lnTo>
                    <a:pt x="295732" y="355511"/>
                  </a:lnTo>
                  <a:lnTo>
                    <a:pt x="316992" y="395300"/>
                  </a:lnTo>
                  <a:lnTo>
                    <a:pt x="344284" y="430834"/>
                  </a:lnTo>
                  <a:lnTo>
                    <a:pt x="376936" y="461429"/>
                  </a:lnTo>
                  <a:lnTo>
                    <a:pt x="414248" y="486410"/>
                  </a:lnTo>
                  <a:lnTo>
                    <a:pt x="455549" y="505091"/>
                  </a:lnTo>
                  <a:lnTo>
                    <a:pt x="500164" y="516801"/>
                  </a:lnTo>
                  <a:lnTo>
                    <a:pt x="548081" y="520852"/>
                  </a:lnTo>
                  <a:close/>
                </a:path>
                <a:path w="548640" h="786764">
                  <a:moveTo>
                    <a:pt x="548093" y="267322"/>
                  </a:moveTo>
                  <a:lnTo>
                    <a:pt x="542645" y="219151"/>
                  </a:lnTo>
                  <a:lnTo>
                    <a:pt x="529247" y="173875"/>
                  </a:lnTo>
                  <a:lnTo>
                    <a:pt x="508635" y="132257"/>
                  </a:lnTo>
                  <a:lnTo>
                    <a:pt x="481533" y="94996"/>
                  </a:lnTo>
                  <a:lnTo>
                    <a:pt x="448691" y="62852"/>
                  </a:lnTo>
                  <a:lnTo>
                    <a:pt x="410845" y="36550"/>
                  </a:lnTo>
                  <a:lnTo>
                    <a:pt x="368706" y="16789"/>
                  </a:lnTo>
                  <a:lnTo>
                    <a:pt x="323037" y="4368"/>
                  </a:lnTo>
                  <a:lnTo>
                    <a:pt x="274561" y="0"/>
                  </a:lnTo>
                  <a:lnTo>
                    <a:pt x="273342" y="0"/>
                  </a:lnTo>
                  <a:lnTo>
                    <a:pt x="224993" y="4356"/>
                  </a:lnTo>
                  <a:lnTo>
                    <a:pt x="179438" y="16713"/>
                  </a:lnTo>
                  <a:lnTo>
                    <a:pt x="137401" y="36360"/>
                  </a:lnTo>
                  <a:lnTo>
                    <a:pt x="99618" y="62560"/>
                  </a:lnTo>
                  <a:lnTo>
                    <a:pt x="66814" y="94576"/>
                  </a:lnTo>
                  <a:lnTo>
                    <a:pt x="39700" y="131686"/>
                  </a:lnTo>
                  <a:lnTo>
                    <a:pt x="19050" y="173139"/>
                  </a:lnTo>
                  <a:lnTo>
                    <a:pt x="5575" y="218211"/>
                  </a:lnTo>
                  <a:lnTo>
                    <a:pt x="0" y="266192"/>
                  </a:lnTo>
                  <a:lnTo>
                    <a:pt x="47713" y="262178"/>
                  </a:lnTo>
                  <a:lnTo>
                    <a:pt x="92240" y="250532"/>
                  </a:lnTo>
                  <a:lnTo>
                    <a:pt x="133477" y="231927"/>
                  </a:lnTo>
                  <a:lnTo>
                    <a:pt x="170738" y="207060"/>
                  </a:lnTo>
                  <a:lnTo>
                    <a:pt x="203365" y="176593"/>
                  </a:lnTo>
                  <a:lnTo>
                    <a:pt x="230682" y="141224"/>
                  </a:lnTo>
                  <a:lnTo>
                    <a:pt x="252006" y="101600"/>
                  </a:lnTo>
                  <a:lnTo>
                    <a:pt x="266674" y="58407"/>
                  </a:lnTo>
                  <a:lnTo>
                    <a:pt x="274002" y="12319"/>
                  </a:lnTo>
                  <a:lnTo>
                    <a:pt x="275920" y="24726"/>
                  </a:lnTo>
                  <a:lnTo>
                    <a:pt x="281165" y="58572"/>
                  </a:lnTo>
                  <a:lnTo>
                    <a:pt x="295732" y="101942"/>
                  </a:lnTo>
                  <a:lnTo>
                    <a:pt x="316992" y="141744"/>
                  </a:lnTo>
                  <a:lnTo>
                    <a:pt x="344284" y="177279"/>
                  </a:lnTo>
                  <a:lnTo>
                    <a:pt x="376936" y="207873"/>
                  </a:lnTo>
                  <a:lnTo>
                    <a:pt x="414248" y="232867"/>
                  </a:lnTo>
                  <a:lnTo>
                    <a:pt x="455561" y="251548"/>
                  </a:lnTo>
                  <a:lnTo>
                    <a:pt x="500176" y="263271"/>
                  </a:lnTo>
                  <a:lnTo>
                    <a:pt x="548093" y="267322"/>
                  </a:lnTo>
                  <a:close/>
                </a:path>
              </a:pathLst>
            </a:custGeom>
            <a:solidFill>
              <a:srgbClr val="2DB7EA"/>
            </a:solidFill>
          </p:spPr>
          <p:txBody>
            <a:bodyPr wrap="square" lIns="0" tIns="0" rIns="0" bIns="0" rtlCol="0"/>
            <a:lstStyle/>
            <a:p>
              <a:endParaRPr dirty="0"/>
            </a:p>
          </p:txBody>
        </p:sp>
        <p:pic>
          <p:nvPicPr>
            <p:cNvPr id="198" name="object 196">
              <a:extLst>
                <a:ext uri="{FF2B5EF4-FFF2-40B4-BE49-F238E27FC236}">
                  <a16:creationId xmlns:a16="http://schemas.microsoft.com/office/drawing/2014/main" id="{5EC7CC9C-1D9B-8389-590F-2BD130C176FA}"/>
                </a:ext>
              </a:extLst>
            </p:cNvPr>
            <p:cNvPicPr/>
            <p:nvPr/>
          </p:nvPicPr>
          <p:blipFill>
            <a:blip r:embed="rId16" cstate="print"/>
            <a:stretch>
              <a:fillRect/>
            </a:stretch>
          </p:blipFill>
          <p:spPr>
            <a:xfrm>
              <a:off x="11947657" y="1701903"/>
              <a:ext cx="106445" cy="107156"/>
            </a:xfrm>
            <a:prstGeom prst="rect">
              <a:avLst/>
            </a:prstGeom>
          </p:spPr>
        </p:pic>
        <p:sp>
          <p:nvSpPr>
            <p:cNvPr id="199" name="object 197">
              <a:extLst>
                <a:ext uri="{FF2B5EF4-FFF2-40B4-BE49-F238E27FC236}">
                  <a16:creationId xmlns:a16="http://schemas.microsoft.com/office/drawing/2014/main" id="{36587C07-3EAD-1F32-9733-3E4906E2A7CE}"/>
                </a:ext>
              </a:extLst>
            </p:cNvPr>
            <p:cNvSpPr/>
            <p:nvPr/>
          </p:nvSpPr>
          <p:spPr>
            <a:xfrm>
              <a:off x="11834385" y="1900365"/>
              <a:ext cx="332700" cy="477101"/>
            </a:xfrm>
            <a:custGeom>
              <a:avLst/>
              <a:gdLst/>
              <a:ahLst/>
              <a:cxnLst/>
              <a:rect l="l" t="t" r="r" b="b"/>
              <a:pathLst>
                <a:path w="548640" h="786764">
                  <a:moveTo>
                    <a:pt x="548081" y="786396"/>
                  </a:moveTo>
                  <a:lnTo>
                    <a:pt x="542632" y="738225"/>
                  </a:lnTo>
                  <a:lnTo>
                    <a:pt x="529234" y="692962"/>
                  </a:lnTo>
                  <a:lnTo>
                    <a:pt x="508622" y="651344"/>
                  </a:lnTo>
                  <a:lnTo>
                    <a:pt x="481533" y="614083"/>
                  </a:lnTo>
                  <a:lnTo>
                    <a:pt x="448691" y="581939"/>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60"/>
                  </a:lnTo>
                  <a:lnTo>
                    <a:pt x="66814" y="613664"/>
                  </a:lnTo>
                  <a:lnTo>
                    <a:pt x="39725" y="650773"/>
                  </a:lnTo>
                  <a:lnTo>
                    <a:pt x="19088" y="692238"/>
                  </a:lnTo>
                  <a:lnTo>
                    <a:pt x="5613" y="737323"/>
                  </a:lnTo>
                  <a:lnTo>
                    <a:pt x="50" y="785317"/>
                  </a:lnTo>
                  <a:lnTo>
                    <a:pt x="47713" y="781278"/>
                  </a:lnTo>
                  <a:lnTo>
                    <a:pt x="92240" y="769620"/>
                  </a:lnTo>
                  <a:lnTo>
                    <a:pt x="133477" y="751027"/>
                  </a:lnTo>
                  <a:lnTo>
                    <a:pt x="170738" y="726147"/>
                  </a:lnTo>
                  <a:lnTo>
                    <a:pt x="203365" y="695680"/>
                  </a:lnTo>
                  <a:lnTo>
                    <a:pt x="230670" y="660298"/>
                  </a:lnTo>
                  <a:lnTo>
                    <a:pt x="252006" y="620674"/>
                  </a:lnTo>
                  <a:lnTo>
                    <a:pt x="266661" y="577481"/>
                  </a:lnTo>
                  <a:lnTo>
                    <a:pt x="274002" y="531393"/>
                  </a:lnTo>
                  <a:lnTo>
                    <a:pt x="281165" y="577672"/>
                  </a:lnTo>
                  <a:lnTo>
                    <a:pt x="295732" y="621042"/>
                  </a:lnTo>
                  <a:lnTo>
                    <a:pt x="316992" y="660831"/>
                  </a:lnTo>
                  <a:lnTo>
                    <a:pt x="344284" y="696366"/>
                  </a:lnTo>
                  <a:lnTo>
                    <a:pt x="376936" y="726960"/>
                  </a:lnTo>
                  <a:lnTo>
                    <a:pt x="414248" y="751941"/>
                  </a:lnTo>
                  <a:lnTo>
                    <a:pt x="455549" y="770636"/>
                  </a:lnTo>
                  <a:lnTo>
                    <a:pt x="500164" y="782332"/>
                  </a:lnTo>
                  <a:lnTo>
                    <a:pt x="548081" y="786396"/>
                  </a:lnTo>
                  <a:close/>
                </a:path>
                <a:path w="548640" h="786764">
                  <a:moveTo>
                    <a:pt x="548081" y="520865"/>
                  </a:moveTo>
                  <a:lnTo>
                    <a:pt x="542632" y="472706"/>
                  </a:lnTo>
                  <a:lnTo>
                    <a:pt x="529234" y="427443"/>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24"/>
                  </a:lnTo>
                  <a:lnTo>
                    <a:pt x="179438" y="270281"/>
                  </a:lnTo>
                  <a:lnTo>
                    <a:pt x="137401" y="289928"/>
                  </a:lnTo>
                  <a:lnTo>
                    <a:pt x="99618" y="316128"/>
                  </a:lnTo>
                  <a:lnTo>
                    <a:pt x="66814" y="348132"/>
                  </a:lnTo>
                  <a:lnTo>
                    <a:pt x="39725" y="385241"/>
                  </a:lnTo>
                  <a:lnTo>
                    <a:pt x="19088" y="426707"/>
                  </a:lnTo>
                  <a:lnTo>
                    <a:pt x="5613" y="471792"/>
                  </a:lnTo>
                  <a:lnTo>
                    <a:pt x="50" y="519785"/>
                  </a:lnTo>
                  <a:lnTo>
                    <a:pt x="47713" y="515747"/>
                  </a:lnTo>
                  <a:lnTo>
                    <a:pt x="92240" y="504088"/>
                  </a:lnTo>
                  <a:lnTo>
                    <a:pt x="133477" y="485495"/>
                  </a:lnTo>
                  <a:lnTo>
                    <a:pt x="170738" y="460616"/>
                  </a:lnTo>
                  <a:lnTo>
                    <a:pt x="203365" y="430161"/>
                  </a:lnTo>
                  <a:lnTo>
                    <a:pt x="230670" y="394766"/>
                  </a:lnTo>
                  <a:lnTo>
                    <a:pt x="252006" y="355142"/>
                  </a:lnTo>
                  <a:lnTo>
                    <a:pt x="266661" y="311950"/>
                  </a:lnTo>
                  <a:lnTo>
                    <a:pt x="274002" y="265861"/>
                  </a:lnTo>
                  <a:lnTo>
                    <a:pt x="281165" y="312140"/>
                  </a:lnTo>
                  <a:lnTo>
                    <a:pt x="295732" y="355511"/>
                  </a:lnTo>
                  <a:lnTo>
                    <a:pt x="316992" y="395300"/>
                  </a:lnTo>
                  <a:lnTo>
                    <a:pt x="344284" y="430834"/>
                  </a:lnTo>
                  <a:lnTo>
                    <a:pt x="376936" y="461441"/>
                  </a:lnTo>
                  <a:lnTo>
                    <a:pt x="414248" y="486410"/>
                  </a:lnTo>
                  <a:lnTo>
                    <a:pt x="455549" y="505104"/>
                  </a:lnTo>
                  <a:lnTo>
                    <a:pt x="500164" y="516813"/>
                  </a:lnTo>
                  <a:lnTo>
                    <a:pt x="548081" y="520865"/>
                  </a:lnTo>
                  <a:close/>
                </a:path>
                <a:path w="548640" h="786764">
                  <a:moveTo>
                    <a:pt x="548093" y="267322"/>
                  </a:moveTo>
                  <a:lnTo>
                    <a:pt x="542645" y="219151"/>
                  </a:lnTo>
                  <a:lnTo>
                    <a:pt x="529247" y="173888"/>
                  </a:lnTo>
                  <a:lnTo>
                    <a:pt x="508635" y="132257"/>
                  </a:lnTo>
                  <a:lnTo>
                    <a:pt x="501230" y="122097"/>
                  </a:lnTo>
                  <a:lnTo>
                    <a:pt x="481533" y="95008"/>
                  </a:lnTo>
                  <a:lnTo>
                    <a:pt x="448691" y="62852"/>
                  </a:lnTo>
                  <a:lnTo>
                    <a:pt x="410845" y="36550"/>
                  </a:lnTo>
                  <a:lnTo>
                    <a:pt x="368719" y="16814"/>
                  </a:lnTo>
                  <a:lnTo>
                    <a:pt x="323037" y="4381"/>
                  </a:lnTo>
                  <a:lnTo>
                    <a:pt x="274561" y="0"/>
                  </a:lnTo>
                  <a:lnTo>
                    <a:pt x="273342" y="0"/>
                  </a:lnTo>
                  <a:lnTo>
                    <a:pt x="224993" y="4356"/>
                  </a:lnTo>
                  <a:lnTo>
                    <a:pt x="179438" y="16725"/>
                  </a:lnTo>
                  <a:lnTo>
                    <a:pt x="137401" y="36372"/>
                  </a:lnTo>
                  <a:lnTo>
                    <a:pt x="99618" y="62560"/>
                  </a:lnTo>
                  <a:lnTo>
                    <a:pt x="66814" y="94576"/>
                  </a:lnTo>
                  <a:lnTo>
                    <a:pt x="39700" y="131686"/>
                  </a:lnTo>
                  <a:lnTo>
                    <a:pt x="19050" y="173139"/>
                  </a:lnTo>
                  <a:lnTo>
                    <a:pt x="5575" y="218224"/>
                  </a:lnTo>
                  <a:lnTo>
                    <a:pt x="0" y="266192"/>
                  </a:lnTo>
                  <a:lnTo>
                    <a:pt x="47713" y="262191"/>
                  </a:lnTo>
                  <a:lnTo>
                    <a:pt x="92240" y="250532"/>
                  </a:lnTo>
                  <a:lnTo>
                    <a:pt x="133477" y="231927"/>
                  </a:lnTo>
                  <a:lnTo>
                    <a:pt x="170738" y="207060"/>
                  </a:lnTo>
                  <a:lnTo>
                    <a:pt x="203365" y="176593"/>
                  </a:lnTo>
                  <a:lnTo>
                    <a:pt x="230682" y="141224"/>
                  </a:lnTo>
                  <a:lnTo>
                    <a:pt x="252006" y="101600"/>
                  </a:lnTo>
                  <a:lnTo>
                    <a:pt x="266674" y="58420"/>
                  </a:lnTo>
                  <a:lnTo>
                    <a:pt x="274002" y="12331"/>
                  </a:lnTo>
                  <a:lnTo>
                    <a:pt x="275920" y="24739"/>
                  </a:lnTo>
                  <a:lnTo>
                    <a:pt x="281165" y="58572"/>
                  </a:lnTo>
                  <a:lnTo>
                    <a:pt x="290842" y="87388"/>
                  </a:lnTo>
                  <a:lnTo>
                    <a:pt x="295732" y="101955"/>
                  </a:lnTo>
                  <a:lnTo>
                    <a:pt x="316992" y="141744"/>
                  </a:lnTo>
                  <a:lnTo>
                    <a:pt x="344284" y="177279"/>
                  </a:lnTo>
                  <a:lnTo>
                    <a:pt x="376936" y="207886"/>
                  </a:lnTo>
                  <a:lnTo>
                    <a:pt x="414248" y="232867"/>
                  </a:lnTo>
                  <a:lnTo>
                    <a:pt x="455561"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200" name="object 198">
              <a:extLst>
                <a:ext uri="{FF2B5EF4-FFF2-40B4-BE49-F238E27FC236}">
                  <a16:creationId xmlns:a16="http://schemas.microsoft.com/office/drawing/2014/main" id="{46271FE4-1942-6ACB-3903-795E2EF1FBD1}"/>
                </a:ext>
              </a:extLst>
            </p:cNvPr>
            <p:cNvPicPr/>
            <p:nvPr/>
          </p:nvPicPr>
          <p:blipFill>
            <a:blip r:embed="rId17" cstate="print"/>
            <a:stretch>
              <a:fillRect/>
            </a:stretch>
          </p:blipFill>
          <p:spPr>
            <a:xfrm>
              <a:off x="11947657" y="2356067"/>
              <a:ext cx="106445" cy="107156"/>
            </a:xfrm>
            <a:prstGeom prst="rect">
              <a:avLst/>
            </a:prstGeom>
          </p:spPr>
        </p:pic>
        <p:sp>
          <p:nvSpPr>
            <p:cNvPr id="201" name="object 199">
              <a:extLst>
                <a:ext uri="{FF2B5EF4-FFF2-40B4-BE49-F238E27FC236}">
                  <a16:creationId xmlns:a16="http://schemas.microsoft.com/office/drawing/2014/main" id="{BC90CC45-1E04-7512-3DA7-AE2E10338FDD}"/>
                </a:ext>
              </a:extLst>
            </p:cNvPr>
            <p:cNvSpPr/>
            <p:nvPr/>
          </p:nvSpPr>
          <p:spPr>
            <a:xfrm>
              <a:off x="11834389"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202" name="object 200">
              <a:extLst>
                <a:ext uri="{FF2B5EF4-FFF2-40B4-BE49-F238E27FC236}">
                  <a16:creationId xmlns:a16="http://schemas.microsoft.com/office/drawing/2014/main" id="{8576851D-D5C6-D776-97E0-CF84A927078C}"/>
                </a:ext>
              </a:extLst>
            </p:cNvPr>
            <p:cNvPicPr/>
            <p:nvPr/>
          </p:nvPicPr>
          <p:blipFill>
            <a:blip r:embed="rId22" cstate="print"/>
            <a:stretch>
              <a:fillRect/>
            </a:stretch>
          </p:blipFill>
          <p:spPr>
            <a:xfrm>
              <a:off x="11834417" y="123"/>
              <a:ext cx="152433" cy="99184"/>
            </a:xfrm>
            <a:prstGeom prst="rect">
              <a:avLst/>
            </a:prstGeom>
          </p:spPr>
        </p:pic>
        <p:pic>
          <p:nvPicPr>
            <p:cNvPr id="203" name="object 201">
              <a:extLst>
                <a:ext uri="{FF2B5EF4-FFF2-40B4-BE49-F238E27FC236}">
                  <a16:creationId xmlns:a16="http://schemas.microsoft.com/office/drawing/2014/main" id="{1DA12498-D889-3D4C-0271-BAD99D3CFEEA}"/>
                </a:ext>
              </a:extLst>
            </p:cNvPr>
            <p:cNvPicPr/>
            <p:nvPr/>
          </p:nvPicPr>
          <p:blipFill>
            <a:blip r:embed="rId21" cstate="print"/>
            <a:stretch>
              <a:fillRect/>
            </a:stretch>
          </p:blipFill>
          <p:spPr>
            <a:xfrm>
              <a:off x="12013952" y="123"/>
              <a:ext cx="152798" cy="99837"/>
            </a:xfrm>
            <a:prstGeom prst="rect">
              <a:avLst/>
            </a:prstGeom>
          </p:spPr>
        </p:pic>
        <p:sp>
          <p:nvSpPr>
            <p:cNvPr id="204" name="object 202">
              <a:extLst>
                <a:ext uri="{FF2B5EF4-FFF2-40B4-BE49-F238E27FC236}">
                  <a16:creationId xmlns:a16="http://schemas.microsoft.com/office/drawing/2014/main" id="{EA72EC76-FBEA-1320-2792-256DA0DB4671}"/>
                </a:ext>
              </a:extLst>
            </p:cNvPr>
            <p:cNvSpPr/>
            <p:nvPr/>
          </p:nvSpPr>
          <p:spPr>
            <a:xfrm>
              <a:off x="11834416" y="91626"/>
              <a:ext cx="332700" cy="323458"/>
            </a:xfrm>
            <a:custGeom>
              <a:avLst/>
              <a:gdLst/>
              <a:ahLst/>
              <a:cxnLst/>
              <a:rect l="l" t="t" r="r" b="b"/>
              <a:pathLst>
                <a:path w="548640" h="533400">
                  <a:moveTo>
                    <a:pt x="548030" y="532841"/>
                  </a:moveTo>
                  <a:lnTo>
                    <a:pt x="542582" y="484682"/>
                  </a:lnTo>
                  <a:lnTo>
                    <a:pt x="529183" y="439420"/>
                  </a:lnTo>
                  <a:lnTo>
                    <a:pt x="508571" y="397789"/>
                  </a:lnTo>
                  <a:lnTo>
                    <a:pt x="481482" y="360527"/>
                  </a:lnTo>
                  <a:lnTo>
                    <a:pt x="448640" y="328383"/>
                  </a:lnTo>
                  <a:lnTo>
                    <a:pt x="410781" y="302069"/>
                  </a:lnTo>
                  <a:lnTo>
                    <a:pt x="368655" y="282333"/>
                  </a:lnTo>
                  <a:lnTo>
                    <a:pt x="322986" y="269913"/>
                  </a:lnTo>
                  <a:lnTo>
                    <a:pt x="274510" y="265544"/>
                  </a:lnTo>
                  <a:lnTo>
                    <a:pt x="273291" y="265544"/>
                  </a:lnTo>
                  <a:lnTo>
                    <a:pt x="224942" y="269900"/>
                  </a:lnTo>
                  <a:lnTo>
                    <a:pt x="179387" y="282257"/>
                  </a:lnTo>
                  <a:lnTo>
                    <a:pt x="137350" y="301904"/>
                  </a:lnTo>
                  <a:lnTo>
                    <a:pt x="99568" y="328104"/>
                  </a:lnTo>
                  <a:lnTo>
                    <a:pt x="66763" y="360121"/>
                  </a:lnTo>
                  <a:lnTo>
                    <a:pt x="39674" y="397217"/>
                  </a:lnTo>
                  <a:lnTo>
                    <a:pt x="19037" y="438683"/>
                  </a:lnTo>
                  <a:lnTo>
                    <a:pt x="5562" y="483768"/>
                  </a:lnTo>
                  <a:lnTo>
                    <a:pt x="0" y="531761"/>
                  </a:lnTo>
                  <a:lnTo>
                    <a:pt x="47663" y="527723"/>
                  </a:lnTo>
                  <a:lnTo>
                    <a:pt x="92189" y="516064"/>
                  </a:lnTo>
                  <a:lnTo>
                    <a:pt x="133426" y="497471"/>
                  </a:lnTo>
                  <a:lnTo>
                    <a:pt x="170688" y="472592"/>
                  </a:lnTo>
                  <a:lnTo>
                    <a:pt x="203314" y="442137"/>
                  </a:lnTo>
                  <a:lnTo>
                    <a:pt x="230619" y="406755"/>
                  </a:lnTo>
                  <a:lnTo>
                    <a:pt x="251955" y="367118"/>
                  </a:lnTo>
                  <a:lnTo>
                    <a:pt x="266611" y="323926"/>
                  </a:lnTo>
                  <a:lnTo>
                    <a:pt x="273951" y="277837"/>
                  </a:lnTo>
                  <a:lnTo>
                    <a:pt x="281114" y="324116"/>
                  </a:lnTo>
                  <a:lnTo>
                    <a:pt x="295681" y="367487"/>
                  </a:lnTo>
                  <a:lnTo>
                    <a:pt x="316941" y="407276"/>
                  </a:lnTo>
                  <a:lnTo>
                    <a:pt x="344233" y="442810"/>
                  </a:lnTo>
                  <a:lnTo>
                    <a:pt x="376885" y="473417"/>
                  </a:lnTo>
                  <a:lnTo>
                    <a:pt x="414197" y="498398"/>
                  </a:lnTo>
                  <a:lnTo>
                    <a:pt x="455498" y="517080"/>
                  </a:lnTo>
                  <a:lnTo>
                    <a:pt x="500113" y="528789"/>
                  </a:lnTo>
                  <a:lnTo>
                    <a:pt x="548030" y="532841"/>
                  </a:lnTo>
                  <a:close/>
                </a:path>
                <a:path w="548640" h="533400">
                  <a:moveTo>
                    <a:pt x="548030" y="267309"/>
                  </a:moveTo>
                  <a:lnTo>
                    <a:pt x="542582" y="219138"/>
                  </a:lnTo>
                  <a:lnTo>
                    <a:pt x="529183" y="173888"/>
                  </a:lnTo>
                  <a:lnTo>
                    <a:pt x="508571" y="132257"/>
                  </a:lnTo>
                  <a:lnTo>
                    <a:pt x="481482" y="94996"/>
                  </a:lnTo>
                  <a:lnTo>
                    <a:pt x="448640" y="62852"/>
                  </a:lnTo>
                  <a:lnTo>
                    <a:pt x="410781" y="36537"/>
                  </a:lnTo>
                  <a:lnTo>
                    <a:pt x="368655" y="16802"/>
                  </a:lnTo>
                  <a:lnTo>
                    <a:pt x="322986" y="4381"/>
                  </a:lnTo>
                  <a:lnTo>
                    <a:pt x="274510" y="0"/>
                  </a:lnTo>
                  <a:lnTo>
                    <a:pt x="273291" y="0"/>
                  </a:lnTo>
                  <a:lnTo>
                    <a:pt x="224942" y="4356"/>
                  </a:lnTo>
                  <a:lnTo>
                    <a:pt x="179387" y="16725"/>
                  </a:lnTo>
                  <a:lnTo>
                    <a:pt x="137350" y="36372"/>
                  </a:lnTo>
                  <a:lnTo>
                    <a:pt x="99568" y="62572"/>
                  </a:lnTo>
                  <a:lnTo>
                    <a:pt x="66763" y="94576"/>
                  </a:lnTo>
                  <a:lnTo>
                    <a:pt x="39674" y="131686"/>
                  </a:lnTo>
                  <a:lnTo>
                    <a:pt x="19037" y="173151"/>
                  </a:lnTo>
                  <a:lnTo>
                    <a:pt x="5562" y="218236"/>
                  </a:lnTo>
                  <a:lnTo>
                    <a:pt x="0" y="266230"/>
                  </a:lnTo>
                  <a:lnTo>
                    <a:pt x="47663" y="262191"/>
                  </a:lnTo>
                  <a:lnTo>
                    <a:pt x="92189" y="250532"/>
                  </a:lnTo>
                  <a:lnTo>
                    <a:pt x="133426" y="231940"/>
                  </a:lnTo>
                  <a:lnTo>
                    <a:pt x="170688" y="207060"/>
                  </a:lnTo>
                  <a:lnTo>
                    <a:pt x="203314" y="176593"/>
                  </a:lnTo>
                  <a:lnTo>
                    <a:pt x="230619" y="141211"/>
                  </a:lnTo>
                  <a:lnTo>
                    <a:pt x="251955" y="101587"/>
                  </a:lnTo>
                  <a:lnTo>
                    <a:pt x="266611" y="58394"/>
                  </a:lnTo>
                  <a:lnTo>
                    <a:pt x="273951" y="12306"/>
                  </a:lnTo>
                  <a:lnTo>
                    <a:pt x="281114" y="58585"/>
                  </a:lnTo>
                  <a:lnTo>
                    <a:pt x="295681" y="101955"/>
                  </a:lnTo>
                  <a:lnTo>
                    <a:pt x="316941" y="141744"/>
                  </a:lnTo>
                  <a:lnTo>
                    <a:pt x="344233" y="177279"/>
                  </a:lnTo>
                  <a:lnTo>
                    <a:pt x="376885" y="207873"/>
                  </a:lnTo>
                  <a:lnTo>
                    <a:pt x="414197" y="232854"/>
                  </a:lnTo>
                  <a:lnTo>
                    <a:pt x="455498" y="251548"/>
                  </a:lnTo>
                  <a:lnTo>
                    <a:pt x="500113" y="263258"/>
                  </a:lnTo>
                  <a:lnTo>
                    <a:pt x="548030" y="267309"/>
                  </a:lnTo>
                  <a:close/>
                </a:path>
              </a:pathLst>
            </a:custGeom>
            <a:solidFill>
              <a:srgbClr val="2DB7EA"/>
            </a:solidFill>
          </p:spPr>
          <p:txBody>
            <a:bodyPr wrap="square" lIns="0" tIns="0" rIns="0" bIns="0" rtlCol="0"/>
            <a:lstStyle/>
            <a:p>
              <a:endParaRPr dirty="0"/>
            </a:p>
          </p:txBody>
        </p:sp>
        <p:pic>
          <p:nvPicPr>
            <p:cNvPr id="205" name="object 203">
              <a:extLst>
                <a:ext uri="{FF2B5EF4-FFF2-40B4-BE49-F238E27FC236}">
                  <a16:creationId xmlns:a16="http://schemas.microsoft.com/office/drawing/2014/main" id="{2D09C568-88E6-B5EC-7718-075FF99D4C91}"/>
                </a:ext>
              </a:extLst>
            </p:cNvPr>
            <p:cNvPicPr/>
            <p:nvPr/>
          </p:nvPicPr>
          <p:blipFill>
            <a:blip r:embed="rId16" cstate="print"/>
            <a:stretch>
              <a:fillRect/>
            </a:stretch>
          </p:blipFill>
          <p:spPr>
            <a:xfrm>
              <a:off x="11947657" y="393572"/>
              <a:ext cx="106445" cy="107156"/>
            </a:xfrm>
            <a:prstGeom prst="rect">
              <a:avLst/>
            </a:prstGeom>
          </p:spPr>
        </p:pic>
        <p:sp>
          <p:nvSpPr>
            <p:cNvPr id="206" name="object 204">
              <a:extLst>
                <a:ext uri="{FF2B5EF4-FFF2-40B4-BE49-F238E27FC236}">
                  <a16:creationId xmlns:a16="http://schemas.microsoft.com/office/drawing/2014/main" id="{64214872-D8FF-DF63-0EED-8F529E1FF5D9}"/>
                </a:ext>
              </a:extLst>
            </p:cNvPr>
            <p:cNvSpPr/>
            <p:nvPr/>
          </p:nvSpPr>
          <p:spPr>
            <a:xfrm>
              <a:off x="11834385" y="592039"/>
              <a:ext cx="332700" cy="477101"/>
            </a:xfrm>
            <a:custGeom>
              <a:avLst/>
              <a:gdLst/>
              <a:ahLst/>
              <a:cxnLst/>
              <a:rect l="l" t="t" r="r" b="b"/>
              <a:pathLst>
                <a:path w="548640" h="786764">
                  <a:moveTo>
                    <a:pt x="548081" y="786384"/>
                  </a:moveTo>
                  <a:lnTo>
                    <a:pt x="542632" y="738225"/>
                  </a:lnTo>
                  <a:lnTo>
                    <a:pt x="529234"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01" y="555459"/>
                  </a:lnTo>
                  <a:lnTo>
                    <a:pt x="99618" y="581647"/>
                  </a:lnTo>
                  <a:lnTo>
                    <a:pt x="66814" y="613664"/>
                  </a:lnTo>
                  <a:lnTo>
                    <a:pt x="39725" y="650760"/>
                  </a:lnTo>
                  <a:lnTo>
                    <a:pt x="19088" y="692226"/>
                  </a:lnTo>
                  <a:lnTo>
                    <a:pt x="5613" y="737323"/>
                  </a:lnTo>
                  <a:lnTo>
                    <a:pt x="50" y="785304"/>
                  </a:lnTo>
                  <a:lnTo>
                    <a:pt x="47713" y="781278"/>
                  </a:lnTo>
                  <a:lnTo>
                    <a:pt x="92240" y="769620"/>
                  </a:lnTo>
                  <a:lnTo>
                    <a:pt x="133477" y="751014"/>
                  </a:lnTo>
                  <a:lnTo>
                    <a:pt x="170738" y="726147"/>
                  </a:lnTo>
                  <a:lnTo>
                    <a:pt x="203365" y="695680"/>
                  </a:lnTo>
                  <a:lnTo>
                    <a:pt x="230670" y="660298"/>
                  </a:lnTo>
                  <a:lnTo>
                    <a:pt x="252006" y="620674"/>
                  </a:lnTo>
                  <a:lnTo>
                    <a:pt x="266661" y="577481"/>
                  </a:lnTo>
                  <a:lnTo>
                    <a:pt x="274002" y="531393"/>
                  </a:lnTo>
                  <a:lnTo>
                    <a:pt x="281165" y="577659"/>
                  </a:lnTo>
                  <a:lnTo>
                    <a:pt x="295732" y="621030"/>
                  </a:lnTo>
                  <a:lnTo>
                    <a:pt x="316992" y="660831"/>
                  </a:lnTo>
                  <a:lnTo>
                    <a:pt x="344284" y="696366"/>
                  </a:lnTo>
                  <a:lnTo>
                    <a:pt x="376936" y="726960"/>
                  </a:lnTo>
                  <a:lnTo>
                    <a:pt x="414248" y="751941"/>
                  </a:lnTo>
                  <a:lnTo>
                    <a:pt x="455549" y="770623"/>
                  </a:lnTo>
                  <a:lnTo>
                    <a:pt x="500164" y="782332"/>
                  </a:lnTo>
                  <a:lnTo>
                    <a:pt x="548081" y="786384"/>
                  </a:lnTo>
                  <a:close/>
                </a:path>
                <a:path w="548640" h="786764">
                  <a:moveTo>
                    <a:pt x="548081" y="520852"/>
                  </a:moveTo>
                  <a:lnTo>
                    <a:pt x="542632" y="472694"/>
                  </a:lnTo>
                  <a:lnTo>
                    <a:pt x="529234" y="427431"/>
                  </a:lnTo>
                  <a:lnTo>
                    <a:pt x="508622" y="385800"/>
                  </a:lnTo>
                  <a:lnTo>
                    <a:pt x="481533" y="348551"/>
                  </a:lnTo>
                  <a:lnTo>
                    <a:pt x="448691" y="316395"/>
                  </a:lnTo>
                  <a:lnTo>
                    <a:pt x="410832" y="290080"/>
                  </a:lnTo>
                  <a:lnTo>
                    <a:pt x="368706" y="270357"/>
                  </a:lnTo>
                  <a:lnTo>
                    <a:pt x="323037" y="257924"/>
                  </a:lnTo>
                  <a:lnTo>
                    <a:pt x="274561" y="253555"/>
                  </a:lnTo>
                  <a:lnTo>
                    <a:pt x="273342" y="253555"/>
                  </a:lnTo>
                  <a:lnTo>
                    <a:pt x="224993" y="257911"/>
                  </a:lnTo>
                  <a:lnTo>
                    <a:pt x="179438" y="270281"/>
                  </a:lnTo>
                  <a:lnTo>
                    <a:pt x="137401" y="289915"/>
                  </a:lnTo>
                  <a:lnTo>
                    <a:pt x="99618" y="316115"/>
                  </a:lnTo>
                  <a:lnTo>
                    <a:pt x="66814" y="348132"/>
                  </a:lnTo>
                  <a:lnTo>
                    <a:pt x="39725" y="385229"/>
                  </a:lnTo>
                  <a:lnTo>
                    <a:pt x="19088" y="426694"/>
                  </a:lnTo>
                  <a:lnTo>
                    <a:pt x="5613" y="471779"/>
                  </a:lnTo>
                  <a:lnTo>
                    <a:pt x="50" y="519772"/>
                  </a:lnTo>
                  <a:lnTo>
                    <a:pt x="47713" y="515734"/>
                  </a:lnTo>
                  <a:lnTo>
                    <a:pt x="92240" y="504088"/>
                  </a:lnTo>
                  <a:lnTo>
                    <a:pt x="133477" y="485482"/>
                  </a:lnTo>
                  <a:lnTo>
                    <a:pt x="170738" y="460616"/>
                  </a:lnTo>
                  <a:lnTo>
                    <a:pt x="203365" y="430149"/>
                  </a:lnTo>
                  <a:lnTo>
                    <a:pt x="230670" y="394766"/>
                  </a:lnTo>
                  <a:lnTo>
                    <a:pt x="252006" y="355142"/>
                  </a:lnTo>
                  <a:lnTo>
                    <a:pt x="266661" y="311937"/>
                  </a:lnTo>
                  <a:lnTo>
                    <a:pt x="274002" y="265861"/>
                  </a:lnTo>
                  <a:lnTo>
                    <a:pt x="281165" y="312127"/>
                  </a:lnTo>
                  <a:lnTo>
                    <a:pt x="295732" y="355498"/>
                  </a:lnTo>
                  <a:lnTo>
                    <a:pt x="316992" y="395300"/>
                  </a:lnTo>
                  <a:lnTo>
                    <a:pt x="344284" y="430834"/>
                  </a:lnTo>
                  <a:lnTo>
                    <a:pt x="376936" y="461429"/>
                  </a:lnTo>
                  <a:lnTo>
                    <a:pt x="414248" y="486410"/>
                  </a:lnTo>
                  <a:lnTo>
                    <a:pt x="455549" y="505091"/>
                  </a:lnTo>
                  <a:lnTo>
                    <a:pt x="500164" y="516801"/>
                  </a:lnTo>
                  <a:lnTo>
                    <a:pt x="548081" y="520852"/>
                  </a:lnTo>
                  <a:close/>
                </a:path>
                <a:path w="548640" h="786764">
                  <a:moveTo>
                    <a:pt x="548093" y="267322"/>
                  </a:moveTo>
                  <a:lnTo>
                    <a:pt x="542645" y="219138"/>
                  </a:lnTo>
                  <a:lnTo>
                    <a:pt x="529247" y="173875"/>
                  </a:lnTo>
                  <a:lnTo>
                    <a:pt x="508635" y="132245"/>
                  </a:lnTo>
                  <a:lnTo>
                    <a:pt x="492937" y="110680"/>
                  </a:lnTo>
                  <a:lnTo>
                    <a:pt x="481533" y="94996"/>
                  </a:lnTo>
                  <a:lnTo>
                    <a:pt x="448691" y="62839"/>
                  </a:lnTo>
                  <a:lnTo>
                    <a:pt x="410845" y="36537"/>
                  </a:lnTo>
                  <a:lnTo>
                    <a:pt x="368706" y="16789"/>
                  </a:lnTo>
                  <a:lnTo>
                    <a:pt x="323037" y="4368"/>
                  </a:lnTo>
                  <a:lnTo>
                    <a:pt x="274574" y="12"/>
                  </a:lnTo>
                  <a:lnTo>
                    <a:pt x="273342" y="0"/>
                  </a:lnTo>
                  <a:lnTo>
                    <a:pt x="224993" y="4356"/>
                  </a:lnTo>
                  <a:lnTo>
                    <a:pt x="179438" y="16713"/>
                  </a:lnTo>
                  <a:lnTo>
                    <a:pt x="137401" y="36360"/>
                  </a:lnTo>
                  <a:lnTo>
                    <a:pt x="99618" y="62560"/>
                  </a:lnTo>
                  <a:lnTo>
                    <a:pt x="66814" y="94576"/>
                  </a:lnTo>
                  <a:lnTo>
                    <a:pt x="39700" y="131686"/>
                  </a:lnTo>
                  <a:lnTo>
                    <a:pt x="19050" y="173139"/>
                  </a:lnTo>
                  <a:lnTo>
                    <a:pt x="5575" y="218211"/>
                  </a:lnTo>
                  <a:lnTo>
                    <a:pt x="0" y="266192"/>
                  </a:lnTo>
                  <a:lnTo>
                    <a:pt x="47713" y="262178"/>
                  </a:lnTo>
                  <a:lnTo>
                    <a:pt x="92240" y="250520"/>
                  </a:lnTo>
                  <a:lnTo>
                    <a:pt x="133477" y="231927"/>
                  </a:lnTo>
                  <a:lnTo>
                    <a:pt x="170738" y="207048"/>
                  </a:lnTo>
                  <a:lnTo>
                    <a:pt x="203365" y="176593"/>
                  </a:lnTo>
                  <a:lnTo>
                    <a:pt x="230682" y="141211"/>
                  </a:lnTo>
                  <a:lnTo>
                    <a:pt x="252006" y="101587"/>
                  </a:lnTo>
                  <a:lnTo>
                    <a:pt x="266674" y="58407"/>
                  </a:lnTo>
                  <a:lnTo>
                    <a:pt x="274002" y="12319"/>
                  </a:lnTo>
                  <a:lnTo>
                    <a:pt x="275691" y="23253"/>
                  </a:lnTo>
                  <a:lnTo>
                    <a:pt x="281165" y="58572"/>
                  </a:lnTo>
                  <a:lnTo>
                    <a:pt x="295732" y="101942"/>
                  </a:lnTo>
                  <a:lnTo>
                    <a:pt x="316992" y="141732"/>
                  </a:lnTo>
                  <a:lnTo>
                    <a:pt x="344284" y="177266"/>
                  </a:lnTo>
                  <a:lnTo>
                    <a:pt x="376936" y="207873"/>
                  </a:lnTo>
                  <a:lnTo>
                    <a:pt x="414248" y="232854"/>
                  </a:lnTo>
                  <a:lnTo>
                    <a:pt x="455561"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207" name="object 205">
              <a:extLst>
                <a:ext uri="{FF2B5EF4-FFF2-40B4-BE49-F238E27FC236}">
                  <a16:creationId xmlns:a16="http://schemas.microsoft.com/office/drawing/2014/main" id="{19FC7425-9F7E-1215-195A-AF9637BBB105}"/>
                </a:ext>
              </a:extLst>
            </p:cNvPr>
            <p:cNvPicPr/>
            <p:nvPr/>
          </p:nvPicPr>
          <p:blipFill>
            <a:blip r:embed="rId17" cstate="print"/>
            <a:stretch>
              <a:fillRect/>
            </a:stretch>
          </p:blipFill>
          <p:spPr>
            <a:xfrm>
              <a:off x="11947657" y="1047738"/>
              <a:ext cx="106445" cy="107156"/>
            </a:xfrm>
            <a:prstGeom prst="rect">
              <a:avLst/>
            </a:prstGeom>
          </p:spPr>
        </p:pic>
        <p:sp>
          <p:nvSpPr>
            <p:cNvPr id="243" name="object 241">
              <a:extLst>
                <a:ext uri="{FF2B5EF4-FFF2-40B4-BE49-F238E27FC236}">
                  <a16:creationId xmlns:a16="http://schemas.microsoft.com/office/drawing/2014/main" id="{436AC2AD-F604-9C1E-6E03-784BEF626A08}"/>
                </a:ext>
              </a:extLst>
            </p:cNvPr>
            <p:cNvSpPr/>
            <p:nvPr/>
          </p:nvSpPr>
          <p:spPr>
            <a:xfrm>
              <a:off x="7598678" y="804428"/>
              <a:ext cx="332700" cy="477101"/>
            </a:xfrm>
            <a:custGeom>
              <a:avLst/>
              <a:gdLst/>
              <a:ahLst/>
              <a:cxnLst/>
              <a:rect l="l" t="t" r="r" b="b"/>
              <a:pathLst>
                <a:path w="548640" h="786764">
                  <a:moveTo>
                    <a:pt x="548043" y="266598"/>
                  </a:moveTo>
                  <a:lnTo>
                    <a:pt x="500367" y="270637"/>
                  </a:lnTo>
                  <a:lnTo>
                    <a:pt x="455841" y="282295"/>
                  </a:lnTo>
                  <a:lnTo>
                    <a:pt x="414616" y="300901"/>
                  </a:lnTo>
                  <a:lnTo>
                    <a:pt x="377342" y="325767"/>
                  </a:lnTo>
                  <a:lnTo>
                    <a:pt x="344728" y="356235"/>
                  </a:lnTo>
                  <a:lnTo>
                    <a:pt x="317411" y="391617"/>
                  </a:lnTo>
                  <a:lnTo>
                    <a:pt x="296087" y="431241"/>
                  </a:lnTo>
                  <a:lnTo>
                    <a:pt x="281419" y="474433"/>
                  </a:lnTo>
                  <a:lnTo>
                    <a:pt x="274091" y="520522"/>
                  </a:lnTo>
                  <a:lnTo>
                    <a:pt x="266915" y="474256"/>
                  </a:lnTo>
                  <a:lnTo>
                    <a:pt x="252361" y="430872"/>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88"/>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42"/>
                  </a:lnTo>
                  <a:lnTo>
                    <a:pt x="529005" y="359689"/>
                  </a:lnTo>
                  <a:lnTo>
                    <a:pt x="542480" y="314591"/>
                  </a:lnTo>
                  <a:lnTo>
                    <a:pt x="548043" y="266598"/>
                  </a:lnTo>
                  <a:close/>
                </a:path>
                <a:path w="548640" h="786764">
                  <a:moveTo>
                    <a:pt x="548043" y="1079"/>
                  </a:moveTo>
                  <a:lnTo>
                    <a:pt x="500367" y="5105"/>
                  </a:lnTo>
                  <a:lnTo>
                    <a:pt x="455841" y="16764"/>
                  </a:lnTo>
                  <a:lnTo>
                    <a:pt x="414616" y="35369"/>
                  </a:lnTo>
                  <a:lnTo>
                    <a:pt x="377342" y="60236"/>
                  </a:lnTo>
                  <a:lnTo>
                    <a:pt x="344728"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80" y="49060"/>
                  </a:lnTo>
                  <a:lnTo>
                    <a:pt x="548043" y="1079"/>
                  </a:lnTo>
                  <a:close/>
                </a:path>
                <a:path w="548640" h="786764">
                  <a:moveTo>
                    <a:pt x="548081" y="520192"/>
                  </a:moveTo>
                  <a:lnTo>
                    <a:pt x="500367" y="524205"/>
                  </a:lnTo>
                  <a:lnTo>
                    <a:pt x="455841" y="535851"/>
                  </a:lnTo>
                  <a:lnTo>
                    <a:pt x="414616" y="554456"/>
                  </a:lnTo>
                  <a:lnTo>
                    <a:pt x="377342" y="579323"/>
                  </a:lnTo>
                  <a:lnTo>
                    <a:pt x="360464" y="595083"/>
                  </a:lnTo>
                  <a:lnTo>
                    <a:pt x="344728" y="609790"/>
                  </a:lnTo>
                  <a:lnTo>
                    <a:pt x="317398" y="645160"/>
                  </a:lnTo>
                  <a:lnTo>
                    <a:pt x="296075" y="684784"/>
                  </a:lnTo>
                  <a:lnTo>
                    <a:pt x="281419" y="727976"/>
                  </a:lnTo>
                  <a:lnTo>
                    <a:pt x="274078" y="774039"/>
                  </a:lnTo>
                  <a:lnTo>
                    <a:pt x="268224" y="736295"/>
                  </a:lnTo>
                  <a:lnTo>
                    <a:pt x="266915" y="727811"/>
                  </a:lnTo>
                  <a:lnTo>
                    <a:pt x="252361" y="684441"/>
                  </a:lnTo>
                  <a:lnTo>
                    <a:pt x="231089" y="644652"/>
                  </a:lnTo>
                  <a:lnTo>
                    <a:pt x="203796" y="609117"/>
                  </a:lnTo>
                  <a:lnTo>
                    <a:pt x="171157" y="578510"/>
                  </a:lnTo>
                  <a:lnTo>
                    <a:pt x="133845" y="553529"/>
                  </a:lnTo>
                  <a:lnTo>
                    <a:pt x="92532" y="534847"/>
                  </a:lnTo>
                  <a:lnTo>
                    <a:pt x="47904" y="523113"/>
                  </a:lnTo>
                  <a:lnTo>
                    <a:pt x="0" y="519061"/>
                  </a:lnTo>
                  <a:lnTo>
                    <a:pt x="5448" y="567245"/>
                  </a:lnTo>
                  <a:lnTo>
                    <a:pt x="8496" y="577583"/>
                  </a:lnTo>
                  <a:lnTo>
                    <a:pt x="18834" y="612508"/>
                  </a:lnTo>
                  <a:lnTo>
                    <a:pt x="32626" y="640346"/>
                  </a:lnTo>
                  <a:lnTo>
                    <a:pt x="39458" y="654138"/>
                  </a:lnTo>
                  <a:lnTo>
                    <a:pt x="66548" y="691388"/>
                  </a:lnTo>
                  <a:lnTo>
                    <a:pt x="98704" y="722871"/>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49275" y="723023"/>
                  </a:lnTo>
                  <a:lnTo>
                    <a:pt x="481266" y="691807"/>
                  </a:lnTo>
                  <a:lnTo>
                    <a:pt x="508393" y="654697"/>
                  </a:lnTo>
                  <a:lnTo>
                    <a:pt x="529043" y="613244"/>
                  </a:lnTo>
                  <a:lnTo>
                    <a:pt x="542518" y="568172"/>
                  </a:lnTo>
                  <a:lnTo>
                    <a:pt x="548081" y="520192"/>
                  </a:lnTo>
                  <a:close/>
                </a:path>
              </a:pathLst>
            </a:custGeom>
            <a:solidFill>
              <a:srgbClr val="2DB7EA"/>
            </a:solidFill>
          </p:spPr>
          <p:txBody>
            <a:bodyPr wrap="square" lIns="0" tIns="0" rIns="0" bIns="0" rtlCol="0"/>
            <a:lstStyle/>
            <a:p>
              <a:endParaRPr dirty="0"/>
            </a:p>
          </p:txBody>
        </p:sp>
        <p:pic>
          <p:nvPicPr>
            <p:cNvPr id="244" name="object 242">
              <a:extLst>
                <a:ext uri="{FF2B5EF4-FFF2-40B4-BE49-F238E27FC236}">
                  <a16:creationId xmlns:a16="http://schemas.microsoft.com/office/drawing/2014/main" id="{DB836A4F-66F1-07C3-62CC-98ADD5CCF717}"/>
                </a:ext>
              </a:extLst>
            </p:cNvPr>
            <p:cNvPicPr/>
            <p:nvPr/>
          </p:nvPicPr>
          <p:blipFill>
            <a:blip r:embed="rId5" cstate="print"/>
            <a:stretch>
              <a:fillRect/>
            </a:stretch>
          </p:blipFill>
          <p:spPr>
            <a:xfrm>
              <a:off x="7711331" y="718433"/>
              <a:ext cx="106445" cy="107156"/>
            </a:xfrm>
            <a:prstGeom prst="rect">
              <a:avLst/>
            </a:prstGeom>
          </p:spPr>
        </p:pic>
        <p:sp>
          <p:nvSpPr>
            <p:cNvPr id="245" name="object 243">
              <a:extLst>
                <a:ext uri="{FF2B5EF4-FFF2-40B4-BE49-F238E27FC236}">
                  <a16:creationId xmlns:a16="http://schemas.microsoft.com/office/drawing/2014/main" id="{3E430CD5-7DAB-A556-FBB4-6BAE7CA834D8}"/>
                </a:ext>
              </a:extLst>
            </p:cNvPr>
            <p:cNvSpPr/>
            <p:nvPr/>
          </p:nvSpPr>
          <p:spPr>
            <a:xfrm>
              <a:off x="7598678" y="150257"/>
              <a:ext cx="332700" cy="477101"/>
            </a:xfrm>
            <a:custGeom>
              <a:avLst/>
              <a:gdLst/>
              <a:ahLst/>
              <a:cxnLst/>
              <a:rect l="l" t="t" r="r" b="b"/>
              <a:pathLst>
                <a:path w="548640" h="786765">
                  <a:moveTo>
                    <a:pt x="548043" y="266611"/>
                  </a:moveTo>
                  <a:lnTo>
                    <a:pt x="500367" y="270649"/>
                  </a:lnTo>
                  <a:lnTo>
                    <a:pt x="455841" y="282308"/>
                  </a:lnTo>
                  <a:lnTo>
                    <a:pt x="414616" y="300901"/>
                  </a:lnTo>
                  <a:lnTo>
                    <a:pt x="377342" y="325767"/>
                  </a:lnTo>
                  <a:lnTo>
                    <a:pt x="344728" y="356235"/>
                  </a:lnTo>
                  <a:lnTo>
                    <a:pt x="317411" y="391617"/>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39"/>
                  </a:lnTo>
                  <a:lnTo>
                    <a:pt x="225044" y="528459"/>
                  </a:lnTo>
                  <a:lnTo>
                    <a:pt x="273519" y="532828"/>
                  </a:lnTo>
                  <a:lnTo>
                    <a:pt x="274751" y="532828"/>
                  </a:lnTo>
                  <a:lnTo>
                    <a:pt x="323088" y="528472"/>
                  </a:lnTo>
                  <a:lnTo>
                    <a:pt x="368642" y="516115"/>
                  </a:lnTo>
                  <a:lnTo>
                    <a:pt x="410679" y="496468"/>
                  </a:lnTo>
                  <a:lnTo>
                    <a:pt x="448462" y="470268"/>
                  </a:lnTo>
                  <a:lnTo>
                    <a:pt x="481266" y="438251"/>
                  </a:lnTo>
                  <a:lnTo>
                    <a:pt x="508355" y="401154"/>
                  </a:lnTo>
                  <a:lnTo>
                    <a:pt x="529005" y="359689"/>
                  </a:lnTo>
                  <a:lnTo>
                    <a:pt x="542480" y="314604"/>
                  </a:lnTo>
                  <a:lnTo>
                    <a:pt x="548043" y="266611"/>
                  </a:lnTo>
                  <a:close/>
                </a:path>
                <a:path w="548640" h="786765">
                  <a:moveTo>
                    <a:pt x="548043" y="1079"/>
                  </a:moveTo>
                  <a:lnTo>
                    <a:pt x="500367" y="5118"/>
                  </a:lnTo>
                  <a:lnTo>
                    <a:pt x="455841" y="16776"/>
                  </a:lnTo>
                  <a:lnTo>
                    <a:pt x="414616" y="35369"/>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60"/>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36"/>
                  </a:lnTo>
                  <a:lnTo>
                    <a:pt x="481266" y="172732"/>
                  </a:lnTo>
                  <a:lnTo>
                    <a:pt x="508355" y="135623"/>
                  </a:lnTo>
                  <a:lnTo>
                    <a:pt x="529005" y="94157"/>
                  </a:lnTo>
                  <a:lnTo>
                    <a:pt x="542480" y="49072"/>
                  </a:lnTo>
                  <a:lnTo>
                    <a:pt x="548043" y="1079"/>
                  </a:lnTo>
                  <a:close/>
                </a:path>
                <a:path w="548640" h="786765">
                  <a:moveTo>
                    <a:pt x="548081" y="520204"/>
                  </a:moveTo>
                  <a:lnTo>
                    <a:pt x="500367" y="524205"/>
                  </a:lnTo>
                  <a:lnTo>
                    <a:pt x="455841" y="535863"/>
                  </a:lnTo>
                  <a:lnTo>
                    <a:pt x="414616" y="554469"/>
                  </a:lnTo>
                  <a:lnTo>
                    <a:pt x="377342" y="579335"/>
                  </a:lnTo>
                  <a:lnTo>
                    <a:pt x="344728" y="609803"/>
                  </a:lnTo>
                  <a:lnTo>
                    <a:pt x="317398" y="645172"/>
                  </a:lnTo>
                  <a:lnTo>
                    <a:pt x="296075" y="684796"/>
                  </a:lnTo>
                  <a:lnTo>
                    <a:pt x="281419" y="727976"/>
                  </a:lnTo>
                  <a:lnTo>
                    <a:pt x="274078" y="774039"/>
                  </a:lnTo>
                  <a:lnTo>
                    <a:pt x="268224" y="736307"/>
                  </a:lnTo>
                  <a:lnTo>
                    <a:pt x="266915" y="727824"/>
                  </a:lnTo>
                  <a:lnTo>
                    <a:pt x="252361" y="684453"/>
                  </a:lnTo>
                  <a:lnTo>
                    <a:pt x="231089" y="644652"/>
                  </a:lnTo>
                  <a:lnTo>
                    <a:pt x="203796" y="609117"/>
                  </a:lnTo>
                  <a:lnTo>
                    <a:pt x="171157" y="578523"/>
                  </a:lnTo>
                  <a:lnTo>
                    <a:pt x="133845" y="553542"/>
                  </a:lnTo>
                  <a:lnTo>
                    <a:pt x="92532" y="534835"/>
                  </a:lnTo>
                  <a:lnTo>
                    <a:pt x="47904" y="523125"/>
                  </a:lnTo>
                  <a:lnTo>
                    <a:pt x="0" y="519074"/>
                  </a:lnTo>
                  <a:lnTo>
                    <a:pt x="5448" y="567258"/>
                  </a:lnTo>
                  <a:lnTo>
                    <a:pt x="9410" y="580644"/>
                  </a:lnTo>
                  <a:lnTo>
                    <a:pt x="18834" y="612508"/>
                  </a:lnTo>
                  <a:lnTo>
                    <a:pt x="29235" y="633526"/>
                  </a:lnTo>
                  <a:lnTo>
                    <a:pt x="39458" y="654151"/>
                  </a:lnTo>
                  <a:lnTo>
                    <a:pt x="59156" y="681240"/>
                  </a:lnTo>
                  <a:lnTo>
                    <a:pt x="66548" y="691388"/>
                  </a:lnTo>
                  <a:lnTo>
                    <a:pt x="99402" y="723557"/>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7ED3F1"/>
            </a:solidFill>
          </p:spPr>
          <p:txBody>
            <a:bodyPr wrap="square" lIns="0" tIns="0" rIns="0" bIns="0" rtlCol="0"/>
            <a:lstStyle/>
            <a:p>
              <a:endParaRPr dirty="0"/>
            </a:p>
          </p:txBody>
        </p:sp>
        <p:pic>
          <p:nvPicPr>
            <p:cNvPr id="246" name="object 244">
              <a:extLst>
                <a:ext uri="{FF2B5EF4-FFF2-40B4-BE49-F238E27FC236}">
                  <a16:creationId xmlns:a16="http://schemas.microsoft.com/office/drawing/2014/main" id="{B548EE38-1687-0FA4-A7F6-13620F5B9145}"/>
                </a:ext>
              </a:extLst>
            </p:cNvPr>
            <p:cNvPicPr/>
            <p:nvPr/>
          </p:nvPicPr>
          <p:blipFill>
            <a:blip r:embed="rId6" cstate="print"/>
            <a:stretch>
              <a:fillRect/>
            </a:stretch>
          </p:blipFill>
          <p:spPr>
            <a:xfrm>
              <a:off x="7711331" y="64269"/>
              <a:ext cx="106445" cy="107156"/>
            </a:xfrm>
            <a:prstGeom prst="rect">
              <a:avLst/>
            </a:prstGeom>
          </p:spPr>
        </p:pic>
        <p:sp>
          <p:nvSpPr>
            <p:cNvPr id="247" name="object 245">
              <a:extLst>
                <a:ext uri="{FF2B5EF4-FFF2-40B4-BE49-F238E27FC236}">
                  <a16:creationId xmlns:a16="http://schemas.microsoft.com/office/drawing/2014/main" id="{BDF28489-126A-3916-EDBF-8C2CE1276269}"/>
                </a:ext>
              </a:extLst>
            </p:cNvPr>
            <p:cNvSpPr/>
            <p:nvPr/>
          </p:nvSpPr>
          <p:spPr>
            <a:xfrm>
              <a:off x="7598678" y="2112754"/>
              <a:ext cx="332700" cy="477101"/>
            </a:xfrm>
            <a:custGeom>
              <a:avLst/>
              <a:gdLst/>
              <a:ahLst/>
              <a:cxnLst/>
              <a:rect l="l" t="t" r="r" b="b"/>
              <a:pathLst>
                <a:path w="548640" h="786764">
                  <a:moveTo>
                    <a:pt x="548043" y="266611"/>
                  </a:moveTo>
                  <a:lnTo>
                    <a:pt x="500367" y="270649"/>
                  </a:lnTo>
                  <a:lnTo>
                    <a:pt x="455841" y="282308"/>
                  </a:lnTo>
                  <a:lnTo>
                    <a:pt x="414616" y="300901"/>
                  </a:lnTo>
                  <a:lnTo>
                    <a:pt x="377342" y="325780"/>
                  </a:lnTo>
                  <a:lnTo>
                    <a:pt x="344728"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74" y="516039"/>
                  </a:lnTo>
                  <a:lnTo>
                    <a:pt x="225044" y="528459"/>
                  </a:lnTo>
                  <a:lnTo>
                    <a:pt x="273519" y="532841"/>
                  </a:lnTo>
                  <a:lnTo>
                    <a:pt x="274751" y="532841"/>
                  </a:lnTo>
                  <a:lnTo>
                    <a:pt x="323088" y="528485"/>
                  </a:lnTo>
                  <a:lnTo>
                    <a:pt x="368642" y="516115"/>
                  </a:lnTo>
                  <a:lnTo>
                    <a:pt x="410679" y="496468"/>
                  </a:lnTo>
                  <a:lnTo>
                    <a:pt x="448462" y="470268"/>
                  </a:lnTo>
                  <a:lnTo>
                    <a:pt x="481266" y="438264"/>
                  </a:lnTo>
                  <a:lnTo>
                    <a:pt x="508355" y="401154"/>
                  </a:lnTo>
                  <a:lnTo>
                    <a:pt x="529005" y="359689"/>
                  </a:lnTo>
                  <a:lnTo>
                    <a:pt x="542480" y="314604"/>
                  </a:lnTo>
                  <a:lnTo>
                    <a:pt x="548043" y="266611"/>
                  </a:lnTo>
                  <a:close/>
                </a:path>
                <a:path w="548640" h="786764">
                  <a:moveTo>
                    <a:pt x="548043" y="1079"/>
                  </a:moveTo>
                  <a:lnTo>
                    <a:pt x="500367" y="5118"/>
                  </a:lnTo>
                  <a:lnTo>
                    <a:pt x="455841" y="16776"/>
                  </a:lnTo>
                  <a:lnTo>
                    <a:pt x="414616" y="35369"/>
                  </a:lnTo>
                  <a:lnTo>
                    <a:pt x="377342" y="60248"/>
                  </a:lnTo>
                  <a:lnTo>
                    <a:pt x="344728" y="90703"/>
                  </a:lnTo>
                  <a:lnTo>
                    <a:pt x="317411" y="126085"/>
                  </a:lnTo>
                  <a:lnTo>
                    <a:pt x="296087" y="165722"/>
                  </a:lnTo>
                  <a:lnTo>
                    <a:pt x="281419" y="208915"/>
                  </a:lnTo>
                  <a:lnTo>
                    <a:pt x="274091" y="255003"/>
                  </a:lnTo>
                  <a:lnTo>
                    <a:pt x="266915" y="208724"/>
                  </a:lnTo>
                  <a:lnTo>
                    <a:pt x="252361" y="165354"/>
                  </a:lnTo>
                  <a:lnTo>
                    <a:pt x="231089"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13"/>
                  </a:lnTo>
                  <a:lnTo>
                    <a:pt x="99402" y="204457"/>
                  </a:lnTo>
                  <a:lnTo>
                    <a:pt x="137248" y="230771"/>
                  </a:lnTo>
                  <a:lnTo>
                    <a:pt x="179374" y="250507"/>
                  </a:lnTo>
                  <a:lnTo>
                    <a:pt x="225044" y="262928"/>
                  </a:lnTo>
                  <a:lnTo>
                    <a:pt x="273519" y="267296"/>
                  </a:lnTo>
                  <a:lnTo>
                    <a:pt x="274751" y="267296"/>
                  </a:lnTo>
                  <a:lnTo>
                    <a:pt x="323088" y="262940"/>
                  </a:lnTo>
                  <a:lnTo>
                    <a:pt x="368642" y="250583"/>
                  </a:lnTo>
                  <a:lnTo>
                    <a:pt x="410679" y="230936"/>
                  </a:lnTo>
                  <a:lnTo>
                    <a:pt x="448462" y="204736"/>
                  </a:lnTo>
                  <a:lnTo>
                    <a:pt x="481266" y="172720"/>
                  </a:lnTo>
                  <a:lnTo>
                    <a:pt x="508355" y="135623"/>
                  </a:lnTo>
                  <a:lnTo>
                    <a:pt x="529005" y="94157"/>
                  </a:lnTo>
                  <a:lnTo>
                    <a:pt x="542480" y="49072"/>
                  </a:lnTo>
                  <a:lnTo>
                    <a:pt x="548043" y="1079"/>
                  </a:lnTo>
                  <a:close/>
                </a:path>
                <a:path w="548640" h="786764">
                  <a:moveTo>
                    <a:pt x="548081" y="520204"/>
                  </a:moveTo>
                  <a:lnTo>
                    <a:pt x="500367" y="524205"/>
                  </a:lnTo>
                  <a:lnTo>
                    <a:pt x="455841" y="535863"/>
                  </a:lnTo>
                  <a:lnTo>
                    <a:pt x="414616" y="554456"/>
                  </a:lnTo>
                  <a:lnTo>
                    <a:pt x="377342" y="579335"/>
                  </a:lnTo>
                  <a:lnTo>
                    <a:pt x="344728" y="609803"/>
                  </a:lnTo>
                  <a:lnTo>
                    <a:pt x="317398" y="645172"/>
                  </a:lnTo>
                  <a:lnTo>
                    <a:pt x="296075" y="684796"/>
                  </a:lnTo>
                  <a:lnTo>
                    <a:pt x="281419" y="727989"/>
                  </a:lnTo>
                  <a:lnTo>
                    <a:pt x="274078" y="774039"/>
                  </a:lnTo>
                  <a:lnTo>
                    <a:pt x="266915" y="727811"/>
                  </a:lnTo>
                  <a:lnTo>
                    <a:pt x="252361" y="684441"/>
                  </a:lnTo>
                  <a:lnTo>
                    <a:pt x="231089" y="644652"/>
                  </a:lnTo>
                  <a:lnTo>
                    <a:pt x="203796" y="609117"/>
                  </a:lnTo>
                  <a:lnTo>
                    <a:pt x="171157" y="578523"/>
                  </a:lnTo>
                  <a:lnTo>
                    <a:pt x="133845" y="553542"/>
                  </a:lnTo>
                  <a:lnTo>
                    <a:pt x="92532" y="534860"/>
                  </a:lnTo>
                  <a:lnTo>
                    <a:pt x="47904" y="523125"/>
                  </a:lnTo>
                  <a:lnTo>
                    <a:pt x="0" y="519099"/>
                  </a:lnTo>
                  <a:lnTo>
                    <a:pt x="5448" y="567258"/>
                  </a:lnTo>
                  <a:lnTo>
                    <a:pt x="9410" y="580644"/>
                  </a:lnTo>
                  <a:lnTo>
                    <a:pt x="18834" y="612508"/>
                  </a:lnTo>
                  <a:lnTo>
                    <a:pt x="39458" y="654138"/>
                  </a:lnTo>
                  <a:lnTo>
                    <a:pt x="66548" y="691400"/>
                  </a:lnTo>
                  <a:lnTo>
                    <a:pt x="99390" y="72354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2DB7EA"/>
            </a:solidFill>
          </p:spPr>
          <p:txBody>
            <a:bodyPr wrap="square" lIns="0" tIns="0" rIns="0" bIns="0" rtlCol="0"/>
            <a:lstStyle/>
            <a:p>
              <a:endParaRPr dirty="0"/>
            </a:p>
          </p:txBody>
        </p:sp>
        <p:pic>
          <p:nvPicPr>
            <p:cNvPr id="248" name="object 246">
              <a:extLst>
                <a:ext uri="{FF2B5EF4-FFF2-40B4-BE49-F238E27FC236}">
                  <a16:creationId xmlns:a16="http://schemas.microsoft.com/office/drawing/2014/main" id="{052C538D-7F03-94F6-BB13-14A04139BC4B}"/>
                </a:ext>
              </a:extLst>
            </p:cNvPr>
            <p:cNvPicPr/>
            <p:nvPr/>
          </p:nvPicPr>
          <p:blipFill>
            <a:blip r:embed="rId5" cstate="print"/>
            <a:stretch>
              <a:fillRect/>
            </a:stretch>
          </p:blipFill>
          <p:spPr>
            <a:xfrm>
              <a:off x="7711331" y="2026765"/>
              <a:ext cx="106445" cy="107156"/>
            </a:xfrm>
            <a:prstGeom prst="rect">
              <a:avLst/>
            </a:prstGeom>
          </p:spPr>
        </p:pic>
        <p:sp>
          <p:nvSpPr>
            <p:cNvPr id="249" name="object 247">
              <a:extLst>
                <a:ext uri="{FF2B5EF4-FFF2-40B4-BE49-F238E27FC236}">
                  <a16:creationId xmlns:a16="http://schemas.microsoft.com/office/drawing/2014/main" id="{BA150689-5C1B-F351-1E54-38A0F23D8EE0}"/>
                </a:ext>
              </a:extLst>
            </p:cNvPr>
            <p:cNvSpPr/>
            <p:nvPr/>
          </p:nvSpPr>
          <p:spPr>
            <a:xfrm>
              <a:off x="7598678" y="1458591"/>
              <a:ext cx="332700" cy="477101"/>
            </a:xfrm>
            <a:custGeom>
              <a:avLst/>
              <a:gdLst/>
              <a:ahLst/>
              <a:cxnLst/>
              <a:rect l="l" t="t" r="r" b="b"/>
              <a:pathLst>
                <a:path w="548640" h="786764">
                  <a:moveTo>
                    <a:pt x="548043" y="266611"/>
                  </a:moveTo>
                  <a:lnTo>
                    <a:pt x="500367" y="270649"/>
                  </a:lnTo>
                  <a:lnTo>
                    <a:pt x="455841" y="282295"/>
                  </a:lnTo>
                  <a:lnTo>
                    <a:pt x="414616" y="300901"/>
                  </a:lnTo>
                  <a:lnTo>
                    <a:pt x="377342" y="325767"/>
                  </a:lnTo>
                  <a:lnTo>
                    <a:pt x="344728" y="356235"/>
                  </a:lnTo>
                  <a:lnTo>
                    <a:pt x="317411" y="391617"/>
                  </a:lnTo>
                  <a:lnTo>
                    <a:pt x="296087" y="431241"/>
                  </a:lnTo>
                  <a:lnTo>
                    <a:pt x="281419" y="474446"/>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26"/>
                  </a:lnTo>
                  <a:lnTo>
                    <a:pt x="225044" y="528459"/>
                  </a:lnTo>
                  <a:lnTo>
                    <a:pt x="273519" y="532828"/>
                  </a:lnTo>
                  <a:lnTo>
                    <a:pt x="274751" y="532828"/>
                  </a:lnTo>
                  <a:lnTo>
                    <a:pt x="323088" y="528472"/>
                  </a:lnTo>
                  <a:lnTo>
                    <a:pt x="368642" y="516102"/>
                  </a:lnTo>
                  <a:lnTo>
                    <a:pt x="410679" y="496468"/>
                  </a:lnTo>
                  <a:lnTo>
                    <a:pt x="448462" y="470268"/>
                  </a:lnTo>
                  <a:lnTo>
                    <a:pt x="481266" y="438251"/>
                  </a:lnTo>
                  <a:lnTo>
                    <a:pt x="508355" y="401154"/>
                  </a:lnTo>
                  <a:lnTo>
                    <a:pt x="529005" y="359689"/>
                  </a:lnTo>
                  <a:lnTo>
                    <a:pt x="542480" y="314604"/>
                  </a:lnTo>
                  <a:lnTo>
                    <a:pt x="548043" y="266611"/>
                  </a:lnTo>
                  <a:close/>
                </a:path>
                <a:path w="548640" h="786764">
                  <a:moveTo>
                    <a:pt x="548043" y="1079"/>
                  </a:moveTo>
                  <a:lnTo>
                    <a:pt x="500367" y="5105"/>
                  </a:lnTo>
                  <a:lnTo>
                    <a:pt x="455841" y="16764"/>
                  </a:lnTo>
                  <a:lnTo>
                    <a:pt x="414616" y="35369"/>
                  </a:lnTo>
                  <a:lnTo>
                    <a:pt x="377342" y="60236"/>
                  </a:lnTo>
                  <a:lnTo>
                    <a:pt x="344728"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80" y="49060"/>
                  </a:lnTo>
                  <a:lnTo>
                    <a:pt x="548043" y="1079"/>
                  </a:lnTo>
                  <a:close/>
                </a:path>
                <a:path w="548640" h="786764">
                  <a:moveTo>
                    <a:pt x="548081" y="520192"/>
                  </a:moveTo>
                  <a:lnTo>
                    <a:pt x="500367" y="524205"/>
                  </a:lnTo>
                  <a:lnTo>
                    <a:pt x="455841" y="535863"/>
                  </a:lnTo>
                  <a:lnTo>
                    <a:pt x="414616" y="554456"/>
                  </a:lnTo>
                  <a:lnTo>
                    <a:pt x="377342" y="579335"/>
                  </a:lnTo>
                  <a:lnTo>
                    <a:pt x="344728" y="609790"/>
                  </a:lnTo>
                  <a:lnTo>
                    <a:pt x="317398" y="645172"/>
                  </a:lnTo>
                  <a:lnTo>
                    <a:pt x="296075" y="684784"/>
                  </a:lnTo>
                  <a:lnTo>
                    <a:pt x="281419" y="727976"/>
                  </a:lnTo>
                  <a:lnTo>
                    <a:pt x="274078" y="774039"/>
                  </a:lnTo>
                  <a:lnTo>
                    <a:pt x="266915" y="727811"/>
                  </a:lnTo>
                  <a:lnTo>
                    <a:pt x="252361" y="684441"/>
                  </a:lnTo>
                  <a:lnTo>
                    <a:pt x="231089" y="644652"/>
                  </a:lnTo>
                  <a:lnTo>
                    <a:pt x="203796" y="609117"/>
                  </a:lnTo>
                  <a:lnTo>
                    <a:pt x="171157" y="578510"/>
                  </a:lnTo>
                  <a:lnTo>
                    <a:pt x="133845" y="553529"/>
                  </a:lnTo>
                  <a:lnTo>
                    <a:pt x="120967" y="547712"/>
                  </a:lnTo>
                  <a:lnTo>
                    <a:pt x="92532" y="534847"/>
                  </a:lnTo>
                  <a:lnTo>
                    <a:pt x="47917" y="523138"/>
                  </a:lnTo>
                  <a:lnTo>
                    <a:pt x="0" y="519061"/>
                  </a:lnTo>
                  <a:lnTo>
                    <a:pt x="5448" y="567245"/>
                  </a:lnTo>
                  <a:lnTo>
                    <a:pt x="18834" y="612508"/>
                  </a:lnTo>
                  <a:lnTo>
                    <a:pt x="39458" y="654138"/>
                  </a:lnTo>
                  <a:lnTo>
                    <a:pt x="66548" y="691388"/>
                  </a:lnTo>
                  <a:lnTo>
                    <a:pt x="67246" y="692073"/>
                  </a:lnTo>
                  <a:lnTo>
                    <a:pt x="99390" y="723544"/>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49275" y="723023"/>
                  </a:lnTo>
                  <a:lnTo>
                    <a:pt x="481266" y="691807"/>
                  </a:lnTo>
                  <a:lnTo>
                    <a:pt x="508393" y="654697"/>
                  </a:lnTo>
                  <a:lnTo>
                    <a:pt x="529043" y="613244"/>
                  </a:lnTo>
                  <a:lnTo>
                    <a:pt x="542518" y="568172"/>
                  </a:lnTo>
                  <a:lnTo>
                    <a:pt x="548081" y="520192"/>
                  </a:lnTo>
                  <a:close/>
                </a:path>
              </a:pathLst>
            </a:custGeom>
            <a:solidFill>
              <a:srgbClr val="7ED3F1"/>
            </a:solidFill>
          </p:spPr>
          <p:txBody>
            <a:bodyPr wrap="square" lIns="0" tIns="0" rIns="0" bIns="0" rtlCol="0"/>
            <a:lstStyle/>
            <a:p>
              <a:endParaRPr dirty="0"/>
            </a:p>
          </p:txBody>
        </p:sp>
        <p:pic>
          <p:nvPicPr>
            <p:cNvPr id="250" name="object 248">
              <a:extLst>
                <a:ext uri="{FF2B5EF4-FFF2-40B4-BE49-F238E27FC236}">
                  <a16:creationId xmlns:a16="http://schemas.microsoft.com/office/drawing/2014/main" id="{D542F109-C947-D54C-DA55-AC4367CC6AFD}"/>
                </a:ext>
              </a:extLst>
            </p:cNvPr>
            <p:cNvPicPr/>
            <p:nvPr/>
          </p:nvPicPr>
          <p:blipFill>
            <a:blip r:embed="rId6" cstate="print"/>
            <a:stretch>
              <a:fillRect/>
            </a:stretch>
          </p:blipFill>
          <p:spPr>
            <a:xfrm>
              <a:off x="7711331" y="1372599"/>
              <a:ext cx="106445" cy="107156"/>
            </a:xfrm>
            <a:prstGeom prst="rect">
              <a:avLst/>
            </a:prstGeom>
          </p:spPr>
        </p:pic>
        <p:sp>
          <p:nvSpPr>
            <p:cNvPr id="251" name="object 249">
              <a:extLst>
                <a:ext uri="{FF2B5EF4-FFF2-40B4-BE49-F238E27FC236}">
                  <a16:creationId xmlns:a16="http://schemas.microsoft.com/office/drawing/2014/main" id="{9676A1C2-2F64-1950-067E-FE22B73E66EA}"/>
                </a:ext>
              </a:extLst>
            </p:cNvPr>
            <p:cNvSpPr/>
            <p:nvPr/>
          </p:nvSpPr>
          <p:spPr>
            <a:xfrm>
              <a:off x="7598678" y="3421088"/>
              <a:ext cx="332700" cy="477101"/>
            </a:xfrm>
            <a:custGeom>
              <a:avLst/>
              <a:gdLst/>
              <a:ahLst/>
              <a:cxnLst/>
              <a:rect l="l" t="t" r="r" b="b"/>
              <a:pathLst>
                <a:path w="548640" h="786764">
                  <a:moveTo>
                    <a:pt x="548043" y="266611"/>
                  </a:moveTo>
                  <a:lnTo>
                    <a:pt x="500367" y="270637"/>
                  </a:lnTo>
                  <a:lnTo>
                    <a:pt x="455841" y="282295"/>
                  </a:lnTo>
                  <a:lnTo>
                    <a:pt x="414616" y="300901"/>
                  </a:lnTo>
                  <a:lnTo>
                    <a:pt x="377342" y="325767"/>
                  </a:lnTo>
                  <a:lnTo>
                    <a:pt x="344728" y="356235"/>
                  </a:lnTo>
                  <a:lnTo>
                    <a:pt x="317411" y="391617"/>
                  </a:lnTo>
                  <a:lnTo>
                    <a:pt x="296087" y="431241"/>
                  </a:lnTo>
                  <a:lnTo>
                    <a:pt x="281419" y="474433"/>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55"/>
                  </a:lnTo>
                  <a:lnTo>
                    <a:pt x="481266" y="438251"/>
                  </a:lnTo>
                  <a:lnTo>
                    <a:pt x="508355" y="401142"/>
                  </a:lnTo>
                  <a:lnTo>
                    <a:pt x="529005" y="359689"/>
                  </a:lnTo>
                  <a:lnTo>
                    <a:pt x="542480" y="314591"/>
                  </a:lnTo>
                  <a:lnTo>
                    <a:pt x="548043" y="266611"/>
                  </a:lnTo>
                  <a:close/>
                </a:path>
                <a:path w="548640" h="786764">
                  <a:moveTo>
                    <a:pt x="548043" y="1079"/>
                  </a:moveTo>
                  <a:lnTo>
                    <a:pt x="500367" y="5118"/>
                  </a:lnTo>
                  <a:lnTo>
                    <a:pt x="455841" y="16764"/>
                  </a:lnTo>
                  <a:lnTo>
                    <a:pt x="414616" y="35369"/>
                  </a:lnTo>
                  <a:lnTo>
                    <a:pt x="377342" y="60236"/>
                  </a:lnTo>
                  <a:lnTo>
                    <a:pt x="344728" y="90703"/>
                  </a:lnTo>
                  <a:lnTo>
                    <a:pt x="317411" y="126085"/>
                  </a:lnTo>
                  <a:lnTo>
                    <a:pt x="296087" y="165709"/>
                  </a:lnTo>
                  <a:lnTo>
                    <a:pt x="281419" y="208915"/>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80" y="49072"/>
                  </a:lnTo>
                  <a:lnTo>
                    <a:pt x="548043" y="1079"/>
                  </a:lnTo>
                  <a:close/>
                </a:path>
                <a:path w="548640" h="786764">
                  <a:moveTo>
                    <a:pt x="548081" y="520192"/>
                  </a:moveTo>
                  <a:lnTo>
                    <a:pt x="500367" y="524217"/>
                  </a:lnTo>
                  <a:lnTo>
                    <a:pt x="455841" y="535863"/>
                  </a:lnTo>
                  <a:lnTo>
                    <a:pt x="427418" y="548690"/>
                  </a:lnTo>
                  <a:lnTo>
                    <a:pt x="414616" y="554469"/>
                  </a:lnTo>
                  <a:lnTo>
                    <a:pt x="377342" y="579335"/>
                  </a:lnTo>
                  <a:lnTo>
                    <a:pt x="344716" y="609790"/>
                  </a:lnTo>
                  <a:lnTo>
                    <a:pt x="317398" y="645172"/>
                  </a:lnTo>
                  <a:lnTo>
                    <a:pt x="296075" y="684784"/>
                  </a:lnTo>
                  <a:lnTo>
                    <a:pt x="281419" y="727976"/>
                  </a:lnTo>
                  <a:lnTo>
                    <a:pt x="274078" y="774039"/>
                  </a:lnTo>
                  <a:lnTo>
                    <a:pt x="268224" y="736295"/>
                  </a:lnTo>
                  <a:lnTo>
                    <a:pt x="266915" y="727811"/>
                  </a:lnTo>
                  <a:lnTo>
                    <a:pt x="252361" y="684441"/>
                  </a:lnTo>
                  <a:lnTo>
                    <a:pt x="231089" y="644652"/>
                  </a:lnTo>
                  <a:lnTo>
                    <a:pt x="203796" y="609117"/>
                  </a:lnTo>
                  <a:lnTo>
                    <a:pt x="171157" y="578510"/>
                  </a:lnTo>
                  <a:lnTo>
                    <a:pt x="133845" y="553529"/>
                  </a:lnTo>
                  <a:lnTo>
                    <a:pt x="92532" y="534847"/>
                  </a:lnTo>
                  <a:lnTo>
                    <a:pt x="47917" y="523138"/>
                  </a:lnTo>
                  <a:lnTo>
                    <a:pt x="0" y="519061"/>
                  </a:lnTo>
                  <a:lnTo>
                    <a:pt x="5448" y="567245"/>
                  </a:lnTo>
                  <a:lnTo>
                    <a:pt x="18834" y="612508"/>
                  </a:lnTo>
                  <a:lnTo>
                    <a:pt x="39458" y="654138"/>
                  </a:lnTo>
                  <a:lnTo>
                    <a:pt x="66548" y="691388"/>
                  </a:lnTo>
                  <a:lnTo>
                    <a:pt x="99402" y="723544"/>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81266" y="691819"/>
                  </a:lnTo>
                  <a:lnTo>
                    <a:pt x="508393" y="654697"/>
                  </a:lnTo>
                  <a:lnTo>
                    <a:pt x="529043" y="613244"/>
                  </a:lnTo>
                  <a:lnTo>
                    <a:pt x="542518" y="568172"/>
                  </a:lnTo>
                  <a:lnTo>
                    <a:pt x="548081" y="520192"/>
                  </a:lnTo>
                  <a:close/>
                </a:path>
              </a:pathLst>
            </a:custGeom>
            <a:solidFill>
              <a:srgbClr val="2DB7EA"/>
            </a:solidFill>
          </p:spPr>
          <p:txBody>
            <a:bodyPr wrap="square" lIns="0" tIns="0" rIns="0" bIns="0" rtlCol="0"/>
            <a:lstStyle/>
            <a:p>
              <a:endParaRPr dirty="0"/>
            </a:p>
          </p:txBody>
        </p:sp>
        <p:pic>
          <p:nvPicPr>
            <p:cNvPr id="252" name="object 250">
              <a:extLst>
                <a:ext uri="{FF2B5EF4-FFF2-40B4-BE49-F238E27FC236}">
                  <a16:creationId xmlns:a16="http://schemas.microsoft.com/office/drawing/2014/main" id="{0A7DE80F-D263-155A-0003-F62B3A99765C}"/>
                </a:ext>
              </a:extLst>
            </p:cNvPr>
            <p:cNvPicPr/>
            <p:nvPr/>
          </p:nvPicPr>
          <p:blipFill>
            <a:blip r:embed="rId5" cstate="print"/>
            <a:stretch>
              <a:fillRect/>
            </a:stretch>
          </p:blipFill>
          <p:spPr>
            <a:xfrm>
              <a:off x="7711331" y="3335097"/>
              <a:ext cx="106445" cy="107156"/>
            </a:xfrm>
            <a:prstGeom prst="rect">
              <a:avLst/>
            </a:prstGeom>
          </p:spPr>
        </p:pic>
        <p:sp>
          <p:nvSpPr>
            <p:cNvPr id="253" name="object 251">
              <a:extLst>
                <a:ext uri="{FF2B5EF4-FFF2-40B4-BE49-F238E27FC236}">
                  <a16:creationId xmlns:a16="http://schemas.microsoft.com/office/drawing/2014/main" id="{82D52477-4328-BE77-1C14-864649E67694}"/>
                </a:ext>
              </a:extLst>
            </p:cNvPr>
            <p:cNvSpPr/>
            <p:nvPr/>
          </p:nvSpPr>
          <p:spPr>
            <a:xfrm>
              <a:off x="7598678" y="2766918"/>
              <a:ext cx="332700" cy="477101"/>
            </a:xfrm>
            <a:custGeom>
              <a:avLst/>
              <a:gdLst/>
              <a:ahLst/>
              <a:cxnLst/>
              <a:rect l="l" t="t" r="r" b="b"/>
              <a:pathLst>
                <a:path w="548640" h="786764">
                  <a:moveTo>
                    <a:pt x="548043" y="266611"/>
                  </a:moveTo>
                  <a:lnTo>
                    <a:pt x="500367" y="270649"/>
                  </a:lnTo>
                  <a:lnTo>
                    <a:pt x="455841" y="282308"/>
                  </a:lnTo>
                  <a:lnTo>
                    <a:pt x="414616" y="300901"/>
                  </a:lnTo>
                  <a:lnTo>
                    <a:pt x="377342" y="325780"/>
                  </a:lnTo>
                  <a:lnTo>
                    <a:pt x="344728"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74" y="516039"/>
                  </a:lnTo>
                  <a:lnTo>
                    <a:pt x="225044" y="528459"/>
                  </a:lnTo>
                  <a:lnTo>
                    <a:pt x="273519" y="532841"/>
                  </a:lnTo>
                  <a:lnTo>
                    <a:pt x="274751" y="532841"/>
                  </a:lnTo>
                  <a:lnTo>
                    <a:pt x="323088" y="528485"/>
                  </a:lnTo>
                  <a:lnTo>
                    <a:pt x="368642" y="516115"/>
                  </a:lnTo>
                  <a:lnTo>
                    <a:pt x="410679" y="496468"/>
                  </a:lnTo>
                  <a:lnTo>
                    <a:pt x="448462" y="470268"/>
                  </a:lnTo>
                  <a:lnTo>
                    <a:pt x="481266" y="438264"/>
                  </a:lnTo>
                  <a:lnTo>
                    <a:pt x="508355" y="401154"/>
                  </a:lnTo>
                  <a:lnTo>
                    <a:pt x="529005" y="359689"/>
                  </a:lnTo>
                  <a:lnTo>
                    <a:pt x="542480" y="314604"/>
                  </a:lnTo>
                  <a:lnTo>
                    <a:pt x="548043" y="266611"/>
                  </a:lnTo>
                  <a:close/>
                </a:path>
                <a:path w="548640" h="786764">
                  <a:moveTo>
                    <a:pt x="548043" y="1079"/>
                  </a:moveTo>
                  <a:lnTo>
                    <a:pt x="500367" y="5118"/>
                  </a:lnTo>
                  <a:lnTo>
                    <a:pt x="455841" y="16776"/>
                  </a:lnTo>
                  <a:lnTo>
                    <a:pt x="414616" y="35369"/>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49"/>
                  </a:lnTo>
                  <a:lnTo>
                    <a:pt x="481266" y="172732"/>
                  </a:lnTo>
                  <a:lnTo>
                    <a:pt x="508355" y="135623"/>
                  </a:lnTo>
                  <a:lnTo>
                    <a:pt x="529005" y="94157"/>
                  </a:lnTo>
                  <a:lnTo>
                    <a:pt x="542480" y="49072"/>
                  </a:lnTo>
                  <a:lnTo>
                    <a:pt x="548043" y="1079"/>
                  </a:lnTo>
                  <a:close/>
                </a:path>
                <a:path w="548640" h="786764">
                  <a:moveTo>
                    <a:pt x="548081" y="520204"/>
                  </a:moveTo>
                  <a:lnTo>
                    <a:pt x="500367" y="524205"/>
                  </a:lnTo>
                  <a:lnTo>
                    <a:pt x="455841" y="535863"/>
                  </a:lnTo>
                  <a:lnTo>
                    <a:pt x="414616" y="554469"/>
                  </a:lnTo>
                  <a:lnTo>
                    <a:pt x="377342" y="579335"/>
                  </a:lnTo>
                  <a:lnTo>
                    <a:pt x="360464" y="595096"/>
                  </a:lnTo>
                  <a:lnTo>
                    <a:pt x="344728" y="609803"/>
                  </a:lnTo>
                  <a:lnTo>
                    <a:pt x="317398" y="645172"/>
                  </a:lnTo>
                  <a:lnTo>
                    <a:pt x="296075" y="684796"/>
                  </a:lnTo>
                  <a:lnTo>
                    <a:pt x="281419" y="727989"/>
                  </a:lnTo>
                  <a:lnTo>
                    <a:pt x="274078" y="774039"/>
                  </a:lnTo>
                  <a:lnTo>
                    <a:pt x="268224" y="736307"/>
                  </a:lnTo>
                  <a:lnTo>
                    <a:pt x="266915" y="727824"/>
                  </a:lnTo>
                  <a:lnTo>
                    <a:pt x="252361" y="684453"/>
                  </a:lnTo>
                  <a:lnTo>
                    <a:pt x="231089" y="644652"/>
                  </a:lnTo>
                  <a:lnTo>
                    <a:pt x="203796" y="609117"/>
                  </a:lnTo>
                  <a:lnTo>
                    <a:pt x="171157" y="578523"/>
                  </a:lnTo>
                  <a:lnTo>
                    <a:pt x="133845" y="553542"/>
                  </a:lnTo>
                  <a:lnTo>
                    <a:pt x="92532" y="534835"/>
                  </a:lnTo>
                  <a:lnTo>
                    <a:pt x="47904" y="523125"/>
                  </a:lnTo>
                  <a:lnTo>
                    <a:pt x="0" y="519074"/>
                  </a:lnTo>
                  <a:lnTo>
                    <a:pt x="5448" y="567258"/>
                  </a:lnTo>
                  <a:lnTo>
                    <a:pt x="9410" y="580644"/>
                  </a:lnTo>
                  <a:lnTo>
                    <a:pt x="18834" y="612508"/>
                  </a:lnTo>
                  <a:lnTo>
                    <a:pt x="39458" y="654151"/>
                  </a:lnTo>
                  <a:lnTo>
                    <a:pt x="66548" y="691400"/>
                  </a:lnTo>
                  <a:lnTo>
                    <a:pt x="98704" y="72288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7ED3F1"/>
            </a:solidFill>
          </p:spPr>
          <p:txBody>
            <a:bodyPr wrap="square" lIns="0" tIns="0" rIns="0" bIns="0" rtlCol="0"/>
            <a:lstStyle/>
            <a:p>
              <a:endParaRPr dirty="0"/>
            </a:p>
          </p:txBody>
        </p:sp>
        <p:pic>
          <p:nvPicPr>
            <p:cNvPr id="254" name="object 252">
              <a:extLst>
                <a:ext uri="{FF2B5EF4-FFF2-40B4-BE49-F238E27FC236}">
                  <a16:creationId xmlns:a16="http://schemas.microsoft.com/office/drawing/2014/main" id="{F9108A36-E947-5F51-8D7E-8B111F2F3832}"/>
                </a:ext>
              </a:extLst>
            </p:cNvPr>
            <p:cNvPicPr/>
            <p:nvPr/>
          </p:nvPicPr>
          <p:blipFill>
            <a:blip r:embed="rId6" cstate="print"/>
            <a:stretch>
              <a:fillRect/>
            </a:stretch>
          </p:blipFill>
          <p:spPr>
            <a:xfrm>
              <a:off x="7711331" y="2680931"/>
              <a:ext cx="106445" cy="107156"/>
            </a:xfrm>
            <a:prstGeom prst="rect">
              <a:avLst/>
            </a:prstGeom>
          </p:spPr>
        </p:pic>
        <p:sp>
          <p:nvSpPr>
            <p:cNvPr id="255" name="object 253">
              <a:extLst>
                <a:ext uri="{FF2B5EF4-FFF2-40B4-BE49-F238E27FC236}">
                  <a16:creationId xmlns:a16="http://schemas.microsoft.com/office/drawing/2014/main" id="{97AE168A-4172-2595-A04D-7E12E5812C66}"/>
                </a:ext>
              </a:extLst>
            </p:cNvPr>
            <p:cNvSpPr/>
            <p:nvPr/>
          </p:nvSpPr>
          <p:spPr>
            <a:xfrm>
              <a:off x="7598678" y="4729423"/>
              <a:ext cx="332700" cy="477101"/>
            </a:xfrm>
            <a:custGeom>
              <a:avLst/>
              <a:gdLst/>
              <a:ahLst/>
              <a:cxnLst/>
              <a:rect l="l" t="t" r="r" b="b"/>
              <a:pathLst>
                <a:path w="548640" h="786765">
                  <a:moveTo>
                    <a:pt x="548043" y="266611"/>
                  </a:moveTo>
                  <a:lnTo>
                    <a:pt x="500367" y="270649"/>
                  </a:lnTo>
                  <a:lnTo>
                    <a:pt x="455841" y="282308"/>
                  </a:lnTo>
                  <a:lnTo>
                    <a:pt x="414616" y="300901"/>
                  </a:lnTo>
                  <a:lnTo>
                    <a:pt x="377342" y="325767"/>
                  </a:lnTo>
                  <a:lnTo>
                    <a:pt x="344728" y="356235"/>
                  </a:lnTo>
                  <a:lnTo>
                    <a:pt x="317411" y="391617"/>
                  </a:lnTo>
                  <a:lnTo>
                    <a:pt x="296087" y="431241"/>
                  </a:lnTo>
                  <a:lnTo>
                    <a:pt x="281419" y="474433"/>
                  </a:lnTo>
                  <a:lnTo>
                    <a:pt x="274091" y="520522"/>
                  </a:lnTo>
                  <a:lnTo>
                    <a:pt x="266915" y="474243"/>
                  </a:lnTo>
                  <a:lnTo>
                    <a:pt x="252361" y="430872"/>
                  </a:lnTo>
                  <a:lnTo>
                    <a:pt x="231089" y="391083"/>
                  </a:lnTo>
                  <a:lnTo>
                    <a:pt x="203796" y="355549"/>
                  </a:lnTo>
                  <a:lnTo>
                    <a:pt x="171157" y="324954"/>
                  </a:lnTo>
                  <a:lnTo>
                    <a:pt x="133845" y="299974"/>
                  </a:lnTo>
                  <a:lnTo>
                    <a:pt x="92532" y="281292"/>
                  </a:lnTo>
                  <a:lnTo>
                    <a:pt x="47917" y="269582"/>
                  </a:lnTo>
                  <a:lnTo>
                    <a:pt x="0" y="265518"/>
                  </a:lnTo>
                  <a:lnTo>
                    <a:pt x="5448" y="313690"/>
                  </a:lnTo>
                  <a:lnTo>
                    <a:pt x="18846" y="358952"/>
                  </a:lnTo>
                  <a:lnTo>
                    <a:pt x="39458" y="400570"/>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54"/>
                  </a:lnTo>
                  <a:lnTo>
                    <a:pt x="529005" y="359689"/>
                  </a:lnTo>
                  <a:lnTo>
                    <a:pt x="542480" y="314604"/>
                  </a:lnTo>
                  <a:lnTo>
                    <a:pt x="548043" y="266611"/>
                  </a:lnTo>
                  <a:close/>
                </a:path>
                <a:path w="548640" h="786765">
                  <a:moveTo>
                    <a:pt x="548043" y="1079"/>
                  </a:moveTo>
                  <a:lnTo>
                    <a:pt x="500367" y="5105"/>
                  </a:lnTo>
                  <a:lnTo>
                    <a:pt x="455841" y="16764"/>
                  </a:lnTo>
                  <a:lnTo>
                    <a:pt x="414616" y="35369"/>
                  </a:lnTo>
                  <a:lnTo>
                    <a:pt x="377342" y="60236"/>
                  </a:lnTo>
                  <a:lnTo>
                    <a:pt x="344728"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39"/>
                  </a:lnTo>
                  <a:lnTo>
                    <a:pt x="66560" y="172300"/>
                  </a:lnTo>
                  <a:lnTo>
                    <a:pt x="99402" y="204444"/>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24"/>
                  </a:lnTo>
                  <a:lnTo>
                    <a:pt x="481266" y="172720"/>
                  </a:lnTo>
                  <a:lnTo>
                    <a:pt x="508355" y="135610"/>
                  </a:lnTo>
                  <a:lnTo>
                    <a:pt x="529005" y="94157"/>
                  </a:lnTo>
                  <a:lnTo>
                    <a:pt x="542480" y="49060"/>
                  </a:lnTo>
                  <a:lnTo>
                    <a:pt x="548043" y="1079"/>
                  </a:lnTo>
                  <a:close/>
                </a:path>
                <a:path w="548640" h="786765">
                  <a:moveTo>
                    <a:pt x="548081" y="520192"/>
                  </a:moveTo>
                  <a:lnTo>
                    <a:pt x="500367" y="524205"/>
                  </a:lnTo>
                  <a:lnTo>
                    <a:pt x="455841" y="535863"/>
                  </a:lnTo>
                  <a:lnTo>
                    <a:pt x="427418" y="548690"/>
                  </a:lnTo>
                  <a:lnTo>
                    <a:pt x="414616" y="554469"/>
                  </a:lnTo>
                  <a:lnTo>
                    <a:pt x="377342" y="579335"/>
                  </a:lnTo>
                  <a:lnTo>
                    <a:pt x="344716" y="609790"/>
                  </a:lnTo>
                  <a:lnTo>
                    <a:pt x="317398" y="645160"/>
                  </a:lnTo>
                  <a:lnTo>
                    <a:pt x="296075" y="684784"/>
                  </a:lnTo>
                  <a:lnTo>
                    <a:pt x="281419" y="727976"/>
                  </a:lnTo>
                  <a:lnTo>
                    <a:pt x="274078" y="774039"/>
                  </a:lnTo>
                  <a:lnTo>
                    <a:pt x="268020" y="734974"/>
                  </a:lnTo>
                  <a:lnTo>
                    <a:pt x="266915" y="727811"/>
                  </a:lnTo>
                  <a:lnTo>
                    <a:pt x="252361" y="684441"/>
                  </a:lnTo>
                  <a:lnTo>
                    <a:pt x="231089" y="644639"/>
                  </a:lnTo>
                  <a:lnTo>
                    <a:pt x="203796" y="609104"/>
                  </a:lnTo>
                  <a:lnTo>
                    <a:pt x="171157" y="578510"/>
                  </a:lnTo>
                  <a:lnTo>
                    <a:pt x="133845" y="553529"/>
                  </a:lnTo>
                  <a:lnTo>
                    <a:pt x="92532" y="534847"/>
                  </a:lnTo>
                  <a:lnTo>
                    <a:pt x="47904" y="523113"/>
                  </a:lnTo>
                  <a:lnTo>
                    <a:pt x="0" y="519061"/>
                  </a:lnTo>
                  <a:lnTo>
                    <a:pt x="5448" y="567245"/>
                  </a:lnTo>
                  <a:lnTo>
                    <a:pt x="8496" y="577583"/>
                  </a:lnTo>
                  <a:lnTo>
                    <a:pt x="18834" y="612508"/>
                  </a:lnTo>
                  <a:lnTo>
                    <a:pt x="32626" y="640346"/>
                  </a:lnTo>
                  <a:lnTo>
                    <a:pt x="39458" y="654138"/>
                  </a:lnTo>
                  <a:lnTo>
                    <a:pt x="66548" y="691388"/>
                  </a:lnTo>
                  <a:lnTo>
                    <a:pt x="98704" y="722871"/>
                  </a:lnTo>
                  <a:lnTo>
                    <a:pt x="137248" y="749858"/>
                  </a:lnTo>
                  <a:lnTo>
                    <a:pt x="179374" y="769581"/>
                  </a:lnTo>
                  <a:lnTo>
                    <a:pt x="225044" y="782015"/>
                  </a:lnTo>
                  <a:lnTo>
                    <a:pt x="273519" y="786384"/>
                  </a:lnTo>
                  <a:lnTo>
                    <a:pt x="274751" y="786384"/>
                  </a:lnTo>
                  <a:lnTo>
                    <a:pt x="323088" y="782027"/>
                  </a:lnTo>
                  <a:lnTo>
                    <a:pt x="368642" y="769670"/>
                  </a:lnTo>
                  <a:lnTo>
                    <a:pt x="410679" y="750023"/>
                  </a:lnTo>
                  <a:lnTo>
                    <a:pt x="448462" y="723823"/>
                  </a:lnTo>
                  <a:lnTo>
                    <a:pt x="449275" y="723023"/>
                  </a:lnTo>
                  <a:lnTo>
                    <a:pt x="481266" y="691807"/>
                  </a:lnTo>
                  <a:lnTo>
                    <a:pt x="508393" y="654697"/>
                  </a:lnTo>
                  <a:lnTo>
                    <a:pt x="529043" y="613244"/>
                  </a:lnTo>
                  <a:lnTo>
                    <a:pt x="542518" y="568172"/>
                  </a:lnTo>
                  <a:lnTo>
                    <a:pt x="548081" y="520192"/>
                  </a:lnTo>
                  <a:close/>
                </a:path>
              </a:pathLst>
            </a:custGeom>
            <a:solidFill>
              <a:srgbClr val="2DB7EA"/>
            </a:solidFill>
          </p:spPr>
          <p:txBody>
            <a:bodyPr wrap="square" lIns="0" tIns="0" rIns="0" bIns="0" rtlCol="0"/>
            <a:lstStyle/>
            <a:p>
              <a:endParaRPr dirty="0"/>
            </a:p>
          </p:txBody>
        </p:sp>
        <p:pic>
          <p:nvPicPr>
            <p:cNvPr id="256" name="object 254">
              <a:extLst>
                <a:ext uri="{FF2B5EF4-FFF2-40B4-BE49-F238E27FC236}">
                  <a16:creationId xmlns:a16="http://schemas.microsoft.com/office/drawing/2014/main" id="{A0D675C9-44EC-448C-997A-15D5E5F13C35}"/>
                </a:ext>
              </a:extLst>
            </p:cNvPr>
            <p:cNvPicPr/>
            <p:nvPr/>
          </p:nvPicPr>
          <p:blipFill>
            <a:blip r:embed="rId5" cstate="print"/>
            <a:stretch>
              <a:fillRect/>
            </a:stretch>
          </p:blipFill>
          <p:spPr>
            <a:xfrm>
              <a:off x="7711331" y="4643430"/>
              <a:ext cx="106445" cy="107156"/>
            </a:xfrm>
            <a:prstGeom prst="rect">
              <a:avLst/>
            </a:prstGeom>
          </p:spPr>
        </p:pic>
        <p:sp>
          <p:nvSpPr>
            <p:cNvPr id="257" name="object 255">
              <a:extLst>
                <a:ext uri="{FF2B5EF4-FFF2-40B4-BE49-F238E27FC236}">
                  <a16:creationId xmlns:a16="http://schemas.microsoft.com/office/drawing/2014/main" id="{8A357C2F-E690-9EC6-108B-6FD7A6C4F8DC}"/>
                </a:ext>
              </a:extLst>
            </p:cNvPr>
            <p:cNvSpPr/>
            <p:nvPr/>
          </p:nvSpPr>
          <p:spPr>
            <a:xfrm>
              <a:off x="7598678" y="4075252"/>
              <a:ext cx="332700" cy="477101"/>
            </a:xfrm>
            <a:custGeom>
              <a:avLst/>
              <a:gdLst/>
              <a:ahLst/>
              <a:cxnLst/>
              <a:rect l="l" t="t" r="r" b="b"/>
              <a:pathLst>
                <a:path w="548640" h="786765">
                  <a:moveTo>
                    <a:pt x="548043" y="266623"/>
                  </a:moveTo>
                  <a:lnTo>
                    <a:pt x="500367" y="270662"/>
                  </a:lnTo>
                  <a:lnTo>
                    <a:pt x="455841" y="282308"/>
                  </a:lnTo>
                  <a:lnTo>
                    <a:pt x="414616" y="300913"/>
                  </a:lnTo>
                  <a:lnTo>
                    <a:pt x="377342" y="325780"/>
                  </a:lnTo>
                  <a:lnTo>
                    <a:pt x="344728"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39"/>
                  </a:lnTo>
                  <a:lnTo>
                    <a:pt x="225044" y="528459"/>
                  </a:lnTo>
                  <a:lnTo>
                    <a:pt x="273519" y="532828"/>
                  </a:lnTo>
                  <a:lnTo>
                    <a:pt x="274751" y="532828"/>
                  </a:lnTo>
                  <a:lnTo>
                    <a:pt x="323088" y="528472"/>
                  </a:lnTo>
                  <a:lnTo>
                    <a:pt x="368642" y="516115"/>
                  </a:lnTo>
                  <a:lnTo>
                    <a:pt x="410679" y="496468"/>
                  </a:lnTo>
                  <a:lnTo>
                    <a:pt x="448462" y="470268"/>
                  </a:lnTo>
                  <a:lnTo>
                    <a:pt x="481266" y="438264"/>
                  </a:lnTo>
                  <a:lnTo>
                    <a:pt x="508355" y="401154"/>
                  </a:lnTo>
                  <a:lnTo>
                    <a:pt x="529005" y="359702"/>
                  </a:lnTo>
                  <a:lnTo>
                    <a:pt x="542480" y="314604"/>
                  </a:lnTo>
                  <a:lnTo>
                    <a:pt x="548043" y="266623"/>
                  </a:lnTo>
                  <a:close/>
                </a:path>
                <a:path w="548640" h="786765">
                  <a:moveTo>
                    <a:pt x="548043" y="1092"/>
                  </a:moveTo>
                  <a:lnTo>
                    <a:pt x="500367" y="5130"/>
                  </a:lnTo>
                  <a:lnTo>
                    <a:pt x="455841" y="16776"/>
                  </a:lnTo>
                  <a:lnTo>
                    <a:pt x="414616" y="35382"/>
                  </a:lnTo>
                  <a:lnTo>
                    <a:pt x="377342" y="60248"/>
                  </a:lnTo>
                  <a:lnTo>
                    <a:pt x="344728"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60"/>
                  </a:lnTo>
                  <a:lnTo>
                    <a:pt x="47917" y="4051"/>
                  </a:lnTo>
                  <a:lnTo>
                    <a:pt x="0" y="0"/>
                  </a:lnTo>
                  <a:lnTo>
                    <a:pt x="5448" y="48158"/>
                  </a:lnTo>
                  <a:lnTo>
                    <a:pt x="18846" y="93421"/>
                  </a:lnTo>
                  <a:lnTo>
                    <a:pt x="39458" y="135051"/>
                  </a:lnTo>
                  <a:lnTo>
                    <a:pt x="66560" y="172300"/>
                  </a:lnTo>
                  <a:lnTo>
                    <a:pt x="99402" y="204457"/>
                  </a:lnTo>
                  <a:lnTo>
                    <a:pt x="137248" y="230771"/>
                  </a:lnTo>
                  <a:lnTo>
                    <a:pt x="179374" y="250494"/>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70"/>
                  </a:lnTo>
                  <a:lnTo>
                    <a:pt x="542480" y="49072"/>
                  </a:lnTo>
                  <a:lnTo>
                    <a:pt x="548043" y="1092"/>
                  </a:lnTo>
                  <a:close/>
                </a:path>
                <a:path w="548640" h="786765">
                  <a:moveTo>
                    <a:pt x="548081" y="520204"/>
                  </a:moveTo>
                  <a:lnTo>
                    <a:pt x="500367" y="524217"/>
                  </a:lnTo>
                  <a:lnTo>
                    <a:pt x="455841" y="535876"/>
                  </a:lnTo>
                  <a:lnTo>
                    <a:pt x="414616" y="554469"/>
                  </a:lnTo>
                  <a:lnTo>
                    <a:pt x="377342" y="579335"/>
                  </a:lnTo>
                  <a:lnTo>
                    <a:pt x="344728" y="609803"/>
                  </a:lnTo>
                  <a:lnTo>
                    <a:pt x="317398" y="645172"/>
                  </a:lnTo>
                  <a:lnTo>
                    <a:pt x="296075" y="684796"/>
                  </a:lnTo>
                  <a:lnTo>
                    <a:pt x="281419" y="727976"/>
                  </a:lnTo>
                  <a:lnTo>
                    <a:pt x="274078" y="774039"/>
                  </a:lnTo>
                  <a:lnTo>
                    <a:pt x="268224" y="736307"/>
                  </a:lnTo>
                  <a:lnTo>
                    <a:pt x="266915" y="727824"/>
                  </a:lnTo>
                  <a:lnTo>
                    <a:pt x="252361" y="684441"/>
                  </a:lnTo>
                  <a:lnTo>
                    <a:pt x="231089" y="644652"/>
                  </a:lnTo>
                  <a:lnTo>
                    <a:pt x="203796" y="609117"/>
                  </a:lnTo>
                  <a:lnTo>
                    <a:pt x="171157" y="578523"/>
                  </a:lnTo>
                  <a:lnTo>
                    <a:pt x="133845" y="553542"/>
                  </a:lnTo>
                  <a:lnTo>
                    <a:pt x="92532" y="534835"/>
                  </a:lnTo>
                  <a:lnTo>
                    <a:pt x="47904" y="523125"/>
                  </a:lnTo>
                  <a:lnTo>
                    <a:pt x="0" y="519074"/>
                  </a:lnTo>
                  <a:lnTo>
                    <a:pt x="5448" y="567258"/>
                  </a:lnTo>
                  <a:lnTo>
                    <a:pt x="9410" y="580644"/>
                  </a:lnTo>
                  <a:lnTo>
                    <a:pt x="18834" y="612508"/>
                  </a:lnTo>
                  <a:lnTo>
                    <a:pt x="39458" y="654138"/>
                  </a:lnTo>
                  <a:lnTo>
                    <a:pt x="66548" y="691388"/>
                  </a:lnTo>
                  <a:lnTo>
                    <a:pt x="99402" y="723557"/>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81266" y="691819"/>
                  </a:lnTo>
                  <a:lnTo>
                    <a:pt x="508393" y="654710"/>
                  </a:lnTo>
                  <a:lnTo>
                    <a:pt x="529043" y="613257"/>
                  </a:lnTo>
                  <a:lnTo>
                    <a:pt x="542518" y="568172"/>
                  </a:lnTo>
                  <a:lnTo>
                    <a:pt x="548081" y="520204"/>
                  </a:lnTo>
                  <a:close/>
                </a:path>
              </a:pathLst>
            </a:custGeom>
            <a:solidFill>
              <a:srgbClr val="7ED3F1"/>
            </a:solidFill>
          </p:spPr>
          <p:txBody>
            <a:bodyPr wrap="square" lIns="0" tIns="0" rIns="0" bIns="0" rtlCol="0"/>
            <a:lstStyle/>
            <a:p>
              <a:endParaRPr dirty="0"/>
            </a:p>
          </p:txBody>
        </p:sp>
        <p:pic>
          <p:nvPicPr>
            <p:cNvPr id="258" name="object 256">
              <a:extLst>
                <a:ext uri="{FF2B5EF4-FFF2-40B4-BE49-F238E27FC236}">
                  <a16:creationId xmlns:a16="http://schemas.microsoft.com/office/drawing/2014/main" id="{0A051E47-D107-C3B3-8B2C-CFF9710ABAD4}"/>
                </a:ext>
              </a:extLst>
            </p:cNvPr>
            <p:cNvPicPr/>
            <p:nvPr/>
          </p:nvPicPr>
          <p:blipFill>
            <a:blip r:embed="rId6" cstate="print"/>
            <a:stretch>
              <a:fillRect/>
            </a:stretch>
          </p:blipFill>
          <p:spPr>
            <a:xfrm>
              <a:off x="7711331" y="3989263"/>
              <a:ext cx="106445" cy="107156"/>
            </a:xfrm>
            <a:prstGeom prst="rect">
              <a:avLst/>
            </a:prstGeom>
          </p:spPr>
        </p:pic>
        <p:sp>
          <p:nvSpPr>
            <p:cNvPr id="259" name="object 257">
              <a:extLst>
                <a:ext uri="{FF2B5EF4-FFF2-40B4-BE49-F238E27FC236}">
                  <a16:creationId xmlns:a16="http://schemas.microsoft.com/office/drawing/2014/main" id="{CD2F9238-41A6-D2DF-FCB2-7AFFC34B159C}"/>
                </a:ext>
              </a:extLst>
            </p:cNvPr>
            <p:cNvSpPr/>
            <p:nvPr/>
          </p:nvSpPr>
          <p:spPr>
            <a:xfrm>
              <a:off x="7226300" y="3862863"/>
              <a:ext cx="319992" cy="477101"/>
            </a:xfrm>
            <a:custGeom>
              <a:avLst/>
              <a:gdLst/>
              <a:ahLst/>
              <a:cxnLst/>
              <a:rect l="l" t="t" r="r" b="b"/>
              <a:pathLst>
                <a:path w="527684" h="786765">
                  <a:moveTo>
                    <a:pt x="527126" y="786396"/>
                  </a:moveTo>
                  <a:lnTo>
                    <a:pt x="521677" y="738238"/>
                  </a:lnTo>
                  <a:lnTo>
                    <a:pt x="508279" y="692975"/>
                  </a:lnTo>
                  <a:lnTo>
                    <a:pt x="487667" y="651344"/>
                  </a:lnTo>
                  <a:lnTo>
                    <a:pt x="460578" y="614083"/>
                  </a:lnTo>
                  <a:lnTo>
                    <a:pt x="427736" y="581939"/>
                  </a:lnTo>
                  <a:lnTo>
                    <a:pt x="389877" y="555625"/>
                  </a:lnTo>
                  <a:lnTo>
                    <a:pt x="347751" y="535889"/>
                  </a:lnTo>
                  <a:lnTo>
                    <a:pt x="302082" y="523468"/>
                  </a:lnTo>
                  <a:lnTo>
                    <a:pt x="253606" y="519099"/>
                  </a:lnTo>
                  <a:lnTo>
                    <a:pt x="252387" y="519099"/>
                  </a:lnTo>
                  <a:lnTo>
                    <a:pt x="204038" y="523455"/>
                  </a:lnTo>
                  <a:lnTo>
                    <a:pt x="158483" y="535813"/>
                  </a:lnTo>
                  <a:lnTo>
                    <a:pt x="116446" y="555459"/>
                  </a:lnTo>
                  <a:lnTo>
                    <a:pt x="78663" y="581660"/>
                  </a:lnTo>
                  <a:lnTo>
                    <a:pt x="45859" y="613664"/>
                  </a:lnTo>
                  <a:lnTo>
                    <a:pt x="18770" y="650773"/>
                  </a:lnTo>
                  <a:lnTo>
                    <a:pt x="0" y="688467"/>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72"/>
                  </a:lnTo>
                  <a:lnTo>
                    <a:pt x="274777" y="621042"/>
                  </a:lnTo>
                  <a:lnTo>
                    <a:pt x="296037" y="660831"/>
                  </a:lnTo>
                  <a:lnTo>
                    <a:pt x="323329" y="696366"/>
                  </a:lnTo>
                  <a:lnTo>
                    <a:pt x="355968" y="726973"/>
                  </a:lnTo>
                  <a:lnTo>
                    <a:pt x="393293" y="751954"/>
                  </a:lnTo>
                  <a:lnTo>
                    <a:pt x="434594" y="770636"/>
                  </a:lnTo>
                  <a:lnTo>
                    <a:pt x="479209" y="782345"/>
                  </a:lnTo>
                  <a:lnTo>
                    <a:pt x="527126" y="786396"/>
                  </a:lnTo>
                  <a:close/>
                </a:path>
                <a:path w="527684" h="786765">
                  <a:moveTo>
                    <a:pt x="527126" y="520865"/>
                  </a:moveTo>
                  <a:lnTo>
                    <a:pt x="521677" y="472706"/>
                  </a:lnTo>
                  <a:lnTo>
                    <a:pt x="508279" y="427443"/>
                  </a:lnTo>
                  <a:lnTo>
                    <a:pt x="487667" y="385813"/>
                  </a:lnTo>
                  <a:lnTo>
                    <a:pt x="460578" y="348564"/>
                  </a:lnTo>
                  <a:lnTo>
                    <a:pt x="427736" y="316407"/>
                  </a:lnTo>
                  <a:lnTo>
                    <a:pt x="389877" y="290106"/>
                  </a:lnTo>
                  <a:lnTo>
                    <a:pt x="347751" y="270370"/>
                  </a:lnTo>
                  <a:lnTo>
                    <a:pt x="302082" y="257949"/>
                  </a:lnTo>
                  <a:lnTo>
                    <a:pt x="253606" y="253568"/>
                  </a:lnTo>
                  <a:lnTo>
                    <a:pt x="252387" y="253568"/>
                  </a:lnTo>
                  <a:lnTo>
                    <a:pt x="204038" y="257924"/>
                  </a:lnTo>
                  <a:lnTo>
                    <a:pt x="158483" y="270294"/>
                  </a:lnTo>
                  <a:lnTo>
                    <a:pt x="116446" y="289941"/>
                  </a:lnTo>
                  <a:lnTo>
                    <a:pt x="78663" y="316128"/>
                  </a:lnTo>
                  <a:lnTo>
                    <a:pt x="45859" y="348145"/>
                  </a:lnTo>
                  <a:lnTo>
                    <a:pt x="18770" y="385241"/>
                  </a:lnTo>
                  <a:lnTo>
                    <a:pt x="0" y="422935"/>
                  </a:lnTo>
                  <a:lnTo>
                    <a:pt x="0" y="518045"/>
                  </a:lnTo>
                  <a:lnTo>
                    <a:pt x="71285" y="504101"/>
                  </a:lnTo>
                  <a:lnTo>
                    <a:pt x="112522" y="485495"/>
                  </a:lnTo>
                  <a:lnTo>
                    <a:pt x="149783" y="460629"/>
                  </a:lnTo>
                  <a:lnTo>
                    <a:pt x="182410" y="430161"/>
                  </a:lnTo>
                  <a:lnTo>
                    <a:pt x="209715" y="394779"/>
                  </a:lnTo>
                  <a:lnTo>
                    <a:pt x="231038" y="355155"/>
                  </a:lnTo>
                  <a:lnTo>
                    <a:pt x="245706" y="311950"/>
                  </a:lnTo>
                  <a:lnTo>
                    <a:pt x="253034" y="265874"/>
                  </a:lnTo>
                  <a:lnTo>
                    <a:pt x="260210" y="312140"/>
                  </a:lnTo>
                  <a:lnTo>
                    <a:pt x="274777" y="355511"/>
                  </a:lnTo>
                  <a:lnTo>
                    <a:pt x="296037" y="395300"/>
                  </a:lnTo>
                  <a:lnTo>
                    <a:pt x="323329" y="430847"/>
                  </a:lnTo>
                  <a:lnTo>
                    <a:pt x="355968" y="461441"/>
                  </a:lnTo>
                  <a:lnTo>
                    <a:pt x="393293" y="486422"/>
                  </a:lnTo>
                  <a:lnTo>
                    <a:pt x="434594" y="505104"/>
                  </a:lnTo>
                  <a:lnTo>
                    <a:pt x="479209" y="516813"/>
                  </a:lnTo>
                  <a:lnTo>
                    <a:pt x="527126" y="520865"/>
                  </a:lnTo>
                  <a:close/>
                </a:path>
                <a:path w="527684" h="786765">
                  <a:moveTo>
                    <a:pt x="527138" y="267322"/>
                  </a:moveTo>
                  <a:lnTo>
                    <a:pt x="521690" y="219151"/>
                  </a:lnTo>
                  <a:lnTo>
                    <a:pt x="508292" y="173888"/>
                  </a:lnTo>
                  <a:lnTo>
                    <a:pt x="487680" y="132257"/>
                  </a:lnTo>
                  <a:lnTo>
                    <a:pt x="471982" y="110693"/>
                  </a:lnTo>
                  <a:lnTo>
                    <a:pt x="460578" y="95008"/>
                  </a:lnTo>
                  <a:lnTo>
                    <a:pt x="427736" y="62852"/>
                  </a:lnTo>
                  <a:lnTo>
                    <a:pt x="389890" y="36550"/>
                  </a:lnTo>
                  <a:lnTo>
                    <a:pt x="347751" y="16802"/>
                  </a:lnTo>
                  <a:lnTo>
                    <a:pt x="302082" y="4381"/>
                  </a:lnTo>
                  <a:lnTo>
                    <a:pt x="253606" y="0"/>
                  </a:lnTo>
                  <a:lnTo>
                    <a:pt x="252387" y="0"/>
                  </a:lnTo>
                  <a:lnTo>
                    <a:pt x="204038" y="4356"/>
                  </a:lnTo>
                  <a:lnTo>
                    <a:pt x="158483" y="16725"/>
                  </a:lnTo>
                  <a:lnTo>
                    <a:pt x="116446" y="36372"/>
                  </a:lnTo>
                  <a:lnTo>
                    <a:pt x="78663" y="62560"/>
                  </a:lnTo>
                  <a:lnTo>
                    <a:pt x="45859" y="94576"/>
                  </a:lnTo>
                  <a:lnTo>
                    <a:pt x="18745" y="131686"/>
                  </a:lnTo>
                  <a:lnTo>
                    <a:pt x="0" y="169303"/>
                  </a:lnTo>
                  <a:lnTo>
                    <a:pt x="0" y="264452"/>
                  </a:lnTo>
                  <a:lnTo>
                    <a:pt x="26758" y="262178"/>
                  </a:lnTo>
                  <a:lnTo>
                    <a:pt x="71285" y="250520"/>
                  </a:lnTo>
                  <a:lnTo>
                    <a:pt x="112522" y="231927"/>
                  </a:lnTo>
                  <a:lnTo>
                    <a:pt x="149783" y="207060"/>
                  </a:lnTo>
                  <a:lnTo>
                    <a:pt x="182410" y="176593"/>
                  </a:lnTo>
                  <a:lnTo>
                    <a:pt x="209727" y="141224"/>
                  </a:lnTo>
                  <a:lnTo>
                    <a:pt x="231051" y="101600"/>
                  </a:lnTo>
                  <a:lnTo>
                    <a:pt x="245719" y="58420"/>
                  </a:lnTo>
                  <a:lnTo>
                    <a:pt x="253034" y="12369"/>
                  </a:lnTo>
                  <a:lnTo>
                    <a:pt x="260210" y="58572"/>
                  </a:lnTo>
                  <a:lnTo>
                    <a:pt x="274777" y="101955"/>
                  </a:lnTo>
                  <a:lnTo>
                    <a:pt x="296037" y="141744"/>
                  </a:lnTo>
                  <a:lnTo>
                    <a:pt x="323329" y="177279"/>
                  </a:lnTo>
                  <a:lnTo>
                    <a:pt x="355981" y="207886"/>
                  </a:lnTo>
                  <a:lnTo>
                    <a:pt x="393293" y="232867"/>
                  </a:lnTo>
                  <a:lnTo>
                    <a:pt x="434606" y="251561"/>
                  </a:lnTo>
                  <a:lnTo>
                    <a:pt x="479221" y="263271"/>
                  </a:lnTo>
                  <a:lnTo>
                    <a:pt x="527138" y="267322"/>
                  </a:lnTo>
                  <a:close/>
                </a:path>
              </a:pathLst>
            </a:custGeom>
            <a:solidFill>
              <a:srgbClr val="2DB7EA"/>
            </a:solidFill>
          </p:spPr>
          <p:txBody>
            <a:bodyPr wrap="square" lIns="0" tIns="0" rIns="0" bIns="0" rtlCol="0"/>
            <a:lstStyle/>
            <a:p>
              <a:endParaRPr dirty="0"/>
            </a:p>
          </p:txBody>
        </p:sp>
        <p:pic>
          <p:nvPicPr>
            <p:cNvPr id="260" name="object 258">
              <a:extLst>
                <a:ext uri="{FF2B5EF4-FFF2-40B4-BE49-F238E27FC236}">
                  <a16:creationId xmlns:a16="http://schemas.microsoft.com/office/drawing/2014/main" id="{6C04F485-0E69-368F-72FB-4AF085A46F32}"/>
                </a:ext>
              </a:extLst>
            </p:cNvPr>
            <p:cNvPicPr/>
            <p:nvPr/>
          </p:nvPicPr>
          <p:blipFill>
            <a:blip r:embed="rId16" cstate="print"/>
            <a:stretch>
              <a:fillRect/>
            </a:stretch>
          </p:blipFill>
          <p:spPr>
            <a:xfrm>
              <a:off x="7326865" y="4318566"/>
              <a:ext cx="106445" cy="107156"/>
            </a:xfrm>
            <a:prstGeom prst="rect">
              <a:avLst/>
            </a:prstGeom>
          </p:spPr>
        </p:pic>
        <p:sp>
          <p:nvSpPr>
            <p:cNvPr id="261" name="object 259">
              <a:extLst>
                <a:ext uri="{FF2B5EF4-FFF2-40B4-BE49-F238E27FC236}">
                  <a16:creationId xmlns:a16="http://schemas.microsoft.com/office/drawing/2014/main" id="{57BB8F92-C17D-7F35-CE62-5A0C84238AD7}"/>
                </a:ext>
              </a:extLst>
            </p:cNvPr>
            <p:cNvSpPr/>
            <p:nvPr/>
          </p:nvSpPr>
          <p:spPr>
            <a:xfrm>
              <a:off x="7226300" y="4517034"/>
              <a:ext cx="319992" cy="477101"/>
            </a:xfrm>
            <a:custGeom>
              <a:avLst/>
              <a:gdLst/>
              <a:ahLst/>
              <a:cxnLst/>
              <a:rect l="l" t="t" r="r" b="b"/>
              <a:pathLst>
                <a:path w="527684" h="786765">
                  <a:moveTo>
                    <a:pt x="527126" y="786384"/>
                  </a:moveTo>
                  <a:lnTo>
                    <a:pt x="521677" y="738225"/>
                  </a:lnTo>
                  <a:lnTo>
                    <a:pt x="508279" y="692962"/>
                  </a:lnTo>
                  <a:lnTo>
                    <a:pt x="487667" y="651332"/>
                  </a:lnTo>
                  <a:lnTo>
                    <a:pt x="460578" y="614083"/>
                  </a:lnTo>
                  <a:lnTo>
                    <a:pt x="427736" y="581926"/>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47"/>
                  </a:lnTo>
                  <a:lnTo>
                    <a:pt x="45859" y="613664"/>
                  </a:lnTo>
                  <a:lnTo>
                    <a:pt x="18770" y="650773"/>
                  </a:lnTo>
                  <a:lnTo>
                    <a:pt x="0" y="688454"/>
                  </a:lnTo>
                  <a:lnTo>
                    <a:pt x="0" y="783564"/>
                  </a:lnTo>
                  <a:lnTo>
                    <a:pt x="71285" y="769620"/>
                  </a:lnTo>
                  <a:lnTo>
                    <a:pt x="112522" y="751014"/>
                  </a:lnTo>
                  <a:lnTo>
                    <a:pt x="149783" y="726147"/>
                  </a:lnTo>
                  <a:lnTo>
                    <a:pt x="182410" y="695680"/>
                  </a:lnTo>
                  <a:lnTo>
                    <a:pt x="209715" y="660298"/>
                  </a:lnTo>
                  <a:lnTo>
                    <a:pt x="231038" y="620674"/>
                  </a:lnTo>
                  <a:lnTo>
                    <a:pt x="245706" y="577469"/>
                  </a:lnTo>
                  <a:lnTo>
                    <a:pt x="253034" y="531393"/>
                  </a:lnTo>
                  <a:lnTo>
                    <a:pt x="260210" y="577659"/>
                  </a:lnTo>
                  <a:lnTo>
                    <a:pt x="274777" y="621030"/>
                  </a:lnTo>
                  <a:lnTo>
                    <a:pt x="296037" y="660831"/>
                  </a:lnTo>
                  <a:lnTo>
                    <a:pt x="323329" y="696366"/>
                  </a:lnTo>
                  <a:lnTo>
                    <a:pt x="355968" y="726960"/>
                  </a:lnTo>
                  <a:lnTo>
                    <a:pt x="393293" y="751941"/>
                  </a:lnTo>
                  <a:lnTo>
                    <a:pt x="434594" y="770623"/>
                  </a:lnTo>
                  <a:lnTo>
                    <a:pt x="479209" y="782332"/>
                  </a:lnTo>
                  <a:lnTo>
                    <a:pt x="527126" y="786384"/>
                  </a:lnTo>
                  <a:close/>
                </a:path>
                <a:path w="527684" h="786765">
                  <a:moveTo>
                    <a:pt x="527126" y="520852"/>
                  </a:moveTo>
                  <a:lnTo>
                    <a:pt x="521677" y="472694"/>
                  </a:lnTo>
                  <a:lnTo>
                    <a:pt x="508279" y="427431"/>
                  </a:lnTo>
                  <a:lnTo>
                    <a:pt x="487667" y="385813"/>
                  </a:lnTo>
                  <a:lnTo>
                    <a:pt x="460578" y="348551"/>
                  </a:lnTo>
                  <a:lnTo>
                    <a:pt x="427736" y="316407"/>
                  </a:lnTo>
                  <a:lnTo>
                    <a:pt x="389877" y="290093"/>
                  </a:lnTo>
                  <a:lnTo>
                    <a:pt x="347751" y="270357"/>
                  </a:lnTo>
                  <a:lnTo>
                    <a:pt x="302082" y="257937"/>
                  </a:lnTo>
                  <a:lnTo>
                    <a:pt x="253606" y="253555"/>
                  </a:lnTo>
                  <a:lnTo>
                    <a:pt x="252387" y="253555"/>
                  </a:lnTo>
                  <a:lnTo>
                    <a:pt x="204038" y="257911"/>
                  </a:lnTo>
                  <a:lnTo>
                    <a:pt x="158483" y="270281"/>
                  </a:lnTo>
                  <a:lnTo>
                    <a:pt x="116446" y="289928"/>
                  </a:lnTo>
                  <a:lnTo>
                    <a:pt x="78663" y="316128"/>
                  </a:lnTo>
                  <a:lnTo>
                    <a:pt x="45859" y="348132"/>
                  </a:lnTo>
                  <a:lnTo>
                    <a:pt x="18770" y="385241"/>
                  </a:lnTo>
                  <a:lnTo>
                    <a:pt x="0" y="422922"/>
                  </a:lnTo>
                  <a:lnTo>
                    <a:pt x="0" y="518020"/>
                  </a:lnTo>
                  <a:lnTo>
                    <a:pt x="71285" y="504075"/>
                  </a:lnTo>
                  <a:lnTo>
                    <a:pt x="112522" y="485482"/>
                  </a:lnTo>
                  <a:lnTo>
                    <a:pt x="149783" y="460616"/>
                  </a:lnTo>
                  <a:lnTo>
                    <a:pt x="182410" y="430149"/>
                  </a:lnTo>
                  <a:lnTo>
                    <a:pt x="209715" y="394766"/>
                  </a:lnTo>
                  <a:lnTo>
                    <a:pt x="231038" y="355142"/>
                  </a:lnTo>
                  <a:lnTo>
                    <a:pt x="245706" y="311950"/>
                  </a:lnTo>
                  <a:lnTo>
                    <a:pt x="253034" y="265861"/>
                  </a:lnTo>
                  <a:lnTo>
                    <a:pt x="260210" y="312127"/>
                  </a:lnTo>
                  <a:lnTo>
                    <a:pt x="274777" y="355511"/>
                  </a:lnTo>
                  <a:lnTo>
                    <a:pt x="296037" y="395300"/>
                  </a:lnTo>
                  <a:lnTo>
                    <a:pt x="323329" y="430834"/>
                  </a:lnTo>
                  <a:lnTo>
                    <a:pt x="355968" y="461429"/>
                  </a:lnTo>
                  <a:lnTo>
                    <a:pt x="393293" y="486410"/>
                  </a:lnTo>
                  <a:lnTo>
                    <a:pt x="434594" y="505091"/>
                  </a:lnTo>
                  <a:lnTo>
                    <a:pt x="479209" y="516801"/>
                  </a:lnTo>
                  <a:lnTo>
                    <a:pt x="527126" y="520852"/>
                  </a:lnTo>
                  <a:close/>
                </a:path>
                <a:path w="527684" h="786765">
                  <a:moveTo>
                    <a:pt x="527138" y="267322"/>
                  </a:moveTo>
                  <a:lnTo>
                    <a:pt x="521690" y="219151"/>
                  </a:lnTo>
                  <a:lnTo>
                    <a:pt x="508292" y="173875"/>
                  </a:lnTo>
                  <a:lnTo>
                    <a:pt x="487680" y="132245"/>
                  </a:lnTo>
                  <a:lnTo>
                    <a:pt x="460578" y="94996"/>
                  </a:lnTo>
                  <a:lnTo>
                    <a:pt x="427736" y="62852"/>
                  </a:lnTo>
                  <a:lnTo>
                    <a:pt x="405396" y="47332"/>
                  </a:lnTo>
                  <a:lnTo>
                    <a:pt x="389890" y="36537"/>
                  </a:lnTo>
                  <a:lnTo>
                    <a:pt x="370154" y="27305"/>
                  </a:lnTo>
                  <a:lnTo>
                    <a:pt x="347764" y="16814"/>
                  </a:lnTo>
                  <a:lnTo>
                    <a:pt x="302082" y="4368"/>
                  </a:lnTo>
                  <a:lnTo>
                    <a:pt x="253606" y="0"/>
                  </a:lnTo>
                  <a:lnTo>
                    <a:pt x="252387" y="0"/>
                  </a:lnTo>
                  <a:lnTo>
                    <a:pt x="204038" y="4356"/>
                  </a:lnTo>
                  <a:lnTo>
                    <a:pt x="158483" y="16725"/>
                  </a:lnTo>
                  <a:lnTo>
                    <a:pt x="116446" y="36372"/>
                  </a:lnTo>
                  <a:lnTo>
                    <a:pt x="78663" y="62560"/>
                  </a:lnTo>
                  <a:lnTo>
                    <a:pt x="45859" y="94576"/>
                  </a:lnTo>
                  <a:lnTo>
                    <a:pt x="18745" y="131686"/>
                  </a:lnTo>
                  <a:lnTo>
                    <a:pt x="0" y="169291"/>
                  </a:lnTo>
                  <a:lnTo>
                    <a:pt x="0" y="264439"/>
                  </a:lnTo>
                  <a:lnTo>
                    <a:pt x="26758" y="262166"/>
                  </a:lnTo>
                  <a:lnTo>
                    <a:pt x="71285" y="250520"/>
                  </a:lnTo>
                  <a:lnTo>
                    <a:pt x="112522" y="231914"/>
                  </a:lnTo>
                  <a:lnTo>
                    <a:pt x="149783" y="207048"/>
                  </a:lnTo>
                  <a:lnTo>
                    <a:pt x="182410" y="176593"/>
                  </a:lnTo>
                  <a:lnTo>
                    <a:pt x="209727" y="141211"/>
                  </a:lnTo>
                  <a:lnTo>
                    <a:pt x="231051" y="101600"/>
                  </a:lnTo>
                  <a:lnTo>
                    <a:pt x="245719" y="58407"/>
                  </a:lnTo>
                  <a:lnTo>
                    <a:pt x="253034" y="12357"/>
                  </a:lnTo>
                  <a:lnTo>
                    <a:pt x="260210" y="58572"/>
                  </a:lnTo>
                  <a:lnTo>
                    <a:pt x="274777" y="101942"/>
                  </a:lnTo>
                  <a:lnTo>
                    <a:pt x="296037" y="141732"/>
                  </a:lnTo>
                  <a:lnTo>
                    <a:pt x="323329" y="177279"/>
                  </a:lnTo>
                  <a:lnTo>
                    <a:pt x="355968" y="207873"/>
                  </a:lnTo>
                  <a:lnTo>
                    <a:pt x="393293" y="232867"/>
                  </a:lnTo>
                  <a:lnTo>
                    <a:pt x="434606" y="251548"/>
                  </a:lnTo>
                  <a:lnTo>
                    <a:pt x="479221" y="263271"/>
                  </a:lnTo>
                  <a:lnTo>
                    <a:pt x="527138" y="267322"/>
                  </a:lnTo>
                  <a:close/>
                </a:path>
              </a:pathLst>
            </a:custGeom>
            <a:solidFill>
              <a:srgbClr val="7ED3F1"/>
            </a:solidFill>
          </p:spPr>
          <p:txBody>
            <a:bodyPr wrap="square" lIns="0" tIns="0" rIns="0" bIns="0" rtlCol="0"/>
            <a:lstStyle/>
            <a:p>
              <a:endParaRPr dirty="0"/>
            </a:p>
          </p:txBody>
        </p:sp>
        <p:pic>
          <p:nvPicPr>
            <p:cNvPr id="262" name="object 260">
              <a:extLst>
                <a:ext uri="{FF2B5EF4-FFF2-40B4-BE49-F238E27FC236}">
                  <a16:creationId xmlns:a16="http://schemas.microsoft.com/office/drawing/2014/main" id="{3D12A703-A98C-2B4B-8A4F-1D0D2282FE86}"/>
                </a:ext>
              </a:extLst>
            </p:cNvPr>
            <p:cNvPicPr/>
            <p:nvPr/>
          </p:nvPicPr>
          <p:blipFill>
            <a:blip r:embed="rId17" cstate="print"/>
            <a:stretch>
              <a:fillRect/>
            </a:stretch>
          </p:blipFill>
          <p:spPr>
            <a:xfrm>
              <a:off x="7326865" y="4972731"/>
              <a:ext cx="106445" cy="107156"/>
            </a:xfrm>
            <a:prstGeom prst="rect">
              <a:avLst/>
            </a:prstGeom>
          </p:spPr>
        </p:pic>
        <p:sp>
          <p:nvSpPr>
            <p:cNvPr id="263" name="object 261">
              <a:extLst>
                <a:ext uri="{FF2B5EF4-FFF2-40B4-BE49-F238E27FC236}">
                  <a16:creationId xmlns:a16="http://schemas.microsoft.com/office/drawing/2014/main" id="{AE787B7D-8DEA-1D97-FF0C-516BCF8EBFC1}"/>
                </a:ext>
              </a:extLst>
            </p:cNvPr>
            <p:cNvSpPr/>
            <p:nvPr/>
          </p:nvSpPr>
          <p:spPr>
            <a:xfrm>
              <a:off x="7226300" y="2554529"/>
              <a:ext cx="319992" cy="477101"/>
            </a:xfrm>
            <a:custGeom>
              <a:avLst/>
              <a:gdLst/>
              <a:ahLst/>
              <a:cxnLst/>
              <a:rect l="l" t="t" r="r" b="b"/>
              <a:pathLst>
                <a:path w="527684" h="786764">
                  <a:moveTo>
                    <a:pt x="527126" y="786396"/>
                  </a:moveTo>
                  <a:lnTo>
                    <a:pt x="521677" y="738238"/>
                  </a:lnTo>
                  <a:lnTo>
                    <a:pt x="508279" y="692975"/>
                  </a:lnTo>
                  <a:lnTo>
                    <a:pt x="487667" y="651344"/>
                  </a:lnTo>
                  <a:lnTo>
                    <a:pt x="460578" y="614095"/>
                  </a:lnTo>
                  <a:lnTo>
                    <a:pt x="427736" y="581939"/>
                  </a:lnTo>
                  <a:lnTo>
                    <a:pt x="389877" y="555625"/>
                  </a:lnTo>
                  <a:lnTo>
                    <a:pt x="347751" y="535901"/>
                  </a:lnTo>
                  <a:lnTo>
                    <a:pt x="302082" y="523468"/>
                  </a:lnTo>
                  <a:lnTo>
                    <a:pt x="253606" y="519099"/>
                  </a:lnTo>
                  <a:lnTo>
                    <a:pt x="252387" y="519099"/>
                  </a:lnTo>
                  <a:lnTo>
                    <a:pt x="204038" y="523455"/>
                  </a:lnTo>
                  <a:lnTo>
                    <a:pt x="158483" y="535825"/>
                  </a:lnTo>
                  <a:lnTo>
                    <a:pt x="116446" y="555459"/>
                  </a:lnTo>
                  <a:lnTo>
                    <a:pt x="78663" y="581660"/>
                  </a:lnTo>
                  <a:lnTo>
                    <a:pt x="45859" y="613676"/>
                  </a:lnTo>
                  <a:lnTo>
                    <a:pt x="18770" y="650773"/>
                  </a:lnTo>
                  <a:lnTo>
                    <a:pt x="0" y="688467"/>
                  </a:lnTo>
                  <a:lnTo>
                    <a:pt x="0" y="783577"/>
                  </a:lnTo>
                  <a:lnTo>
                    <a:pt x="71285" y="769632"/>
                  </a:lnTo>
                  <a:lnTo>
                    <a:pt x="112522" y="751027"/>
                  </a:lnTo>
                  <a:lnTo>
                    <a:pt x="149783" y="726160"/>
                  </a:lnTo>
                  <a:lnTo>
                    <a:pt x="182410" y="695693"/>
                  </a:lnTo>
                  <a:lnTo>
                    <a:pt x="209715" y="660311"/>
                  </a:lnTo>
                  <a:lnTo>
                    <a:pt x="231038" y="620687"/>
                  </a:lnTo>
                  <a:lnTo>
                    <a:pt x="245706" y="577481"/>
                  </a:lnTo>
                  <a:lnTo>
                    <a:pt x="253034" y="531406"/>
                  </a:lnTo>
                  <a:lnTo>
                    <a:pt x="260210" y="577672"/>
                  </a:lnTo>
                  <a:lnTo>
                    <a:pt x="274777" y="621042"/>
                  </a:lnTo>
                  <a:lnTo>
                    <a:pt x="296037" y="660844"/>
                  </a:lnTo>
                  <a:lnTo>
                    <a:pt x="323329" y="696379"/>
                  </a:lnTo>
                  <a:lnTo>
                    <a:pt x="355968" y="726973"/>
                  </a:lnTo>
                  <a:lnTo>
                    <a:pt x="393293" y="751954"/>
                  </a:lnTo>
                  <a:lnTo>
                    <a:pt x="434594" y="770636"/>
                  </a:lnTo>
                  <a:lnTo>
                    <a:pt x="479209" y="782345"/>
                  </a:lnTo>
                  <a:lnTo>
                    <a:pt x="527126" y="786396"/>
                  </a:lnTo>
                  <a:close/>
                </a:path>
                <a:path w="527684" h="786764">
                  <a:moveTo>
                    <a:pt x="527126" y="520865"/>
                  </a:moveTo>
                  <a:lnTo>
                    <a:pt x="521677" y="472706"/>
                  </a:lnTo>
                  <a:lnTo>
                    <a:pt x="508279" y="427443"/>
                  </a:lnTo>
                  <a:lnTo>
                    <a:pt x="487667" y="385813"/>
                  </a:lnTo>
                  <a:lnTo>
                    <a:pt x="460578" y="348564"/>
                  </a:lnTo>
                  <a:lnTo>
                    <a:pt x="427736" y="316407"/>
                  </a:lnTo>
                  <a:lnTo>
                    <a:pt x="389877" y="290106"/>
                  </a:lnTo>
                  <a:lnTo>
                    <a:pt x="347751" y="270370"/>
                  </a:lnTo>
                  <a:lnTo>
                    <a:pt x="302082" y="257949"/>
                  </a:lnTo>
                  <a:lnTo>
                    <a:pt x="253606" y="253568"/>
                  </a:lnTo>
                  <a:lnTo>
                    <a:pt x="252387" y="253568"/>
                  </a:lnTo>
                  <a:lnTo>
                    <a:pt x="204038" y="257924"/>
                  </a:lnTo>
                  <a:lnTo>
                    <a:pt x="158483" y="270294"/>
                  </a:lnTo>
                  <a:lnTo>
                    <a:pt x="116446" y="289941"/>
                  </a:lnTo>
                  <a:lnTo>
                    <a:pt x="78663" y="316128"/>
                  </a:lnTo>
                  <a:lnTo>
                    <a:pt x="45859" y="348145"/>
                  </a:lnTo>
                  <a:lnTo>
                    <a:pt x="18770" y="385254"/>
                  </a:lnTo>
                  <a:lnTo>
                    <a:pt x="0" y="422935"/>
                  </a:lnTo>
                  <a:lnTo>
                    <a:pt x="0" y="518045"/>
                  </a:lnTo>
                  <a:lnTo>
                    <a:pt x="71285" y="504101"/>
                  </a:lnTo>
                  <a:lnTo>
                    <a:pt x="112522" y="485495"/>
                  </a:lnTo>
                  <a:lnTo>
                    <a:pt x="149783" y="460629"/>
                  </a:lnTo>
                  <a:lnTo>
                    <a:pt x="182410" y="430161"/>
                  </a:lnTo>
                  <a:lnTo>
                    <a:pt x="209715" y="394779"/>
                  </a:lnTo>
                  <a:lnTo>
                    <a:pt x="231038" y="355155"/>
                  </a:lnTo>
                  <a:lnTo>
                    <a:pt x="245706" y="311962"/>
                  </a:lnTo>
                  <a:lnTo>
                    <a:pt x="253034" y="265874"/>
                  </a:lnTo>
                  <a:lnTo>
                    <a:pt x="260210" y="312140"/>
                  </a:lnTo>
                  <a:lnTo>
                    <a:pt x="274777" y="355511"/>
                  </a:lnTo>
                  <a:lnTo>
                    <a:pt x="296037" y="395312"/>
                  </a:lnTo>
                  <a:lnTo>
                    <a:pt x="323329" y="430847"/>
                  </a:lnTo>
                  <a:lnTo>
                    <a:pt x="355968" y="461441"/>
                  </a:lnTo>
                  <a:lnTo>
                    <a:pt x="393293" y="486422"/>
                  </a:lnTo>
                  <a:lnTo>
                    <a:pt x="434594" y="505104"/>
                  </a:lnTo>
                  <a:lnTo>
                    <a:pt x="479209" y="516813"/>
                  </a:lnTo>
                  <a:lnTo>
                    <a:pt x="527126" y="520865"/>
                  </a:lnTo>
                  <a:close/>
                </a:path>
                <a:path w="527684" h="786764">
                  <a:moveTo>
                    <a:pt x="527138" y="267335"/>
                  </a:moveTo>
                  <a:lnTo>
                    <a:pt x="521690" y="219163"/>
                  </a:lnTo>
                  <a:lnTo>
                    <a:pt x="508292" y="173888"/>
                  </a:lnTo>
                  <a:lnTo>
                    <a:pt x="487680" y="132257"/>
                  </a:lnTo>
                  <a:lnTo>
                    <a:pt x="471982" y="110693"/>
                  </a:lnTo>
                  <a:lnTo>
                    <a:pt x="460578" y="95008"/>
                  </a:lnTo>
                  <a:lnTo>
                    <a:pt x="427736" y="62865"/>
                  </a:lnTo>
                  <a:lnTo>
                    <a:pt x="389890" y="36563"/>
                  </a:lnTo>
                  <a:lnTo>
                    <a:pt x="347751" y="16802"/>
                  </a:lnTo>
                  <a:lnTo>
                    <a:pt x="302082" y="4381"/>
                  </a:lnTo>
                  <a:lnTo>
                    <a:pt x="253606" y="0"/>
                  </a:lnTo>
                  <a:lnTo>
                    <a:pt x="252387" y="0"/>
                  </a:lnTo>
                  <a:lnTo>
                    <a:pt x="204038" y="4356"/>
                  </a:lnTo>
                  <a:lnTo>
                    <a:pt x="158483" y="16725"/>
                  </a:lnTo>
                  <a:lnTo>
                    <a:pt x="116446" y="36372"/>
                  </a:lnTo>
                  <a:lnTo>
                    <a:pt x="78663" y="62572"/>
                  </a:lnTo>
                  <a:lnTo>
                    <a:pt x="45859" y="94576"/>
                  </a:lnTo>
                  <a:lnTo>
                    <a:pt x="38633" y="104470"/>
                  </a:lnTo>
                  <a:lnTo>
                    <a:pt x="18745" y="131699"/>
                  </a:lnTo>
                  <a:lnTo>
                    <a:pt x="0" y="169303"/>
                  </a:lnTo>
                  <a:lnTo>
                    <a:pt x="0" y="264452"/>
                  </a:lnTo>
                  <a:lnTo>
                    <a:pt x="26758" y="262191"/>
                  </a:lnTo>
                  <a:lnTo>
                    <a:pt x="71285" y="250532"/>
                  </a:lnTo>
                  <a:lnTo>
                    <a:pt x="112522" y="231940"/>
                  </a:lnTo>
                  <a:lnTo>
                    <a:pt x="149783" y="207060"/>
                  </a:lnTo>
                  <a:lnTo>
                    <a:pt x="182410" y="176606"/>
                  </a:lnTo>
                  <a:lnTo>
                    <a:pt x="209727" y="141224"/>
                  </a:lnTo>
                  <a:lnTo>
                    <a:pt x="231051" y="101612"/>
                  </a:lnTo>
                  <a:lnTo>
                    <a:pt x="245719" y="58420"/>
                  </a:lnTo>
                  <a:lnTo>
                    <a:pt x="253034" y="12369"/>
                  </a:lnTo>
                  <a:lnTo>
                    <a:pt x="260210" y="58585"/>
                  </a:lnTo>
                  <a:lnTo>
                    <a:pt x="274777" y="101955"/>
                  </a:lnTo>
                  <a:lnTo>
                    <a:pt x="296037" y="141744"/>
                  </a:lnTo>
                  <a:lnTo>
                    <a:pt x="323329" y="177279"/>
                  </a:lnTo>
                  <a:lnTo>
                    <a:pt x="355981" y="207886"/>
                  </a:lnTo>
                  <a:lnTo>
                    <a:pt x="393293" y="232867"/>
                  </a:lnTo>
                  <a:lnTo>
                    <a:pt x="434606" y="251561"/>
                  </a:lnTo>
                  <a:lnTo>
                    <a:pt x="479221" y="263271"/>
                  </a:lnTo>
                  <a:lnTo>
                    <a:pt x="527138" y="267335"/>
                  </a:lnTo>
                  <a:close/>
                </a:path>
              </a:pathLst>
            </a:custGeom>
            <a:solidFill>
              <a:srgbClr val="2DB7EA"/>
            </a:solidFill>
          </p:spPr>
          <p:txBody>
            <a:bodyPr wrap="square" lIns="0" tIns="0" rIns="0" bIns="0" rtlCol="0"/>
            <a:lstStyle/>
            <a:p>
              <a:endParaRPr dirty="0"/>
            </a:p>
          </p:txBody>
        </p:sp>
        <p:pic>
          <p:nvPicPr>
            <p:cNvPr id="264" name="object 262">
              <a:extLst>
                <a:ext uri="{FF2B5EF4-FFF2-40B4-BE49-F238E27FC236}">
                  <a16:creationId xmlns:a16="http://schemas.microsoft.com/office/drawing/2014/main" id="{380D722E-DB8D-BF60-BDB7-79D8C2E54FCF}"/>
                </a:ext>
              </a:extLst>
            </p:cNvPr>
            <p:cNvPicPr/>
            <p:nvPr/>
          </p:nvPicPr>
          <p:blipFill>
            <a:blip r:embed="rId16" cstate="print"/>
            <a:stretch>
              <a:fillRect/>
            </a:stretch>
          </p:blipFill>
          <p:spPr>
            <a:xfrm>
              <a:off x="7326865" y="3010234"/>
              <a:ext cx="106445" cy="107156"/>
            </a:xfrm>
            <a:prstGeom prst="rect">
              <a:avLst/>
            </a:prstGeom>
          </p:spPr>
        </p:pic>
        <p:sp>
          <p:nvSpPr>
            <p:cNvPr id="265" name="object 263">
              <a:extLst>
                <a:ext uri="{FF2B5EF4-FFF2-40B4-BE49-F238E27FC236}">
                  <a16:creationId xmlns:a16="http://schemas.microsoft.com/office/drawing/2014/main" id="{F914979E-21DC-A5C0-5C88-74A8BA446E01}"/>
                </a:ext>
              </a:extLst>
            </p:cNvPr>
            <p:cNvSpPr/>
            <p:nvPr/>
          </p:nvSpPr>
          <p:spPr>
            <a:xfrm>
              <a:off x="7226300" y="3208700"/>
              <a:ext cx="319992" cy="477101"/>
            </a:xfrm>
            <a:custGeom>
              <a:avLst/>
              <a:gdLst/>
              <a:ahLst/>
              <a:cxnLst/>
              <a:rect l="l" t="t" r="r" b="b"/>
              <a:pathLst>
                <a:path w="527684" h="786764">
                  <a:moveTo>
                    <a:pt x="527126" y="786384"/>
                  </a:moveTo>
                  <a:lnTo>
                    <a:pt x="521677" y="738225"/>
                  </a:lnTo>
                  <a:lnTo>
                    <a:pt x="508279" y="692962"/>
                  </a:lnTo>
                  <a:lnTo>
                    <a:pt x="487667" y="651344"/>
                  </a:lnTo>
                  <a:lnTo>
                    <a:pt x="460578" y="614083"/>
                  </a:lnTo>
                  <a:lnTo>
                    <a:pt x="427736" y="581926"/>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47"/>
                  </a:lnTo>
                  <a:lnTo>
                    <a:pt x="45859" y="613664"/>
                  </a:lnTo>
                  <a:lnTo>
                    <a:pt x="18770" y="650773"/>
                  </a:lnTo>
                  <a:lnTo>
                    <a:pt x="0" y="688454"/>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59"/>
                  </a:lnTo>
                  <a:lnTo>
                    <a:pt x="274777" y="621042"/>
                  </a:lnTo>
                  <a:lnTo>
                    <a:pt x="296037" y="660831"/>
                  </a:lnTo>
                  <a:lnTo>
                    <a:pt x="323329" y="696366"/>
                  </a:lnTo>
                  <a:lnTo>
                    <a:pt x="355968" y="726960"/>
                  </a:lnTo>
                  <a:lnTo>
                    <a:pt x="393293" y="751941"/>
                  </a:lnTo>
                  <a:lnTo>
                    <a:pt x="434594" y="770623"/>
                  </a:lnTo>
                  <a:lnTo>
                    <a:pt x="479209" y="782332"/>
                  </a:lnTo>
                  <a:lnTo>
                    <a:pt x="527126" y="786384"/>
                  </a:lnTo>
                  <a:close/>
                </a:path>
                <a:path w="527684" h="786764">
                  <a:moveTo>
                    <a:pt x="527126" y="520865"/>
                  </a:moveTo>
                  <a:lnTo>
                    <a:pt x="521677" y="472694"/>
                  </a:lnTo>
                  <a:lnTo>
                    <a:pt x="508279" y="427431"/>
                  </a:lnTo>
                  <a:lnTo>
                    <a:pt x="487667" y="385813"/>
                  </a:lnTo>
                  <a:lnTo>
                    <a:pt x="460578" y="348551"/>
                  </a:lnTo>
                  <a:lnTo>
                    <a:pt x="427736" y="316407"/>
                  </a:lnTo>
                  <a:lnTo>
                    <a:pt x="389877" y="290093"/>
                  </a:lnTo>
                  <a:lnTo>
                    <a:pt x="347751" y="270357"/>
                  </a:lnTo>
                  <a:lnTo>
                    <a:pt x="302082" y="257937"/>
                  </a:lnTo>
                  <a:lnTo>
                    <a:pt x="253606" y="253555"/>
                  </a:lnTo>
                  <a:lnTo>
                    <a:pt x="252387" y="253555"/>
                  </a:lnTo>
                  <a:lnTo>
                    <a:pt x="204038" y="257911"/>
                  </a:lnTo>
                  <a:lnTo>
                    <a:pt x="158483" y="270281"/>
                  </a:lnTo>
                  <a:lnTo>
                    <a:pt x="116446" y="289928"/>
                  </a:lnTo>
                  <a:lnTo>
                    <a:pt x="78663" y="316115"/>
                  </a:lnTo>
                  <a:lnTo>
                    <a:pt x="45859" y="348132"/>
                  </a:lnTo>
                  <a:lnTo>
                    <a:pt x="18770" y="385241"/>
                  </a:lnTo>
                  <a:lnTo>
                    <a:pt x="0" y="422935"/>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40"/>
                  </a:lnTo>
                  <a:lnTo>
                    <a:pt x="274777" y="355511"/>
                  </a:lnTo>
                  <a:lnTo>
                    <a:pt x="296037" y="395300"/>
                  </a:lnTo>
                  <a:lnTo>
                    <a:pt x="323329" y="430834"/>
                  </a:lnTo>
                  <a:lnTo>
                    <a:pt x="355968" y="461429"/>
                  </a:lnTo>
                  <a:lnTo>
                    <a:pt x="393293" y="486410"/>
                  </a:lnTo>
                  <a:lnTo>
                    <a:pt x="434594" y="505091"/>
                  </a:lnTo>
                  <a:lnTo>
                    <a:pt x="479209" y="516801"/>
                  </a:lnTo>
                  <a:lnTo>
                    <a:pt x="527126" y="520865"/>
                  </a:lnTo>
                  <a:close/>
                </a:path>
                <a:path w="527684" h="786764">
                  <a:moveTo>
                    <a:pt x="527138" y="267322"/>
                  </a:moveTo>
                  <a:lnTo>
                    <a:pt x="521690" y="219151"/>
                  </a:lnTo>
                  <a:lnTo>
                    <a:pt x="508292" y="173888"/>
                  </a:lnTo>
                  <a:lnTo>
                    <a:pt x="487680" y="132257"/>
                  </a:lnTo>
                  <a:lnTo>
                    <a:pt x="460578" y="94996"/>
                  </a:lnTo>
                  <a:lnTo>
                    <a:pt x="427736" y="62852"/>
                  </a:lnTo>
                  <a:lnTo>
                    <a:pt x="389890" y="36550"/>
                  </a:lnTo>
                  <a:lnTo>
                    <a:pt x="347764" y="16814"/>
                  </a:lnTo>
                  <a:lnTo>
                    <a:pt x="302082" y="4368"/>
                  </a:lnTo>
                  <a:lnTo>
                    <a:pt x="253606" y="0"/>
                  </a:lnTo>
                  <a:lnTo>
                    <a:pt x="252387" y="0"/>
                  </a:lnTo>
                  <a:lnTo>
                    <a:pt x="204038" y="4356"/>
                  </a:lnTo>
                  <a:lnTo>
                    <a:pt x="158483" y="16725"/>
                  </a:lnTo>
                  <a:lnTo>
                    <a:pt x="116446" y="36360"/>
                  </a:lnTo>
                  <a:lnTo>
                    <a:pt x="78663" y="62560"/>
                  </a:lnTo>
                  <a:lnTo>
                    <a:pt x="45859" y="94576"/>
                  </a:lnTo>
                  <a:lnTo>
                    <a:pt x="18745" y="131686"/>
                  </a:lnTo>
                  <a:lnTo>
                    <a:pt x="0" y="169291"/>
                  </a:lnTo>
                  <a:lnTo>
                    <a:pt x="0" y="264452"/>
                  </a:lnTo>
                  <a:lnTo>
                    <a:pt x="26758" y="262191"/>
                  </a:lnTo>
                  <a:lnTo>
                    <a:pt x="71285" y="250532"/>
                  </a:lnTo>
                  <a:lnTo>
                    <a:pt x="112522" y="231927"/>
                  </a:lnTo>
                  <a:lnTo>
                    <a:pt x="149783" y="207060"/>
                  </a:lnTo>
                  <a:lnTo>
                    <a:pt x="182410" y="176593"/>
                  </a:lnTo>
                  <a:lnTo>
                    <a:pt x="209727" y="141224"/>
                  </a:lnTo>
                  <a:lnTo>
                    <a:pt x="231051" y="101600"/>
                  </a:lnTo>
                  <a:lnTo>
                    <a:pt x="245719" y="58407"/>
                  </a:lnTo>
                  <a:lnTo>
                    <a:pt x="253034" y="12369"/>
                  </a:lnTo>
                  <a:lnTo>
                    <a:pt x="260210" y="58572"/>
                  </a:lnTo>
                  <a:lnTo>
                    <a:pt x="269887" y="87388"/>
                  </a:lnTo>
                  <a:lnTo>
                    <a:pt x="274777" y="101955"/>
                  </a:lnTo>
                  <a:lnTo>
                    <a:pt x="296037" y="141744"/>
                  </a:lnTo>
                  <a:lnTo>
                    <a:pt x="323329" y="177279"/>
                  </a:lnTo>
                  <a:lnTo>
                    <a:pt x="355968" y="207873"/>
                  </a:lnTo>
                  <a:lnTo>
                    <a:pt x="393293" y="232867"/>
                  </a:lnTo>
                  <a:lnTo>
                    <a:pt x="434606" y="251548"/>
                  </a:lnTo>
                  <a:lnTo>
                    <a:pt x="479221" y="263271"/>
                  </a:lnTo>
                  <a:lnTo>
                    <a:pt x="527138" y="267322"/>
                  </a:lnTo>
                  <a:close/>
                </a:path>
              </a:pathLst>
            </a:custGeom>
            <a:solidFill>
              <a:srgbClr val="7ED3F1"/>
            </a:solidFill>
          </p:spPr>
          <p:txBody>
            <a:bodyPr wrap="square" lIns="0" tIns="0" rIns="0" bIns="0" rtlCol="0"/>
            <a:lstStyle/>
            <a:p>
              <a:endParaRPr dirty="0"/>
            </a:p>
          </p:txBody>
        </p:sp>
        <p:pic>
          <p:nvPicPr>
            <p:cNvPr id="266" name="object 264">
              <a:extLst>
                <a:ext uri="{FF2B5EF4-FFF2-40B4-BE49-F238E27FC236}">
                  <a16:creationId xmlns:a16="http://schemas.microsoft.com/office/drawing/2014/main" id="{CADE12C9-4E4B-B10C-4CE0-C9878574CA67}"/>
                </a:ext>
              </a:extLst>
            </p:cNvPr>
            <p:cNvPicPr/>
            <p:nvPr/>
          </p:nvPicPr>
          <p:blipFill>
            <a:blip r:embed="rId17" cstate="print"/>
            <a:stretch>
              <a:fillRect/>
            </a:stretch>
          </p:blipFill>
          <p:spPr>
            <a:xfrm>
              <a:off x="7326865" y="3664400"/>
              <a:ext cx="106445" cy="107156"/>
            </a:xfrm>
            <a:prstGeom prst="rect">
              <a:avLst/>
            </a:prstGeom>
          </p:spPr>
        </p:pic>
        <p:sp>
          <p:nvSpPr>
            <p:cNvPr id="267" name="object 265">
              <a:extLst>
                <a:ext uri="{FF2B5EF4-FFF2-40B4-BE49-F238E27FC236}">
                  <a16:creationId xmlns:a16="http://schemas.microsoft.com/office/drawing/2014/main" id="{82E26168-3735-2C76-9BA6-7BCEBF04FCAE}"/>
                </a:ext>
              </a:extLst>
            </p:cNvPr>
            <p:cNvSpPr/>
            <p:nvPr/>
          </p:nvSpPr>
          <p:spPr>
            <a:xfrm>
              <a:off x="7226300" y="1246203"/>
              <a:ext cx="319992" cy="477101"/>
            </a:xfrm>
            <a:custGeom>
              <a:avLst/>
              <a:gdLst/>
              <a:ahLst/>
              <a:cxnLst/>
              <a:rect l="l" t="t" r="r" b="b"/>
              <a:pathLst>
                <a:path w="527684" h="786764">
                  <a:moveTo>
                    <a:pt x="527126" y="786384"/>
                  </a:moveTo>
                  <a:lnTo>
                    <a:pt x="521677" y="738225"/>
                  </a:lnTo>
                  <a:lnTo>
                    <a:pt x="508279" y="692962"/>
                  </a:lnTo>
                  <a:lnTo>
                    <a:pt x="487667" y="651332"/>
                  </a:lnTo>
                  <a:lnTo>
                    <a:pt x="460578" y="614083"/>
                  </a:lnTo>
                  <a:lnTo>
                    <a:pt x="427736" y="581926"/>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47"/>
                  </a:lnTo>
                  <a:lnTo>
                    <a:pt x="45859" y="613664"/>
                  </a:lnTo>
                  <a:lnTo>
                    <a:pt x="18770" y="650760"/>
                  </a:lnTo>
                  <a:lnTo>
                    <a:pt x="0" y="688454"/>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59"/>
                  </a:lnTo>
                  <a:lnTo>
                    <a:pt x="274777" y="621030"/>
                  </a:lnTo>
                  <a:lnTo>
                    <a:pt x="296037" y="660831"/>
                  </a:lnTo>
                  <a:lnTo>
                    <a:pt x="323329" y="696366"/>
                  </a:lnTo>
                  <a:lnTo>
                    <a:pt x="355968" y="726960"/>
                  </a:lnTo>
                  <a:lnTo>
                    <a:pt x="393293" y="751941"/>
                  </a:lnTo>
                  <a:lnTo>
                    <a:pt x="434594" y="770623"/>
                  </a:lnTo>
                  <a:lnTo>
                    <a:pt x="479209" y="782332"/>
                  </a:lnTo>
                  <a:lnTo>
                    <a:pt x="527126" y="786384"/>
                  </a:lnTo>
                  <a:close/>
                </a:path>
                <a:path w="527684" h="786764">
                  <a:moveTo>
                    <a:pt x="527126" y="520852"/>
                  </a:moveTo>
                  <a:lnTo>
                    <a:pt x="521677" y="472694"/>
                  </a:lnTo>
                  <a:lnTo>
                    <a:pt x="508279" y="427431"/>
                  </a:lnTo>
                  <a:lnTo>
                    <a:pt x="487667" y="385813"/>
                  </a:lnTo>
                  <a:lnTo>
                    <a:pt x="460578" y="348551"/>
                  </a:lnTo>
                  <a:lnTo>
                    <a:pt x="427736" y="316395"/>
                  </a:lnTo>
                  <a:lnTo>
                    <a:pt x="389877" y="290093"/>
                  </a:lnTo>
                  <a:lnTo>
                    <a:pt x="347751" y="270357"/>
                  </a:lnTo>
                  <a:lnTo>
                    <a:pt x="302082" y="257937"/>
                  </a:lnTo>
                  <a:lnTo>
                    <a:pt x="253606" y="253555"/>
                  </a:lnTo>
                  <a:lnTo>
                    <a:pt x="252387" y="253555"/>
                  </a:lnTo>
                  <a:lnTo>
                    <a:pt x="204038" y="257911"/>
                  </a:lnTo>
                  <a:lnTo>
                    <a:pt x="158483" y="270281"/>
                  </a:lnTo>
                  <a:lnTo>
                    <a:pt x="116446" y="289928"/>
                  </a:lnTo>
                  <a:lnTo>
                    <a:pt x="78663" y="316115"/>
                  </a:lnTo>
                  <a:lnTo>
                    <a:pt x="45859" y="348132"/>
                  </a:lnTo>
                  <a:lnTo>
                    <a:pt x="18770" y="385241"/>
                  </a:lnTo>
                  <a:lnTo>
                    <a:pt x="0" y="422935"/>
                  </a:lnTo>
                  <a:lnTo>
                    <a:pt x="0" y="518033"/>
                  </a:lnTo>
                  <a:lnTo>
                    <a:pt x="71285" y="504088"/>
                  </a:lnTo>
                  <a:lnTo>
                    <a:pt x="112522" y="485482"/>
                  </a:lnTo>
                  <a:lnTo>
                    <a:pt x="149783" y="460616"/>
                  </a:lnTo>
                  <a:lnTo>
                    <a:pt x="182410" y="430149"/>
                  </a:lnTo>
                  <a:lnTo>
                    <a:pt x="209715" y="394766"/>
                  </a:lnTo>
                  <a:lnTo>
                    <a:pt x="231038" y="355142"/>
                  </a:lnTo>
                  <a:lnTo>
                    <a:pt x="245706" y="311950"/>
                  </a:lnTo>
                  <a:lnTo>
                    <a:pt x="253034" y="265861"/>
                  </a:lnTo>
                  <a:lnTo>
                    <a:pt x="260210" y="312127"/>
                  </a:lnTo>
                  <a:lnTo>
                    <a:pt x="274777" y="355511"/>
                  </a:lnTo>
                  <a:lnTo>
                    <a:pt x="296037" y="395300"/>
                  </a:lnTo>
                  <a:lnTo>
                    <a:pt x="323329" y="430834"/>
                  </a:lnTo>
                  <a:lnTo>
                    <a:pt x="355968" y="461429"/>
                  </a:lnTo>
                  <a:lnTo>
                    <a:pt x="393293" y="486410"/>
                  </a:lnTo>
                  <a:lnTo>
                    <a:pt x="434594" y="505091"/>
                  </a:lnTo>
                  <a:lnTo>
                    <a:pt x="479209" y="516801"/>
                  </a:lnTo>
                  <a:lnTo>
                    <a:pt x="527126" y="520852"/>
                  </a:lnTo>
                  <a:close/>
                </a:path>
                <a:path w="527684" h="786764">
                  <a:moveTo>
                    <a:pt x="527138" y="267322"/>
                  </a:moveTo>
                  <a:lnTo>
                    <a:pt x="521690" y="219151"/>
                  </a:lnTo>
                  <a:lnTo>
                    <a:pt x="508292" y="173875"/>
                  </a:lnTo>
                  <a:lnTo>
                    <a:pt x="487680" y="132257"/>
                  </a:lnTo>
                  <a:lnTo>
                    <a:pt x="460578" y="94996"/>
                  </a:lnTo>
                  <a:lnTo>
                    <a:pt x="427736" y="62852"/>
                  </a:lnTo>
                  <a:lnTo>
                    <a:pt x="389890" y="36550"/>
                  </a:lnTo>
                  <a:lnTo>
                    <a:pt x="347751" y="16789"/>
                  </a:lnTo>
                  <a:lnTo>
                    <a:pt x="302082" y="4368"/>
                  </a:lnTo>
                  <a:lnTo>
                    <a:pt x="253606" y="0"/>
                  </a:lnTo>
                  <a:lnTo>
                    <a:pt x="252387" y="0"/>
                  </a:lnTo>
                  <a:lnTo>
                    <a:pt x="204038" y="4356"/>
                  </a:lnTo>
                  <a:lnTo>
                    <a:pt x="158483" y="16713"/>
                  </a:lnTo>
                  <a:lnTo>
                    <a:pt x="116446" y="36360"/>
                  </a:lnTo>
                  <a:lnTo>
                    <a:pt x="78663" y="62560"/>
                  </a:lnTo>
                  <a:lnTo>
                    <a:pt x="45859" y="94576"/>
                  </a:lnTo>
                  <a:lnTo>
                    <a:pt x="18745" y="131686"/>
                  </a:lnTo>
                  <a:lnTo>
                    <a:pt x="0" y="169291"/>
                  </a:lnTo>
                  <a:lnTo>
                    <a:pt x="0" y="264452"/>
                  </a:lnTo>
                  <a:lnTo>
                    <a:pt x="26758" y="262178"/>
                  </a:lnTo>
                  <a:lnTo>
                    <a:pt x="71285" y="250520"/>
                  </a:lnTo>
                  <a:lnTo>
                    <a:pt x="112522" y="231927"/>
                  </a:lnTo>
                  <a:lnTo>
                    <a:pt x="149783" y="207060"/>
                  </a:lnTo>
                  <a:lnTo>
                    <a:pt x="182410" y="176593"/>
                  </a:lnTo>
                  <a:lnTo>
                    <a:pt x="209727" y="141224"/>
                  </a:lnTo>
                  <a:lnTo>
                    <a:pt x="231051" y="101600"/>
                  </a:lnTo>
                  <a:lnTo>
                    <a:pt x="245719" y="58407"/>
                  </a:lnTo>
                  <a:lnTo>
                    <a:pt x="253034" y="12357"/>
                  </a:lnTo>
                  <a:lnTo>
                    <a:pt x="260210" y="58572"/>
                  </a:lnTo>
                  <a:lnTo>
                    <a:pt x="274777" y="101942"/>
                  </a:lnTo>
                  <a:lnTo>
                    <a:pt x="296037" y="141744"/>
                  </a:lnTo>
                  <a:lnTo>
                    <a:pt x="323329" y="177279"/>
                  </a:lnTo>
                  <a:lnTo>
                    <a:pt x="355968" y="207873"/>
                  </a:lnTo>
                  <a:lnTo>
                    <a:pt x="393293" y="232867"/>
                  </a:lnTo>
                  <a:lnTo>
                    <a:pt x="434606" y="251548"/>
                  </a:lnTo>
                  <a:lnTo>
                    <a:pt x="479221" y="263271"/>
                  </a:lnTo>
                  <a:lnTo>
                    <a:pt x="527138" y="267322"/>
                  </a:lnTo>
                  <a:close/>
                </a:path>
              </a:pathLst>
            </a:custGeom>
            <a:solidFill>
              <a:srgbClr val="2DB7EA"/>
            </a:solidFill>
          </p:spPr>
          <p:txBody>
            <a:bodyPr wrap="square" lIns="0" tIns="0" rIns="0" bIns="0" rtlCol="0"/>
            <a:lstStyle/>
            <a:p>
              <a:endParaRPr dirty="0"/>
            </a:p>
          </p:txBody>
        </p:sp>
        <p:pic>
          <p:nvPicPr>
            <p:cNvPr id="268" name="object 266">
              <a:extLst>
                <a:ext uri="{FF2B5EF4-FFF2-40B4-BE49-F238E27FC236}">
                  <a16:creationId xmlns:a16="http://schemas.microsoft.com/office/drawing/2014/main" id="{ED5EC6CD-5C15-8F61-2355-F9D33DAFA27F}"/>
                </a:ext>
              </a:extLst>
            </p:cNvPr>
            <p:cNvPicPr/>
            <p:nvPr/>
          </p:nvPicPr>
          <p:blipFill>
            <a:blip r:embed="rId16" cstate="print"/>
            <a:stretch>
              <a:fillRect/>
            </a:stretch>
          </p:blipFill>
          <p:spPr>
            <a:xfrm>
              <a:off x="7326865" y="1701903"/>
              <a:ext cx="106445" cy="107156"/>
            </a:xfrm>
            <a:prstGeom prst="rect">
              <a:avLst/>
            </a:prstGeom>
          </p:spPr>
        </p:pic>
        <p:sp>
          <p:nvSpPr>
            <p:cNvPr id="269" name="object 267">
              <a:extLst>
                <a:ext uri="{FF2B5EF4-FFF2-40B4-BE49-F238E27FC236}">
                  <a16:creationId xmlns:a16="http://schemas.microsoft.com/office/drawing/2014/main" id="{7CCDFF9A-B1AA-2230-2998-AC1E452DE23A}"/>
                </a:ext>
              </a:extLst>
            </p:cNvPr>
            <p:cNvSpPr/>
            <p:nvPr/>
          </p:nvSpPr>
          <p:spPr>
            <a:xfrm>
              <a:off x="7226300" y="1900365"/>
              <a:ext cx="319992" cy="477101"/>
            </a:xfrm>
            <a:custGeom>
              <a:avLst/>
              <a:gdLst/>
              <a:ahLst/>
              <a:cxnLst/>
              <a:rect l="l" t="t" r="r" b="b"/>
              <a:pathLst>
                <a:path w="527684" h="786764">
                  <a:moveTo>
                    <a:pt x="527126" y="786396"/>
                  </a:moveTo>
                  <a:lnTo>
                    <a:pt x="521677" y="738225"/>
                  </a:lnTo>
                  <a:lnTo>
                    <a:pt x="508279" y="692962"/>
                  </a:lnTo>
                  <a:lnTo>
                    <a:pt x="487667" y="651344"/>
                  </a:lnTo>
                  <a:lnTo>
                    <a:pt x="460578" y="614083"/>
                  </a:lnTo>
                  <a:lnTo>
                    <a:pt x="427736" y="581939"/>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60"/>
                  </a:lnTo>
                  <a:lnTo>
                    <a:pt x="45859" y="613664"/>
                  </a:lnTo>
                  <a:lnTo>
                    <a:pt x="18770" y="650773"/>
                  </a:lnTo>
                  <a:lnTo>
                    <a:pt x="0" y="688467"/>
                  </a:lnTo>
                  <a:lnTo>
                    <a:pt x="0" y="783564"/>
                  </a:lnTo>
                  <a:lnTo>
                    <a:pt x="71285" y="769620"/>
                  </a:lnTo>
                  <a:lnTo>
                    <a:pt x="112522" y="751027"/>
                  </a:lnTo>
                  <a:lnTo>
                    <a:pt x="149783" y="726147"/>
                  </a:lnTo>
                  <a:lnTo>
                    <a:pt x="182410" y="695680"/>
                  </a:lnTo>
                  <a:lnTo>
                    <a:pt x="209715" y="660298"/>
                  </a:lnTo>
                  <a:lnTo>
                    <a:pt x="231038" y="620674"/>
                  </a:lnTo>
                  <a:lnTo>
                    <a:pt x="245706" y="577481"/>
                  </a:lnTo>
                  <a:lnTo>
                    <a:pt x="253034" y="531393"/>
                  </a:lnTo>
                  <a:lnTo>
                    <a:pt x="260210" y="577672"/>
                  </a:lnTo>
                  <a:lnTo>
                    <a:pt x="274777" y="621042"/>
                  </a:lnTo>
                  <a:lnTo>
                    <a:pt x="296037" y="660831"/>
                  </a:lnTo>
                  <a:lnTo>
                    <a:pt x="323329" y="696366"/>
                  </a:lnTo>
                  <a:lnTo>
                    <a:pt x="355968" y="726960"/>
                  </a:lnTo>
                  <a:lnTo>
                    <a:pt x="393293" y="751941"/>
                  </a:lnTo>
                  <a:lnTo>
                    <a:pt x="434594" y="770636"/>
                  </a:lnTo>
                  <a:lnTo>
                    <a:pt x="479209" y="782332"/>
                  </a:lnTo>
                  <a:lnTo>
                    <a:pt x="527126" y="786396"/>
                  </a:lnTo>
                  <a:close/>
                </a:path>
                <a:path w="527684" h="786764">
                  <a:moveTo>
                    <a:pt x="527126" y="520865"/>
                  </a:moveTo>
                  <a:lnTo>
                    <a:pt x="521677" y="472706"/>
                  </a:lnTo>
                  <a:lnTo>
                    <a:pt x="508279" y="427443"/>
                  </a:lnTo>
                  <a:lnTo>
                    <a:pt x="487667" y="385813"/>
                  </a:lnTo>
                  <a:lnTo>
                    <a:pt x="460578" y="348551"/>
                  </a:lnTo>
                  <a:lnTo>
                    <a:pt x="427736" y="316407"/>
                  </a:lnTo>
                  <a:lnTo>
                    <a:pt x="389877" y="290093"/>
                  </a:lnTo>
                  <a:lnTo>
                    <a:pt x="347751" y="270357"/>
                  </a:lnTo>
                  <a:lnTo>
                    <a:pt x="302082" y="257937"/>
                  </a:lnTo>
                  <a:lnTo>
                    <a:pt x="253606" y="253555"/>
                  </a:lnTo>
                  <a:lnTo>
                    <a:pt x="252387" y="253555"/>
                  </a:lnTo>
                  <a:lnTo>
                    <a:pt x="204038" y="257911"/>
                  </a:lnTo>
                  <a:lnTo>
                    <a:pt x="158483" y="270281"/>
                  </a:lnTo>
                  <a:lnTo>
                    <a:pt x="116446" y="289928"/>
                  </a:lnTo>
                  <a:lnTo>
                    <a:pt x="78663" y="316128"/>
                  </a:lnTo>
                  <a:lnTo>
                    <a:pt x="45859" y="348132"/>
                  </a:lnTo>
                  <a:lnTo>
                    <a:pt x="18770" y="385241"/>
                  </a:lnTo>
                  <a:lnTo>
                    <a:pt x="0" y="422935"/>
                  </a:lnTo>
                  <a:lnTo>
                    <a:pt x="0" y="518033"/>
                  </a:lnTo>
                  <a:lnTo>
                    <a:pt x="71285" y="504088"/>
                  </a:lnTo>
                  <a:lnTo>
                    <a:pt x="112522" y="485495"/>
                  </a:lnTo>
                  <a:lnTo>
                    <a:pt x="149783" y="460616"/>
                  </a:lnTo>
                  <a:lnTo>
                    <a:pt x="182410" y="430161"/>
                  </a:lnTo>
                  <a:lnTo>
                    <a:pt x="209715" y="394766"/>
                  </a:lnTo>
                  <a:lnTo>
                    <a:pt x="231038" y="355142"/>
                  </a:lnTo>
                  <a:lnTo>
                    <a:pt x="245706" y="311950"/>
                  </a:lnTo>
                  <a:lnTo>
                    <a:pt x="253034" y="265861"/>
                  </a:lnTo>
                  <a:lnTo>
                    <a:pt x="260210" y="312140"/>
                  </a:lnTo>
                  <a:lnTo>
                    <a:pt x="274777" y="355511"/>
                  </a:lnTo>
                  <a:lnTo>
                    <a:pt x="296037" y="395300"/>
                  </a:lnTo>
                  <a:lnTo>
                    <a:pt x="323329" y="430834"/>
                  </a:lnTo>
                  <a:lnTo>
                    <a:pt x="355968" y="461441"/>
                  </a:lnTo>
                  <a:lnTo>
                    <a:pt x="393293" y="486410"/>
                  </a:lnTo>
                  <a:lnTo>
                    <a:pt x="434594" y="505104"/>
                  </a:lnTo>
                  <a:lnTo>
                    <a:pt x="479209" y="516813"/>
                  </a:lnTo>
                  <a:lnTo>
                    <a:pt x="527126" y="520865"/>
                  </a:lnTo>
                  <a:close/>
                </a:path>
                <a:path w="527684" h="786764">
                  <a:moveTo>
                    <a:pt x="527138" y="267322"/>
                  </a:moveTo>
                  <a:lnTo>
                    <a:pt x="521690" y="219151"/>
                  </a:lnTo>
                  <a:lnTo>
                    <a:pt x="508292" y="173888"/>
                  </a:lnTo>
                  <a:lnTo>
                    <a:pt x="487680" y="132257"/>
                  </a:lnTo>
                  <a:lnTo>
                    <a:pt x="480275" y="122097"/>
                  </a:lnTo>
                  <a:lnTo>
                    <a:pt x="460578" y="95008"/>
                  </a:lnTo>
                  <a:lnTo>
                    <a:pt x="427736" y="62852"/>
                  </a:lnTo>
                  <a:lnTo>
                    <a:pt x="389890" y="36550"/>
                  </a:lnTo>
                  <a:lnTo>
                    <a:pt x="347764" y="16814"/>
                  </a:lnTo>
                  <a:lnTo>
                    <a:pt x="302082" y="4381"/>
                  </a:lnTo>
                  <a:lnTo>
                    <a:pt x="253606" y="0"/>
                  </a:lnTo>
                  <a:lnTo>
                    <a:pt x="252387" y="0"/>
                  </a:lnTo>
                  <a:lnTo>
                    <a:pt x="204038" y="4356"/>
                  </a:lnTo>
                  <a:lnTo>
                    <a:pt x="158483" y="16725"/>
                  </a:lnTo>
                  <a:lnTo>
                    <a:pt x="116446" y="36372"/>
                  </a:lnTo>
                  <a:lnTo>
                    <a:pt x="78663" y="62560"/>
                  </a:lnTo>
                  <a:lnTo>
                    <a:pt x="45859" y="94576"/>
                  </a:lnTo>
                  <a:lnTo>
                    <a:pt x="18745" y="131686"/>
                  </a:lnTo>
                  <a:lnTo>
                    <a:pt x="0" y="169303"/>
                  </a:lnTo>
                  <a:lnTo>
                    <a:pt x="0" y="264452"/>
                  </a:lnTo>
                  <a:lnTo>
                    <a:pt x="26758" y="262191"/>
                  </a:lnTo>
                  <a:lnTo>
                    <a:pt x="71285" y="250532"/>
                  </a:lnTo>
                  <a:lnTo>
                    <a:pt x="112522" y="231927"/>
                  </a:lnTo>
                  <a:lnTo>
                    <a:pt x="149783" y="207060"/>
                  </a:lnTo>
                  <a:lnTo>
                    <a:pt x="182410" y="176593"/>
                  </a:lnTo>
                  <a:lnTo>
                    <a:pt x="209727" y="141224"/>
                  </a:lnTo>
                  <a:lnTo>
                    <a:pt x="231051" y="101600"/>
                  </a:lnTo>
                  <a:lnTo>
                    <a:pt x="245719" y="58420"/>
                  </a:lnTo>
                  <a:lnTo>
                    <a:pt x="253034" y="12369"/>
                  </a:lnTo>
                  <a:lnTo>
                    <a:pt x="260210" y="58572"/>
                  </a:lnTo>
                  <a:lnTo>
                    <a:pt x="269887" y="87388"/>
                  </a:lnTo>
                  <a:lnTo>
                    <a:pt x="274777" y="101955"/>
                  </a:lnTo>
                  <a:lnTo>
                    <a:pt x="296037" y="141744"/>
                  </a:lnTo>
                  <a:lnTo>
                    <a:pt x="323329" y="177279"/>
                  </a:lnTo>
                  <a:lnTo>
                    <a:pt x="355981" y="207886"/>
                  </a:lnTo>
                  <a:lnTo>
                    <a:pt x="393293" y="232867"/>
                  </a:lnTo>
                  <a:lnTo>
                    <a:pt x="434606" y="251561"/>
                  </a:lnTo>
                  <a:lnTo>
                    <a:pt x="479221" y="263271"/>
                  </a:lnTo>
                  <a:lnTo>
                    <a:pt x="527138" y="267322"/>
                  </a:lnTo>
                  <a:close/>
                </a:path>
              </a:pathLst>
            </a:custGeom>
            <a:solidFill>
              <a:srgbClr val="7ED3F1"/>
            </a:solidFill>
          </p:spPr>
          <p:txBody>
            <a:bodyPr wrap="square" lIns="0" tIns="0" rIns="0" bIns="0" rtlCol="0"/>
            <a:lstStyle/>
            <a:p>
              <a:endParaRPr dirty="0"/>
            </a:p>
          </p:txBody>
        </p:sp>
        <p:pic>
          <p:nvPicPr>
            <p:cNvPr id="270" name="object 268">
              <a:extLst>
                <a:ext uri="{FF2B5EF4-FFF2-40B4-BE49-F238E27FC236}">
                  <a16:creationId xmlns:a16="http://schemas.microsoft.com/office/drawing/2014/main" id="{17CCF374-229C-2CEF-4BB6-724B6D5827A9}"/>
                </a:ext>
              </a:extLst>
            </p:cNvPr>
            <p:cNvPicPr/>
            <p:nvPr/>
          </p:nvPicPr>
          <p:blipFill>
            <a:blip r:embed="rId17" cstate="print"/>
            <a:stretch>
              <a:fillRect/>
            </a:stretch>
          </p:blipFill>
          <p:spPr>
            <a:xfrm>
              <a:off x="7326865" y="2356067"/>
              <a:ext cx="106445" cy="107156"/>
            </a:xfrm>
            <a:prstGeom prst="rect">
              <a:avLst/>
            </a:prstGeom>
          </p:spPr>
        </p:pic>
        <p:sp>
          <p:nvSpPr>
            <p:cNvPr id="271" name="object 269">
              <a:extLst>
                <a:ext uri="{FF2B5EF4-FFF2-40B4-BE49-F238E27FC236}">
                  <a16:creationId xmlns:a16="http://schemas.microsoft.com/office/drawing/2014/main" id="{30023A27-ECF5-0B34-5183-7D71CE7859D4}"/>
                </a:ext>
              </a:extLst>
            </p:cNvPr>
            <p:cNvSpPr/>
            <p:nvPr/>
          </p:nvSpPr>
          <p:spPr>
            <a:xfrm>
              <a:off x="7226307" y="123"/>
              <a:ext cx="319992" cy="100118"/>
            </a:xfrm>
            <a:custGeom>
              <a:avLst/>
              <a:gdLst/>
              <a:ahLst/>
              <a:cxnLst/>
              <a:rect l="l" t="t" r="r" b="b"/>
              <a:pathLst>
                <a:path w="527684" h="165100">
                  <a:moveTo>
                    <a:pt x="230473" y="0"/>
                  </a:moveTo>
                  <a:lnTo>
                    <a:pt x="39936" y="0"/>
                  </a:lnTo>
                  <a:lnTo>
                    <a:pt x="18738" y="29019"/>
                  </a:lnTo>
                  <a:lnTo>
                    <a:pt x="0" y="66629"/>
                  </a:lnTo>
                  <a:lnTo>
                    <a:pt x="0" y="161781"/>
                  </a:lnTo>
                  <a:lnTo>
                    <a:pt x="71285" y="147841"/>
                  </a:lnTo>
                  <a:lnTo>
                    <a:pt x="112519" y="129246"/>
                  </a:lnTo>
                  <a:lnTo>
                    <a:pt x="149785" y="104384"/>
                  </a:lnTo>
                  <a:lnTo>
                    <a:pt x="182410" y="73928"/>
                  </a:lnTo>
                  <a:lnTo>
                    <a:pt x="209722" y="38553"/>
                  </a:lnTo>
                  <a:lnTo>
                    <a:pt x="230473" y="0"/>
                  </a:lnTo>
                  <a:close/>
                </a:path>
                <a:path w="527684" h="165100">
                  <a:moveTo>
                    <a:pt x="466153" y="0"/>
                  </a:moveTo>
                  <a:lnTo>
                    <a:pt x="275154" y="0"/>
                  </a:lnTo>
                  <a:lnTo>
                    <a:pt x="296036" y="39074"/>
                  </a:lnTo>
                  <a:lnTo>
                    <a:pt x="323330" y="74611"/>
                  </a:lnTo>
                  <a:lnTo>
                    <a:pt x="355974" y="105212"/>
                  </a:lnTo>
                  <a:lnTo>
                    <a:pt x="393290" y="130198"/>
                  </a:lnTo>
                  <a:lnTo>
                    <a:pt x="434597" y="148888"/>
                  </a:lnTo>
                  <a:lnTo>
                    <a:pt x="479217" y="160601"/>
                  </a:lnTo>
                  <a:lnTo>
                    <a:pt x="526470" y="164656"/>
                  </a:lnTo>
                  <a:lnTo>
                    <a:pt x="527130" y="164656"/>
                  </a:lnTo>
                  <a:lnTo>
                    <a:pt x="521684" y="116483"/>
                  </a:lnTo>
                  <a:lnTo>
                    <a:pt x="508286" y="71216"/>
                  </a:lnTo>
                  <a:lnTo>
                    <a:pt x="487672" y="29587"/>
                  </a:lnTo>
                  <a:lnTo>
                    <a:pt x="466153" y="0"/>
                  </a:lnTo>
                  <a:close/>
                </a:path>
              </a:pathLst>
            </a:custGeom>
            <a:solidFill>
              <a:srgbClr val="2DB7EA"/>
            </a:solidFill>
          </p:spPr>
          <p:txBody>
            <a:bodyPr wrap="square" lIns="0" tIns="0" rIns="0" bIns="0" rtlCol="0"/>
            <a:lstStyle/>
            <a:p>
              <a:endParaRPr dirty="0"/>
            </a:p>
          </p:txBody>
        </p:sp>
        <p:pic>
          <p:nvPicPr>
            <p:cNvPr id="272" name="object 270">
              <a:extLst>
                <a:ext uri="{FF2B5EF4-FFF2-40B4-BE49-F238E27FC236}">
                  <a16:creationId xmlns:a16="http://schemas.microsoft.com/office/drawing/2014/main" id="{D9589705-02CF-9BC4-731D-C54C010649A4}"/>
                </a:ext>
              </a:extLst>
            </p:cNvPr>
            <p:cNvPicPr/>
            <p:nvPr/>
          </p:nvPicPr>
          <p:blipFill>
            <a:blip r:embed="rId24" cstate="print"/>
            <a:stretch>
              <a:fillRect/>
            </a:stretch>
          </p:blipFill>
          <p:spPr>
            <a:xfrm>
              <a:off x="7226307" y="123"/>
              <a:ext cx="139752" cy="98125"/>
            </a:xfrm>
            <a:prstGeom prst="rect">
              <a:avLst/>
            </a:prstGeom>
          </p:spPr>
        </p:pic>
        <p:pic>
          <p:nvPicPr>
            <p:cNvPr id="273" name="object 271">
              <a:extLst>
                <a:ext uri="{FF2B5EF4-FFF2-40B4-BE49-F238E27FC236}">
                  <a16:creationId xmlns:a16="http://schemas.microsoft.com/office/drawing/2014/main" id="{131A7A64-83B7-7DE6-FD3F-1B6124D21DD2}"/>
                </a:ext>
              </a:extLst>
            </p:cNvPr>
            <p:cNvPicPr/>
            <p:nvPr/>
          </p:nvPicPr>
          <p:blipFill>
            <a:blip r:embed="rId21" cstate="print"/>
            <a:stretch>
              <a:fillRect/>
            </a:stretch>
          </p:blipFill>
          <p:spPr>
            <a:xfrm>
              <a:off x="7393159" y="123"/>
              <a:ext cx="152798" cy="99837"/>
            </a:xfrm>
            <a:prstGeom prst="rect">
              <a:avLst/>
            </a:prstGeom>
          </p:spPr>
        </p:pic>
        <p:sp>
          <p:nvSpPr>
            <p:cNvPr id="274" name="object 272">
              <a:extLst>
                <a:ext uri="{FF2B5EF4-FFF2-40B4-BE49-F238E27FC236}">
                  <a16:creationId xmlns:a16="http://schemas.microsoft.com/office/drawing/2014/main" id="{74EAA01F-B77A-B1F2-059B-F36F8852519F}"/>
                </a:ext>
              </a:extLst>
            </p:cNvPr>
            <p:cNvSpPr/>
            <p:nvPr/>
          </p:nvSpPr>
          <p:spPr>
            <a:xfrm>
              <a:off x="7226300" y="91626"/>
              <a:ext cx="319992" cy="323458"/>
            </a:xfrm>
            <a:custGeom>
              <a:avLst/>
              <a:gdLst/>
              <a:ahLst/>
              <a:cxnLst/>
              <a:rect l="l" t="t" r="r" b="b"/>
              <a:pathLst>
                <a:path w="527684" h="533400">
                  <a:moveTo>
                    <a:pt x="527126" y="532841"/>
                  </a:moveTo>
                  <a:lnTo>
                    <a:pt x="521677" y="484682"/>
                  </a:lnTo>
                  <a:lnTo>
                    <a:pt x="508279" y="439420"/>
                  </a:lnTo>
                  <a:lnTo>
                    <a:pt x="487667" y="397789"/>
                  </a:lnTo>
                  <a:lnTo>
                    <a:pt x="460578" y="360527"/>
                  </a:lnTo>
                  <a:lnTo>
                    <a:pt x="427736" y="328383"/>
                  </a:lnTo>
                  <a:lnTo>
                    <a:pt x="389877" y="302069"/>
                  </a:lnTo>
                  <a:lnTo>
                    <a:pt x="347751" y="282333"/>
                  </a:lnTo>
                  <a:lnTo>
                    <a:pt x="302082" y="269913"/>
                  </a:lnTo>
                  <a:lnTo>
                    <a:pt x="253606" y="265544"/>
                  </a:lnTo>
                  <a:lnTo>
                    <a:pt x="252387" y="265544"/>
                  </a:lnTo>
                  <a:lnTo>
                    <a:pt x="204038" y="269900"/>
                  </a:lnTo>
                  <a:lnTo>
                    <a:pt x="158483" y="282257"/>
                  </a:lnTo>
                  <a:lnTo>
                    <a:pt x="116446" y="301904"/>
                  </a:lnTo>
                  <a:lnTo>
                    <a:pt x="78663" y="328104"/>
                  </a:lnTo>
                  <a:lnTo>
                    <a:pt x="45859" y="360121"/>
                  </a:lnTo>
                  <a:lnTo>
                    <a:pt x="18770" y="397217"/>
                  </a:lnTo>
                  <a:lnTo>
                    <a:pt x="0" y="434911"/>
                  </a:lnTo>
                  <a:lnTo>
                    <a:pt x="0" y="530021"/>
                  </a:lnTo>
                  <a:lnTo>
                    <a:pt x="71285" y="516064"/>
                  </a:lnTo>
                  <a:lnTo>
                    <a:pt x="112522" y="497471"/>
                  </a:lnTo>
                  <a:lnTo>
                    <a:pt x="149783" y="472592"/>
                  </a:lnTo>
                  <a:lnTo>
                    <a:pt x="182410" y="442137"/>
                  </a:lnTo>
                  <a:lnTo>
                    <a:pt x="209715" y="406755"/>
                  </a:lnTo>
                  <a:lnTo>
                    <a:pt x="231038" y="367118"/>
                  </a:lnTo>
                  <a:lnTo>
                    <a:pt x="245706" y="323926"/>
                  </a:lnTo>
                  <a:lnTo>
                    <a:pt x="253034" y="277837"/>
                  </a:lnTo>
                  <a:lnTo>
                    <a:pt x="260210" y="324116"/>
                  </a:lnTo>
                  <a:lnTo>
                    <a:pt x="274777" y="367487"/>
                  </a:lnTo>
                  <a:lnTo>
                    <a:pt x="296037" y="407276"/>
                  </a:lnTo>
                  <a:lnTo>
                    <a:pt x="323329" y="442810"/>
                  </a:lnTo>
                  <a:lnTo>
                    <a:pt x="355968" y="473417"/>
                  </a:lnTo>
                  <a:lnTo>
                    <a:pt x="393293" y="498398"/>
                  </a:lnTo>
                  <a:lnTo>
                    <a:pt x="434594" y="517080"/>
                  </a:lnTo>
                  <a:lnTo>
                    <a:pt x="479209" y="528789"/>
                  </a:lnTo>
                  <a:lnTo>
                    <a:pt x="527126" y="532841"/>
                  </a:lnTo>
                  <a:close/>
                </a:path>
                <a:path w="527684" h="533400">
                  <a:moveTo>
                    <a:pt x="527126" y="267309"/>
                  </a:moveTo>
                  <a:lnTo>
                    <a:pt x="521677" y="219138"/>
                  </a:lnTo>
                  <a:lnTo>
                    <a:pt x="508279" y="173888"/>
                  </a:lnTo>
                  <a:lnTo>
                    <a:pt x="487667" y="132257"/>
                  </a:lnTo>
                  <a:lnTo>
                    <a:pt x="460578" y="94996"/>
                  </a:lnTo>
                  <a:lnTo>
                    <a:pt x="427736" y="62852"/>
                  </a:lnTo>
                  <a:lnTo>
                    <a:pt x="389877" y="36537"/>
                  </a:lnTo>
                  <a:lnTo>
                    <a:pt x="347751" y="16802"/>
                  </a:lnTo>
                  <a:lnTo>
                    <a:pt x="302082" y="4381"/>
                  </a:lnTo>
                  <a:lnTo>
                    <a:pt x="253606" y="0"/>
                  </a:lnTo>
                  <a:lnTo>
                    <a:pt x="252387" y="0"/>
                  </a:lnTo>
                  <a:lnTo>
                    <a:pt x="204038" y="4356"/>
                  </a:lnTo>
                  <a:lnTo>
                    <a:pt x="158483" y="16725"/>
                  </a:lnTo>
                  <a:lnTo>
                    <a:pt x="116446" y="36372"/>
                  </a:lnTo>
                  <a:lnTo>
                    <a:pt x="78663" y="62572"/>
                  </a:lnTo>
                  <a:lnTo>
                    <a:pt x="45859" y="94576"/>
                  </a:lnTo>
                  <a:lnTo>
                    <a:pt x="18770" y="131686"/>
                  </a:lnTo>
                  <a:lnTo>
                    <a:pt x="0" y="169379"/>
                  </a:lnTo>
                  <a:lnTo>
                    <a:pt x="0" y="264477"/>
                  </a:lnTo>
                  <a:lnTo>
                    <a:pt x="71285" y="250532"/>
                  </a:lnTo>
                  <a:lnTo>
                    <a:pt x="112522" y="231940"/>
                  </a:lnTo>
                  <a:lnTo>
                    <a:pt x="149783" y="207060"/>
                  </a:lnTo>
                  <a:lnTo>
                    <a:pt x="182410" y="176593"/>
                  </a:lnTo>
                  <a:lnTo>
                    <a:pt x="209715" y="141211"/>
                  </a:lnTo>
                  <a:lnTo>
                    <a:pt x="231038" y="101587"/>
                  </a:lnTo>
                  <a:lnTo>
                    <a:pt x="245706" y="58394"/>
                  </a:lnTo>
                  <a:lnTo>
                    <a:pt x="253034" y="12306"/>
                  </a:lnTo>
                  <a:lnTo>
                    <a:pt x="260210" y="58585"/>
                  </a:lnTo>
                  <a:lnTo>
                    <a:pt x="274777" y="101955"/>
                  </a:lnTo>
                  <a:lnTo>
                    <a:pt x="296037" y="141744"/>
                  </a:lnTo>
                  <a:lnTo>
                    <a:pt x="323329" y="177279"/>
                  </a:lnTo>
                  <a:lnTo>
                    <a:pt x="355968" y="207873"/>
                  </a:lnTo>
                  <a:lnTo>
                    <a:pt x="393293" y="232854"/>
                  </a:lnTo>
                  <a:lnTo>
                    <a:pt x="434594" y="251548"/>
                  </a:lnTo>
                  <a:lnTo>
                    <a:pt x="479209" y="263258"/>
                  </a:lnTo>
                  <a:lnTo>
                    <a:pt x="527126" y="267309"/>
                  </a:lnTo>
                  <a:close/>
                </a:path>
              </a:pathLst>
            </a:custGeom>
            <a:solidFill>
              <a:srgbClr val="2DB7EA"/>
            </a:solidFill>
          </p:spPr>
          <p:txBody>
            <a:bodyPr wrap="square" lIns="0" tIns="0" rIns="0" bIns="0" rtlCol="0"/>
            <a:lstStyle/>
            <a:p>
              <a:endParaRPr dirty="0"/>
            </a:p>
          </p:txBody>
        </p:sp>
        <p:pic>
          <p:nvPicPr>
            <p:cNvPr id="275" name="object 273">
              <a:extLst>
                <a:ext uri="{FF2B5EF4-FFF2-40B4-BE49-F238E27FC236}">
                  <a16:creationId xmlns:a16="http://schemas.microsoft.com/office/drawing/2014/main" id="{5A73B4ED-7024-9D50-87A2-0EE891228510}"/>
                </a:ext>
              </a:extLst>
            </p:cNvPr>
            <p:cNvPicPr/>
            <p:nvPr/>
          </p:nvPicPr>
          <p:blipFill>
            <a:blip r:embed="rId16" cstate="print"/>
            <a:stretch>
              <a:fillRect/>
            </a:stretch>
          </p:blipFill>
          <p:spPr>
            <a:xfrm>
              <a:off x="7326865" y="393572"/>
              <a:ext cx="106445" cy="107156"/>
            </a:xfrm>
            <a:prstGeom prst="rect">
              <a:avLst/>
            </a:prstGeom>
          </p:spPr>
        </p:pic>
        <p:sp>
          <p:nvSpPr>
            <p:cNvPr id="276" name="object 274">
              <a:extLst>
                <a:ext uri="{FF2B5EF4-FFF2-40B4-BE49-F238E27FC236}">
                  <a16:creationId xmlns:a16="http://schemas.microsoft.com/office/drawing/2014/main" id="{93EFC70E-D8EB-1689-D247-46E28B3536A3}"/>
                </a:ext>
              </a:extLst>
            </p:cNvPr>
            <p:cNvSpPr/>
            <p:nvPr/>
          </p:nvSpPr>
          <p:spPr>
            <a:xfrm>
              <a:off x="7226300" y="592039"/>
              <a:ext cx="319992" cy="477101"/>
            </a:xfrm>
            <a:custGeom>
              <a:avLst/>
              <a:gdLst/>
              <a:ahLst/>
              <a:cxnLst/>
              <a:rect l="l" t="t" r="r" b="b"/>
              <a:pathLst>
                <a:path w="527684" h="786764">
                  <a:moveTo>
                    <a:pt x="527126" y="786384"/>
                  </a:moveTo>
                  <a:lnTo>
                    <a:pt x="521677" y="738225"/>
                  </a:lnTo>
                  <a:lnTo>
                    <a:pt x="508279" y="692962"/>
                  </a:lnTo>
                  <a:lnTo>
                    <a:pt x="487667" y="651332"/>
                  </a:lnTo>
                  <a:lnTo>
                    <a:pt x="460578" y="614083"/>
                  </a:lnTo>
                  <a:lnTo>
                    <a:pt x="427736" y="581926"/>
                  </a:lnTo>
                  <a:lnTo>
                    <a:pt x="389877" y="555625"/>
                  </a:lnTo>
                  <a:lnTo>
                    <a:pt x="347751" y="535889"/>
                  </a:lnTo>
                  <a:lnTo>
                    <a:pt x="302082" y="523468"/>
                  </a:lnTo>
                  <a:lnTo>
                    <a:pt x="253606" y="519087"/>
                  </a:lnTo>
                  <a:lnTo>
                    <a:pt x="252387" y="519087"/>
                  </a:lnTo>
                  <a:lnTo>
                    <a:pt x="204038" y="523443"/>
                  </a:lnTo>
                  <a:lnTo>
                    <a:pt x="158483" y="535813"/>
                  </a:lnTo>
                  <a:lnTo>
                    <a:pt x="116446" y="555459"/>
                  </a:lnTo>
                  <a:lnTo>
                    <a:pt x="78663" y="581647"/>
                  </a:lnTo>
                  <a:lnTo>
                    <a:pt x="45859" y="613664"/>
                  </a:lnTo>
                  <a:lnTo>
                    <a:pt x="18770" y="650760"/>
                  </a:lnTo>
                  <a:lnTo>
                    <a:pt x="0" y="688454"/>
                  </a:lnTo>
                  <a:lnTo>
                    <a:pt x="0" y="783564"/>
                  </a:lnTo>
                  <a:lnTo>
                    <a:pt x="71285" y="769620"/>
                  </a:lnTo>
                  <a:lnTo>
                    <a:pt x="112522" y="751014"/>
                  </a:lnTo>
                  <a:lnTo>
                    <a:pt x="149783" y="726147"/>
                  </a:lnTo>
                  <a:lnTo>
                    <a:pt x="182410" y="695680"/>
                  </a:lnTo>
                  <a:lnTo>
                    <a:pt x="209715" y="660298"/>
                  </a:lnTo>
                  <a:lnTo>
                    <a:pt x="231038" y="620674"/>
                  </a:lnTo>
                  <a:lnTo>
                    <a:pt x="245706" y="577481"/>
                  </a:lnTo>
                  <a:lnTo>
                    <a:pt x="253034" y="531393"/>
                  </a:lnTo>
                  <a:lnTo>
                    <a:pt x="260210" y="577659"/>
                  </a:lnTo>
                  <a:lnTo>
                    <a:pt x="274777" y="621030"/>
                  </a:lnTo>
                  <a:lnTo>
                    <a:pt x="296037" y="660831"/>
                  </a:lnTo>
                  <a:lnTo>
                    <a:pt x="323329" y="696366"/>
                  </a:lnTo>
                  <a:lnTo>
                    <a:pt x="355968" y="726960"/>
                  </a:lnTo>
                  <a:lnTo>
                    <a:pt x="393293" y="751941"/>
                  </a:lnTo>
                  <a:lnTo>
                    <a:pt x="434594" y="770623"/>
                  </a:lnTo>
                  <a:lnTo>
                    <a:pt x="479209" y="782332"/>
                  </a:lnTo>
                  <a:lnTo>
                    <a:pt x="527126" y="786384"/>
                  </a:lnTo>
                  <a:close/>
                </a:path>
                <a:path w="527684" h="786764">
                  <a:moveTo>
                    <a:pt x="527126" y="520852"/>
                  </a:moveTo>
                  <a:lnTo>
                    <a:pt x="521677" y="472694"/>
                  </a:lnTo>
                  <a:lnTo>
                    <a:pt x="508279" y="427431"/>
                  </a:lnTo>
                  <a:lnTo>
                    <a:pt x="487667" y="385800"/>
                  </a:lnTo>
                  <a:lnTo>
                    <a:pt x="460578" y="348551"/>
                  </a:lnTo>
                  <a:lnTo>
                    <a:pt x="427736" y="316395"/>
                  </a:lnTo>
                  <a:lnTo>
                    <a:pt x="389877" y="290080"/>
                  </a:lnTo>
                  <a:lnTo>
                    <a:pt x="347751" y="270357"/>
                  </a:lnTo>
                  <a:lnTo>
                    <a:pt x="302082" y="257924"/>
                  </a:lnTo>
                  <a:lnTo>
                    <a:pt x="253606" y="253555"/>
                  </a:lnTo>
                  <a:lnTo>
                    <a:pt x="252387" y="253555"/>
                  </a:lnTo>
                  <a:lnTo>
                    <a:pt x="204038" y="257911"/>
                  </a:lnTo>
                  <a:lnTo>
                    <a:pt x="158483" y="270281"/>
                  </a:lnTo>
                  <a:lnTo>
                    <a:pt x="116446" y="289915"/>
                  </a:lnTo>
                  <a:lnTo>
                    <a:pt x="78663" y="316115"/>
                  </a:lnTo>
                  <a:lnTo>
                    <a:pt x="45859" y="348132"/>
                  </a:lnTo>
                  <a:lnTo>
                    <a:pt x="18770" y="385229"/>
                  </a:lnTo>
                  <a:lnTo>
                    <a:pt x="0" y="422922"/>
                  </a:lnTo>
                  <a:lnTo>
                    <a:pt x="0" y="518033"/>
                  </a:lnTo>
                  <a:lnTo>
                    <a:pt x="71285" y="504088"/>
                  </a:lnTo>
                  <a:lnTo>
                    <a:pt x="112522" y="485482"/>
                  </a:lnTo>
                  <a:lnTo>
                    <a:pt x="149783" y="460616"/>
                  </a:lnTo>
                  <a:lnTo>
                    <a:pt x="182410" y="430149"/>
                  </a:lnTo>
                  <a:lnTo>
                    <a:pt x="209715" y="394766"/>
                  </a:lnTo>
                  <a:lnTo>
                    <a:pt x="231038" y="355142"/>
                  </a:lnTo>
                  <a:lnTo>
                    <a:pt x="245706" y="311937"/>
                  </a:lnTo>
                  <a:lnTo>
                    <a:pt x="253034" y="265861"/>
                  </a:lnTo>
                  <a:lnTo>
                    <a:pt x="260210" y="312127"/>
                  </a:lnTo>
                  <a:lnTo>
                    <a:pt x="274777" y="355498"/>
                  </a:lnTo>
                  <a:lnTo>
                    <a:pt x="296037" y="395300"/>
                  </a:lnTo>
                  <a:lnTo>
                    <a:pt x="323329" y="430834"/>
                  </a:lnTo>
                  <a:lnTo>
                    <a:pt x="355968" y="461429"/>
                  </a:lnTo>
                  <a:lnTo>
                    <a:pt x="393293" y="486410"/>
                  </a:lnTo>
                  <a:lnTo>
                    <a:pt x="434594" y="505091"/>
                  </a:lnTo>
                  <a:lnTo>
                    <a:pt x="479209" y="516801"/>
                  </a:lnTo>
                  <a:lnTo>
                    <a:pt x="527126" y="520852"/>
                  </a:lnTo>
                  <a:close/>
                </a:path>
                <a:path w="527684" h="786764">
                  <a:moveTo>
                    <a:pt x="527138" y="267322"/>
                  </a:moveTo>
                  <a:lnTo>
                    <a:pt x="521690" y="219138"/>
                  </a:lnTo>
                  <a:lnTo>
                    <a:pt x="508292" y="173875"/>
                  </a:lnTo>
                  <a:lnTo>
                    <a:pt x="487680" y="132245"/>
                  </a:lnTo>
                  <a:lnTo>
                    <a:pt x="471982" y="110680"/>
                  </a:lnTo>
                  <a:lnTo>
                    <a:pt x="460578" y="94996"/>
                  </a:lnTo>
                  <a:lnTo>
                    <a:pt x="427736" y="62839"/>
                  </a:lnTo>
                  <a:lnTo>
                    <a:pt x="389890" y="36537"/>
                  </a:lnTo>
                  <a:lnTo>
                    <a:pt x="347751" y="16789"/>
                  </a:lnTo>
                  <a:lnTo>
                    <a:pt x="302082" y="4368"/>
                  </a:lnTo>
                  <a:lnTo>
                    <a:pt x="253619" y="12"/>
                  </a:lnTo>
                  <a:lnTo>
                    <a:pt x="252387" y="0"/>
                  </a:lnTo>
                  <a:lnTo>
                    <a:pt x="204038" y="4356"/>
                  </a:lnTo>
                  <a:lnTo>
                    <a:pt x="158483" y="16713"/>
                  </a:lnTo>
                  <a:lnTo>
                    <a:pt x="116446" y="36360"/>
                  </a:lnTo>
                  <a:lnTo>
                    <a:pt x="78663" y="62560"/>
                  </a:lnTo>
                  <a:lnTo>
                    <a:pt x="45859" y="94576"/>
                  </a:lnTo>
                  <a:lnTo>
                    <a:pt x="18745" y="131686"/>
                  </a:lnTo>
                  <a:lnTo>
                    <a:pt x="0" y="169291"/>
                  </a:lnTo>
                  <a:lnTo>
                    <a:pt x="0" y="264439"/>
                  </a:lnTo>
                  <a:lnTo>
                    <a:pt x="26758" y="262178"/>
                  </a:lnTo>
                  <a:lnTo>
                    <a:pt x="71285" y="250520"/>
                  </a:lnTo>
                  <a:lnTo>
                    <a:pt x="112522" y="231927"/>
                  </a:lnTo>
                  <a:lnTo>
                    <a:pt x="149783" y="207048"/>
                  </a:lnTo>
                  <a:lnTo>
                    <a:pt x="182410" y="176593"/>
                  </a:lnTo>
                  <a:lnTo>
                    <a:pt x="209727" y="141211"/>
                  </a:lnTo>
                  <a:lnTo>
                    <a:pt x="231051" y="101600"/>
                  </a:lnTo>
                  <a:lnTo>
                    <a:pt x="245719" y="58407"/>
                  </a:lnTo>
                  <a:lnTo>
                    <a:pt x="253034" y="12357"/>
                  </a:lnTo>
                  <a:lnTo>
                    <a:pt x="260210" y="58572"/>
                  </a:lnTo>
                  <a:lnTo>
                    <a:pt x="274777" y="101942"/>
                  </a:lnTo>
                  <a:lnTo>
                    <a:pt x="296037" y="141732"/>
                  </a:lnTo>
                  <a:lnTo>
                    <a:pt x="323329" y="177266"/>
                  </a:lnTo>
                  <a:lnTo>
                    <a:pt x="355968" y="207873"/>
                  </a:lnTo>
                  <a:lnTo>
                    <a:pt x="393293" y="232854"/>
                  </a:lnTo>
                  <a:lnTo>
                    <a:pt x="434606" y="251548"/>
                  </a:lnTo>
                  <a:lnTo>
                    <a:pt x="479221" y="263258"/>
                  </a:lnTo>
                  <a:lnTo>
                    <a:pt x="527138" y="267322"/>
                  </a:lnTo>
                  <a:close/>
                </a:path>
              </a:pathLst>
            </a:custGeom>
            <a:solidFill>
              <a:srgbClr val="7ED3F1"/>
            </a:solidFill>
          </p:spPr>
          <p:txBody>
            <a:bodyPr wrap="square" lIns="0" tIns="0" rIns="0" bIns="0" rtlCol="0"/>
            <a:lstStyle/>
            <a:p>
              <a:endParaRPr dirty="0"/>
            </a:p>
          </p:txBody>
        </p:sp>
        <p:pic>
          <p:nvPicPr>
            <p:cNvPr id="277" name="object 275">
              <a:extLst>
                <a:ext uri="{FF2B5EF4-FFF2-40B4-BE49-F238E27FC236}">
                  <a16:creationId xmlns:a16="http://schemas.microsoft.com/office/drawing/2014/main" id="{ADA3D2FA-B93E-7523-8E0C-5FDEDA98D3E5}"/>
                </a:ext>
              </a:extLst>
            </p:cNvPr>
            <p:cNvPicPr/>
            <p:nvPr/>
          </p:nvPicPr>
          <p:blipFill>
            <a:blip r:embed="rId17" cstate="print"/>
            <a:stretch>
              <a:fillRect/>
            </a:stretch>
          </p:blipFill>
          <p:spPr>
            <a:xfrm>
              <a:off x="7326865" y="1047738"/>
              <a:ext cx="106445" cy="107156"/>
            </a:xfrm>
            <a:prstGeom prst="rect">
              <a:avLst/>
            </a:prstGeom>
          </p:spPr>
        </p:pic>
        <p:sp>
          <p:nvSpPr>
            <p:cNvPr id="278" name="object 276">
              <a:extLst>
                <a:ext uri="{FF2B5EF4-FFF2-40B4-BE49-F238E27FC236}">
                  <a16:creationId xmlns:a16="http://schemas.microsoft.com/office/drawing/2014/main" id="{FE99E962-DAB9-7C4D-B589-C14004890692}"/>
                </a:ext>
              </a:extLst>
            </p:cNvPr>
            <p:cNvSpPr/>
            <p:nvPr/>
          </p:nvSpPr>
          <p:spPr>
            <a:xfrm>
              <a:off x="8368808" y="804428"/>
              <a:ext cx="332700" cy="477101"/>
            </a:xfrm>
            <a:custGeom>
              <a:avLst/>
              <a:gdLst/>
              <a:ahLst/>
              <a:cxnLst/>
              <a:rect l="l" t="t" r="r" b="b"/>
              <a:pathLst>
                <a:path w="548640" h="786764">
                  <a:moveTo>
                    <a:pt x="548043" y="266598"/>
                  </a:moveTo>
                  <a:lnTo>
                    <a:pt x="500367" y="270637"/>
                  </a:lnTo>
                  <a:lnTo>
                    <a:pt x="455841" y="282295"/>
                  </a:lnTo>
                  <a:lnTo>
                    <a:pt x="414616" y="300901"/>
                  </a:lnTo>
                  <a:lnTo>
                    <a:pt x="377342" y="325767"/>
                  </a:lnTo>
                  <a:lnTo>
                    <a:pt x="344716" y="356235"/>
                  </a:lnTo>
                  <a:lnTo>
                    <a:pt x="317411" y="391617"/>
                  </a:lnTo>
                  <a:lnTo>
                    <a:pt x="296087" y="431241"/>
                  </a:lnTo>
                  <a:lnTo>
                    <a:pt x="281419" y="474433"/>
                  </a:lnTo>
                  <a:lnTo>
                    <a:pt x="274091" y="520522"/>
                  </a:lnTo>
                  <a:lnTo>
                    <a:pt x="266915" y="474256"/>
                  </a:lnTo>
                  <a:lnTo>
                    <a:pt x="252361" y="430872"/>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88"/>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42"/>
                  </a:lnTo>
                  <a:lnTo>
                    <a:pt x="529005" y="359689"/>
                  </a:lnTo>
                  <a:lnTo>
                    <a:pt x="542467" y="314591"/>
                  </a:lnTo>
                  <a:lnTo>
                    <a:pt x="548043" y="266598"/>
                  </a:lnTo>
                  <a:close/>
                </a:path>
                <a:path w="548640" h="786764">
                  <a:moveTo>
                    <a:pt x="548043" y="1079"/>
                  </a:moveTo>
                  <a:lnTo>
                    <a:pt x="500367" y="5105"/>
                  </a:lnTo>
                  <a:lnTo>
                    <a:pt x="455841" y="16764"/>
                  </a:lnTo>
                  <a:lnTo>
                    <a:pt x="414616" y="35369"/>
                  </a:lnTo>
                  <a:lnTo>
                    <a:pt x="377342" y="60236"/>
                  </a:lnTo>
                  <a:lnTo>
                    <a:pt x="344716"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67" y="49060"/>
                  </a:lnTo>
                  <a:lnTo>
                    <a:pt x="548043" y="1079"/>
                  </a:lnTo>
                  <a:close/>
                </a:path>
                <a:path w="548640" h="786764">
                  <a:moveTo>
                    <a:pt x="548093" y="520192"/>
                  </a:moveTo>
                  <a:lnTo>
                    <a:pt x="500367" y="524205"/>
                  </a:lnTo>
                  <a:lnTo>
                    <a:pt x="455841" y="535851"/>
                  </a:lnTo>
                  <a:lnTo>
                    <a:pt x="414616" y="554456"/>
                  </a:lnTo>
                  <a:lnTo>
                    <a:pt x="377342" y="579323"/>
                  </a:lnTo>
                  <a:lnTo>
                    <a:pt x="344716" y="609790"/>
                  </a:lnTo>
                  <a:lnTo>
                    <a:pt x="317411" y="645160"/>
                  </a:lnTo>
                  <a:lnTo>
                    <a:pt x="296087" y="684784"/>
                  </a:lnTo>
                  <a:lnTo>
                    <a:pt x="281419" y="727976"/>
                  </a:lnTo>
                  <a:lnTo>
                    <a:pt x="274091" y="774065"/>
                  </a:lnTo>
                  <a:lnTo>
                    <a:pt x="266915" y="727811"/>
                  </a:lnTo>
                  <a:lnTo>
                    <a:pt x="252361" y="684441"/>
                  </a:lnTo>
                  <a:lnTo>
                    <a:pt x="231089" y="644652"/>
                  </a:lnTo>
                  <a:lnTo>
                    <a:pt x="203796" y="609117"/>
                  </a:lnTo>
                  <a:lnTo>
                    <a:pt x="171157" y="578510"/>
                  </a:lnTo>
                  <a:lnTo>
                    <a:pt x="133845" y="553529"/>
                  </a:lnTo>
                  <a:lnTo>
                    <a:pt x="92532" y="534847"/>
                  </a:lnTo>
                  <a:lnTo>
                    <a:pt x="47917" y="523113"/>
                  </a:lnTo>
                  <a:lnTo>
                    <a:pt x="0" y="519061"/>
                  </a:lnTo>
                  <a:lnTo>
                    <a:pt x="5448" y="567245"/>
                  </a:lnTo>
                  <a:lnTo>
                    <a:pt x="18846" y="612508"/>
                  </a:lnTo>
                  <a:lnTo>
                    <a:pt x="39458" y="654138"/>
                  </a:lnTo>
                  <a:lnTo>
                    <a:pt x="66548" y="691388"/>
                  </a:lnTo>
                  <a:lnTo>
                    <a:pt x="98704" y="722871"/>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81266" y="691807"/>
                  </a:lnTo>
                  <a:lnTo>
                    <a:pt x="508393" y="654697"/>
                  </a:lnTo>
                  <a:lnTo>
                    <a:pt x="529043" y="613244"/>
                  </a:lnTo>
                  <a:lnTo>
                    <a:pt x="542518" y="568172"/>
                  </a:lnTo>
                  <a:lnTo>
                    <a:pt x="548093" y="520192"/>
                  </a:lnTo>
                  <a:close/>
                </a:path>
              </a:pathLst>
            </a:custGeom>
            <a:solidFill>
              <a:srgbClr val="2DB7EA"/>
            </a:solidFill>
          </p:spPr>
          <p:txBody>
            <a:bodyPr wrap="square" lIns="0" tIns="0" rIns="0" bIns="0" rtlCol="0"/>
            <a:lstStyle/>
            <a:p>
              <a:endParaRPr dirty="0"/>
            </a:p>
          </p:txBody>
        </p:sp>
        <p:pic>
          <p:nvPicPr>
            <p:cNvPr id="279" name="object 277">
              <a:extLst>
                <a:ext uri="{FF2B5EF4-FFF2-40B4-BE49-F238E27FC236}">
                  <a16:creationId xmlns:a16="http://schemas.microsoft.com/office/drawing/2014/main" id="{17958CA6-5B3E-DCD2-1224-1098E5BCDFD2}"/>
                </a:ext>
              </a:extLst>
            </p:cNvPr>
            <p:cNvPicPr/>
            <p:nvPr/>
          </p:nvPicPr>
          <p:blipFill>
            <a:blip r:embed="rId5" cstate="print"/>
            <a:stretch>
              <a:fillRect/>
            </a:stretch>
          </p:blipFill>
          <p:spPr>
            <a:xfrm>
              <a:off x="8481461" y="718433"/>
              <a:ext cx="106445" cy="107156"/>
            </a:xfrm>
            <a:prstGeom prst="rect">
              <a:avLst/>
            </a:prstGeom>
          </p:spPr>
        </p:pic>
        <p:sp>
          <p:nvSpPr>
            <p:cNvPr id="280" name="object 278">
              <a:extLst>
                <a:ext uri="{FF2B5EF4-FFF2-40B4-BE49-F238E27FC236}">
                  <a16:creationId xmlns:a16="http://schemas.microsoft.com/office/drawing/2014/main" id="{D2055E55-4095-A492-8AA6-F26556780F5A}"/>
                </a:ext>
              </a:extLst>
            </p:cNvPr>
            <p:cNvSpPr/>
            <p:nvPr/>
          </p:nvSpPr>
          <p:spPr>
            <a:xfrm>
              <a:off x="8368808" y="150257"/>
              <a:ext cx="332700" cy="477101"/>
            </a:xfrm>
            <a:custGeom>
              <a:avLst/>
              <a:gdLst/>
              <a:ahLst/>
              <a:cxnLst/>
              <a:rect l="l" t="t" r="r" b="b"/>
              <a:pathLst>
                <a:path w="548640" h="786765">
                  <a:moveTo>
                    <a:pt x="548043" y="266611"/>
                  </a:moveTo>
                  <a:lnTo>
                    <a:pt x="500367" y="270649"/>
                  </a:lnTo>
                  <a:lnTo>
                    <a:pt x="455841" y="282308"/>
                  </a:lnTo>
                  <a:lnTo>
                    <a:pt x="414616" y="300901"/>
                  </a:lnTo>
                  <a:lnTo>
                    <a:pt x="377342" y="325767"/>
                  </a:lnTo>
                  <a:lnTo>
                    <a:pt x="344716" y="356235"/>
                  </a:lnTo>
                  <a:lnTo>
                    <a:pt x="317411" y="391617"/>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39"/>
                  </a:lnTo>
                  <a:lnTo>
                    <a:pt x="225044" y="528459"/>
                  </a:lnTo>
                  <a:lnTo>
                    <a:pt x="273519" y="532828"/>
                  </a:lnTo>
                  <a:lnTo>
                    <a:pt x="274751" y="532828"/>
                  </a:lnTo>
                  <a:lnTo>
                    <a:pt x="323088" y="528472"/>
                  </a:lnTo>
                  <a:lnTo>
                    <a:pt x="368642" y="516115"/>
                  </a:lnTo>
                  <a:lnTo>
                    <a:pt x="410679" y="496468"/>
                  </a:lnTo>
                  <a:lnTo>
                    <a:pt x="448462" y="470268"/>
                  </a:lnTo>
                  <a:lnTo>
                    <a:pt x="481266" y="438251"/>
                  </a:lnTo>
                  <a:lnTo>
                    <a:pt x="508355" y="401154"/>
                  </a:lnTo>
                  <a:lnTo>
                    <a:pt x="529005" y="359689"/>
                  </a:lnTo>
                  <a:lnTo>
                    <a:pt x="542467" y="314604"/>
                  </a:lnTo>
                  <a:lnTo>
                    <a:pt x="548043" y="266611"/>
                  </a:lnTo>
                  <a:close/>
                </a:path>
                <a:path w="548640" h="786765">
                  <a:moveTo>
                    <a:pt x="548043" y="1079"/>
                  </a:moveTo>
                  <a:lnTo>
                    <a:pt x="500367" y="5118"/>
                  </a:lnTo>
                  <a:lnTo>
                    <a:pt x="455841" y="16776"/>
                  </a:lnTo>
                  <a:lnTo>
                    <a:pt x="414616" y="35369"/>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60"/>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36"/>
                  </a:lnTo>
                  <a:lnTo>
                    <a:pt x="481266" y="172732"/>
                  </a:lnTo>
                  <a:lnTo>
                    <a:pt x="508355" y="135623"/>
                  </a:lnTo>
                  <a:lnTo>
                    <a:pt x="529005" y="94157"/>
                  </a:lnTo>
                  <a:lnTo>
                    <a:pt x="542467" y="49072"/>
                  </a:lnTo>
                  <a:lnTo>
                    <a:pt x="548043" y="1079"/>
                  </a:lnTo>
                  <a:close/>
                </a:path>
                <a:path w="548640" h="786765">
                  <a:moveTo>
                    <a:pt x="548093" y="520204"/>
                  </a:moveTo>
                  <a:lnTo>
                    <a:pt x="500367" y="524205"/>
                  </a:lnTo>
                  <a:lnTo>
                    <a:pt x="455841" y="535863"/>
                  </a:lnTo>
                  <a:lnTo>
                    <a:pt x="414616" y="554469"/>
                  </a:lnTo>
                  <a:lnTo>
                    <a:pt x="377342" y="579335"/>
                  </a:lnTo>
                  <a:lnTo>
                    <a:pt x="344716" y="609803"/>
                  </a:lnTo>
                  <a:lnTo>
                    <a:pt x="317411" y="645172"/>
                  </a:lnTo>
                  <a:lnTo>
                    <a:pt x="296087" y="684796"/>
                  </a:lnTo>
                  <a:lnTo>
                    <a:pt x="281419" y="727976"/>
                  </a:lnTo>
                  <a:lnTo>
                    <a:pt x="274091" y="774065"/>
                  </a:lnTo>
                  <a:lnTo>
                    <a:pt x="266915" y="727824"/>
                  </a:lnTo>
                  <a:lnTo>
                    <a:pt x="252361" y="684453"/>
                  </a:lnTo>
                  <a:lnTo>
                    <a:pt x="231089"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51"/>
                  </a:lnTo>
                  <a:lnTo>
                    <a:pt x="66548" y="691388"/>
                  </a:lnTo>
                  <a:lnTo>
                    <a:pt x="99402" y="723557"/>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7ED3F1"/>
            </a:solidFill>
          </p:spPr>
          <p:txBody>
            <a:bodyPr wrap="square" lIns="0" tIns="0" rIns="0" bIns="0" rtlCol="0"/>
            <a:lstStyle/>
            <a:p>
              <a:endParaRPr dirty="0"/>
            </a:p>
          </p:txBody>
        </p:sp>
        <p:pic>
          <p:nvPicPr>
            <p:cNvPr id="281" name="object 279">
              <a:extLst>
                <a:ext uri="{FF2B5EF4-FFF2-40B4-BE49-F238E27FC236}">
                  <a16:creationId xmlns:a16="http://schemas.microsoft.com/office/drawing/2014/main" id="{5DE6943D-D942-93F7-AADB-E362B9CABA35}"/>
                </a:ext>
              </a:extLst>
            </p:cNvPr>
            <p:cNvPicPr/>
            <p:nvPr/>
          </p:nvPicPr>
          <p:blipFill>
            <a:blip r:embed="rId6" cstate="print"/>
            <a:stretch>
              <a:fillRect/>
            </a:stretch>
          </p:blipFill>
          <p:spPr>
            <a:xfrm>
              <a:off x="8481461" y="64269"/>
              <a:ext cx="106445" cy="107156"/>
            </a:xfrm>
            <a:prstGeom prst="rect">
              <a:avLst/>
            </a:prstGeom>
          </p:spPr>
        </p:pic>
        <p:sp>
          <p:nvSpPr>
            <p:cNvPr id="282" name="object 280">
              <a:extLst>
                <a:ext uri="{FF2B5EF4-FFF2-40B4-BE49-F238E27FC236}">
                  <a16:creationId xmlns:a16="http://schemas.microsoft.com/office/drawing/2014/main" id="{A5FA49C4-E17D-8EDE-1820-87EB22D6BA85}"/>
                </a:ext>
              </a:extLst>
            </p:cNvPr>
            <p:cNvSpPr/>
            <p:nvPr/>
          </p:nvSpPr>
          <p:spPr>
            <a:xfrm>
              <a:off x="8368808" y="2112754"/>
              <a:ext cx="332700" cy="477101"/>
            </a:xfrm>
            <a:custGeom>
              <a:avLst/>
              <a:gdLst/>
              <a:ahLst/>
              <a:cxnLst/>
              <a:rect l="l" t="t" r="r" b="b"/>
              <a:pathLst>
                <a:path w="548640" h="786764">
                  <a:moveTo>
                    <a:pt x="548043" y="266611"/>
                  </a:moveTo>
                  <a:lnTo>
                    <a:pt x="500367" y="270649"/>
                  </a:lnTo>
                  <a:lnTo>
                    <a:pt x="455841" y="282308"/>
                  </a:lnTo>
                  <a:lnTo>
                    <a:pt x="414616" y="300901"/>
                  </a:lnTo>
                  <a:lnTo>
                    <a:pt x="377342" y="325780"/>
                  </a:lnTo>
                  <a:lnTo>
                    <a:pt x="344716"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74" y="516039"/>
                  </a:lnTo>
                  <a:lnTo>
                    <a:pt x="225044" y="528459"/>
                  </a:lnTo>
                  <a:lnTo>
                    <a:pt x="273519" y="532841"/>
                  </a:lnTo>
                  <a:lnTo>
                    <a:pt x="274751" y="532841"/>
                  </a:lnTo>
                  <a:lnTo>
                    <a:pt x="323088" y="528485"/>
                  </a:lnTo>
                  <a:lnTo>
                    <a:pt x="368642" y="516115"/>
                  </a:lnTo>
                  <a:lnTo>
                    <a:pt x="410679" y="496468"/>
                  </a:lnTo>
                  <a:lnTo>
                    <a:pt x="448462" y="470268"/>
                  </a:lnTo>
                  <a:lnTo>
                    <a:pt x="481266" y="438264"/>
                  </a:lnTo>
                  <a:lnTo>
                    <a:pt x="508355" y="401154"/>
                  </a:lnTo>
                  <a:lnTo>
                    <a:pt x="529005" y="359689"/>
                  </a:lnTo>
                  <a:lnTo>
                    <a:pt x="542467" y="314604"/>
                  </a:lnTo>
                  <a:lnTo>
                    <a:pt x="548043" y="266611"/>
                  </a:lnTo>
                  <a:close/>
                </a:path>
                <a:path w="548640" h="786764">
                  <a:moveTo>
                    <a:pt x="548043" y="1079"/>
                  </a:moveTo>
                  <a:lnTo>
                    <a:pt x="500367" y="5118"/>
                  </a:lnTo>
                  <a:lnTo>
                    <a:pt x="455841" y="16776"/>
                  </a:lnTo>
                  <a:lnTo>
                    <a:pt x="414616" y="35369"/>
                  </a:lnTo>
                  <a:lnTo>
                    <a:pt x="377342" y="60248"/>
                  </a:lnTo>
                  <a:lnTo>
                    <a:pt x="344716" y="90703"/>
                  </a:lnTo>
                  <a:lnTo>
                    <a:pt x="317411" y="126085"/>
                  </a:lnTo>
                  <a:lnTo>
                    <a:pt x="296087" y="165722"/>
                  </a:lnTo>
                  <a:lnTo>
                    <a:pt x="281419" y="208915"/>
                  </a:lnTo>
                  <a:lnTo>
                    <a:pt x="274091" y="255003"/>
                  </a:lnTo>
                  <a:lnTo>
                    <a:pt x="266915" y="208724"/>
                  </a:lnTo>
                  <a:lnTo>
                    <a:pt x="252361" y="165354"/>
                  </a:lnTo>
                  <a:lnTo>
                    <a:pt x="231089"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13"/>
                  </a:lnTo>
                  <a:lnTo>
                    <a:pt x="99402" y="204457"/>
                  </a:lnTo>
                  <a:lnTo>
                    <a:pt x="137248" y="230771"/>
                  </a:lnTo>
                  <a:lnTo>
                    <a:pt x="179374" y="250507"/>
                  </a:lnTo>
                  <a:lnTo>
                    <a:pt x="225044" y="262928"/>
                  </a:lnTo>
                  <a:lnTo>
                    <a:pt x="273519" y="267296"/>
                  </a:lnTo>
                  <a:lnTo>
                    <a:pt x="274751" y="267296"/>
                  </a:lnTo>
                  <a:lnTo>
                    <a:pt x="323088" y="262940"/>
                  </a:lnTo>
                  <a:lnTo>
                    <a:pt x="368642" y="250583"/>
                  </a:lnTo>
                  <a:lnTo>
                    <a:pt x="410679" y="230936"/>
                  </a:lnTo>
                  <a:lnTo>
                    <a:pt x="448462" y="204736"/>
                  </a:lnTo>
                  <a:lnTo>
                    <a:pt x="481266" y="172720"/>
                  </a:lnTo>
                  <a:lnTo>
                    <a:pt x="508355" y="135623"/>
                  </a:lnTo>
                  <a:lnTo>
                    <a:pt x="529005" y="94157"/>
                  </a:lnTo>
                  <a:lnTo>
                    <a:pt x="542467" y="49072"/>
                  </a:lnTo>
                  <a:lnTo>
                    <a:pt x="548043" y="1079"/>
                  </a:lnTo>
                  <a:close/>
                </a:path>
                <a:path w="548640" h="786764">
                  <a:moveTo>
                    <a:pt x="548093" y="520204"/>
                  </a:moveTo>
                  <a:lnTo>
                    <a:pt x="500367" y="524205"/>
                  </a:lnTo>
                  <a:lnTo>
                    <a:pt x="455841" y="535863"/>
                  </a:lnTo>
                  <a:lnTo>
                    <a:pt x="414616" y="554456"/>
                  </a:lnTo>
                  <a:lnTo>
                    <a:pt x="377342" y="579335"/>
                  </a:lnTo>
                  <a:lnTo>
                    <a:pt x="344716" y="609803"/>
                  </a:lnTo>
                  <a:lnTo>
                    <a:pt x="317411" y="645172"/>
                  </a:lnTo>
                  <a:lnTo>
                    <a:pt x="296087" y="684796"/>
                  </a:lnTo>
                  <a:lnTo>
                    <a:pt x="281419" y="727989"/>
                  </a:lnTo>
                  <a:lnTo>
                    <a:pt x="274091" y="774065"/>
                  </a:lnTo>
                  <a:lnTo>
                    <a:pt x="266915" y="727811"/>
                  </a:lnTo>
                  <a:lnTo>
                    <a:pt x="252361" y="684441"/>
                  </a:lnTo>
                  <a:lnTo>
                    <a:pt x="231089" y="644652"/>
                  </a:lnTo>
                  <a:lnTo>
                    <a:pt x="203796" y="609117"/>
                  </a:lnTo>
                  <a:lnTo>
                    <a:pt x="171157" y="578523"/>
                  </a:lnTo>
                  <a:lnTo>
                    <a:pt x="133845" y="553542"/>
                  </a:lnTo>
                  <a:lnTo>
                    <a:pt x="92532" y="534860"/>
                  </a:lnTo>
                  <a:lnTo>
                    <a:pt x="47917" y="523125"/>
                  </a:lnTo>
                  <a:lnTo>
                    <a:pt x="0" y="519099"/>
                  </a:lnTo>
                  <a:lnTo>
                    <a:pt x="5448" y="567258"/>
                  </a:lnTo>
                  <a:lnTo>
                    <a:pt x="18846" y="612521"/>
                  </a:lnTo>
                  <a:lnTo>
                    <a:pt x="39458" y="654138"/>
                  </a:lnTo>
                  <a:lnTo>
                    <a:pt x="66548" y="691400"/>
                  </a:lnTo>
                  <a:lnTo>
                    <a:pt x="99390" y="72354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2DB7EA"/>
            </a:solidFill>
          </p:spPr>
          <p:txBody>
            <a:bodyPr wrap="square" lIns="0" tIns="0" rIns="0" bIns="0" rtlCol="0"/>
            <a:lstStyle/>
            <a:p>
              <a:endParaRPr dirty="0"/>
            </a:p>
          </p:txBody>
        </p:sp>
        <p:pic>
          <p:nvPicPr>
            <p:cNvPr id="283" name="object 281">
              <a:extLst>
                <a:ext uri="{FF2B5EF4-FFF2-40B4-BE49-F238E27FC236}">
                  <a16:creationId xmlns:a16="http://schemas.microsoft.com/office/drawing/2014/main" id="{DC0A90E7-B6A5-DEF3-44FB-D0CF947D1139}"/>
                </a:ext>
              </a:extLst>
            </p:cNvPr>
            <p:cNvPicPr/>
            <p:nvPr/>
          </p:nvPicPr>
          <p:blipFill>
            <a:blip r:embed="rId5" cstate="print"/>
            <a:stretch>
              <a:fillRect/>
            </a:stretch>
          </p:blipFill>
          <p:spPr>
            <a:xfrm>
              <a:off x="8481461" y="2026765"/>
              <a:ext cx="106445" cy="107156"/>
            </a:xfrm>
            <a:prstGeom prst="rect">
              <a:avLst/>
            </a:prstGeom>
          </p:spPr>
        </p:pic>
        <p:sp>
          <p:nvSpPr>
            <p:cNvPr id="284" name="object 282">
              <a:extLst>
                <a:ext uri="{FF2B5EF4-FFF2-40B4-BE49-F238E27FC236}">
                  <a16:creationId xmlns:a16="http://schemas.microsoft.com/office/drawing/2014/main" id="{D1987B30-AABB-ECA5-C484-B971CEA757A2}"/>
                </a:ext>
              </a:extLst>
            </p:cNvPr>
            <p:cNvSpPr/>
            <p:nvPr/>
          </p:nvSpPr>
          <p:spPr>
            <a:xfrm>
              <a:off x="8368808" y="1458591"/>
              <a:ext cx="332700" cy="477101"/>
            </a:xfrm>
            <a:custGeom>
              <a:avLst/>
              <a:gdLst/>
              <a:ahLst/>
              <a:cxnLst/>
              <a:rect l="l" t="t" r="r" b="b"/>
              <a:pathLst>
                <a:path w="548640" h="786764">
                  <a:moveTo>
                    <a:pt x="548043" y="266611"/>
                  </a:moveTo>
                  <a:lnTo>
                    <a:pt x="500367" y="270649"/>
                  </a:lnTo>
                  <a:lnTo>
                    <a:pt x="455841" y="282295"/>
                  </a:lnTo>
                  <a:lnTo>
                    <a:pt x="414616" y="300901"/>
                  </a:lnTo>
                  <a:lnTo>
                    <a:pt x="377342" y="325767"/>
                  </a:lnTo>
                  <a:lnTo>
                    <a:pt x="344716" y="356235"/>
                  </a:lnTo>
                  <a:lnTo>
                    <a:pt x="317411" y="391617"/>
                  </a:lnTo>
                  <a:lnTo>
                    <a:pt x="296087" y="431241"/>
                  </a:lnTo>
                  <a:lnTo>
                    <a:pt x="281419" y="474446"/>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26"/>
                  </a:lnTo>
                  <a:lnTo>
                    <a:pt x="225044" y="528459"/>
                  </a:lnTo>
                  <a:lnTo>
                    <a:pt x="273519" y="532828"/>
                  </a:lnTo>
                  <a:lnTo>
                    <a:pt x="274751" y="532828"/>
                  </a:lnTo>
                  <a:lnTo>
                    <a:pt x="323088" y="528472"/>
                  </a:lnTo>
                  <a:lnTo>
                    <a:pt x="368642" y="516102"/>
                  </a:lnTo>
                  <a:lnTo>
                    <a:pt x="410679" y="496468"/>
                  </a:lnTo>
                  <a:lnTo>
                    <a:pt x="448462" y="470268"/>
                  </a:lnTo>
                  <a:lnTo>
                    <a:pt x="481266" y="438251"/>
                  </a:lnTo>
                  <a:lnTo>
                    <a:pt x="508355" y="401154"/>
                  </a:lnTo>
                  <a:lnTo>
                    <a:pt x="529005" y="359689"/>
                  </a:lnTo>
                  <a:lnTo>
                    <a:pt x="542467" y="314604"/>
                  </a:lnTo>
                  <a:lnTo>
                    <a:pt x="548043" y="266611"/>
                  </a:lnTo>
                  <a:close/>
                </a:path>
                <a:path w="548640" h="786764">
                  <a:moveTo>
                    <a:pt x="548043" y="1079"/>
                  </a:moveTo>
                  <a:lnTo>
                    <a:pt x="500367" y="5105"/>
                  </a:lnTo>
                  <a:lnTo>
                    <a:pt x="455841" y="16764"/>
                  </a:lnTo>
                  <a:lnTo>
                    <a:pt x="414616" y="35369"/>
                  </a:lnTo>
                  <a:lnTo>
                    <a:pt x="377342" y="60236"/>
                  </a:lnTo>
                  <a:lnTo>
                    <a:pt x="344716"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67" y="49060"/>
                  </a:lnTo>
                  <a:lnTo>
                    <a:pt x="548043" y="1079"/>
                  </a:lnTo>
                  <a:close/>
                </a:path>
                <a:path w="548640" h="786764">
                  <a:moveTo>
                    <a:pt x="548093" y="520192"/>
                  </a:moveTo>
                  <a:lnTo>
                    <a:pt x="500367" y="524205"/>
                  </a:lnTo>
                  <a:lnTo>
                    <a:pt x="455841" y="535863"/>
                  </a:lnTo>
                  <a:lnTo>
                    <a:pt x="414616" y="554456"/>
                  </a:lnTo>
                  <a:lnTo>
                    <a:pt x="377342" y="579335"/>
                  </a:lnTo>
                  <a:lnTo>
                    <a:pt x="344716" y="609790"/>
                  </a:lnTo>
                  <a:lnTo>
                    <a:pt x="317411" y="645172"/>
                  </a:lnTo>
                  <a:lnTo>
                    <a:pt x="296087" y="684784"/>
                  </a:lnTo>
                  <a:lnTo>
                    <a:pt x="281419" y="727976"/>
                  </a:lnTo>
                  <a:lnTo>
                    <a:pt x="274091" y="774065"/>
                  </a:lnTo>
                  <a:lnTo>
                    <a:pt x="266915" y="727811"/>
                  </a:lnTo>
                  <a:lnTo>
                    <a:pt x="252361" y="684441"/>
                  </a:lnTo>
                  <a:lnTo>
                    <a:pt x="231089" y="644652"/>
                  </a:lnTo>
                  <a:lnTo>
                    <a:pt x="203796" y="609117"/>
                  </a:lnTo>
                  <a:lnTo>
                    <a:pt x="171157" y="578510"/>
                  </a:lnTo>
                  <a:lnTo>
                    <a:pt x="133845" y="553529"/>
                  </a:lnTo>
                  <a:lnTo>
                    <a:pt x="92532" y="534847"/>
                  </a:lnTo>
                  <a:lnTo>
                    <a:pt x="47917" y="523138"/>
                  </a:lnTo>
                  <a:lnTo>
                    <a:pt x="0" y="519061"/>
                  </a:lnTo>
                  <a:lnTo>
                    <a:pt x="5448" y="567245"/>
                  </a:lnTo>
                  <a:lnTo>
                    <a:pt x="18846" y="612508"/>
                  </a:lnTo>
                  <a:lnTo>
                    <a:pt x="39458" y="654138"/>
                  </a:lnTo>
                  <a:lnTo>
                    <a:pt x="66548" y="691388"/>
                  </a:lnTo>
                  <a:lnTo>
                    <a:pt x="67246" y="692073"/>
                  </a:lnTo>
                  <a:lnTo>
                    <a:pt x="99390" y="723544"/>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81266" y="691807"/>
                  </a:lnTo>
                  <a:lnTo>
                    <a:pt x="508393" y="654697"/>
                  </a:lnTo>
                  <a:lnTo>
                    <a:pt x="529043" y="613244"/>
                  </a:lnTo>
                  <a:lnTo>
                    <a:pt x="542518" y="568172"/>
                  </a:lnTo>
                  <a:lnTo>
                    <a:pt x="548093" y="520192"/>
                  </a:lnTo>
                  <a:close/>
                </a:path>
              </a:pathLst>
            </a:custGeom>
            <a:solidFill>
              <a:srgbClr val="7ED3F1"/>
            </a:solidFill>
          </p:spPr>
          <p:txBody>
            <a:bodyPr wrap="square" lIns="0" tIns="0" rIns="0" bIns="0" rtlCol="0"/>
            <a:lstStyle/>
            <a:p>
              <a:endParaRPr dirty="0"/>
            </a:p>
          </p:txBody>
        </p:sp>
        <p:pic>
          <p:nvPicPr>
            <p:cNvPr id="285" name="object 283">
              <a:extLst>
                <a:ext uri="{FF2B5EF4-FFF2-40B4-BE49-F238E27FC236}">
                  <a16:creationId xmlns:a16="http://schemas.microsoft.com/office/drawing/2014/main" id="{8E8BCC53-24BE-E3C4-9B2F-479BA517C799}"/>
                </a:ext>
              </a:extLst>
            </p:cNvPr>
            <p:cNvPicPr/>
            <p:nvPr/>
          </p:nvPicPr>
          <p:blipFill>
            <a:blip r:embed="rId6" cstate="print"/>
            <a:stretch>
              <a:fillRect/>
            </a:stretch>
          </p:blipFill>
          <p:spPr>
            <a:xfrm>
              <a:off x="8481461" y="1372599"/>
              <a:ext cx="106445" cy="107156"/>
            </a:xfrm>
            <a:prstGeom prst="rect">
              <a:avLst/>
            </a:prstGeom>
          </p:spPr>
        </p:pic>
        <p:sp>
          <p:nvSpPr>
            <p:cNvPr id="286" name="object 284">
              <a:extLst>
                <a:ext uri="{FF2B5EF4-FFF2-40B4-BE49-F238E27FC236}">
                  <a16:creationId xmlns:a16="http://schemas.microsoft.com/office/drawing/2014/main" id="{9D9897DA-134E-65E1-5526-52E61F251476}"/>
                </a:ext>
              </a:extLst>
            </p:cNvPr>
            <p:cNvSpPr/>
            <p:nvPr/>
          </p:nvSpPr>
          <p:spPr>
            <a:xfrm>
              <a:off x="8368808" y="3421088"/>
              <a:ext cx="332700" cy="477101"/>
            </a:xfrm>
            <a:custGeom>
              <a:avLst/>
              <a:gdLst/>
              <a:ahLst/>
              <a:cxnLst/>
              <a:rect l="l" t="t" r="r" b="b"/>
              <a:pathLst>
                <a:path w="548640" h="786764">
                  <a:moveTo>
                    <a:pt x="548043" y="266611"/>
                  </a:moveTo>
                  <a:lnTo>
                    <a:pt x="500367" y="270637"/>
                  </a:lnTo>
                  <a:lnTo>
                    <a:pt x="455841" y="282295"/>
                  </a:lnTo>
                  <a:lnTo>
                    <a:pt x="414616" y="300901"/>
                  </a:lnTo>
                  <a:lnTo>
                    <a:pt x="377342" y="325767"/>
                  </a:lnTo>
                  <a:lnTo>
                    <a:pt x="344716" y="356235"/>
                  </a:lnTo>
                  <a:lnTo>
                    <a:pt x="317411" y="391617"/>
                  </a:lnTo>
                  <a:lnTo>
                    <a:pt x="296087" y="431241"/>
                  </a:lnTo>
                  <a:lnTo>
                    <a:pt x="281419" y="474433"/>
                  </a:lnTo>
                  <a:lnTo>
                    <a:pt x="274091" y="520522"/>
                  </a:lnTo>
                  <a:lnTo>
                    <a:pt x="266915" y="474256"/>
                  </a:lnTo>
                  <a:lnTo>
                    <a:pt x="252361" y="430885"/>
                  </a:lnTo>
                  <a:lnTo>
                    <a:pt x="231089"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55"/>
                  </a:lnTo>
                  <a:lnTo>
                    <a:pt x="481266" y="438251"/>
                  </a:lnTo>
                  <a:lnTo>
                    <a:pt x="508355" y="401142"/>
                  </a:lnTo>
                  <a:lnTo>
                    <a:pt x="529005" y="359689"/>
                  </a:lnTo>
                  <a:lnTo>
                    <a:pt x="542467" y="314591"/>
                  </a:lnTo>
                  <a:lnTo>
                    <a:pt x="548043" y="266611"/>
                  </a:lnTo>
                  <a:close/>
                </a:path>
                <a:path w="548640" h="786764">
                  <a:moveTo>
                    <a:pt x="548043" y="1079"/>
                  </a:moveTo>
                  <a:lnTo>
                    <a:pt x="500367" y="5118"/>
                  </a:lnTo>
                  <a:lnTo>
                    <a:pt x="455841" y="16764"/>
                  </a:lnTo>
                  <a:lnTo>
                    <a:pt x="414616" y="35369"/>
                  </a:lnTo>
                  <a:lnTo>
                    <a:pt x="377342" y="60236"/>
                  </a:lnTo>
                  <a:lnTo>
                    <a:pt x="344716" y="90703"/>
                  </a:lnTo>
                  <a:lnTo>
                    <a:pt x="317411" y="126085"/>
                  </a:lnTo>
                  <a:lnTo>
                    <a:pt x="296087" y="165709"/>
                  </a:lnTo>
                  <a:lnTo>
                    <a:pt x="281419" y="208915"/>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36"/>
                  </a:lnTo>
                  <a:lnTo>
                    <a:pt x="481266" y="172720"/>
                  </a:lnTo>
                  <a:lnTo>
                    <a:pt x="508355" y="135623"/>
                  </a:lnTo>
                  <a:lnTo>
                    <a:pt x="529005" y="94157"/>
                  </a:lnTo>
                  <a:lnTo>
                    <a:pt x="542467" y="49072"/>
                  </a:lnTo>
                  <a:lnTo>
                    <a:pt x="548043" y="1079"/>
                  </a:lnTo>
                  <a:close/>
                </a:path>
                <a:path w="548640" h="786764">
                  <a:moveTo>
                    <a:pt x="548093" y="520192"/>
                  </a:moveTo>
                  <a:lnTo>
                    <a:pt x="500367" y="524217"/>
                  </a:lnTo>
                  <a:lnTo>
                    <a:pt x="455841" y="535863"/>
                  </a:lnTo>
                  <a:lnTo>
                    <a:pt x="414616" y="554469"/>
                  </a:lnTo>
                  <a:lnTo>
                    <a:pt x="377342" y="579335"/>
                  </a:lnTo>
                  <a:lnTo>
                    <a:pt x="344716" y="609790"/>
                  </a:lnTo>
                  <a:lnTo>
                    <a:pt x="317411" y="645172"/>
                  </a:lnTo>
                  <a:lnTo>
                    <a:pt x="296087" y="684784"/>
                  </a:lnTo>
                  <a:lnTo>
                    <a:pt x="281419" y="727976"/>
                  </a:lnTo>
                  <a:lnTo>
                    <a:pt x="274091" y="774065"/>
                  </a:lnTo>
                  <a:lnTo>
                    <a:pt x="266915" y="727811"/>
                  </a:lnTo>
                  <a:lnTo>
                    <a:pt x="252361" y="684441"/>
                  </a:lnTo>
                  <a:lnTo>
                    <a:pt x="231089" y="644652"/>
                  </a:lnTo>
                  <a:lnTo>
                    <a:pt x="203796" y="609117"/>
                  </a:lnTo>
                  <a:lnTo>
                    <a:pt x="171157" y="578510"/>
                  </a:lnTo>
                  <a:lnTo>
                    <a:pt x="133845" y="553529"/>
                  </a:lnTo>
                  <a:lnTo>
                    <a:pt x="92532" y="534847"/>
                  </a:lnTo>
                  <a:lnTo>
                    <a:pt x="47917" y="523138"/>
                  </a:lnTo>
                  <a:lnTo>
                    <a:pt x="0" y="519061"/>
                  </a:lnTo>
                  <a:lnTo>
                    <a:pt x="5448" y="567245"/>
                  </a:lnTo>
                  <a:lnTo>
                    <a:pt x="18846" y="612508"/>
                  </a:lnTo>
                  <a:lnTo>
                    <a:pt x="39458" y="654138"/>
                  </a:lnTo>
                  <a:lnTo>
                    <a:pt x="66548" y="691388"/>
                  </a:lnTo>
                  <a:lnTo>
                    <a:pt x="99402" y="723544"/>
                  </a:lnTo>
                  <a:lnTo>
                    <a:pt x="137248" y="749858"/>
                  </a:lnTo>
                  <a:lnTo>
                    <a:pt x="179374" y="769594"/>
                  </a:lnTo>
                  <a:lnTo>
                    <a:pt x="225044" y="782015"/>
                  </a:lnTo>
                  <a:lnTo>
                    <a:pt x="273519" y="786384"/>
                  </a:lnTo>
                  <a:lnTo>
                    <a:pt x="274751" y="786384"/>
                  </a:lnTo>
                  <a:lnTo>
                    <a:pt x="323088" y="782027"/>
                  </a:lnTo>
                  <a:lnTo>
                    <a:pt x="368642" y="769670"/>
                  </a:lnTo>
                  <a:lnTo>
                    <a:pt x="410679" y="750023"/>
                  </a:lnTo>
                  <a:lnTo>
                    <a:pt x="448462" y="723823"/>
                  </a:lnTo>
                  <a:lnTo>
                    <a:pt x="479691" y="693356"/>
                  </a:lnTo>
                  <a:lnTo>
                    <a:pt x="481266" y="691819"/>
                  </a:lnTo>
                  <a:lnTo>
                    <a:pt x="508393" y="654697"/>
                  </a:lnTo>
                  <a:lnTo>
                    <a:pt x="529043" y="613244"/>
                  </a:lnTo>
                  <a:lnTo>
                    <a:pt x="542518" y="568172"/>
                  </a:lnTo>
                  <a:lnTo>
                    <a:pt x="548093" y="520192"/>
                  </a:lnTo>
                  <a:close/>
                </a:path>
              </a:pathLst>
            </a:custGeom>
            <a:solidFill>
              <a:srgbClr val="2DB7EA"/>
            </a:solidFill>
          </p:spPr>
          <p:txBody>
            <a:bodyPr wrap="square" lIns="0" tIns="0" rIns="0" bIns="0" rtlCol="0"/>
            <a:lstStyle/>
            <a:p>
              <a:endParaRPr dirty="0"/>
            </a:p>
          </p:txBody>
        </p:sp>
        <p:pic>
          <p:nvPicPr>
            <p:cNvPr id="287" name="object 285">
              <a:extLst>
                <a:ext uri="{FF2B5EF4-FFF2-40B4-BE49-F238E27FC236}">
                  <a16:creationId xmlns:a16="http://schemas.microsoft.com/office/drawing/2014/main" id="{2758AC9A-1D3A-0C2D-8330-C8FABA6BEBE4}"/>
                </a:ext>
              </a:extLst>
            </p:cNvPr>
            <p:cNvPicPr/>
            <p:nvPr/>
          </p:nvPicPr>
          <p:blipFill>
            <a:blip r:embed="rId5" cstate="print"/>
            <a:stretch>
              <a:fillRect/>
            </a:stretch>
          </p:blipFill>
          <p:spPr>
            <a:xfrm>
              <a:off x="8481461" y="3335097"/>
              <a:ext cx="106445" cy="107156"/>
            </a:xfrm>
            <a:prstGeom prst="rect">
              <a:avLst/>
            </a:prstGeom>
          </p:spPr>
        </p:pic>
        <p:sp>
          <p:nvSpPr>
            <p:cNvPr id="288" name="object 286">
              <a:extLst>
                <a:ext uri="{FF2B5EF4-FFF2-40B4-BE49-F238E27FC236}">
                  <a16:creationId xmlns:a16="http://schemas.microsoft.com/office/drawing/2014/main" id="{344A8D42-E085-DB18-557C-A4CC6C801D2F}"/>
                </a:ext>
              </a:extLst>
            </p:cNvPr>
            <p:cNvSpPr/>
            <p:nvPr/>
          </p:nvSpPr>
          <p:spPr>
            <a:xfrm>
              <a:off x="8368808" y="2766918"/>
              <a:ext cx="332700" cy="477101"/>
            </a:xfrm>
            <a:custGeom>
              <a:avLst/>
              <a:gdLst/>
              <a:ahLst/>
              <a:cxnLst/>
              <a:rect l="l" t="t" r="r" b="b"/>
              <a:pathLst>
                <a:path w="548640" h="786764">
                  <a:moveTo>
                    <a:pt x="548043" y="266611"/>
                  </a:moveTo>
                  <a:lnTo>
                    <a:pt x="500367" y="270649"/>
                  </a:lnTo>
                  <a:lnTo>
                    <a:pt x="455841" y="282308"/>
                  </a:lnTo>
                  <a:lnTo>
                    <a:pt x="414616" y="300901"/>
                  </a:lnTo>
                  <a:lnTo>
                    <a:pt x="377342" y="325780"/>
                  </a:lnTo>
                  <a:lnTo>
                    <a:pt x="344716"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74" y="516039"/>
                  </a:lnTo>
                  <a:lnTo>
                    <a:pt x="225044" y="528459"/>
                  </a:lnTo>
                  <a:lnTo>
                    <a:pt x="273519" y="532841"/>
                  </a:lnTo>
                  <a:lnTo>
                    <a:pt x="274751" y="532841"/>
                  </a:lnTo>
                  <a:lnTo>
                    <a:pt x="323088" y="528485"/>
                  </a:lnTo>
                  <a:lnTo>
                    <a:pt x="368642" y="516115"/>
                  </a:lnTo>
                  <a:lnTo>
                    <a:pt x="410679" y="496468"/>
                  </a:lnTo>
                  <a:lnTo>
                    <a:pt x="448462" y="470268"/>
                  </a:lnTo>
                  <a:lnTo>
                    <a:pt x="481266" y="438264"/>
                  </a:lnTo>
                  <a:lnTo>
                    <a:pt x="508355" y="401154"/>
                  </a:lnTo>
                  <a:lnTo>
                    <a:pt x="529005" y="359689"/>
                  </a:lnTo>
                  <a:lnTo>
                    <a:pt x="542467" y="314604"/>
                  </a:lnTo>
                  <a:lnTo>
                    <a:pt x="548043" y="266611"/>
                  </a:lnTo>
                  <a:close/>
                </a:path>
                <a:path w="548640" h="786764">
                  <a:moveTo>
                    <a:pt x="548043" y="1079"/>
                  </a:moveTo>
                  <a:lnTo>
                    <a:pt x="500367" y="5118"/>
                  </a:lnTo>
                  <a:lnTo>
                    <a:pt x="455841" y="16776"/>
                  </a:lnTo>
                  <a:lnTo>
                    <a:pt x="414616" y="35369"/>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74" y="250507"/>
                  </a:lnTo>
                  <a:lnTo>
                    <a:pt x="225044" y="262928"/>
                  </a:lnTo>
                  <a:lnTo>
                    <a:pt x="273519" y="267309"/>
                  </a:lnTo>
                  <a:lnTo>
                    <a:pt x="274751" y="267309"/>
                  </a:lnTo>
                  <a:lnTo>
                    <a:pt x="323088" y="262953"/>
                  </a:lnTo>
                  <a:lnTo>
                    <a:pt x="368642" y="250583"/>
                  </a:lnTo>
                  <a:lnTo>
                    <a:pt x="410679" y="230936"/>
                  </a:lnTo>
                  <a:lnTo>
                    <a:pt x="448462" y="204749"/>
                  </a:lnTo>
                  <a:lnTo>
                    <a:pt x="481266" y="172732"/>
                  </a:lnTo>
                  <a:lnTo>
                    <a:pt x="508355" y="135623"/>
                  </a:lnTo>
                  <a:lnTo>
                    <a:pt x="529005" y="94157"/>
                  </a:lnTo>
                  <a:lnTo>
                    <a:pt x="542467" y="49072"/>
                  </a:lnTo>
                  <a:lnTo>
                    <a:pt x="548043" y="1079"/>
                  </a:lnTo>
                  <a:close/>
                </a:path>
                <a:path w="548640" h="786764">
                  <a:moveTo>
                    <a:pt x="548093" y="520204"/>
                  </a:moveTo>
                  <a:lnTo>
                    <a:pt x="500367" y="524205"/>
                  </a:lnTo>
                  <a:lnTo>
                    <a:pt x="455841" y="535863"/>
                  </a:lnTo>
                  <a:lnTo>
                    <a:pt x="414616" y="554469"/>
                  </a:lnTo>
                  <a:lnTo>
                    <a:pt x="377342" y="579335"/>
                  </a:lnTo>
                  <a:lnTo>
                    <a:pt x="344716" y="609803"/>
                  </a:lnTo>
                  <a:lnTo>
                    <a:pt x="317411" y="645172"/>
                  </a:lnTo>
                  <a:lnTo>
                    <a:pt x="296087" y="684796"/>
                  </a:lnTo>
                  <a:lnTo>
                    <a:pt x="281419" y="727989"/>
                  </a:lnTo>
                  <a:lnTo>
                    <a:pt x="274091" y="774065"/>
                  </a:lnTo>
                  <a:lnTo>
                    <a:pt x="266915" y="727824"/>
                  </a:lnTo>
                  <a:lnTo>
                    <a:pt x="252361" y="684453"/>
                  </a:lnTo>
                  <a:lnTo>
                    <a:pt x="231089"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51"/>
                  </a:lnTo>
                  <a:lnTo>
                    <a:pt x="66548" y="691400"/>
                  </a:lnTo>
                  <a:lnTo>
                    <a:pt x="98704" y="722884"/>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7ED3F1"/>
            </a:solidFill>
          </p:spPr>
          <p:txBody>
            <a:bodyPr wrap="square" lIns="0" tIns="0" rIns="0" bIns="0" rtlCol="0"/>
            <a:lstStyle/>
            <a:p>
              <a:endParaRPr dirty="0"/>
            </a:p>
          </p:txBody>
        </p:sp>
        <p:pic>
          <p:nvPicPr>
            <p:cNvPr id="289" name="object 287">
              <a:extLst>
                <a:ext uri="{FF2B5EF4-FFF2-40B4-BE49-F238E27FC236}">
                  <a16:creationId xmlns:a16="http://schemas.microsoft.com/office/drawing/2014/main" id="{347AA3BB-64B2-FF52-9E8D-C334892F6142}"/>
                </a:ext>
              </a:extLst>
            </p:cNvPr>
            <p:cNvPicPr/>
            <p:nvPr/>
          </p:nvPicPr>
          <p:blipFill>
            <a:blip r:embed="rId6" cstate="print"/>
            <a:stretch>
              <a:fillRect/>
            </a:stretch>
          </p:blipFill>
          <p:spPr>
            <a:xfrm>
              <a:off x="8481461" y="2680931"/>
              <a:ext cx="106445" cy="107156"/>
            </a:xfrm>
            <a:prstGeom prst="rect">
              <a:avLst/>
            </a:prstGeom>
          </p:spPr>
        </p:pic>
        <p:sp>
          <p:nvSpPr>
            <p:cNvPr id="290" name="object 288">
              <a:extLst>
                <a:ext uri="{FF2B5EF4-FFF2-40B4-BE49-F238E27FC236}">
                  <a16:creationId xmlns:a16="http://schemas.microsoft.com/office/drawing/2014/main" id="{83F4429B-8BD9-71DD-8603-49D7D9D5E9F1}"/>
                </a:ext>
              </a:extLst>
            </p:cNvPr>
            <p:cNvSpPr/>
            <p:nvPr/>
          </p:nvSpPr>
          <p:spPr>
            <a:xfrm>
              <a:off x="8368808" y="4729423"/>
              <a:ext cx="332700" cy="477101"/>
            </a:xfrm>
            <a:custGeom>
              <a:avLst/>
              <a:gdLst/>
              <a:ahLst/>
              <a:cxnLst/>
              <a:rect l="l" t="t" r="r" b="b"/>
              <a:pathLst>
                <a:path w="548640" h="786765">
                  <a:moveTo>
                    <a:pt x="548043" y="266611"/>
                  </a:moveTo>
                  <a:lnTo>
                    <a:pt x="500367" y="270649"/>
                  </a:lnTo>
                  <a:lnTo>
                    <a:pt x="455841" y="282308"/>
                  </a:lnTo>
                  <a:lnTo>
                    <a:pt x="414616" y="300901"/>
                  </a:lnTo>
                  <a:lnTo>
                    <a:pt x="377342" y="325767"/>
                  </a:lnTo>
                  <a:lnTo>
                    <a:pt x="344716" y="356235"/>
                  </a:lnTo>
                  <a:lnTo>
                    <a:pt x="317411" y="391617"/>
                  </a:lnTo>
                  <a:lnTo>
                    <a:pt x="296087" y="431241"/>
                  </a:lnTo>
                  <a:lnTo>
                    <a:pt x="281419" y="474433"/>
                  </a:lnTo>
                  <a:lnTo>
                    <a:pt x="274091" y="520522"/>
                  </a:lnTo>
                  <a:lnTo>
                    <a:pt x="266915" y="474243"/>
                  </a:lnTo>
                  <a:lnTo>
                    <a:pt x="252361" y="430872"/>
                  </a:lnTo>
                  <a:lnTo>
                    <a:pt x="231089" y="391083"/>
                  </a:lnTo>
                  <a:lnTo>
                    <a:pt x="203796" y="355549"/>
                  </a:lnTo>
                  <a:lnTo>
                    <a:pt x="171157" y="324954"/>
                  </a:lnTo>
                  <a:lnTo>
                    <a:pt x="133845" y="299974"/>
                  </a:lnTo>
                  <a:lnTo>
                    <a:pt x="92532" y="281292"/>
                  </a:lnTo>
                  <a:lnTo>
                    <a:pt x="47917" y="269582"/>
                  </a:lnTo>
                  <a:lnTo>
                    <a:pt x="0" y="265518"/>
                  </a:lnTo>
                  <a:lnTo>
                    <a:pt x="5448" y="313690"/>
                  </a:lnTo>
                  <a:lnTo>
                    <a:pt x="18846" y="358952"/>
                  </a:lnTo>
                  <a:lnTo>
                    <a:pt x="39458" y="400570"/>
                  </a:lnTo>
                  <a:lnTo>
                    <a:pt x="66560" y="437832"/>
                  </a:lnTo>
                  <a:lnTo>
                    <a:pt x="99402" y="469976"/>
                  </a:lnTo>
                  <a:lnTo>
                    <a:pt x="137248" y="496290"/>
                  </a:lnTo>
                  <a:lnTo>
                    <a:pt x="179374" y="516026"/>
                  </a:lnTo>
                  <a:lnTo>
                    <a:pt x="225044" y="528447"/>
                  </a:lnTo>
                  <a:lnTo>
                    <a:pt x="273519" y="532828"/>
                  </a:lnTo>
                  <a:lnTo>
                    <a:pt x="274751" y="532828"/>
                  </a:lnTo>
                  <a:lnTo>
                    <a:pt x="323088" y="528472"/>
                  </a:lnTo>
                  <a:lnTo>
                    <a:pt x="368642" y="516102"/>
                  </a:lnTo>
                  <a:lnTo>
                    <a:pt x="410679" y="496455"/>
                  </a:lnTo>
                  <a:lnTo>
                    <a:pt x="448462" y="470268"/>
                  </a:lnTo>
                  <a:lnTo>
                    <a:pt x="481266" y="438251"/>
                  </a:lnTo>
                  <a:lnTo>
                    <a:pt x="508355" y="401154"/>
                  </a:lnTo>
                  <a:lnTo>
                    <a:pt x="529005" y="359689"/>
                  </a:lnTo>
                  <a:lnTo>
                    <a:pt x="542467" y="314604"/>
                  </a:lnTo>
                  <a:lnTo>
                    <a:pt x="548043" y="266611"/>
                  </a:lnTo>
                  <a:close/>
                </a:path>
                <a:path w="548640" h="786765">
                  <a:moveTo>
                    <a:pt x="548043" y="1079"/>
                  </a:moveTo>
                  <a:lnTo>
                    <a:pt x="500367" y="5105"/>
                  </a:lnTo>
                  <a:lnTo>
                    <a:pt x="455841" y="16764"/>
                  </a:lnTo>
                  <a:lnTo>
                    <a:pt x="414616" y="35369"/>
                  </a:lnTo>
                  <a:lnTo>
                    <a:pt x="377342" y="60236"/>
                  </a:lnTo>
                  <a:lnTo>
                    <a:pt x="344716" y="90703"/>
                  </a:lnTo>
                  <a:lnTo>
                    <a:pt x="317411" y="126085"/>
                  </a:lnTo>
                  <a:lnTo>
                    <a:pt x="296087" y="165709"/>
                  </a:lnTo>
                  <a:lnTo>
                    <a:pt x="281419" y="208902"/>
                  </a:lnTo>
                  <a:lnTo>
                    <a:pt x="274091" y="254990"/>
                  </a:lnTo>
                  <a:lnTo>
                    <a:pt x="266915" y="208724"/>
                  </a:lnTo>
                  <a:lnTo>
                    <a:pt x="252361" y="165354"/>
                  </a:lnTo>
                  <a:lnTo>
                    <a:pt x="231089" y="125552"/>
                  </a:lnTo>
                  <a:lnTo>
                    <a:pt x="203796" y="90017"/>
                  </a:lnTo>
                  <a:lnTo>
                    <a:pt x="171157" y="59423"/>
                  </a:lnTo>
                  <a:lnTo>
                    <a:pt x="133845" y="34442"/>
                  </a:lnTo>
                  <a:lnTo>
                    <a:pt x="92532" y="15760"/>
                  </a:lnTo>
                  <a:lnTo>
                    <a:pt x="47917" y="4051"/>
                  </a:lnTo>
                  <a:lnTo>
                    <a:pt x="0" y="0"/>
                  </a:lnTo>
                  <a:lnTo>
                    <a:pt x="5448" y="48158"/>
                  </a:lnTo>
                  <a:lnTo>
                    <a:pt x="18846" y="93421"/>
                  </a:lnTo>
                  <a:lnTo>
                    <a:pt x="39458" y="135039"/>
                  </a:lnTo>
                  <a:lnTo>
                    <a:pt x="66560" y="172300"/>
                  </a:lnTo>
                  <a:lnTo>
                    <a:pt x="99402" y="204444"/>
                  </a:lnTo>
                  <a:lnTo>
                    <a:pt x="137248" y="230759"/>
                  </a:lnTo>
                  <a:lnTo>
                    <a:pt x="179374" y="250494"/>
                  </a:lnTo>
                  <a:lnTo>
                    <a:pt x="225044" y="262915"/>
                  </a:lnTo>
                  <a:lnTo>
                    <a:pt x="273519" y="267296"/>
                  </a:lnTo>
                  <a:lnTo>
                    <a:pt x="274751" y="267296"/>
                  </a:lnTo>
                  <a:lnTo>
                    <a:pt x="323088" y="262940"/>
                  </a:lnTo>
                  <a:lnTo>
                    <a:pt x="368642" y="250571"/>
                  </a:lnTo>
                  <a:lnTo>
                    <a:pt x="410679" y="230924"/>
                  </a:lnTo>
                  <a:lnTo>
                    <a:pt x="448462" y="204724"/>
                  </a:lnTo>
                  <a:lnTo>
                    <a:pt x="481266" y="172720"/>
                  </a:lnTo>
                  <a:lnTo>
                    <a:pt x="508355" y="135610"/>
                  </a:lnTo>
                  <a:lnTo>
                    <a:pt x="529005" y="94157"/>
                  </a:lnTo>
                  <a:lnTo>
                    <a:pt x="542467" y="49060"/>
                  </a:lnTo>
                  <a:lnTo>
                    <a:pt x="548043" y="1079"/>
                  </a:lnTo>
                  <a:close/>
                </a:path>
                <a:path w="548640" h="786765">
                  <a:moveTo>
                    <a:pt x="548093" y="520192"/>
                  </a:moveTo>
                  <a:lnTo>
                    <a:pt x="500367" y="524205"/>
                  </a:lnTo>
                  <a:lnTo>
                    <a:pt x="455841" y="535863"/>
                  </a:lnTo>
                  <a:lnTo>
                    <a:pt x="414616" y="554469"/>
                  </a:lnTo>
                  <a:lnTo>
                    <a:pt x="377342" y="579335"/>
                  </a:lnTo>
                  <a:lnTo>
                    <a:pt x="344716" y="609790"/>
                  </a:lnTo>
                  <a:lnTo>
                    <a:pt x="317411" y="645160"/>
                  </a:lnTo>
                  <a:lnTo>
                    <a:pt x="296087" y="684784"/>
                  </a:lnTo>
                  <a:lnTo>
                    <a:pt x="281419" y="727976"/>
                  </a:lnTo>
                  <a:lnTo>
                    <a:pt x="274091" y="774065"/>
                  </a:lnTo>
                  <a:lnTo>
                    <a:pt x="266915" y="727811"/>
                  </a:lnTo>
                  <a:lnTo>
                    <a:pt x="252361" y="684441"/>
                  </a:lnTo>
                  <a:lnTo>
                    <a:pt x="231089" y="644639"/>
                  </a:lnTo>
                  <a:lnTo>
                    <a:pt x="203796" y="609104"/>
                  </a:lnTo>
                  <a:lnTo>
                    <a:pt x="171157" y="578510"/>
                  </a:lnTo>
                  <a:lnTo>
                    <a:pt x="133845" y="553529"/>
                  </a:lnTo>
                  <a:lnTo>
                    <a:pt x="92532" y="534847"/>
                  </a:lnTo>
                  <a:lnTo>
                    <a:pt x="47917" y="523113"/>
                  </a:lnTo>
                  <a:lnTo>
                    <a:pt x="0" y="519061"/>
                  </a:lnTo>
                  <a:lnTo>
                    <a:pt x="5448" y="567245"/>
                  </a:lnTo>
                  <a:lnTo>
                    <a:pt x="18846" y="612508"/>
                  </a:lnTo>
                  <a:lnTo>
                    <a:pt x="39458" y="654138"/>
                  </a:lnTo>
                  <a:lnTo>
                    <a:pt x="66548" y="691388"/>
                  </a:lnTo>
                  <a:lnTo>
                    <a:pt x="98704" y="722871"/>
                  </a:lnTo>
                  <a:lnTo>
                    <a:pt x="137248" y="749858"/>
                  </a:lnTo>
                  <a:lnTo>
                    <a:pt x="179374" y="769581"/>
                  </a:lnTo>
                  <a:lnTo>
                    <a:pt x="225044" y="782015"/>
                  </a:lnTo>
                  <a:lnTo>
                    <a:pt x="273519" y="786384"/>
                  </a:lnTo>
                  <a:lnTo>
                    <a:pt x="274751" y="786384"/>
                  </a:lnTo>
                  <a:lnTo>
                    <a:pt x="323088" y="782027"/>
                  </a:lnTo>
                  <a:lnTo>
                    <a:pt x="368642" y="769670"/>
                  </a:lnTo>
                  <a:lnTo>
                    <a:pt x="410679" y="750023"/>
                  </a:lnTo>
                  <a:lnTo>
                    <a:pt x="448462" y="723823"/>
                  </a:lnTo>
                  <a:lnTo>
                    <a:pt x="481266" y="691807"/>
                  </a:lnTo>
                  <a:lnTo>
                    <a:pt x="508393" y="654697"/>
                  </a:lnTo>
                  <a:lnTo>
                    <a:pt x="529043" y="613244"/>
                  </a:lnTo>
                  <a:lnTo>
                    <a:pt x="542518" y="568172"/>
                  </a:lnTo>
                  <a:lnTo>
                    <a:pt x="548093" y="520192"/>
                  </a:lnTo>
                  <a:close/>
                </a:path>
              </a:pathLst>
            </a:custGeom>
            <a:solidFill>
              <a:srgbClr val="2DB7EA"/>
            </a:solidFill>
          </p:spPr>
          <p:txBody>
            <a:bodyPr wrap="square" lIns="0" tIns="0" rIns="0" bIns="0" rtlCol="0"/>
            <a:lstStyle/>
            <a:p>
              <a:endParaRPr dirty="0"/>
            </a:p>
          </p:txBody>
        </p:sp>
        <p:pic>
          <p:nvPicPr>
            <p:cNvPr id="291" name="object 289">
              <a:extLst>
                <a:ext uri="{FF2B5EF4-FFF2-40B4-BE49-F238E27FC236}">
                  <a16:creationId xmlns:a16="http://schemas.microsoft.com/office/drawing/2014/main" id="{6EC03D42-1888-45E2-323F-1594DE7AE2F4}"/>
                </a:ext>
              </a:extLst>
            </p:cNvPr>
            <p:cNvPicPr/>
            <p:nvPr/>
          </p:nvPicPr>
          <p:blipFill>
            <a:blip r:embed="rId5" cstate="print"/>
            <a:stretch>
              <a:fillRect/>
            </a:stretch>
          </p:blipFill>
          <p:spPr>
            <a:xfrm>
              <a:off x="8481461" y="4643430"/>
              <a:ext cx="106445" cy="107156"/>
            </a:xfrm>
            <a:prstGeom prst="rect">
              <a:avLst/>
            </a:prstGeom>
          </p:spPr>
        </p:pic>
        <p:sp>
          <p:nvSpPr>
            <p:cNvPr id="292" name="object 290">
              <a:extLst>
                <a:ext uri="{FF2B5EF4-FFF2-40B4-BE49-F238E27FC236}">
                  <a16:creationId xmlns:a16="http://schemas.microsoft.com/office/drawing/2014/main" id="{5463A671-04D3-9769-7F89-5441629FF265}"/>
                </a:ext>
              </a:extLst>
            </p:cNvPr>
            <p:cNvSpPr/>
            <p:nvPr/>
          </p:nvSpPr>
          <p:spPr>
            <a:xfrm>
              <a:off x="8368808" y="4075252"/>
              <a:ext cx="332700" cy="477101"/>
            </a:xfrm>
            <a:custGeom>
              <a:avLst/>
              <a:gdLst/>
              <a:ahLst/>
              <a:cxnLst/>
              <a:rect l="l" t="t" r="r" b="b"/>
              <a:pathLst>
                <a:path w="548640" h="786765">
                  <a:moveTo>
                    <a:pt x="548043" y="266623"/>
                  </a:moveTo>
                  <a:lnTo>
                    <a:pt x="500367" y="270662"/>
                  </a:lnTo>
                  <a:lnTo>
                    <a:pt x="455841" y="282308"/>
                  </a:lnTo>
                  <a:lnTo>
                    <a:pt x="414616" y="300913"/>
                  </a:lnTo>
                  <a:lnTo>
                    <a:pt x="377342" y="325780"/>
                  </a:lnTo>
                  <a:lnTo>
                    <a:pt x="344716" y="356247"/>
                  </a:lnTo>
                  <a:lnTo>
                    <a:pt x="317411" y="391629"/>
                  </a:lnTo>
                  <a:lnTo>
                    <a:pt x="296087" y="431253"/>
                  </a:lnTo>
                  <a:lnTo>
                    <a:pt x="281419" y="474446"/>
                  </a:lnTo>
                  <a:lnTo>
                    <a:pt x="274091" y="520534"/>
                  </a:lnTo>
                  <a:lnTo>
                    <a:pt x="266915" y="474256"/>
                  </a:lnTo>
                  <a:lnTo>
                    <a:pt x="252361" y="430885"/>
                  </a:lnTo>
                  <a:lnTo>
                    <a:pt x="231089"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74" y="516039"/>
                  </a:lnTo>
                  <a:lnTo>
                    <a:pt x="225044" y="528459"/>
                  </a:lnTo>
                  <a:lnTo>
                    <a:pt x="273519" y="532828"/>
                  </a:lnTo>
                  <a:lnTo>
                    <a:pt x="274751" y="532828"/>
                  </a:lnTo>
                  <a:lnTo>
                    <a:pt x="323088" y="528472"/>
                  </a:lnTo>
                  <a:lnTo>
                    <a:pt x="368642" y="516115"/>
                  </a:lnTo>
                  <a:lnTo>
                    <a:pt x="410679" y="496468"/>
                  </a:lnTo>
                  <a:lnTo>
                    <a:pt x="448462" y="470268"/>
                  </a:lnTo>
                  <a:lnTo>
                    <a:pt x="481266" y="438264"/>
                  </a:lnTo>
                  <a:lnTo>
                    <a:pt x="508355" y="401154"/>
                  </a:lnTo>
                  <a:lnTo>
                    <a:pt x="529005" y="359702"/>
                  </a:lnTo>
                  <a:lnTo>
                    <a:pt x="542467" y="314604"/>
                  </a:lnTo>
                  <a:lnTo>
                    <a:pt x="548043" y="266623"/>
                  </a:lnTo>
                  <a:close/>
                </a:path>
                <a:path w="548640" h="786765">
                  <a:moveTo>
                    <a:pt x="548043" y="1092"/>
                  </a:moveTo>
                  <a:lnTo>
                    <a:pt x="500367" y="5130"/>
                  </a:lnTo>
                  <a:lnTo>
                    <a:pt x="455841" y="16776"/>
                  </a:lnTo>
                  <a:lnTo>
                    <a:pt x="414616" y="35382"/>
                  </a:lnTo>
                  <a:lnTo>
                    <a:pt x="377342" y="60248"/>
                  </a:lnTo>
                  <a:lnTo>
                    <a:pt x="344716" y="90716"/>
                  </a:lnTo>
                  <a:lnTo>
                    <a:pt x="317411" y="126098"/>
                  </a:lnTo>
                  <a:lnTo>
                    <a:pt x="296087" y="165722"/>
                  </a:lnTo>
                  <a:lnTo>
                    <a:pt x="281419" y="208915"/>
                  </a:lnTo>
                  <a:lnTo>
                    <a:pt x="274091" y="255003"/>
                  </a:lnTo>
                  <a:lnTo>
                    <a:pt x="266915" y="208724"/>
                  </a:lnTo>
                  <a:lnTo>
                    <a:pt x="252361" y="165354"/>
                  </a:lnTo>
                  <a:lnTo>
                    <a:pt x="231089" y="125564"/>
                  </a:lnTo>
                  <a:lnTo>
                    <a:pt x="203796" y="90030"/>
                  </a:lnTo>
                  <a:lnTo>
                    <a:pt x="171157" y="59436"/>
                  </a:lnTo>
                  <a:lnTo>
                    <a:pt x="133845" y="34455"/>
                  </a:lnTo>
                  <a:lnTo>
                    <a:pt x="92532" y="15760"/>
                  </a:lnTo>
                  <a:lnTo>
                    <a:pt x="47917" y="4051"/>
                  </a:lnTo>
                  <a:lnTo>
                    <a:pt x="0" y="0"/>
                  </a:lnTo>
                  <a:lnTo>
                    <a:pt x="5448" y="48158"/>
                  </a:lnTo>
                  <a:lnTo>
                    <a:pt x="18846" y="93421"/>
                  </a:lnTo>
                  <a:lnTo>
                    <a:pt x="39458" y="135051"/>
                  </a:lnTo>
                  <a:lnTo>
                    <a:pt x="66560" y="172300"/>
                  </a:lnTo>
                  <a:lnTo>
                    <a:pt x="99402" y="204457"/>
                  </a:lnTo>
                  <a:lnTo>
                    <a:pt x="137248" y="230771"/>
                  </a:lnTo>
                  <a:lnTo>
                    <a:pt x="179374" y="250494"/>
                  </a:lnTo>
                  <a:lnTo>
                    <a:pt x="225044" y="262928"/>
                  </a:lnTo>
                  <a:lnTo>
                    <a:pt x="273519" y="267309"/>
                  </a:lnTo>
                  <a:lnTo>
                    <a:pt x="274751" y="267309"/>
                  </a:lnTo>
                  <a:lnTo>
                    <a:pt x="323088" y="262940"/>
                  </a:lnTo>
                  <a:lnTo>
                    <a:pt x="368642" y="250583"/>
                  </a:lnTo>
                  <a:lnTo>
                    <a:pt x="410679" y="230936"/>
                  </a:lnTo>
                  <a:lnTo>
                    <a:pt x="448462" y="204736"/>
                  </a:lnTo>
                  <a:lnTo>
                    <a:pt x="481266" y="172720"/>
                  </a:lnTo>
                  <a:lnTo>
                    <a:pt x="508355" y="135623"/>
                  </a:lnTo>
                  <a:lnTo>
                    <a:pt x="529005" y="94170"/>
                  </a:lnTo>
                  <a:lnTo>
                    <a:pt x="542467" y="49072"/>
                  </a:lnTo>
                  <a:lnTo>
                    <a:pt x="548043" y="1092"/>
                  </a:lnTo>
                  <a:close/>
                </a:path>
                <a:path w="548640" h="786765">
                  <a:moveTo>
                    <a:pt x="548093" y="520204"/>
                  </a:moveTo>
                  <a:lnTo>
                    <a:pt x="500367" y="524217"/>
                  </a:lnTo>
                  <a:lnTo>
                    <a:pt x="455841" y="535876"/>
                  </a:lnTo>
                  <a:lnTo>
                    <a:pt x="414616" y="554469"/>
                  </a:lnTo>
                  <a:lnTo>
                    <a:pt x="377342" y="579335"/>
                  </a:lnTo>
                  <a:lnTo>
                    <a:pt x="344716" y="609803"/>
                  </a:lnTo>
                  <a:lnTo>
                    <a:pt x="317411" y="645172"/>
                  </a:lnTo>
                  <a:lnTo>
                    <a:pt x="296087" y="684796"/>
                  </a:lnTo>
                  <a:lnTo>
                    <a:pt x="281419" y="727976"/>
                  </a:lnTo>
                  <a:lnTo>
                    <a:pt x="274091" y="774065"/>
                  </a:lnTo>
                  <a:lnTo>
                    <a:pt x="266915" y="727824"/>
                  </a:lnTo>
                  <a:lnTo>
                    <a:pt x="252361" y="684441"/>
                  </a:lnTo>
                  <a:lnTo>
                    <a:pt x="231089"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38"/>
                  </a:lnTo>
                  <a:lnTo>
                    <a:pt x="66548" y="691388"/>
                  </a:lnTo>
                  <a:lnTo>
                    <a:pt x="99402" y="723557"/>
                  </a:lnTo>
                  <a:lnTo>
                    <a:pt x="137248" y="749858"/>
                  </a:lnTo>
                  <a:lnTo>
                    <a:pt x="179374" y="769594"/>
                  </a:lnTo>
                  <a:lnTo>
                    <a:pt x="225044" y="782015"/>
                  </a:lnTo>
                  <a:lnTo>
                    <a:pt x="273519" y="786396"/>
                  </a:lnTo>
                  <a:lnTo>
                    <a:pt x="274751" y="786396"/>
                  </a:lnTo>
                  <a:lnTo>
                    <a:pt x="323088" y="782040"/>
                  </a:lnTo>
                  <a:lnTo>
                    <a:pt x="368642" y="769670"/>
                  </a:lnTo>
                  <a:lnTo>
                    <a:pt x="410679" y="750023"/>
                  </a:lnTo>
                  <a:lnTo>
                    <a:pt x="448462" y="723836"/>
                  </a:lnTo>
                  <a:lnTo>
                    <a:pt x="450062" y="722287"/>
                  </a:lnTo>
                  <a:lnTo>
                    <a:pt x="481266" y="691819"/>
                  </a:lnTo>
                  <a:lnTo>
                    <a:pt x="508393" y="654710"/>
                  </a:lnTo>
                  <a:lnTo>
                    <a:pt x="529043" y="613257"/>
                  </a:lnTo>
                  <a:lnTo>
                    <a:pt x="542518" y="568172"/>
                  </a:lnTo>
                  <a:lnTo>
                    <a:pt x="548093" y="520204"/>
                  </a:lnTo>
                  <a:close/>
                </a:path>
              </a:pathLst>
            </a:custGeom>
            <a:solidFill>
              <a:srgbClr val="7ED3F1"/>
            </a:solidFill>
          </p:spPr>
          <p:txBody>
            <a:bodyPr wrap="square" lIns="0" tIns="0" rIns="0" bIns="0" rtlCol="0"/>
            <a:lstStyle/>
            <a:p>
              <a:endParaRPr dirty="0"/>
            </a:p>
          </p:txBody>
        </p:sp>
        <p:pic>
          <p:nvPicPr>
            <p:cNvPr id="293" name="object 291">
              <a:extLst>
                <a:ext uri="{FF2B5EF4-FFF2-40B4-BE49-F238E27FC236}">
                  <a16:creationId xmlns:a16="http://schemas.microsoft.com/office/drawing/2014/main" id="{B6FED186-A52A-577E-5971-907C6F967EC4}"/>
                </a:ext>
              </a:extLst>
            </p:cNvPr>
            <p:cNvPicPr/>
            <p:nvPr/>
          </p:nvPicPr>
          <p:blipFill>
            <a:blip r:embed="rId6" cstate="print"/>
            <a:stretch>
              <a:fillRect/>
            </a:stretch>
          </p:blipFill>
          <p:spPr>
            <a:xfrm>
              <a:off x="8481461" y="3989263"/>
              <a:ext cx="106445" cy="107156"/>
            </a:xfrm>
            <a:prstGeom prst="rect">
              <a:avLst/>
            </a:prstGeom>
          </p:spPr>
        </p:pic>
        <p:sp>
          <p:nvSpPr>
            <p:cNvPr id="294" name="object 292">
              <a:extLst>
                <a:ext uri="{FF2B5EF4-FFF2-40B4-BE49-F238E27FC236}">
                  <a16:creationId xmlns:a16="http://schemas.microsoft.com/office/drawing/2014/main" id="{841C56D7-6724-4114-0A34-A6C3E9C59C43}"/>
                </a:ext>
              </a:extLst>
            </p:cNvPr>
            <p:cNvSpPr/>
            <p:nvPr/>
          </p:nvSpPr>
          <p:spPr>
            <a:xfrm>
              <a:off x="7983731" y="3862863"/>
              <a:ext cx="332700" cy="477101"/>
            </a:xfrm>
            <a:custGeom>
              <a:avLst/>
              <a:gdLst/>
              <a:ahLst/>
              <a:cxnLst/>
              <a:rect l="l" t="t" r="r" b="b"/>
              <a:pathLst>
                <a:path w="548640" h="786765">
                  <a:moveTo>
                    <a:pt x="548068" y="786396"/>
                  </a:moveTo>
                  <a:lnTo>
                    <a:pt x="542632" y="738238"/>
                  </a:lnTo>
                  <a:lnTo>
                    <a:pt x="529234" y="692975"/>
                  </a:lnTo>
                  <a:lnTo>
                    <a:pt x="508609" y="651344"/>
                  </a:lnTo>
                  <a:lnTo>
                    <a:pt x="481520" y="614083"/>
                  </a:lnTo>
                  <a:lnTo>
                    <a:pt x="448678" y="581939"/>
                  </a:lnTo>
                  <a:lnTo>
                    <a:pt x="410819" y="555625"/>
                  </a:lnTo>
                  <a:lnTo>
                    <a:pt x="368693" y="535889"/>
                  </a:lnTo>
                  <a:lnTo>
                    <a:pt x="323024" y="523468"/>
                  </a:lnTo>
                  <a:lnTo>
                    <a:pt x="274548" y="519099"/>
                  </a:lnTo>
                  <a:lnTo>
                    <a:pt x="273329" y="519099"/>
                  </a:lnTo>
                  <a:lnTo>
                    <a:pt x="224980" y="523455"/>
                  </a:lnTo>
                  <a:lnTo>
                    <a:pt x="179438" y="535813"/>
                  </a:lnTo>
                  <a:lnTo>
                    <a:pt x="137401" y="555459"/>
                  </a:lnTo>
                  <a:lnTo>
                    <a:pt x="99618" y="581660"/>
                  </a:lnTo>
                  <a:lnTo>
                    <a:pt x="66814" y="613664"/>
                  </a:lnTo>
                  <a:lnTo>
                    <a:pt x="39725" y="650773"/>
                  </a:lnTo>
                  <a:lnTo>
                    <a:pt x="19075" y="692226"/>
                  </a:lnTo>
                  <a:lnTo>
                    <a:pt x="5600" y="737323"/>
                  </a:lnTo>
                  <a:lnTo>
                    <a:pt x="38" y="785304"/>
                  </a:lnTo>
                  <a:lnTo>
                    <a:pt x="47713" y="781265"/>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72"/>
                  </a:lnTo>
                  <a:lnTo>
                    <a:pt x="295719" y="621042"/>
                  </a:lnTo>
                  <a:lnTo>
                    <a:pt x="316979" y="660831"/>
                  </a:lnTo>
                  <a:lnTo>
                    <a:pt x="344271" y="696366"/>
                  </a:lnTo>
                  <a:lnTo>
                    <a:pt x="376923" y="726973"/>
                  </a:lnTo>
                  <a:lnTo>
                    <a:pt x="414235" y="751954"/>
                  </a:lnTo>
                  <a:lnTo>
                    <a:pt x="455536" y="770636"/>
                  </a:lnTo>
                  <a:lnTo>
                    <a:pt x="500164" y="782345"/>
                  </a:lnTo>
                  <a:lnTo>
                    <a:pt x="548068" y="786396"/>
                  </a:lnTo>
                  <a:close/>
                </a:path>
                <a:path w="548640" h="786765">
                  <a:moveTo>
                    <a:pt x="548068" y="520865"/>
                  </a:moveTo>
                  <a:lnTo>
                    <a:pt x="542632" y="472706"/>
                  </a:lnTo>
                  <a:lnTo>
                    <a:pt x="529234" y="427443"/>
                  </a:lnTo>
                  <a:lnTo>
                    <a:pt x="508609" y="385813"/>
                  </a:lnTo>
                  <a:lnTo>
                    <a:pt x="481520" y="348564"/>
                  </a:lnTo>
                  <a:lnTo>
                    <a:pt x="448678" y="316407"/>
                  </a:lnTo>
                  <a:lnTo>
                    <a:pt x="410819" y="290106"/>
                  </a:lnTo>
                  <a:lnTo>
                    <a:pt x="368693" y="270370"/>
                  </a:lnTo>
                  <a:lnTo>
                    <a:pt x="323024" y="257949"/>
                  </a:lnTo>
                  <a:lnTo>
                    <a:pt x="274548" y="253568"/>
                  </a:lnTo>
                  <a:lnTo>
                    <a:pt x="273329" y="253568"/>
                  </a:lnTo>
                  <a:lnTo>
                    <a:pt x="224980" y="257924"/>
                  </a:lnTo>
                  <a:lnTo>
                    <a:pt x="179438" y="270294"/>
                  </a:lnTo>
                  <a:lnTo>
                    <a:pt x="137401" y="289941"/>
                  </a:lnTo>
                  <a:lnTo>
                    <a:pt x="99618" y="316128"/>
                  </a:lnTo>
                  <a:lnTo>
                    <a:pt x="66814" y="348145"/>
                  </a:lnTo>
                  <a:lnTo>
                    <a:pt x="39725" y="385241"/>
                  </a:lnTo>
                  <a:lnTo>
                    <a:pt x="19075" y="426707"/>
                  </a:lnTo>
                  <a:lnTo>
                    <a:pt x="5600" y="471792"/>
                  </a:lnTo>
                  <a:lnTo>
                    <a:pt x="38" y="519785"/>
                  </a:lnTo>
                  <a:lnTo>
                    <a:pt x="47713" y="515747"/>
                  </a:lnTo>
                  <a:lnTo>
                    <a:pt x="92227" y="504101"/>
                  </a:lnTo>
                  <a:lnTo>
                    <a:pt x="133464" y="485495"/>
                  </a:lnTo>
                  <a:lnTo>
                    <a:pt x="170726" y="460629"/>
                  </a:lnTo>
                  <a:lnTo>
                    <a:pt x="203352" y="430161"/>
                  </a:lnTo>
                  <a:lnTo>
                    <a:pt x="230670" y="394779"/>
                  </a:lnTo>
                  <a:lnTo>
                    <a:pt x="251993" y="355142"/>
                  </a:lnTo>
                  <a:lnTo>
                    <a:pt x="266649" y="311950"/>
                  </a:lnTo>
                  <a:lnTo>
                    <a:pt x="273989" y="265874"/>
                  </a:lnTo>
                  <a:lnTo>
                    <a:pt x="281165" y="312140"/>
                  </a:lnTo>
                  <a:lnTo>
                    <a:pt x="295719" y="355511"/>
                  </a:lnTo>
                  <a:lnTo>
                    <a:pt x="316979" y="395300"/>
                  </a:lnTo>
                  <a:lnTo>
                    <a:pt x="344271" y="430847"/>
                  </a:lnTo>
                  <a:lnTo>
                    <a:pt x="376923" y="461441"/>
                  </a:lnTo>
                  <a:lnTo>
                    <a:pt x="414235" y="486422"/>
                  </a:lnTo>
                  <a:lnTo>
                    <a:pt x="455536" y="505104"/>
                  </a:lnTo>
                  <a:lnTo>
                    <a:pt x="500164" y="516813"/>
                  </a:lnTo>
                  <a:lnTo>
                    <a:pt x="548068" y="520865"/>
                  </a:lnTo>
                  <a:close/>
                </a:path>
                <a:path w="548640" h="786765">
                  <a:moveTo>
                    <a:pt x="548081" y="267322"/>
                  </a:moveTo>
                  <a:lnTo>
                    <a:pt x="543242" y="224586"/>
                  </a:lnTo>
                  <a:lnTo>
                    <a:pt x="542632" y="219151"/>
                  </a:lnTo>
                  <a:lnTo>
                    <a:pt x="529234" y="173888"/>
                  </a:lnTo>
                  <a:lnTo>
                    <a:pt x="522401" y="160096"/>
                  </a:lnTo>
                  <a:lnTo>
                    <a:pt x="508622" y="132257"/>
                  </a:lnTo>
                  <a:lnTo>
                    <a:pt x="481533" y="95008"/>
                  </a:lnTo>
                  <a:lnTo>
                    <a:pt x="480834" y="94335"/>
                  </a:lnTo>
                  <a:lnTo>
                    <a:pt x="448691" y="62852"/>
                  </a:lnTo>
                  <a:lnTo>
                    <a:pt x="422376" y="44577"/>
                  </a:lnTo>
                  <a:lnTo>
                    <a:pt x="410832" y="36550"/>
                  </a:lnTo>
                  <a:lnTo>
                    <a:pt x="368693" y="16802"/>
                  </a:lnTo>
                  <a:lnTo>
                    <a:pt x="323024" y="4381"/>
                  </a:lnTo>
                  <a:lnTo>
                    <a:pt x="274548" y="0"/>
                  </a:lnTo>
                  <a:lnTo>
                    <a:pt x="273329" y="0"/>
                  </a:lnTo>
                  <a:lnTo>
                    <a:pt x="224980" y="4356"/>
                  </a:lnTo>
                  <a:lnTo>
                    <a:pt x="179438" y="16725"/>
                  </a:lnTo>
                  <a:lnTo>
                    <a:pt x="137401" y="36372"/>
                  </a:lnTo>
                  <a:lnTo>
                    <a:pt x="99618" y="62560"/>
                  </a:lnTo>
                  <a:lnTo>
                    <a:pt x="98018" y="64122"/>
                  </a:lnTo>
                  <a:lnTo>
                    <a:pt x="66814" y="94576"/>
                  </a:lnTo>
                  <a:lnTo>
                    <a:pt x="39687" y="131686"/>
                  </a:lnTo>
                  <a:lnTo>
                    <a:pt x="19037" y="173139"/>
                  </a:lnTo>
                  <a:lnTo>
                    <a:pt x="5562" y="218224"/>
                  </a:lnTo>
                  <a:lnTo>
                    <a:pt x="0" y="266192"/>
                  </a:lnTo>
                  <a:lnTo>
                    <a:pt x="47713" y="262178"/>
                  </a:lnTo>
                  <a:lnTo>
                    <a:pt x="92227" y="250520"/>
                  </a:lnTo>
                  <a:lnTo>
                    <a:pt x="133464" y="231927"/>
                  </a:lnTo>
                  <a:lnTo>
                    <a:pt x="170738" y="207060"/>
                  </a:lnTo>
                  <a:lnTo>
                    <a:pt x="203365" y="176593"/>
                  </a:lnTo>
                  <a:lnTo>
                    <a:pt x="230670" y="141224"/>
                  </a:lnTo>
                  <a:lnTo>
                    <a:pt x="251993" y="101600"/>
                  </a:lnTo>
                  <a:lnTo>
                    <a:pt x="266661" y="58420"/>
                  </a:lnTo>
                  <a:lnTo>
                    <a:pt x="273989" y="12331"/>
                  </a:lnTo>
                  <a:lnTo>
                    <a:pt x="281165" y="58585"/>
                  </a:lnTo>
                  <a:lnTo>
                    <a:pt x="295719" y="101955"/>
                  </a:lnTo>
                  <a:lnTo>
                    <a:pt x="316979" y="141744"/>
                  </a:lnTo>
                  <a:lnTo>
                    <a:pt x="344271" y="177279"/>
                  </a:lnTo>
                  <a:lnTo>
                    <a:pt x="360070" y="192087"/>
                  </a:lnTo>
                  <a:lnTo>
                    <a:pt x="376923" y="207886"/>
                  </a:lnTo>
                  <a:lnTo>
                    <a:pt x="414235" y="232867"/>
                  </a:lnTo>
                  <a:lnTo>
                    <a:pt x="455549" y="251561"/>
                  </a:lnTo>
                  <a:lnTo>
                    <a:pt x="500164" y="263271"/>
                  </a:lnTo>
                  <a:lnTo>
                    <a:pt x="548081" y="267322"/>
                  </a:lnTo>
                  <a:close/>
                </a:path>
              </a:pathLst>
            </a:custGeom>
            <a:solidFill>
              <a:srgbClr val="2DB7EA"/>
            </a:solidFill>
          </p:spPr>
          <p:txBody>
            <a:bodyPr wrap="square" lIns="0" tIns="0" rIns="0" bIns="0" rtlCol="0"/>
            <a:lstStyle/>
            <a:p>
              <a:endParaRPr dirty="0"/>
            </a:p>
          </p:txBody>
        </p:sp>
        <p:pic>
          <p:nvPicPr>
            <p:cNvPr id="295" name="object 293">
              <a:extLst>
                <a:ext uri="{FF2B5EF4-FFF2-40B4-BE49-F238E27FC236}">
                  <a16:creationId xmlns:a16="http://schemas.microsoft.com/office/drawing/2014/main" id="{97AA9DAC-3DA3-770A-1FAF-A194CBD65A2B}"/>
                </a:ext>
              </a:extLst>
            </p:cNvPr>
            <p:cNvPicPr/>
            <p:nvPr/>
          </p:nvPicPr>
          <p:blipFill>
            <a:blip r:embed="rId16" cstate="print"/>
            <a:stretch>
              <a:fillRect/>
            </a:stretch>
          </p:blipFill>
          <p:spPr>
            <a:xfrm>
              <a:off x="8096998" y="4318566"/>
              <a:ext cx="106445" cy="107156"/>
            </a:xfrm>
            <a:prstGeom prst="rect">
              <a:avLst/>
            </a:prstGeom>
          </p:spPr>
        </p:pic>
        <p:sp>
          <p:nvSpPr>
            <p:cNvPr id="296" name="object 294">
              <a:extLst>
                <a:ext uri="{FF2B5EF4-FFF2-40B4-BE49-F238E27FC236}">
                  <a16:creationId xmlns:a16="http://schemas.microsoft.com/office/drawing/2014/main" id="{0CC7A45A-73A7-794F-C12A-6750254CA324}"/>
                </a:ext>
              </a:extLst>
            </p:cNvPr>
            <p:cNvSpPr/>
            <p:nvPr/>
          </p:nvSpPr>
          <p:spPr>
            <a:xfrm>
              <a:off x="7983731" y="4517034"/>
              <a:ext cx="332700" cy="477101"/>
            </a:xfrm>
            <a:custGeom>
              <a:avLst/>
              <a:gdLst/>
              <a:ahLst/>
              <a:cxnLst/>
              <a:rect l="l" t="t" r="r" b="b"/>
              <a:pathLst>
                <a:path w="548640" h="786765">
                  <a:moveTo>
                    <a:pt x="548068" y="786384"/>
                  </a:moveTo>
                  <a:lnTo>
                    <a:pt x="542632" y="738225"/>
                  </a:lnTo>
                  <a:lnTo>
                    <a:pt x="529234" y="692962"/>
                  </a:lnTo>
                  <a:lnTo>
                    <a:pt x="508609" y="651332"/>
                  </a:lnTo>
                  <a:lnTo>
                    <a:pt x="481520" y="614083"/>
                  </a:lnTo>
                  <a:lnTo>
                    <a:pt x="448678" y="581926"/>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47"/>
                  </a:lnTo>
                  <a:lnTo>
                    <a:pt x="66814" y="613664"/>
                  </a:lnTo>
                  <a:lnTo>
                    <a:pt x="39725" y="650760"/>
                  </a:lnTo>
                  <a:lnTo>
                    <a:pt x="19075" y="692226"/>
                  </a:lnTo>
                  <a:lnTo>
                    <a:pt x="5600" y="737323"/>
                  </a:lnTo>
                  <a:lnTo>
                    <a:pt x="38" y="785304"/>
                  </a:lnTo>
                  <a:lnTo>
                    <a:pt x="47713" y="781265"/>
                  </a:lnTo>
                  <a:lnTo>
                    <a:pt x="92227" y="769620"/>
                  </a:lnTo>
                  <a:lnTo>
                    <a:pt x="133464" y="751014"/>
                  </a:lnTo>
                  <a:lnTo>
                    <a:pt x="170726" y="726147"/>
                  </a:lnTo>
                  <a:lnTo>
                    <a:pt x="203352" y="695680"/>
                  </a:lnTo>
                  <a:lnTo>
                    <a:pt x="230670" y="660298"/>
                  </a:lnTo>
                  <a:lnTo>
                    <a:pt x="251993" y="620674"/>
                  </a:lnTo>
                  <a:lnTo>
                    <a:pt x="266649" y="577469"/>
                  </a:lnTo>
                  <a:lnTo>
                    <a:pt x="273989" y="531393"/>
                  </a:lnTo>
                  <a:lnTo>
                    <a:pt x="281165" y="577659"/>
                  </a:lnTo>
                  <a:lnTo>
                    <a:pt x="295719" y="621030"/>
                  </a:lnTo>
                  <a:lnTo>
                    <a:pt x="316979" y="660831"/>
                  </a:lnTo>
                  <a:lnTo>
                    <a:pt x="344271" y="696366"/>
                  </a:lnTo>
                  <a:lnTo>
                    <a:pt x="376923" y="726960"/>
                  </a:lnTo>
                  <a:lnTo>
                    <a:pt x="414235" y="751941"/>
                  </a:lnTo>
                  <a:lnTo>
                    <a:pt x="455536" y="770623"/>
                  </a:lnTo>
                  <a:lnTo>
                    <a:pt x="500164" y="782332"/>
                  </a:lnTo>
                  <a:lnTo>
                    <a:pt x="548068" y="786384"/>
                  </a:lnTo>
                  <a:close/>
                </a:path>
                <a:path w="548640" h="786765">
                  <a:moveTo>
                    <a:pt x="548068" y="520852"/>
                  </a:moveTo>
                  <a:lnTo>
                    <a:pt x="542632" y="472694"/>
                  </a:lnTo>
                  <a:lnTo>
                    <a:pt x="529234" y="427431"/>
                  </a:lnTo>
                  <a:lnTo>
                    <a:pt x="508609" y="385813"/>
                  </a:lnTo>
                  <a:lnTo>
                    <a:pt x="481520" y="348551"/>
                  </a:lnTo>
                  <a:lnTo>
                    <a:pt x="448678" y="316407"/>
                  </a:lnTo>
                  <a:lnTo>
                    <a:pt x="410819" y="290093"/>
                  </a:lnTo>
                  <a:lnTo>
                    <a:pt x="368693" y="270357"/>
                  </a:lnTo>
                  <a:lnTo>
                    <a:pt x="323024" y="257937"/>
                  </a:lnTo>
                  <a:lnTo>
                    <a:pt x="274548" y="253555"/>
                  </a:lnTo>
                  <a:lnTo>
                    <a:pt x="273329" y="253555"/>
                  </a:lnTo>
                  <a:lnTo>
                    <a:pt x="224980" y="257911"/>
                  </a:lnTo>
                  <a:lnTo>
                    <a:pt x="179438" y="270281"/>
                  </a:lnTo>
                  <a:lnTo>
                    <a:pt x="137401" y="289928"/>
                  </a:lnTo>
                  <a:lnTo>
                    <a:pt x="99618" y="316128"/>
                  </a:lnTo>
                  <a:lnTo>
                    <a:pt x="66814" y="348132"/>
                  </a:lnTo>
                  <a:lnTo>
                    <a:pt x="39725" y="385241"/>
                  </a:lnTo>
                  <a:lnTo>
                    <a:pt x="19075" y="426694"/>
                  </a:lnTo>
                  <a:lnTo>
                    <a:pt x="5600" y="471779"/>
                  </a:lnTo>
                  <a:lnTo>
                    <a:pt x="38" y="519772"/>
                  </a:lnTo>
                  <a:lnTo>
                    <a:pt x="47713" y="515734"/>
                  </a:lnTo>
                  <a:lnTo>
                    <a:pt x="92227" y="504075"/>
                  </a:lnTo>
                  <a:lnTo>
                    <a:pt x="133464" y="485482"/>
                  </a:lnTo>
                  <a:lnTo>
                    <a:pt x="170726" y="460616"/>
                  </a:lnTo>
                  <a:lnTo>
                    <a:pt x="203352" y="430149"/>
                  </a:lnTo>
                  <a:lnTo>
                    <a:pt x="230670" y="394766"/>
                  </a:lnTo>
                  <a:lnTo>
                    <a:pt x="251993" y="355142"/>
                  </a:lnTo>
                  <a:lnTo>
                    <a:pt x="266649" y="311950"/>
                  </a:lnTo>
                  <a:lnTo>
                    <a:pt x="273989" y="265861"/>
                  </a:lnTo>
                  <a:lnTo>
                    <a:pt x="281165" y="312127"/>
                  </a:lnTo>
                  <a:lnTo>
                    <a:pt x="295719" y="355511"/>
                  </a:lnTo>
                  <a:lnTo>
                    <a:pt x="316979" y="395300"/>
                  </a:lnTo>
                  <a:lnTo>
                    <a:pt x="344271" y="430834"/>
                  </a:lnTo>
                  <a:lnTo>
                    <a:pt x="376923" y="461429"/>
                  </a:lnTo>
                  <a:lnTo>
                    <a:pt x="414235" y="486410"/>
                  </a:lnTo>
                  <a:lnTo>
                    <a:pt x="455536" y="505091"/>
                  </a:lnTo>
                  <a:lnTo>
                    <a:pt x="500164" y="516801"/>
                  </a:lnTo>
                  <a:lnTo>
                    <a:pt x="548068" y="520852"/>
                  </a:lnTo>
                  <a:close/>
                </a:path>
                <a:path w="548640" h="786765">
                  <a:moveTo>
                    <a:pt x="548081" y="267322"/>
                  </a:moveTo>
                  <a:lnTo>
                    <a:pt x="543318" y="225285"/>
                  </a:lnTo>
                  <a:lnTo>
                    <a:pt x="542632" y="219151"/>
                  </a:lnTo>
                  <a:lnTo>
                    <a:pt x="529234" y="173875"/>
                  </a:lnTo>
                  <a:lnTo>
                    <a:pt x="508622" y="132245"/>
                  </a:lnTo>
                  <a:lnTo>
                    <a:pt x="481533" y="94996"/>
                  </a:lnTo>
                  <a:lnTo>
                    <a:pt x="449376" y="63525"/>
                  </a:lnTo>
                  <a:lnTo>
                    <a:pt x="448691" y="62852"/>
                  </a:lnTo>
                  <a:lnTo>
                    <a:pt x="437134" y="54825"/>
                  </a:lnTo>
                  <a:lnTo>
                    <a:pt x="410832" y="36537"/>
                  </a:lnTo>
                  <a:lnTo>
                    <a:pt x="391096" y="27305"/>
                  </a:lnTo>
                  <a:lnTo>
                    <a:pt x="368706" y="16814"/>
                  </a:lnTo>
                  <a:lnTo>
                    <a:pt x="323024" y="4368"/>
                  </a:lnTo>
                  <a:lnTo>
                    <a:pt x="274548" y="0"/>
                  </a:lnTo>
                  <a:lnTo>
                    <a:pt x="273329" y="0"/>
                  </a:lnTo>
                  <a:lnTo>
                    <a:pt x="224980" y="4356"/>
                  </a:lnTo>
                  <a:lnTo>
                    <a:pt x="179438" y="16725"/>
                  </a:lnTo>
                  <a:lnTo>
                    <a:pt x="137401" y="36372"/>
                  </a:lnTo>
                  <a:lnTo>
                    <a:pt x="120650" y="47980"/>
                  </a:lnTo>
                  <a:lnTo>
                    <a:pt x="99618" y="62560"/>
                  </a:lnTo>
                  <a:lnTo>
                    <a:pt x="66814" y="94576"/>
                  </a:lnTo>
                  <a:lnTo>
                    <a:pt x="39687" y="131686"/>
                  </a:lnTo>
                  <a:lnTo>
                    <a:pt x="19037" y="173139"/>
                  </a:lnTo>
                  <a:lnTo>
                    <a:pt x="5562" y="218211"/>
                  </a:lnTo>
                  <a:lnTo>
                    <a:pt x="0" y="266192"/>
                  </a:lnTo>
                  <a:lnTo>
                    <a:pt x="47713" y="262166"/>
                  </a:lnTo>
                  <a:lnTo>
                    <a:pt x="92227" y="250520"/>
                  </a:lnTo>
                  <a:lnTo>
                    <a:pt x="133464" y="231914"/>
                  </a:lnTo>
                  <a:lnTo>
                    <a:pt x="170738" y="207048"/>
                  </a:lnTo>
                  <a:lnTo>
                    <a:pt x="203365" y="176593"/>
                  </a:lnTo>
                  <a:lnTo>
                    <a:pt x="230670" y="141211"/>
                  </a:lnTo>
                  <a:lnTo>
                    <a:pt x="251993" y="101600"/>
                  </a:lnTo>
                  <a:lnTo>
                    <a:pt x="266661" y="58407"/>
                  </a:lnTo>
                  <a:lnTo>
                    <a:pt x="273989" y="12319"/>
                  </a:lnTo>
                  <a:lnTo>
                    <a:pt x="281165" y="58585"/>
                  </a:lnTo>
                  <a:lnTo>
                    <a:pt x="295719" y="101942"/>
                  </a:lnTo>
                  <a:lnTo>
                    <a:pt x="316979" y="141732"/>
                  </a:lnTo>
                  <a:lnTo>
                    <a:pt x="344271" y="177266"/>
                  </a:lnTo>
                  <a:lnTo>
                    <a:pt x="376923" y="207873"/>
                  </a:lnTo>
                  <a:lnTo>
                    <a:pt x="414235" y="232867"/>
                  </a:lnTo>
                  <a:lnTo>
                    <a:pt x="455549" y="251548"/>
                  </a:lnTo>
                  <a:lnTo>
                    <a:pt x="500164" y="263258"/>
                  </a:lnTo>
                  <a:lnTo>
                    <a:pt x="548081" y="267322"/>
                  </a:lnTo>
                  <a:close/>
                </a:path>
              </a:pathLst>
            </a:custGeom>
            <a:solidFill>
              <a:srgbClr val="7ED3F1"/>
            </a:solidFill>
          </p:spPr>
          <p:txBody>
            <a:bodyPr wrap="square" lIns="0" tIns="0" rIns="0" bIns="0" rtlCol="0"/>
            <a:lstStyle/>
            <a:p>
              <a:endParaRPr dirty="0"/>
            </a:p>
          </p:txBody>
        </p:sp>
        <p:pic>
          <p:nvPicPr>
            <p:cNvPr id="297" name="object 295">
              <a:extLst>
                <a:ext uri="{FF2B5EF4-FFF2-40B4-BE49-F238E27FC236}">
                  <a16:creationId xmlns:a16="http://schemas.microsoft.com/office/drawing/2014/main" id="{56C35CE7-FE7E-33F9-346E-E642D5B70479}"/>
                </a:ext>
              </a:extLst>
            </p:cNvPr>
            <p:cNvPicPr/>
            <p:nvPr/>
          </p:nvPicPr>
          <p:blipFill>
            <a:blip r:embed="rId17" cstate="print"/>
            <a:stretch>
              <a:fillRect/>
            </a:stretch>
          </p:blipFill>
          <p:spPr>
            <a:xfrm>
              <a:off x="8096998" y="4972731"/>
              <a:ext cx="106445" cy="107156"/>
            </a:xfrm>
            <a:prstGeom prst="rect">
              <a:avLst/>
            </a:prstGeom>
          </p:spPr>
        </p:pic>
        <p:sp>
          <p:nvSpPr>
            <p:cNvPr id="298" name="object 296">
              <a:extLst>
                <a:ext uri="{FF2B5EF4-FFF2-40B4-BE49-F238E27FC236}">
                  <a16:creationId xmlns:a16="http://schemas.microsoft.com/office/drawing/2014/main" id="{9607CFB7-C2D2-65FA-420B-8B64989FB3B8}"/>
                </a:ext>
              </a:extLst>
            </p:cNvPr>
            <p:cNvSpPr/>
            <p:nvPr/>
          </p:nvSpPr>
          <p:spPr>
            <a:xfrm>
              <a:off x="7983731" y="2554529"/>
              <a:ext cx="332700" cy="477101"/>
            </a:xfrm>
            <a:custGeom>
              <a:avLst/>
              <a:gdLst/>
              <a:ahLst/>
              <a:cxnLst/>
              <a:rect l="l" t="t" r="r" b="b"/>
              <a:pathLst>
                <a:path w="548640" h="786764">
                  <a:moveTo>
                    <a:pt x="548068" y="786396"/>
                  </a:moveTo>
                  <a:lnTo>
                    <a:pt x="542632" y="738238"/>
                  </a:lnTo>
                  <a:lnTo>
                    <a:pt x="529234" y="692975"/>
                  </a:lnTo>
                  <a:lnTo>
                    <a:pt x="508609" y="651344"/>
                  </a:lnTo>
                  <a:lnTo>
                    <a:pt x="481520" y="614095"/>
                  </a:lnTo>
                  <a:lnTo>
                    <a:pt x="448678" y="581939"/>
                  </a:lnTo>
                  <a:lnTo>
                    <a:pt x="410819" y="555625"/>
                  </a:lnTo>
                  <a:lnTo>
                    <a:pt x="368693" y="535901"/>
                  </a:lnTo>
                  <a:lnTo>
                    <a:pt x="323024" y="523468"/>
                  </a:lnTo>
                  <a:lnTo>
                    <a:pt x="274548" y="519099"/>
                  </a:lnTo>
                  <a:lnTo>
                    <a:pt x="273329" y="519099"/>
                  </a:lnTo>
                  <a:lnTo>
                    <a:pt x="224980" y="523455"/>
                  </a:lnTo>
                  <a:lnTo>
                    <a:pt x="179438" y="535813"/>
                  </a:lnTo>
                  <a:lnTo>
                    <a:pt x="137401" y="555459"/>
                  </a:lnTo>
                  <a:lnTo>
                    <a:pt x="99618" y="581660"/>
                  </a:lnTo>
                  <a:lnTo>
                    <a:pt x="66814" y="613676"/>
                  </a:lnTo>
                  <a:lnTo>
                    <a:pt x="39725" y="650773"/>
                  </a:lnTo>
                  <a:lnTo>
                    <a:pt x="19075" y="692238"/>
                  </a:lnTo>
                  <a:lnTo>
                    <a:pt x="5600" y="737323"/>
                  </a:lnTo>
                  <a:lnTo>
                    <a:pt x="38" y="785317"/>
                  </a:lnTo>
                  <a:lnTo>
                    <a:pt x="47713" y="781278"/>
                  </a:lnTo>
                  <a:lnTo>
                    <a:pt x="92227" y="769632"/>
                  </a:lnTo>
                  <a:lnTo>
                    <a:pt x="133464" y="751027"/>
                  </a:lnTo>
                  <a:lnTo>
                    <a:pt x="170726" y="726160"/>
                  </a:lnTo>
                  <a:lnTo>
                    <a:pt x="203352" y="695693"/>
                  </a:lnTo>
                  <a:lnTo>
                    <a:pt x="230670" y="660311"/>
                  </a:lnTo>
                  <a:lnTo>
                    <a:pt x="251993" y="620687"/>
                  </a:lnTo>
                  <a:lnTo>
                    <a:pt x="266649" y="577481"/>
                  </a:lnTo>
                  <a:lnTo>
                    <a:pt x="273989" y="531406"/>
                  </a:lnTo>
                  <a:lnTo>
                    <a:pt x="281165" y="577672"/>
                  </a:lnTo>
                  <a:lnTo>
                    <a:pt x="295719" y="621042"/>
                  </a:lnTo>
                  <a:lnTo>
                    <a:pt x="316979" y="660844"/>
                  </a:lnTo>
                  <a:lnTo>
                    <a:pt x="344271" y="696379"/>
                  </a:lnTo>
                  <a:lnTo>
                    <a:pt x="376923" y="726973"/>
                  </a:lnTo>
                  <a:lnTo>
                    <a:pt x="414235" y="751954"/>
                  </a:lnTo>
                  <a:lnTo>
                    <a:pt x="455536" y="770636"/>
                  </a:lnTo>
                  <a:lnTo>
                    <a:pt x="500164" y="782345"/>
                  </a:lnTo>
                  <a:lnTo>
                    <a:pt x="548068" y="786396"/>
                  </a:lnTo>
                  <a:close/>
                </a:path>
                <a:path w="548640" h="786764">
                  <a:moveTo>
                    <a:pt x="548068" y="520865"/>
                  </a:moveTo>
                  <a:lnTo>
                    <a:pt x="542632" y="472706"/>
                  </a:lnTo>
                  <a:lnTo>
                    <a:pt x="529234" y="427443"/>
                  </a:lnTo>
                  <a:lnTo>
                    <a:pt x="508609" y="385813"/>
                  </a:lnTo>
                  <a:lnTo>
                    <a:pt x="481520" y="348564"/>
                  </a:lnTo>
                  <a:lnTo>
                    <a:pt x="448678" y="316407"/>
                  </a:lnTo>
                  <a:lnTo>
                    <a:pt x="410819" y="290106"/>
                  </a:lnTo>
                  <a:lnTo>
                    <a:pt x="368693" y="270370"/>
                  </a:lnTo>
                  <a:lnTo>
                    <a:pt x="323024" y="257949"/>
                  </a:lnTo>
                  <a:lnTo>
                    <a:pt x="274548" y="253568"/>
                  </a:lnTo>
                  <a:lnTo>
                    <a:pt x="273329" y="253568"/>
                  </a:lnTo>
                  <a:lnTo>
                    <a:pt x="224980" y="257924"/>
                  </a:lnTo>
                  <a:lnTo>
                    <a:pt x="179438" y="270294"/>
                  </a:lnTo>
                  <a:lnTo>
                    <a:pt x="137401" y="289941"/>
                  </a:lnTo>
                  <a:lnTo>
                    <a:pt x="99618" y="316128"/>
                  </a:lnTo>
                  <a:lnTo>
                    <a:pt x="66814" y="348145"/>
                  </a:lnTo>
                  <a:lnTo>
                    <a:pt x="39725" y="385254"/>
                  </a:lnTo>
                  <a:lnTo>
                    <a:pt x="19075" y="426707"/>
                  </a:lnTo>
                  <a:lnTo>
                    <a:pt x="5600" y="471805"/>
                  </a:lnTo>
                  <a:lnTo>
                    <a:pt x="38" y="519785"/>
                  </a:lnTo>
                  <a:lnTo>
                    <a:pt x="47713" y="515759"/>
                  </a:lnTo>
                  <a:lnTo>
                    <a:pt x="92227" y="504101"/>
                  </a:lnTo>
                  <a:lnTo>
                    <a:pt x="133464" y="485495"/>
                  </a:lnTo>
                  <a:lnTo>
                    <a:pt x="170726" y="460629"/>
                  </a:lnTo>
                  <a:lnTo>
                    <a:pt x="203352" y="430161"/>
                  </a:lnTo>
                  <a:lnTo>
                    <a:pt x="230670" y="394779"/>
                  </a:lnTo>
                  <a:lnTo>
                    <a:pt x="251993" y="355155"/>
                  </a:lnTo>
                  <a:lnTo>
                    <a:pt x="266649" y="311962"/>
                  </a:lnTo>
                  <a:lnTo>
                    <a:pt x="273989" y="265874"/>
                  </a:lnTo>
                  <a:lnTo>
                    <a:pt x="281165" y="312140"/>
                  </a:lnTo>
                  <a:lnTo>
                    <a:pt x="295719" y="355511"/>
                  </a:lnTo>
                  <a:lnTo>
                    <a:pt x="316979" y="395312"/>
                  </a:lnTo>
                  <a:lnTo>
                    <a:pt x="344271" y="430847"/>
                  </a:lnTo>
                  <a:lnTo>
                    <a:pt x="376923" y="461441"/>
                  </a:lnTo>
                  <a:lnTo>
                    <a:pt x="414235" y="486422"/>
                  </a:lnTo>
                  <a:lnTo>
                    <a:pt x="455536" y="505104"/>
                  </a:lnTo>
                  <a:lnTo>
                    <a:pt x="500164" y="516813"/>
                  </a:lnTo>
                  <a:lnTo>
                    <a:pt x="548068" y="520865"/>
                  </a:lnTo>
                  <a:close/>
                </a:path>
                <a:path w="548640" h="786764">
                  <a:moveTo>
                    <a:pt x="548081" y="267335"/>
                  </a:moveTo>
                  <a:lnTo>
                    <a:pt x="543852" y="230035"/>
                  </a:lnTo>
                  <a:lnTo>
                    <a:pt x="542632" y="219163"/>
                  </a:lnTo>
                  <a:lnTo>
                    <a:pt x="529234" y="173888"/>
                  </a:lnTo>
                  <a:lnTo>
                    <a:pt x="508622" y="132257"/>
                  </a:lnTo>
                  <a:lnTo>
                    <a:pt x="481533" y="95008"/>
                  </a:lnTo>
                  <a:lnTo>
                    <a:pt x="448691" y="62865"/>
                  </a:lnTo>
                  <a:lnTo>
                    <a:pt x="410832" y="36563"/>
                  </a:lnTo>
                  <a:lnTo>
                    <a:pt x="368693" y="16802"/>
                  </a:lnTo>
                  <a:lnTo>
                    <a:pt x="323024" y="4381"/>
                  </a:lnTo>
                  <a:lnTo>
                    <a:pt x="274548" y="0"/>
                  </a:lnTo>
                  <a:lnTo>
                    <a:pt x="273329" y="0"/>
                  </a:lnTo>
                  <a:lnTo>
                    <a:pt x="224980" y="4356"/>
                  </a:lnTo>
                  <a:lnTo>
                    <a:pt x="179438" y="16725"/>
                  </a:lnTo>
                  <a:lnTo>
                    <a:pt x="137401" y="36372"/>
                  </a:lnTo>
                  <a:lnTo>
                    <a:pt x="99618" y="62572"/>
                  </a:lnTo>
                  <a:lnTo>
                    <a:pt x="66814" y="94576"/>
                  </a:lnTo>
                  <a:lnTo>
                    <a:pt x="39687" y="131699"/>
                  </a:lnTo>
                  <a:lnTo>
                    <a:pt x="19037" y="173151"/>
                  </a:lnTo>
                  <a:lnTo>
                    <a:pt x="5562" y="218224"/>
                  </a:lnTo>
                  <a:lnTo>
                    <a:pt x="0" y="266204"/>
                  </a:lnTo>
                  <a:lnTo>
                    <a:pt x="47713" y="262191"/>
                  </a:lnTo>
                  <a:lnTo>
                    <a:pt x="92227" y="250532"/>
                  </a:lnTo>
                  <a:lnTo>
                    <a:pt x="133464" y="231940"/>
                  </a:lnTo>
                  <a:lnTo>
                    <a:pt x="161404" y="213283"/>
                  </a:lnTo>
                  <a:lnTo>
                    <a:pt x="170738" y="207060"/>
                  </a:lnTo>
                  <a:lnTo>
                    <a:pt x="203365" y="176606"/>
                  </a:lnTo>
                  <a:lnTo>
                    <a:pt x="230670" y="141224"/>
                  </a:lnTo>
                  <a:lnTo>
                    <a:pt x="251993" y="101612"/>
                  </a:lnTo>
                  <a:lnTo>
                    <a:pt x="266661" y="58420"/>
                  </a:lnTo>
                  <a:lnTo>
                    <a:pt x="273989" y="12331"/>
                  </a:lnTo>
                  <a:lnTo>
                    <a:pt x="281165" y="58597"/>
                  </a:lnTo>
                  <a:lnTo>
                    <a:pt x="295719" y="101955"/>
                  </a:lnTo>
                  <a:lnTo>
                    <a:pt x="316979" y="141744"/>
                  </a:lnTo>
                  <a:lnTo>
                    <a:pt x="344271" y="177279"/>
                  </a:lnTo>
                  <a:lnTo>
                    <a:pt x="360070" y="192087"/>
                  </a:lnTo>
                  <a:lnTo>
                    <a:pt x="376923" y="207886"/>
                  </a:lnTo>
                  <a:lnTo>
                    <a:pt x="414235" y="232867"/>
                  </a:lnTo>
                  <a:lnTo>
                    <a:pt x="455549" y="251561"/>
                  </a:lnTo>
                  <a:lnTo>
                    <a:pt x="500164" y="263271"/>
                  </a:lnTo>
                  <a:lnTo>
                    <a:pt x="548081" y="267335"/>
                  </a:lnTo>
                  <a:close/>
                </a:path>
              </a:pathLst>
            </a:custGeom>
            <a:solidFill>
              <a:srgbClr val="2DB7EA"/>
            </a:solidFill>
          </p:spPr>
          <p:txBody>
            <a:bodyPr wrap="square" lIns="0" tIns="0" rIns="0" bIns="0" rtlCol="0"/>
            <a:lstStyle/>
            <a:p>
              <a:endParaRPr dirty="0"/>
            </a:p>
          </p:txBody>
        </p:sp>
        <p:pic>
          <p:nvPicPr>
            <p:cNvPr id="299" name="object 297">
              <a:extLst>
                <a:ext uri="{FF2B5EF4-FFF2-40B4-BE49-F238E27FC236}">
                  <a16:creationId xmlns:a16="http://schemas.microsoft.com/office/drawing/2014/main" id="{92023159-1D86-2222-09F1-CC750AB9B9A2}"/>
                </a:ext>
              </a:extLst>
            </p:cNvPr>
            <p:cNvPicPr/>
            <p:nvPr/>
          </p:nvPicPr>
          <p:blipFill>
            <a:blip r:embed="rId16" cstate="print"/>
            <a:stretch>
              <a:fillRect/>
            </a:stretch>
          </p:blipFill>
          <p:spPr>
            <a:xfrm>
              <a:off x="8096998" y="3010234"/>
              <a:ext cx="106445" cy="107156"/>
            </a:xfrm>
            <a:prstGeom prst="rect">
              <a:avLst/>
            </a:prstGeom>
          </p:spPr>
        </p:pic>
        <p:sp>
          <p:nvSpPr>
            <p:cNvPr id="300" name="object 298">
              <a:extLst>
                <a:ext uri="{FF2B5EF4-FFF2-40B4-BE49-F238E27FC236}">
                  <a16:creationId xmlns:a16="http://schemas.microsoft.com/office/drawing/2014/main" id="{14E7A1B3-2A9B-DA81-8998-AE695FD7899D}"/>
                </a:ext>
              </a:extLst>
            </p:cNvPr>
            <p:cNvSpPr/>
            <p:nvPr/>
          </p:nvSpPr>
          <p:spPr>
            <a:xfrm>
              <a:off x="7983731" y="3208700"/>
              <a:ext cx="332700" cy="477101"/>
            </a:xfrm>
            <a:custGeom>
              <a:avLst/>
              <a:gdLst/>
              <a:ahLst/>
              <a:cxnLst/>
              <a:rect l="l" t="t" r="r" b="b"/>
              <a:pathLst>
                <a:path w="548640" h="786764">
                  <a:moveTo>
                    <a:pt x="548068" y="786384"/>
                  </a:moveTo>
                  <a:lnTo>
                    <a:pt x="542632" y="738225"/>
                  </a:lnTo>
                  <a:lnTo>
                    <a:pt x="529234" y="692962"/>
                  </a:lnTo>
                  <a:lnTo>
                    <a:pt x="508609" y="651344"/>
                  </a:lnTo>
                  <a:lnTo>
                    <a:pt x="481520" y="614083"/>
                  </a:lnTo>
                  <a:lnTo>
                    <a:pt x="448678" y="581926"/>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47"/>
                  </a:lnTo>
                  <a:lnTo>
                    <a:pt x="66814" y="613664"/>
                  </a:lnTo>
                  <a:lnTo>
                    <a:pt x="39725" y="650773"/>
                  </a:lnTo>
                  <a:lnTo>
                    <a:pt x="19075" y="692226"/>
                  </a:lnTo>
                  <a:lnTo>
                    <a:pt x="5600" y="737323"/>
                  </a:lnTo>
                  <a:lnTo>
                    <a:pt x="38" y="785317"/>
                  </a:lnTo>
                  <a:lnTo>
                    <a:pt x="47713" y="781278"/>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59"/>
                  </a:lnTo>
                  <a:lnTo>
                    <a:pt x="295719" y="621042"/>
                  </a:lnTo>
                  <a:lnTo>
                    <a:pt x="316979" y="660831"/>
                  </a:lnTo>
                  <a:lnTo>
                    <a:pt x="344271" y="696366"/>
                  </a:lnTo>
                  <a:lnTo>
                    <a:pt x="376923" y="726960"/>
                  </a:lnTo>
                  <a:lnTo>
                    <a:pt x="414235" y="751941"/>
                  </a:lnTo>
                  <a:lnTo>
                    <a:pt x="455536" y="770623"/>
                  </a:lnTo>
                  <a:lnTo>
                    <a:pt x="500164" y="782332"/>
                  </a:lnTo>
                  <a:lnTo>
                    <a:pt x="548068" y="786384"/>
                  </a:lnTo>
                  <a:close/>
                </a:path>
                <a:path w="548640" h="786764">
                  <a:moveTo>
                    <a:pt x="548068" y="520865"/>
                  </a:moveTo>
                  <a:lnTo>
                    <a:pt x="542632" y="472694"/>
                  </a:lnTo>
                  <a:lnTo>
                    <a:pt x="529234" y="427431"/>
                  </a:lnTo>
                  <a:lnTo>
                    <a:pt x="508609" y="385813"/>
                  </a:lnTo>
                  <a:lnTo>
                    <a:pt x="481520" y="348551"/>
                  </a:lnTo>
                  <a:lnTo>
                    <a:pt x="448678" y="316407"/>
                  </a:lnTo>
                  <a:lnTo>
                    <a:pt x="410819" y="290093"/>
                  </a:lnTo>
                  <a:lnTo>
                    <a:pt x="368693" y="270357"/>
                  </a:lnTo>
                  <a:lnTo>
                    <a:pt x="323024" y="257937"/>
                  </a:lnTo>
                  <a:lnTo>
                    <a:pt x="274548" y="253555"/>
                  </a:lnTo>
                  <a:lnTo>
                    <a:pt x="273329" y="253555"/>
                  </a:lnTo>
                  <a:lnTo>
                    <a:pt x="224980" y="257911"/>
                  </a:lnTo>
                  <a:lnTo>
                    <a:pt x="179438" y="270281"/>
                  </a:lnTo>
                  <a:lnTo>
                    <a:pt x="137401" y="289928"/>
                  </a:lnTo>
                  <a:lnTo>
                    <a:pt x="99618" y="316115"/>
                  </a:lnTo>
                  <a:lnTo>
                    <a:pt x="66814" y="348132"/>
                  </a:lnTo>
                  <a:lnTo>
                    <a:pt x="39725" y="385241"/>
                  </a:lnTo>
                  <a:lnTo>
                    <a:pt x="19075" y="426694"/>
                  </a:lnTo>
                  <a:lnTo>
                    <a:pt x="5600" y="471792"/>
                  </a:lnTo>
                  <a:lnTo>
                    <a:pt x="38" y="519785"/>
                  </a:lnTo>
                  <a:lnTo>
                    <a:pt x="47713" y="515747"/>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40"/>
                  </a:lnTo>
                  <a:lnTo>
                    <a:pt x="295719" y="355511"/>
                  </a:lnTo>
                  <a:lnTo>
                    <a:pt x="316979" y="395300"/>
                  </a:lnTo>
                  <a:lnTo>
                    <a:pt x="344271" y="430834"/>
                  </a:lnTo>
                  <a:lnTo>
                    <a:pt x="376923" y="461429"/>
                  </a:lnTo>
                  <a:lnTo>
                    <a:pt x="414235" y="486410"/>
                  </a:lnTo>
                  <a:lnTo>
                    <a:pt x="455536" y="505091"/>
                  </a:lnTo>
                  <a:lnTo>
                    <a:pt x="500164" y="516801"/>
                  </a:lnTo>
                  <a:lnTo>
                    <a:pt x="548068" y="520865"/>
                  </a:lnTo>
                  <a:close/>
                </a:path>
                <a:path w="548640" h="786764">
                  <a:moveTo>
                    <a:pt x="548081" y="267322"/>
                  </a:moveTo>
                  <a:lnTo>
                    <a:pt x="543318" y="225285"/>
                  </a:lnTo>
                  <a:lnTo>
                    <a:pt x="542632" y="219151"/>
                  </a:lnTo>
                  <a:lnTo>
                    <a:pt x="529234" y="173888"/>
                  </a:lnTo>
                  <a:lnTo>
                    <a:pt x="519010" y="153263"/>
                  </a:lnTo>
                  <a:lnTo>
                    <a:pt x="508622" y="132257"/>
                  </a:lnTo>
                  <a:lnTo>
                    <a:pt x="481533" y="94996"/>
                  </a:lnTo>
                  <a:lnTo>
                    <a:pt x="449376" y="63525"/>
                  </a:lnTo>
                  <a:lnTo>
                    <a:pt x="448691" y="62852"/>
                  </a:lnTo>
                  <a:lnTo>
                    <a:pt x="410832" y="36550"/>
                  </a:lnTo>
                  <a:lnTo>
                    <a:pt x="368706" y="16814"/>
                  </a:lnTo>
                  <a:lnTo>
                    <a:pt x="323024" y="4368"/>
                  </a:lnTo>
                  <a:lnTo>
                    <a:pt x="274548" y="0"/>
                  </a:lnTo>
                  <a:lnTo>
                    <a:pt x="273329" y="0"/>
                  </a:lnTo>
                  <a:lnTo>
                    <a:pt x="224980" y="4356"/>
                  </a:lnTo>
                  <a:lnTo>
                    <a:pt x="179438" y="16725"/>
                  </a:lnTo>
                  <a:lnTo>
                    <a:pt x="137401" y="36360"/>
                  </a:lnTo>
                  <a:lnTo>
                    <a:pt x="99618" y="62560"/>
                  </a:lnTo>
                  <a:lnTo>
                    <a:pt x="98018" y="64122"/>
                  </a:lnTo>
                  <a:lnTo>
                    <a:pt x="66814" y="94576"/>
                  </a:lnTo>
                  <a:lnTo>
                    <a:pt x="39687" y="131686"/>
                  </a:lnTo>
                  <a:lnTo>
                    <a:pt x="19037" y="173139"/>
                  </a:lnTo>
                  <a:lnTo>
                    <a:pt x="5562" y="218224"/>
                  </a:lnTo>
                  <a:lnTo>
                    <a:pt x="0" y="266192"/>
                  </a:lnTo>
                  <a:lnTo>
                    <a:pt x="47713" y="262178"/>
                  </a:lnTo>
                  <a:lnTo>
                    <a:pt x="92227" y="250532"/>
                  </a:lnTo>
                  <a:lnTo>
                    <a:pt x="133464" y="231927"/>
                  </a:lnTo>
                  <a:lnTo>
                    <a:pt x="170726" y="207060"/>
                  </a:lnTo>
                  <a:lnTo>
                    <a:pt x="172897" y="205041"/>
                  </a:lnTo>
                  <a:lnTo>
                    <a:pt x="203365" y="176593"/>
                  </a:lnTo>
                  <a:lnTo>
                    <a:pt x="230670" y="141224"/>
                  </a:lnTo>
                  <a:lnTo>
                    <a:pt x="251993" y="101600"/>
                  </a:lnTo>
                  <a:lnTo>
                    <a:pt x="266661" y="58407"/>
                  </a:lnTo>
                  <a:lnTo>
                    <a:pt x="273989" y="12331"/>
                  </a:lnTo>
                  <a:lnTo>
                    <a:pt x="281165" y="58585"/>
                  </a:lnTo>
                  <a:lnTo>
                    <a:pt x="295719" y="101942"/>
                  </a:lnTo>
                  <a:lnTo>
                    <a:pt x="316979" y="141744"/>
                  </a:lnTo>
                  <a:lnTo>
                    <a:pt x="344271" y="177279"/>
                  </a:lnTo>
                  <a:lnTo>
                    <a:pt x="376923" y="207873"/>
                  </a:lnTo>
                  <a:lnTo>
                    <a:pt x="414235" y="232867"/>
                  </a:lnTo>
                  <a:lnTo>
                    <a:pt x="455549" y="251548"/>
                  </a:lnTo>
                  <a:lnTo>
                    <a:pt x="500164" y="263271"/>
                  </a:lnTo>
                  <a:lnTo>
                    <a:pt x="548081" y="267322"/>
                  </a:lnTo>
                  <a:close/>
                </a:path>
              </a:pathLst>
            </a:custGeom>
            <a:solidFill>
              <a:srgbClr val="7ED3F1"/>
            </a:solidFill>
          </p:spPr>
          <p:txBody>
            <a:bodyPr wrap="square" lIns="0" tIns="0" rIns="0" bIns="0" rtlCol="0"/>
            <a:lstStyle/>
            <a:p>
              <a:endParaRPr dirty="0"/>
            </a:p>
          </p:txBody>
        </p:sp>
        <p:pic>
          <p:nvPicPr>
            <p:cNvPr id="301" name="object 299">
              <a:extLst>
                <a:ext uri="{FF2B5EF4-FFF2-40B4-BE49-F238E27FC236}">
                  <a16:creationId xmlns:a16="http://schemas.microsoft.com/office/drawing/2014/main" id="{7D79F955-E811-8AF3-122D-05EB25E84299}"/>
                </a:ext>
              </a:extLst>
            </p:cNvPr>
            <p:cNvPicPr/>
            <p:nvPr/>
          </p:nvPicPr>
          <p:blipFill>
            <a:blip r:embed="rId17" cstate="print"/>
            <a:stretch>
              <a:fillRect/>
            </a:stretch>
          </p:blipFill>
          <p:spPr>
            <a:xfrm>
              <a:off x="8096998" y="3664400"/>
              <a:ext cx="106445" cy="107156"/>
            </a:xfrm>
            <a:prstGeom prst="rect">
              <a:avLst/>
            </a:prstGeom>
          </p:spPr>
        </p:pic>
        <p:sp>
          <p:nvSpPr>
            <p:cNvPr id="302" name="object 300">
              <a:extLst>
                <a:ext uri="{FF2B5EF4-FFF2-40B4-BE49-F238E27FC236}">
                  <a16:creationId xmlns:a16="http://schemas.microsoft.com/office/drawing/2014/main" id="{8A182554-2E9A-7F92-622E-124595BC4D7A}"/>
                </a:ext>
              </a:extLst>
            </p:cNvPr>
            <p:cNvSpPr/>
            <p:nvPr/>
          </p:nvSpPr>
          <p:spPr>
            <a:xfrm>
              <a:off x="7983731" y="1246203"/>
              <a:ext cx="332700" cy="477101"/>
            </a:xfrm>
            <a:custGeom>
              <a:avLst/>
              <a:gdLst/>
              <a:ahLst/>
              <a:cxnLst/>
              <a:rect l="l" t="t" r="r" b="b"/>
              <a:pathLst>
                <a:path w="548640" h="786764">
                  <a:moveTo>
                    <a:pt x="548068" y="786384"/>
                  </a:moveTo>
                  <a:lnTo>
                    <a:pt x="542632" y="738225"/>
                  </a:lnTo>
                  <a:lnTo>
                    <a:pt x="529234" y="692962"/>
                  </a:lnTo>
                  <a:lnTo>
                    <a:pt x="508609" y="651332"/>
                  </a:lnTo>
                  <a:lnTo>
                    <a:pt x="481520" y="614083"/>
                  </a:lnTo>
                  <a:lnTo>
                    <a:pt x="448678" y="581926"/>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47"/>
                  </a:lnTo>
                  <a:lnTo>
                    <a:pt x="66814" y="613664"/>
                  </a:lnTo>
                  <a:lnTo>
                    <a:pt x="39725" y="650760"/>
                  </a:lnTo>
                  <a:lnTo>
                    <a:pt x="19075" y="692226"/>
                  </a:lnTo>
                  <a:lnTo>
                    <a:pt x="5600" y="737323"/>
                  </a:lnTo>
                  <a:lnTo>
                    <a:pt x="38" y="785304"/>
                  </a:lnTo>
                  <a:lnTo>
                    <a:pt x="47713" y="781278"/>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59"/>
                  </a:lnTo>
                  <a:lnTo>
                    <a:pt x="295719" y="621030"/>
                  </a:lnTo>
                  <a:lnTo>
                    <a:pt x="316979" y="660831"/>
                  </a:lnTo>
                  <a:lnTo>
                    <a:pt x="344271" y="696366"/>
                  </a:lnTo>
                  <a:lnTo>
                    <a:pt x="376923" y="726960"/>
                  </a:lnTo>
                  <a:lnTo>
                    <a:pt x="414235" y="751941"/>
                  </a:lnTo>
                  <a:lnTo>
                    <a:pt x="455536" y="770623"/>
                  </a:lnTo>
                  <a:lnTo>
                    <a:pt x="500164" y="782332"/>
                  </a:lnTo>
                  <a:lnTo>
                    <a:pt x="548068" y="786384"/>
                  </a:lnTo>
                  <a:close/>
                </a:path>
                <a:path w="548640" h="786764">
                  <a:moveTo>
                    <a:pt x="548068" y="520852"/>
                  </a:moveTo>
                  <a:lnTo>
                    <a:pt x="542632" y="472694"/>
                  </a:lnTo>
                  <a:lnTo>
                    <a:pt x="529234" y="427431"/>
                  </a:lnTo>
                  <a:lnTo>
                    <a:pt x="508609" y="385813"/>
                  </a:lnTo>
                  <a:lnTo>
                    <a:pt x="481520" y="348551"/>
                  </a:lnTo>
                  <a:lnTo>
                    <a:pt x="448678" y="316395"/>
                  </a:lnTo>
                  <a:lnTo>
                    <a:pt x="410819" y="290093"/>
                  </a:lnTo>
                  <a:lnTo>
                    <a:pt x="368693" y="270357"/>
                  </a:lnTo>
                  <a:lnTo>
                    <a:pt x="323024" y="257937"/>
                  </a:lnTo>
                  <a:lnTo>
                    <a:pt x="274548" y="253555"/>
                  </a:lnTo>
                  <a:lnTo>
                    <a:pt x="273329" y="253555"/>
                  </a:lnTo>
                  <a:lnTo>
                    <a:pt x="224980" y="257911"/>
                  </a:lnTo>
                  <a:lnTo>
                    <a:pt x="179438" y="270281"/>
                  </a:lnTo>
                  <a:lnTo>
                    <a:pt x="137401" y="289928"/>
                  </a:lnTo>
                  <a:lnTo>
                    <a:pt x="99618" y="316115"/>
                  </a:lnTo>
                  <a:lnTo>
                    <a:pt x="66814" y="348132"/>
                  </a:lnTo>
                  <a:lnTo>
                    <a:pt x="39725" y="385241"/>
                  </a:lnTo>
                  <a:lnTo>
                    <a:pt x="19075" y="426694"/>
                  </a:lnTo>
                  <a:lnTo>
                    <a:pt x="5600" y="471792"/>
                  </a:lnTo>
                  <a:lnTo>
                    <a:pt x="38" y="519785"/>
                  </a:lnTo>
                  <a:lnTo>
                    <a:pt x="47713" y="515747"/>
                  </a:lnTo>
                  <a:lnTo>
                    <a:pt x="92227" y="504088"/>
                  </a:lnTo>
                  <a:lnTo>
                    <a:pt x="133464" y="485482"/>
                  </a:lnTo>
                  <a:lnTo>
                    <a:pt x="170726" y="460616"/>
                  </a:lnTo>
                  <a:lnTo>
                    <a:pt x="203352" y="430149"/>
                  </a:lnTo>
                  <a:lnTo>
                    <a:pt x="230670" y="394766"/>
                  </a:lnTo>
                  <a:lnTo>
                    <a:pt x="251993" y="355142"/>
                  </a:lnTo>
                  <a:lnTo>
                    <a:pt x="266649" y="311950"/>
                  </a:lnTo>
                  <a:lnTo>
                    <a:pt x="273989" y="265861"/>
                  </a:lnTo>
                  <a:lnTo>
                    <a:pt x="281165" y="312127"/>
                  </a:lnTo>
                  <a:lnTo>
                    <a:pt x="295719" y="355511"/>
                  </a:lnTo>
                  <a:lnTo>
                    <a:pt x="316979" y="395300"/>
                  </a:lnTo>
                  <a:lnTo>
                    <a:pt x="344271" y="430834"/>
                  </a:lnTo>
                  <a:lnTo>
                    <a:pt x="376923" y="461429"/>
                  </a:lnTo>
                  <a:lnTo>
                    <a:pt x="414235" y="486410"/>
                  </a:lnTo>
                  <a:lnTo>
                    <a:pt x="455536" y="505091"/>
                  </a:lnTo>
                  <a:lnTo>
                    <a:pt x="500164" y="516801"/>
                  </a:lnTo>
                  <a:lnTo>
                    <a:pt x="548068" y="520852"/>
                  </a:lnTo>
                  <a:close/>
                </a:path>
                <a:path w="548640" h="786764">
                  <a:moveTo>
                    <a:pt x="548081" y="267322"/>
                  </a:moveTo>
                  <a:lnTo>
                    <a:pt x="543318" y="225285"/>
                  </a:lnTo>
                  <a:lnTo>
                    <a:pt x="542632" y="219151"/>
                  </a:lnTo>
                  <a:lnTo>
                    <a:pt x="529234" y="173875"/>
                  </a:lnTo>
                  <a:lnTo>
                    <a:pt x="508622" y="132257"/>
                  </a:lnTo>
                  <a:lnTo>
                    <a:pt x="481533" y="94996"/>
                  </a:lnTo>
                  <a:lnTo>
                    <a:pt x="449376" y="63525"/>
                  </a:lnTo>
                  <a:lnTo>
                    <a:pt x="448691" y="62852"/>
                  </a:lnTo>
                  <a:lnTo>
                    <a:pt x="410832" y="36550"/>
                  </a:lnTo>
                  <a:lnTo>
                    <a:pt x="368693" y="16789"/>
                  </a:lnTo>
                  <a:lnTo>
                    <a:pt x="323024" y="4368"/>
                  </a:lnTo>
                  <a:lnTo>
                    <a:pt x="274548" y="0"/>
                  </a:lnTo>
                  <a:lnTo>
                    <a:pt x="273329" y="0"/>
                  </a:lnTo>
                  <a:lnTo>
                    <a:pt x="224980" y="4356"/>
                  </a:lnTo>
                  <a:lnTo>
                    <a:pt x="179438" y="16713"/>
                  </a:lnTo>
                  <a:lnTo>
                    <a:pt x="137401" y="36360"/>
                  </a:lnTo>
                  <a:lnTo>
                    <a:pt x="99618" y="62560"/>
                  </a:lnTo>
                  <a:lnTo>
                    <a:pt x="66814" y="94576"/>
                  </a:lnTo>
                  <a:lnTo>
                    <a:pt x="39687" y="131686"/>
                  </a:lnTo>
                  <a:lnTo>
                    <a:pt x="19037" y="173139"/>
                  </a:lnTo>
                  <a:lnTo>
                    <a:pt x="5562" y="218211"/>
                  </a:lnTo>
                  <a:lnTo>
                    <a:pt x="0" y="266192"/>
                  </a:lnTo>
                  <a:lnTo>
                    <a:pt x="47713" y="262178"/>
                  </a:lnTo>
                  <a:lnTo>
                    <a:pt x="92227" y="250532"/>
                  </a:lnTo>
                  <a:lnTo>
                    <a:pt x="133464" y="231927"/>
                  </a:lnTo>
                  <a:lnTo>
                    <a:pt x="170726" y="207060"/>
                  </a:lnTo>
                  <a:lnTo>
                    <a:pt x="172897" y="205041"/>
                  </a:lnTo>
                  <a:lnTo>
                    <a:pt x="203365" y="176593"/>
                  </a:lnTo>
                  <a:lnTo>
                    <a:pt x="230670" y="141224"/>
                  </a:lnTo>
                  <a:lnTo>
                    <a:pt x="251993" y="101600"/>
                  </a:lnTo>
                  <a:lnTo>
                    <a:pt x="266661" y="58407"/>
                  </a:lnTo>
                  <a:lnTo>
                    <a:pt x="273989" y="12319"/>
                  </a:lnTo>
                  <a:lnTo>
                    <a:pt x="281165" y="58585"/>
                  </a:lnTo>
                  <a:lnTo>
                    <a:pt x="295719" y="101942"/>
                  </a:lnTo>
                  <a:lnTo>
                    <a:pt x="316979" y="141732"/>
                  </a:lnTo>
                  <a:lnTo>
                    <a:pt x="344271" y="177266"/>
                  </a:lnTo>
                  <a:lnTo>
                    <a:pt x="376923" y="207873"/>
                  </a:lnTo>
                  <a:lnTo>
                    <a:pt x="414235" y="232867"/>
                  </a:lnTo>
                  <a:lnTo>
                    <a:pt x="455549" y="251548"/>
                  </a:lnTo>
                  <a:lnTo>
                    <a:pt x="500164" y="263271"/>
                  </a:lnTo>
                  <a:lnTo>
                    <a:pt x="548081" y="267322"/>
                  </a:lnTo>
                  <a:close/>
                </a:path>
              </a:pathLst>
            </a:custGeom>
            <a:solidFill>
              <a:srgbClr val="2DB7EA"/>
            </a:solidFill>
          </p:spPr>
          <p:txBody>
            <a:bodyPr wrap="square" lIns="0" tIns="0" rIns="0" bIns="0" rtlCol="0"/>
            <a:lstStyle/>
            <a:p>
              <a:endParaRPr dirty="0"/>
            </a:p>
          </p:txBody>
        </p:sp>
        <p:pic>
          <p:nvPicPr>
            <p:cNvPr id="303" name="object 301">
              <a:extLst>
                <a:ext uri="{FF2B5EF4-FFF2-40B4-BE49-F238E27FC236}">
                  <a16:creationId xmlns:a16="http://schemas.microsoft.com/office/drawing/2014/main" id="{779492BB-464C-9094-5138-319FCD4EA942}"/>
                </a:ext>
              </a:extLst>
            </p:cNvPr>
            <p:cNvPicPr/>
            <p:nvPr/>
          </p:nvPicPr>
          <p:blipFill>
            <a:blip r:embed="rId16" cstate="print"/>
            <a:stretch>
              <a:fillRect/>
            </a:stretch>
          </p:blipFill>
          <p:spPr>
            <a:xfrm>
              <a:off x="8096998" y="1701903"/>
              <a:ext cx="106445" cy="107156"/>
            </a:xfrm>
            <a:prstGeom prst="rect">
              <a:avLst/>
            </a:prstGeom>
          </p:spPr>
        </p:pic>
        <p:sp>
          <p:nvSpPr>
            <p:cNvPr id="304" name="object 302">
              <a:extLst>
                <a:ext uri="{FF2B5EF4-FFF2-40B4-BE49-F238E27FC236}">
                  <a16:creationId xmlns:a16="http://schemas.microsoft.com/office/drawing/2014/main" id="{3A1955AF-29C4-9089-9DB5-E544B1A6905B}"/>
                </a:ext>
              </a:extLst>
            </p:cNvPr>
            <p:cNvSpPr/>
            <p:nvPr/>
          </p:nvSpPr>
          <p:spPr>
            <a:xfrm>
              <a:off x="7983731" y="1900365"/>
              <a:ext cx="332700" cy="477101"/>
            </a:xfrm>
            <a:custGeom>
              <a:avLst/>
              <a:gdLst/>
              <a:ahLst/>
              <a:cxnLst/>
              <a:rect l="l" t="t" r="r" b="b"/>
              <a:pathLst>
                <a:path w="548640" h="786764">
                  <a:moveTo>
                    <a:pt x="548068" y="786396"/>
                  </a:moveTo>
                  <a:lnTo>
                    <a:pt x="542632" y="738225"/>
                  </a:lnTo>
                  <a:lnTo>
                    <a:pt x="529234" y="692962"/>
                  </a:lnTo>
                  <a:lnTo>
                    <a:pt x="508609" y="651344"/>
                  </a:lnTo>
                  <a:lnTo>
                    <a:pt x="481520" y="614083"/>
                  </a:lnTo>
                  <a:lnTo>
                    <a:pt x="448678" y="581939"/>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60"/>
                  </a:lnTo>
                  <a:lnTo>
                    <a:pt x="66814" y="613664"/>
                  </a:lnTo>
                  <a:lnTo>
                    <a:pt x="39725" y="650773"/>
                  </a:lnTo>
                  <a:lnTo>
                    <a:pt x="19075" y="692238"/>
                  </a:lnTo>
                  <a:lnTo>
                    <a:pt x="5600" y="737323"/>
                  </a:lnTo>
                  <a:lnTo>
                    <a:pt x="38" y="785317"/>
                  </a:lnTo>
                  <a:lnTo>
                    <a:pt x="47713" y="781278"/>
                  </a:lnTo>
                  <a:lnTo>
                    <a:pt x="92227" y="769620"/>
                  </a:lnTo>
                  <a:lnTo>
                    <a:pt x="133464" y="751027"/>
                  </a:lnTo>
                  <a:lnTo>
                    <a:pt x="170726" y="726147"/>
                  </a:lnTo>
                  <a:lnTo>
                    <a:pt x="203352" y="695680"/>
                  </a:lnTo>
                  <a:lnTo>
                    <a:pt x="230670" y="660298"/>
                  </a:lnTo>
                  <a:lnTo>
                    <a:pt x="251993" y="620674"/>
                  </a:lnTo>
                  <a:lnTo>
                    <a:pt x="266649" y="577481"/>
                  </a:lnTo>
                  <a:lnTo>
                    <a:pt x="273989" y="531393"/>
                  </a:lnTo>
                  <a:lnTo>
                    <a:pt x="281165" y="577672"/>
                  </a:lnTo>
                  <a:lnTo>
                    <a:pt x="295719" y="621042"/>
                  </a:lnTo>
                  <a:lnTo>
                    <a:pt x="316979" y="660831"/>
                  </a:lnTo>
                  <a:lnTo>
                    <a:pt x="344271" y="696366"/>
                  </a:lnTo>
                  <a:lnTo>
                    <a:pt x="376923" y="726960"/>
                  </a:lnTo>
                  <a:lnTo>
                    <a:pt x="414235" y="751941"/>
                  </a:lnTo>
                  <a:lnTo>
                    <a:pt x="455536" y="770636"/>
                  </a:lnTo>
                  <a:lnTo>
                    <a:pt x="500164" y="782332"/>
                  </a:lnTo>
                  <a:lnTo>
                    <a:pt x="548068" y="786396"/>
                  </a:lnTo>
                  <a:close/>
                </a:path>
                <a:path w="548640" h="786764">
                  <a:moveTo>
                    <a:pt x="548068" y="520865"/>
                  </a:moveTo>
                  <a:lnTo>
                    <a:pt x="542632" y="472706"/>
                  </a:lnTo>
                  <a:lnTo>
                    <a:pt x="529234" y="427443"/>
                  </a:lnTo>
                  <a:lnTo>
                    <a:pt x="508609" y="385813"/>
                  </a:lnTo>
                  <a:lnTo>
                    <a:pt x="481520" y="348551"/>
                  </a:lnTo>
                  <a:lnTo>
                    <a:pt x="448678" y="316407"/>
                  </a:lnTo>
                  <a:lnTo>
                    <a:pt x="410819" y="290093"/>
                  </a:lnTo>
                  <a:lnTo>
                    <a:pt x="368693" y="270357"/>
                  </a:lnTo>
                  <a:lnTo>
                    <a:pt x="323024" y="257937"/>
                  </a:lnTo>
                  <a:lnTo>
                    <a:pt x="274548" y="253555"/>
                  </a:lnTo>
                  <a:lnTo>
                    <a:pt x="273329" y="253555"/>
                  </a:lnTo>
                  <a:lnTo>
                    <a:pt x="224980" y="257924"/>
                  </a:lnTo>
                  <a:lnTo>
                    <a:pt x="179438" y="270281"/>
                  </a:lnTo>
                  <a:lnTo>
                    <a:pt x="137401" y="289928"/>
                  </a:lnTo>
                  <a:lnTo>
                    <a:pt x="99618" y="316128"/>
                  </a:lnTo>
                  <a:lnTo>
                    <a:pt x="66814" y="348132"/>
                  </a:lnTo>
                  <a:lnTo>
                    <a:pt x="39725" y="385241"/>
                  </a:lnTo>
                  <a:lnTo>
                    <a:pt x="19075" y="426707"/>
                  </a:lnTo>
                  <a:lnTo>
                    <a:pt x="5600" y="471792"/>
                  </a:lnTo>
                  <a:lnTo>
                    <a:pt x="38" y="519785"/>
                  </a:lnTo>
                  <a:lnTo>
                    <a:pt x="47713" y="515747"/>
                  </a:lnTo>
                  <a:lnTo>
                    <a:pt x="92227" y="504088"/>
                  </a:lnTo>
                  <a:lnTo>
                    <a:pt x="133464" y="485495"/>
                  </a:lnTo>
                  <a:lnTo>
                    <a:pt x="170726" y="460616"/>
                  </a:lnTo>
                  <a:lnTo>
                    <a:pt x="203352" y="430161"/>
                  </a:lnTo>
                  <a:lnTo>
                    <a:pt x="230670" y="394766"/>
                  </a:lnTo>
                  <a:lnTo>
                    <a:pt x="251993" y="355142"/>
                  </a:lnTo>
                  <a:lnTo>
                    <a:pt x="266649" y="311950"/>
                  </a:lnTo>
                  <a:lnTo>
                    <a:pt x="273989" y="265861"/>
                  </a:lnTo>
                  <a:lnTo>
                    <a:pt x="281165" y="312140"/>
                  </a:lnTo>
                  <a:lnTo>
                    <a:pt x="295719" y="355511"/>
                  </a:lnTo>
                  <a:lnTo>
                    <a:pt x="316979" y="395300"/>
                  </a:lnTo>
                  <a:lnTo>
                    <a:pt x="344271" y="430834"/>
                  </a:lnTo>
                  <a:lnTo>
                    <a:pt x="376923" y="461441"/>
                  </a:lnTo>
                  <a:lnTo>
                    <a:pt x="414235" y="486410"/>
                  </a:lnTo>
                  <a:lnTo>
                    <a:pt x="455536" y="505104"/>
                  </a:lnTo>
                  <a:lnTo>
                    <a:pt x="500164" y="516813"/>
                  </a:lnTo>
                  <a:lnTo>
                    <a:pt x="548068" y="520865"/>
                  </a:lnTo>
                  <a:close/>
                </a:path>
                <a:path w="548640" h="786764">
                  <a:moveTo>
                    <a:pt x="548081" y="267322"/>
                  </a:moveTo>
                  <a:lnTo>
                    <a:pt x="543318" y="225285"/>
                  </a:lnTo>
                  <a:lnTo>
                    <a:pt x="542632" y="219151"/>
                  </a:lnTo>
                  <a:lnTo>
                    <a:pt x="529234" y="173888"/>
                  </a:lnTo>
                  <a:lnTo>
                    <a:pt x="519010" y="153263"/>
                  </a:lnTo>
                  <a:lnTo>
                    <a:pt x="508622" y="132257"/>
                  </a:lnTo>
                  <a:lnTo>
                    <a:pt x="481533" y="95008"/>
                  </a:lnTo>
                  <a:lnTo>
                    <a:pt x="448691" y="62852"/>
                  </a:lnTo>
                  <a:lnTo>
                    <a:pt x="410832" y="36550"/>
                  </a:lnTo>
                  <a:lnTo>
                    <a:pt x="368706" y="16814"/>
                  </a:lnTo>
                  <a:lnTo>
                    <a:pt x="323024" y="4381"/>
                  </a:lnTo>
                  <a:lnTo>
                    <a:pt x="274548" y="0"/>
                  </a:lnTo>
                  <a:lnTo>
                    <a:pt x="273329" y="0"/>
                  </a:lnTo>
                  <a:lnTo>
                    <a:pt x="224980" y="4356"/>
                  </a:lnTo>
                  <a:lnTo>
                    <a:pt x="179438" y="16725"/>
                  </a:lnTo>
                  <a:lnTo>
                    <a:pt x="137401" y="36372"/>
                  </a:lnTo>
                  <a:lnTo>
                    <a:pt x="99618" y="62560"/>
                  </a:lnTo>
                  <a:lnTo>
                    <a:pt x="98018" y="64122"/>
                  </a:lnTo>
                  <a:lnTo>
                    <a:pt x="66814" y="94576"/>
                  </a:lnTo>
                  <a:lnTo>
                    <a:pt x="39687" y="131686"/>
                  </a:lnTo>
                  <a:lnTo>
                    <a:pt x="19037" y="173139"/>
                  </a:lnTo>
                  <a:lnTo>
                    <a:pt x="5562" y="218224"/>
                  </a:lnTo>
                  <a:lnTo>
                    <a:pt x="0" y="266192"/>
                  </a:lnTo>
                  <a:lnTo>
                    <a:pt x="47713" y="262191"/>
                  </a:lnTo>
                  <a:lnTo>
                    <a:pt x="92227" y="250532"/>
                  </a:lnTo>
                  <a:lnTo>
                    <a:pt x="133464" y="231927"/>
                  </a:lnTo>
                  <a:lnTo>
                    <a:pt x="170738" y="207060"/>
                  </a:lnTo>
                  <a:lnTo>
                    <a:pt x="203365" y="176593"/>
                  </a:lnTo>
                  <a:lnTo>
                    <a:pt x="230670" y="141224"/>
                  </a:lnTo>
                  <a:lnTo>
                    <a:pt x="251993" y="101600"/>
                  </a:lnTo>
                  <a:lnTo>
                    <a:pt x="266661" y="58420"/>
                  </a:lnTo>
                  <a:lnTo>
                    <a:pt x="273989" y="12331"/>
                  </a:lnTo>
                  <a:lnTo>
                    <a:pt x="281165" y="58585"/>
                  </a:lnTo>
                  <a:lnTo>
                    <a:pt x="295719" y="101955"/>
                  </a:lnTo>
                  <a:lnTo>
                    <a:pt x="303123" y="115811"/>
                  </a:lnTo>
                  <a:lnTo>
                    <a:pt x="316979" y="141744"/>
                  </a:lnTo>
                  <a:lnTo>
                    <a:pt x="344271" y="177279"/>
                  </a:lnTo>
                  <a:lnTo>
                    <a:pt x="360070" y="192087"/>
                  </a:lnTo>
                  <a:lnTo>
                    <a:pt x="376923" y="207886"/>
                  </a:lnTo>
                  <a:lnTo>
                    <a:pt x="414235" y="232867"/>
                  </a:lnTo>
                  <a:lnTo>
                    <a:pt x="455549" y="251561"/>
                  </a:lnTo>
                  <a:lnTo>
                    <a:pt x="500164" y="263271"/>
                  </a:lnTo>
                  <a:lnTo>
                    <a:pt x="548081" y="267322"/>
                  </a:lnTo>
                  <a:close/>
                </a:path>
              </a:pathLst>
            </a:custGeom>
            <a:solidFill>
              <a:srgbClr val="7ED3F1"/>
            </a:solidFill>
          </p:spPr>
          <p:txBody>
            <a:bodyPr wrap="square" lIns="0" tIns="0" rIns="0" bIns="0" rtlCol="0"/>
            <a:lstStyle/>
            <a:p>
              <a:endParaRPr dirty="0"/>
            </a:p>
          </p:txBody>
        </p:sp>
        <p:pic>
          <p:nvPicPr>
            <p:cNvPr id="305" name="object 303">
              <a:extLst>
                <a:ext uri="{FF2B5EF4-FFF2-40B4-BE49-F238E27FC236}">
                  <a16:creationId xmlns:a16="http://schemas.microsoft.com/office/drawing/2014/main" id="{4B435D1E-2769-E08E-12E2-A88177CA5E6F}"/>
                </a:ext>
              </a:extLst>
            </p:cNvPr>
            <p:cNvPicPr/>
            <p:nvPr/>
          </p:nvPicPr>
          <p:blipFill>
            <a:blip r:embed="rId17" cstate="print"/>
            <a:stretch>
              <a:fillRect/>
            </a:stretch>
          </p:blipFill>
          <p:spPr>
            <a:xfrm>
              <a:off x="8096998" y="2356067"/>
              <a:ext cx="106445" cy="107156"/>
            </a:xfrm>
            <a:prstGeom prst="rect">
              <a:avLst/>
            </a:prstGeom>
          </p:spPr>
        </p:pic>
        <p:sp>
          <p:nvSpPr>
            <p:cNvPr id="306" name="object 304">
              <a:extLst>
                <a:ext uri="{FF2B5EF4-FFF2-40B4-BE49-F238E27FC236}">
                  <a16:creationId xmlns:a16="http://schemas.microsoft.com/office/drawing/2014/main" id="{5849DC41-C8FF-9DEE-654F-52737AA8D522}"/>
                </a:ext>
              </a:extLst>
            </p:cNvPr>
            <p:cNvSpPr/>
            <p:nvPr/>
          </p:nvSpPr>
          <p:spPr>
            <a:xfrm>
              <a:off x="7983731"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307" name="object 305">
              <a:extLst>
                <a:ext uri="{FF2B5EF4-FFF2-40B4-BE49-F238E27FC236}">
                  <a16:creationId xmlns:a16="http://schemas.microsoft.com/office/drawing/2014/main" id="{031987C3-8BC1-1D09-CCB5-0DE170E96A7B}"/>
                </a:ext>
              </a:extLst>
            </p:cNvPr>
            <p:cNvPicPr/>
            <p:nvPr/>
          </p:nvPicPr>
          <p:blipFill>
            <a:blip r:embed="rId20" cstate="print"/>
            <a:stretch>
              <a:fillRect/>
            </a:stretch>
          </p:blipFill>
          <p:spPr>
            <a:xfrm>
              <a:off x="7983758" y="123"/>
              <a:ext cx="152433" cy="99184"/>
            </a:xfrm>
            <a:prstGeom prst="rect">
              <a:avLst/>
            </a:prstGeom>
          </p:spPr>
        </p:pic>
        <p:pic>
          <p:nvPicPr>
            <p:cNvPr id="308" name="object 306">
              <a:extLst>
                <a:ext uri="{FF2B5EF4-FFF2-40B4-BE49-F238E27FC236}">
                  <a16:creationId xmlns:a16="http://schemas.microsoft.com/office/drawing/2014/main" id="{E43ABA48-6BAA-9B68-6B08-77F017FE86EA}"/>
                </a:ext>
              </a:extLst>
            </p:cNvPr>
            <p:cNvPicPr/>
            <p:nvPr/>
          </p:nvPicPr>
          <p:blipFill>
            <a:blip r:embed="rId21" cstate="print"/>
            <a:stretch>
              <a:fillRect/>
            </a:stretch>
          </p:blipFill>
          <p:spPr>
            <a:xfrm>
              <a:off x="8163292" y="123"/>
              <a:ext cx="152798" cy="99837"/>
            </a:xfrm>
            <a:prstGeom prst="rect">
              <a:avLst/>
            </a:prstGeom>
          </p:spPr>
        </p:pic>
        <p:sp>
          <p:nvSpPr>
            <p:cNvPr id="309" name="object 307">
              <a:extLst>
                <a:ext uri="{FF2B5EF4-FFF2-40B4-BE49-F238E27FC236}">
                  <a16:creationId xmlns:a16="http://schemas.microsoft.com/office/drawing/2014/main" id="{A819080E-8142-2969-7539-9D367B1C3C5D}"/>
                </a:ext>
              </a:extLst>
            </p:cNvPr>
            <p:cNvSpPr/>
            <p:nvPr/>
          </p:nvSpPr>
          <p:spPr>
            <a:xfrm>
              <a:off x="7983754" y="91626"/>
              <a:ext cx="332700" cy="323458"/>
            </a:xfrm>
            <a:custGeom>
              <a:avLst/>
              <a:gdLst/>
              <a:ahLst/>
              <a:cxnLst/>
              <a:rect l="l" t="t" r="r" b="b"/>
              <a:pathLst>
                <a:path w="548640" h="533400">
                  <a:moveTo>
                    <a:pt x="548030" y="532841"/>
                  </a:moveTo>
                  <a:lnTo>
                    <a:pt x="542594" y="484682"/>
                  </a:lnTo>
                  <a:lnTo>
                    <a:pt x="529196" y="439420"/>
                  </a:lnTo>
                  <a:lnTo>
                    <a:pt x="508571" y="397789"/>
                  </a:lnTo>
                  <a:lnTo>
                    <a:pt x="481482" y="360527"/>
                  </a:lnTo>
                  <a:lnTo>
                    <a:pt x="448640" y="328383"/>
                  </a:lnTo>
                  <a:lnTo>
                    <a:pt x="410781" y="302069"/>
                  </a:lnTo>
                  <a:lnTo>
                    <a:pt x="368655" y="282333"/>
                  </a:lnTo>
                  <a:lnTo>
                    <a:pt x="322986" y="269913"/>
                  </a:lnTo>
                  <a:lnTo>
                    <a:pt x="274510" y="265544"/>
                  </a:lnTo>
                  <a:lnTo>
                    <a:pt x="273291" y="265544"/>
                  </a:lnTo>
                  <a:lnTo>
                    <a:pt x="224942" y="269900"/>
                  </a:lnTo>
                  <a:lnTo>
                    <a:pt x="179400" y="282257"/>
                  </a:lnTo>
                  <a:lnTo>
                    <a:pt x="137363" y="301904"/>
                  </a:lnTo>
                  <a:lnTo>
                    <a:pt x="99580" y="328104"/>
                  </a:lnTo>
                  <a:lnTo>
                    <a:pt x="66776" y="360121"/>
                  </a:lnTo>
                  <a:lnTo>
                    <a:pt x="39687" y="397217"/>
                  </a:lnTo>
                  <a:lnTo>
                    <a:pt x="19037" y="438683"/>
                  </a:lnTo>
                  <a:lnTo>
                    <a:pt x="5562" y="483768"/>
                  </a:lnTo>
                  <a:lnTo>
                    <a:pt x="0" y="531761"/>
                  </a:lnTo>
                  <a:lnTo>
                    <a:pt x="47675" y="527723"/>
                  </a:lnTo>
                  <a:lnTo>
                    <a:pt x="92189" y="516064"/>
                  </a:lnTo>
                  <a:lnTo>
                    <a:pt x="133426" y="497471"/>
                  </a:lnTo>
                  <a:lnTo>
                    <a:pt x="170688" y="472592"/>
                  </a:lnTo>
                  <a:lnTo>
                    <a:pt x="203314" y="442137"/>
                  </a:lnTo>
                  <a:lnTo>
                    <a:pt x="230632" y="406755"/>
                  </a:lnTo>
                  <a:lnTo>
                    <a:pt x="251955" y="367118"/>
                  </a:lnTo>
                  <a:lnTo>
                    <a:pt x="266611" y="323926"/>
                  </a:lnTo>
                  <a:lnTo>
                    <a:pt x="273951" y="277837"/>
                  </a:lnTo>
                  <a:lnTo>
                    <a:pt x="281127" y="324116"/>
                  </a:lnTo>
                  <a:lnTo>
                    <a:pt x="295681" y="367487"/>
                  </a:lnTo>
                  <a:lnTo>
                    <a:pt x="316941" y="407276"/>
                  </a:lnTo>
                  <a:lnTo>
                    <a:pt x="344233" y="442810"/>
                  </a:lnTo>
                  <a:lnTo>
                    <a:pt x="376885" y="473417"/>
                  </a:lnTo>
                  <a:lnTo>
                    <a:pt x="414197" y="498398"/>
                  </a:lnTo>
                  <a:lnTo>
                    <a:pt x="455498" y="517080"/>
                  </a:lnTo>
                  <a:lnTo>
                    <a:pt x="500126" y="528789"/>
                  </a:lnTo>
                  <a:lnTo>
                    <a:pt x="548030" y="532841"/>
                  </a:lnTo>
                  <a:close/>
                </a:path>
                <a:path w="548640" h="533400">
                  <a:moveTo>
                    <a:pt x="548030" y="267309"/>
                  </a:moveTo>
                  <a:lnTo>
                    <a:pt x="542594" y="219138"/>
                  </a:lnTo>
                  <a:lnTo>
                    <a:pt x="529196" y="173888"/>
                  </a:lnTo>
                  <a:lnTo>
                    <a:pt x="508571" y="132257"/>
                  </a:lnTo>
                  <a:lnTo>
                    <a:pt x="481482" y="94996"/>
                  </a:lnTo>
                  <a:lnTo>
                    <a:pt x="448640" y="62852"/>
                  </a:lnTo>
                  <a:lnTo>
                    <a:pt x="410781" y="36537"/>
                  </a:lnTo>
                  <a:lnTo>
                    <a:pt x="368655" y="16802"/>
                  </a:lnTo>
                  <a:lnTo>
                    <a:pt x="322986" y="4381"/>
                  </a:lnTo>
                  <a:lnTo>
                    <a:pt x="274510" y="0"/>
                  </a:lnTo>
                  <a:lnTo>
                    <a:pt x="273291" y="0"/>
                  </a:lnTo>
                  <a:lnTo>
                    <a:pt x="224942" y="4356"/>
                  </a:lnTo>
                  <a:lnTo>
                    <a:pt x="179400" y="16725"/>
                  </a:lnTo>
                  <a:lnTo>
                    <a:pt x="137363" y="36372"/>
                  </a:lnTo>
                  <a:lnTo>
                    <a:pt x="99580" y="62572"/>
                  </a:lnTo>
                  <a:lnTo>
                    <a:pt x="66776" y="94576"/>
                  </a:lnTo>
                  <a:lnTo>
                    <a:pt x="39687" y="131686"/>
                  </a:lnTo>
                  <a:lnTo>
                    <a:pt x="19037" y="173151"/>
                  </a:lnTo>
                  <a:lnTo>
                    <a:pt x="5562" y="218236"/>
                  </a:lnTo>
                  <a:lnTo>
                    <a:pt x="0" y="266230"/>
                  </a:lnTo>
                  <a:lnTo>
                    <a:pt x="47675" y="262191"/>
                  </a:lnTo>
                  <a:lnTo>
                    <a:pt x="92189" y="250532"/>
                  </a:lnTo>
                  <a:lnTo>
                    <a:pt x="133426" y="231940"/>
                  </a:lnTo>
                  <a:lnTo>
                    <a:pt x="170688" y="207060"/>
                  </a:lnTo>
                  <a:lnTo>
                    <a:pt x="203314" y="176593"/>
                  </a:lnTo>
                  <a:lnTo>
                    <a:pt x="230632" y="141211"/>
                  </a:lnTo>
                  <a:lnTo>
                    <a:pt x="251955" y="101587"/>
                  </a:lnTo>
                  <a:lnTo>
                    <a:pt x="266611" y="58394"/>
                  </a:lnTo>
                  <a:lnTo>
                    <a:pt x="273951" y="12306"/>
                  </a:lnTo>
                  <a:lnTo>
                    <a:pt x="281127" y="58585"/>
                  </a:lnTo>
                  <a:lnTo>
                    <a:pt x="295681" y="101955"/>
                  </a:lnTo>
                  <a:lnTo>
                    <a:pt x="316941" y="141744"/>
                  </a:lnTo>
                  <a:lnTo>
                    <a:pt x="344233" y="177279"/>
                  </a:lnTo>
                  <a:lnTo>
                    <a:pt x="376885" y="207873"/>
                  </a:lnTo>
                  <a:lnTo>
                    <a:pt x="414197" y="232854"/>
                  </a:lnTo>
                  <a:lnTo>
                    <a:pt x="455498" y="251548"/>
                  </a:lnTo>
                  <a:lnTo>
                    <a:pt x="500126" y="263258"/>
                  </a:lnTo>
                  <a:lnTo>
                    <a:pt x="548030" y="267309"/>
                  </a:lnTo>
                  <a:close/>
                </a:path>
              </a:pathLst>
            </a:custGeom>
            <a:solidFill>
              <a:srgbClr val="2DB7EA"/>
            </a:solidFill>
          </p:spPr>
          <p:txBody>
            <a:bodyPr wrap="square" lIns="0" tIns="0" rIns="0" bIns="0" rtlCol="0"/>
            <a:lstStyle/>
            <a:p>
              <a:endParaRPr dirty="0"/>
            </a:p>
          </p:txBody>
        </p:sp>
        <p:pic>
          <p:nvPicPr>
            <p:cNvPr id="310" name="object 308">
              <a:extLst>
                <a:ext uri="{FF2B5EF4-FFF2-40B4-BE49-F238E27FC236}">
                  <a16:creationId xmlns:a16="http://schemas.microsoft.com/office/drawing/2014/main" id="{2E1649E1-EE6D-43C4-4681-701D91715D0E}"/>
                </a:ext>
              </a:extLst>
            </p:cNvPr>
            <p:cNvPicPr/>
            <p:nvPr/>
          </p:nvPicPr>
          <p:blipFill>
            <a:blip r:embed="rId16" cstate="print"/>
            <a:stretch>
              <a:fillRect/>
            </a:stretch>
          </p:blipFill>
          <p:spPr>
            <a:xfrm>
              <a:off x="8096998" y="393572"/>
              <a:ext cx="106445" cy="107156"/>
            </a:xfrm>
            <a:prstGeom prst="rect">
              <a:avLst/>
            </a:prstGeom>
          </p:spPr>
        </p:pic>
        <p:sp>
          <p:nvSpPr>
            <p:cNvPr id="311" name="object 309">
              <a:extLst>
                <a:ext uri="{FF2B5EF4-FFF2-40B4-BE49-F238E27FC236}">
                  <a16:creationId xmlns:a16="http://schemas.microsoft.com/office/drawing/2014/main" id="{4753D33A-39EC-67E4-A6AB-4EE21647C7A5}"/>
                </a:ext>
              </a:extLst>
            </p:cNvPr>
            <p:cNvSpPr/>
            <p:nvPr/>
          </p:nvSpPr>
          <p:spPr>
            <a:xfrm>
              <a:off x="7983731" y="592039"/>
              <a:ext cx="332700" cy="477101"/>
            </a:xfrm>
            <a:custGeom>
              <a:avLst/>
              <a:gdLst/>
              <a:ahLst/>
              <a:cxnLst/>
              <a:rect l="l" t="t" r="r" b="b"/>
              <a:pathLst>
                <a:path w="548640" h="786764">
                  <a:moveTo>
                    <a:pt x="548068" y="786384"/>
                  </a:moveTo>
                  <a:lnTo>
                    <a:pt x="542632" y="738225"/>
                  </a:lnTo>
                  <a:lnTo>
                    <a:pt x="529234" y="692962"/>
                  </a:lnTo>
                  <a:lnTo>
                    <a:pt x="508609" y="651332"/>
                  </a:lnTo>
                  <a:lnTo>
                    <a:pt x="481520" y="614083"/>
                  </a:lnTo>
                  <a:lnTo>
                    <a:pt x="448678" y="581926"/>
                  </a:lnTo>
                  <a:lnTo>
                    <a:pt x="410819" y="555625"/>
                  </a:lnTo>
                  <a:lnTo>
                    <a:pt x="368693" y="535889"/>
                  </a:lnTo>
                  <a:lnTo>
                    <a:pt x="323024" y="523468"/>
                  </a:lnTo>
                  <a:lnTo>
                    <a:pt x="274548" y="519087"/>
                  </a:lnTo>
                  <a:lnTo>
                    <a:pt x="273329" y="519087"/>
                  </a:lnTo>
                  <a:lnTo>
                    <a:pt x="224980" y="523443"/>
                  </a:lnTo>
                  <a:lnTo>
                    <a:pt x="179438" y="535813"/>
                  </a:lnTo>
                  <a:lnTo>
                    <a:pt x="137401" y="555459"/>
                  </a:lnTo>
                  <a:lnTo>
                    <a:pt x="99618" y="581647"/>
                  </a:lnTo>
                  <a:lnTo>
                    <a:pt x="66814" y="613664"/>
                  </a:lnTo>
                  <a:lnTo>
                    <a:pt x="39725" y="650760"/>
                  </a:lnTo>
                  <a:lnTo>
                    <a:pt x="19075" y="692226"/>
                  </a:lnTo>
                  <a:lnTo>
                    <a:pt x="5600" y="737323"/>
                  </a:lnTo>
                  <a:lnTo>
                    <a:pt x="38" y="785304"/>
                  </a:lnTo>
                  <a:lnTo>
                    <a:pt x="47713" y="781278"/>
                  </a:lnTo>
                  <a:lnTo>
                    <a:pt x="92227" y="769620"/>
                  </a:lnTo>
                  <a:lnTo>
                    <a:pt x="133464" y="751014"/>
                  </a:lnTo>
                  <a:lnTo>
                    <a:pt x="170726" y="726147"/>
                  </a:lnTo>
                  <a:lnTo>
                    <a:pt x="203352" y="695680"/>
                  </a:lnTo>
                  <a:lnTo>
                    <a:pt x="230670" y="660298"/>
                  </a:lnTo>
                  <a:lnTo>
                    <a:pt x="251993" y="620674"/>
                  </a:lnTo>
                  <a:lnTo>
                    <a:pt x="266649" y="577481"/>
                  </a:lnTo>
                  <a:lnTo>
                    <a:pt x="273989" y="531393"/>
                  </a:lnTo>
                  <a:lnTo>
                    <a:pt x="281165" y="577659"/>
                  </a:lnTo>
                  <a:lnTo>
                    <a:pt x="295719" y="621030"/>
                  </a:lnTo>
                  <a:lnTo>
                    <a:pt x="316979" y="660831"/>
                  </a:lnTo>
                  <a:lnTo>
                    <a:pt x="344271" y="696366"/>
                  </a:lnTo>
                  <a:lnTo>
                    <a:pt x="376923" y="726960"/>
                  </a:lnTo>
                  <a:lnTo>
                    <a:pt x="414235" y="751941"/>
                  </a:lnTo>
                  <a:lnTo>
                    <a:pt x="455536" y="770623"/>
                  </a:lnTo>
                  <a:lnTo>
                    <a:pt x="500164" y="782332"/>
                  </a:lnTo>
                  <a:lnTo>
                    <a:pt x="548068" y="786384"/>
                  </a:lnTo>
                  <a:close/>
                </a:path>
                <a:path w="548640" h="786764">
                  <a:moveTo>
                    <a:pt x="548068" y="520852"/>
                  </a:moveTo>
                  <a:lnTo>
                    <a:pt x="542632" y="472694"/>
                  </a:lnTo>
                  <a:lnTo>
                    <a:pt x="529234" y="427431"/>
                  </a:lnTo>
                  <a:lnTo>
                    <a:pt x="508609" y="385800"/>
                  </a:lnTo>
                  <a:lnTo>
                    <a:pt x="481520" y="348551"/>
                  </a:lnTo>
                  <a:lnTo>
                    <a:pt x="448678" y="316395"/>
                  </a:lnTo>
                  <a:lnTo>
                    <a:pt x="410819" y="290080"/>
                  </a:lnTo>
                  <a:lnTo>
                    <a:pt x="368693" y="270357"/>
                  </a:lnTo>
                  <a:lnTo>
                    <a:pt x="323024" y="257924"/>
                  </a:lnTo>
                  <a:lnTo>
                    <a:pt x="274548" y="253555"/>
                  </a:lnTo>
                  <a:lnTo>
                    <a:pt x="273329" y="253555"/>
                  </a:lnTo>
                  <a:lnTo>
                    <a:pt x="224980" y="257911"/>
                  </a:lnTo>
                  <a:lnTo>
                    <a:pt x="179438" y="270281"/>
                  </a:lnTo>
                  <a:lnTo>
                    <a:pt x="137401" y="289915"/>
                  </a:lnTo>
                  <a:lnTo>
                    <a:pt x="99618" y="316115"/>
                  </a:lnTo>
                  <a:lnTo>
                    <a:pt x="66814" y="348132"/>
                  </a:lnTo>
                  <a:lnTo>
                    <a:pt x="39725" y="385229"/>
                  </a:lnTo>
                  <a:lnTo>
                    <a:pt x="19075" y="426694"/>
                  </a:lnTo>
                  <a:lnTo>
                    <a:pt x="5600" y="471779"/>
                  </a:lnTo>
                  <a:lnTo>
                    <a:pt x="38" y="519772"/>
                  </a:lnTo>
                  <a:lnTo>
                    <a:pt x="47713" y="515734"/>
                  </a:lnTo>
                  <a:lnTo>
                    <a:pt x="92227" y="504088"/>
                  </a:lnTo>
                  <a:lnTo>
                    <a:pt x="133464" y="485482"/>
                  </a:lnTo>
                  <a:lnTo>
                    <a:pt x="170726" y="460616"/>
                  </a:lnTo>
                  <a:lnTo>
                    <a:pt x="203352" y="430149"/>
                  </a:lnTo>
                  <a:lnTo>
                    <a:pt x="230670" y="394766"/>
                  </a:lnTo>
                  <a:lnTo>
                    <a:pt x="251993" y="355142"/>
                  </a:lnTo>
                  <a:lnTo>
                    <a:pt x="266649" y="311937"/>
                  </a:lnTo>
                  <a:lnTo>
                    <a:pt x="273989" y="265861"/>
                  </a:lnTo>
                  <a:lnTo>
                    <a:pt x="281165" y="312127"/>
                  </a:lnTo>
                  <a:lnTo>
                    <a:pt x="295719" y="355498"/>
                  </a:lnTo>
                  <a:lnTo>
                    <a:pt x="316979" y="395300"/>
                  </a:lnTo>
                  <a:lnTo>
                    <a:pt x="344271" y="430834"/>
                  </a:lnTo>
                  <a:lnTo>
                    <a:pt x="376923" y="461429"/>
                  </a:lnTo>
                  <a:lnTo>
                    <a:pt x="414235" y="486410"/>
                  </a:lnTo>
                  <a:lnTo>
                    <a:pt x="455536" y="505091"/>
                  </a:lnTo>
                  <a:lnTo>
                    <a:pt x="500164" y="516801"/>
                  </a:lnTo>
                  <a:lnTo>
                    <a:pt x="548068" y="520852"/>
                  </a:lnTo>
                  <a:close/>
                </a:path>
                <a:path w="548640" h="786764">
                  <a:moveTo>
                    <a:pt x="548081" y="267322"/>
                  </a:moveTo>
                  <a:lnTo>
                    <a:pt x="542632" y="219138"/>
                  </a:lnTo>
                  <a:lnTo>
                    <a:pt x="529234" y="173875"/>
                  </a:lnTo>
                  <a:lnTo>
                    <a:pt x="508622" y="132245"/>
                  </a:lnTo>
                  <a:lnTo>
                    <a:pt x="481533" y="94996"/>
                  </a:lnTo>
                  <a:lnTo>
                    <a:pt x="480834" y="94322"/>
                  </a:lnTo>
                  <a:lnTo>
                    <a:pt x="448691" y="62839"/>
                  </a:lnTo>
                  <a:lnTo>
                    <a:pt x="422376" y="44564"/>
                  </a:lnTo>
                  <a:lnTo>
                    <a:pt x="410832" y="36537"/>
                  </a:lnTo>
                  <a:lnTo>
                    <a:pt x="368693" y="16789"/>
                  </a:lnTo>
                  <a:lnTo>
                    <a:pt x="323024" y="4368"/>
                  </a:lnTo>
                  <a:lnTo>
                    <a:pt x="274561" y="12"/>
                  </a:lnTo>
                  <a:lnTo>
                    <a:pt x="273329" y="0"/>
                  </a:lnTo>
                  <a:lnTo>
                    <a:pt x="224980" y="4356"/>
                  </a:lnTo>
                  <a:lnTo>
                    <a:pt x="179438" y="16713"/>
                  </a:lnTo>
                  <a:lnTo>
                    <a:pt x="137401" y="36360"/>
                  </a:lnTo>
                  <a:lnTo>
                    <a:pt x="108216" y="56591"/>
                  </a:lnTo>
                  <a:lnTo>
                    <a:pt x="99618" y="62560"/>
                  </a:lnTo>
                  <a:lnTo>
                    <a:pt x="66814" y="94576"/>
                  </a:lnTo>
                  <a:lnTo>
                    <a:pt x="39687" y="131686"/>
                  </a:lnTo>
                  <a:lnTo>
                    <a:pt x="19037" y="173139"/>
                  </a:lnTo>
                  <a:lnTo>
                    <a:pt x="5562" y="218211"/>
                  </a:lnTo>
                  <a:lnTo>
                    <a:pt x="0" y="266192"/>
                  </a:lnTo>
                  <a:lnTo>
                    <a:pt x="47713" y="262178"/>
                  </a:lnTo>
                  <a:lnTo>
                    <a:pt x="92227" y="250520"/>
                  </a:lnTo>
                  <a:lnTo>
                    <a:pt x="133464" y="231927"/>
                  </a:lnTo>
                  <a:lnTo>
                    <a:pt x="161404" y="213271"/>
                  </a:lnTo>
                  <a:lnTo>
                    <a:pt x="170738" y="207048"/>
                  </a:lnTo>
                  <a:lnTo>
                    <a:pt x="203365" y="176593"/>
                  </a:lnTo>
                  <a:lnTo>
                    <a:pt x="230670" y="141211"/>
                  </a:lnTo>
                  <a:lnTo>
                    <a:pt x="251993" y="101587"/>
                  </a:lnTo>
                  <a:lnTo>
                    <a:pt x="266661" y="58407"/>
                  </a:lnTo>
                  <a:lnTo>
                    <a:pt x="273989" y="12319"/>
                  </a:lnTo>
                  <a:lnTo>
                    <a:pt x="281165" y="58572"/>
                  </a:lnTo>
                  <a:lnTo>
                    <a:pt x="295719" y="101942"/>
                  </a:lnTo>
                  <a:lnTo>
                    <a:pt x="316979" y="141732"/>
                  </a:lnTo>
                  <a:lnTo>
                    <a:pt x="344271" y="177266"/>
                  </a:lnTo>
                  <a:lnTo>
                    <a:pt x="376923" y="207873"/>
                  </a:lnTo>
                  <a:lnTo>
                    <a:pt x="414235" y="232854"/>
                  </a:lnTo>
                  <a:lnTo>
                    <a:pt x="455549" y="251548"/>
                  </a:lnTo>
                  <a:lnTo>
                    <a:pt x="500164" y="263258"/>
                  </a:lnTo>
                  <a:lnTo>
                    <a:pt x="548081" y="267322"/>
                  </a:lnTo>
                  <a:close/>
                </a:path>
              </a:pathLst>
            </a:custGeom>
            <a:solidFill>
              <a:srgbClr val="7ED3F1"/>
            </a:solidFill>
          </p:spPr>
          <p:txBody>
            <a:bodyPr wrap="square" lIns="0" tIns="0" rIns="0" bIns="0" rtlCol="0"/>
            <a:lstStyle/>
            <a:p>
              <a:endParaRPr dirty="0"/>
            </a:p>
          </p:txBody>
        </p:sp>
        <p:pic>
          <p:nvPicPr>
            <p:cNvPr id="312" name="object 310">
              <a:extLst>
                <a:ext uri="{FF2B5EF4-FFF2-40B4-BE49-F238E27FC236}">
                  <a16:creationId xmlns:a16="http://schemas.microsoft.com/office/drawing/2014/main" id="{533A024F-CA98-057C-F291-04C8E9D6B0D1}"/>
                </a:ext>
              </a:extLst>
            </p:cNvPr>
            <p:cNvPicPr/>
            <p:nvPr/>
          </p:nvPicPr>
          <p:blipFill>
            <a:blip r:embed="rId17" cstate="print"/>
            <a:stretch>
              <a:fillRect/>
            </a:stretch>
          </p:blipFill>
          <p:spPr>
            <a:xfrm>
              <a:off x="8096998" y="1047738"/>
              <a:ext cx="106445" cy="107156"/>
            </a:xfrm>
            <a:prstGeom prst="rect">
              <a:avLst/>
            </a:prstGeom>
          </p:spPr>
        </p:pic>
        <p:sp>
          <p:nvSpPr>
            <p:cNvPr id="313" name="object 311">
              <a:extLst>
                <a:ext uri="{FF2B5EF4-FFF2-40B4-BE49-F238E27FC236}">
                  <a16:creationId xmlns:a16="http://schemas.microsoft.com/office/drawing/2014/main" id="{5A11ADE3-21C2-5444-D253-CEB9D9130848}"/>
                </a:ext>
              </a:extLst>
            </p:cNvPr>
            <p:cNvSpPr/>
            <p:nvPr/>
          </p:nvSpPr>
          <p:spPr>
            <a:xfrm>
              <a:off x="9138939" y="804428"/>
              <a:ext cx="332700" cy="477101"/>
            </a:xfrm>
            <a:custGeom>
              <a:avLst/>
              <a:gdLst/>
              <a:ahLst/>
              <a:cxnLst/>
              <a:rect l="l" t="t" r="r" b="b"/>
              <a:pathLst>
                <a:path w="548640" h="786764">
                  <a:moveTo>
                    <a:pt x="548081" y="520166"/>
                  </a:moveTo>
                  <a:lnTo>
                    <a:pt x="500367" y="524205"/>
                  </a:lnTo>
                  <a:lnTo>
                    <a:pt x="455841" y="535851"/>
                  </a:lnTo>
                  <a:lnTo>
                    <a:pt x="414616" y="554456"/>
                  </a:lnTo>
                  <a:lnTo>
                    <a:pt x="377355" y="579323"/>
                  </a:lnTo>
                  <a:lnTo>
                    <a:pt x="375183" y="581355"/>
                  </a:lnTo>
                  <a:lnTo>
                    <a:pt x="344728" y="609790"/>
                  </a:lnTo>
                  <a:lnTo>
                    <a:pt x="317411" y="645160"/>
                  </a:lnTo>
                  <a:lnTo>
                    <a:pt x="296087" y="684784"/>
                  </a:lnTo>
                  <a:lnTo>
                    <a:pt x="281419" y="727976"/>
                  </a:lnTo>
                  <a:lnTo>
                    <a:pt x="274078" y="774039"/>
                  </a:lnTo>
                  <a:lnTo>
                    <a:pt x="268224" y="736295"/>
                  </a:lnTo>
                  <a:lnTo>
                    <a:pt x="266915" y="727811"/>
                  </a:lnTo>
                  <a:lnTo>
                    <a:pt x="252361" y="684441"/>
                  </a:lnTo>
                  <a:lnTo>
                    <a:pt x="231101" y="644652"/>
                  </a:lnTo>
                  <a:lnTo>
                    <a:pt x="224764" y="636409"/>
                  </a:lnTo>
                  <a:lnTo>
                    <a:pt x="203796" y="609117"/>
                  </a:lnTo>
                  <a:lnTo>
                    <a:pt x="171157" y="578510"/>
                  </a:lnTo>
                  <a:lnTo>
                    <a:pt x="133845" y="553529"/>
                  </a:lnTo>
                  <a:lnTo>
                    <a:pt x="92532" y="534847"/>
                  </a:lnTo>
                  <a:lnTo>
                    <a:pt x="47917" y="523113"/>
                  </a:lnTo>
                  <a:lnTo>
                    <a:pt x="0" y="519061"/>
                  </a:lnTo>
                  <a:lnTo>
                    <a:pt x="5448" y="567245"/>
                  </a:lnTo>
                  <a:lnTo>
                    <a:pt x="18846" y="612508"/>
                  </a:lnTo>
                  <a:lnTo>
                    <a:pt x="39458" y="654138"/>
                  </a:lnTo>
                  <a:lnTo>
                    <a:pt x="66548" y="691388"/>
                  </a:lnTo>
                  <a:lnTo>
                    <a:pt x="98704" y="722871"/>
                  </a:lnTo>
                  <a:lnTo>
                    <a:pt x="137248" y="749858"/>
                  </a:lnTo>
                  <a:lnTo>
                    <a:pt x="179387" y="769594"/>
                  </a:lnTo>
                  <a:lnTo>
                    <a:pt x="225056" y="782015"/>
                  </a:lnTo>
                  <a:lnTo>
                    <a:pt x="273532" y="786384"/>
                  </a:lnTo>
                  <a:lnTo>
                    <a:pt x="274751" y="786384"/>
                  </a:lnTo>
                  <a:lnTo>
                    <a:pt x="323088" y="782027"/>
                  </a:lnTo>
                  <a:lnTo>
                    <a:pt x="368642" y="769670"/>
                  </a:lnTo>
                  <a:lnTo>
                    <a:pt x="410679" y="750023"/>
                  </a:lnTo>
                  <a:lnTo>
                    <a:pt x="448475" y="723823"/>
                  </a:lnTo>
                  <a:lnTo>
                    <a:pt x="481279" y="691807"/>
                  </a:lnTo>
                  <a:lnTo>
                    <a:pt x="508393" y="654697"/>
                  </a:lnTo>
                  <a:lnTo>
                    <a:pt x="529043" y="613244"/>
                  </a:lnTo>
                  <a:lnTo>
                    <a:pt x="542518" y="568172"/>
                  </a:lnTo>
                  <a:lnTo>
                    <a:pt x="548068" y="520204"/>
                  </a:lnTo>
                  <a:close/>
                </a:path>
                <a:path w="548640" h="786764">
                  <a:moveTo>
                    <a:pt x="548081" y="266598"/>
                  </a:moveTo>
                  <a:lnTo>
                    <a:pt x="500367" y="270637"/>
                  </a:lnTo>
                  <a:lnTo>
                    <a:pt x="455841" y="282295"/>
                  </a:lnTo>
                  <a:lnTo>
                    <a:pt x="414616" y="300901"/>
                  </a:lnTo>
                  <a:lnTo>
                    <a:pt x="377355" y="325767"/>
                  </a:lnTo>
                  <a:lnTo>
                    <a:pt x="344728" y="356235"/>
                  </a:lnTo>
                  <a:lnTo>
                    <a:pt x="317411" y="391617"/>
                  </a:lnTo>
                  <a:lnTo>
                    <a:pt x="296087" y="431241"/>
                  </a:lnTo>
                  <a:lnTo>
                    <a:pt x="281419" y="474433"/>
                  </a:lnTo>
                  <a:lnTo>
                    <a:pt x="274091" y="520522"/>
                  </a:lnTo>
                  <a:lnTo>
                    <a:pt x="266915" y="474256"/>
                  </a:lnTo>
                  <a:lnTo>
                    <a:pt x="252361" y="430872"/>
                  </a:lnTo>
                  <a:lnTo>
                    <a:pt x="231101"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88"/>
                  </a:lnTo>
                  <a:lnTo>
                    <a:pt x="137248" y="496290"/>
                  </a:lnTo>
                  <a:lnTo>
                    <a:pt x="179387" y="516026"/>
                  </a:lnTo>
                  <a:lnTo>
                    <a:pt x="225056" y="528447"/>
                  </a:lnTo>
                  <a:lnTo>
                    <a:pt x="273532" y="532828"/>
                  </a:lnTo>
                  <a:lnTo>
                    <a:pt x="274751" y="532828"/>
                  </a:lnTo>
                  <a:lnTo>
                    <a:pt x="323088" y="528472"/>
                  </a:lnTo>
                  <a:lnTo>
                    <a:pt x="368642" y="516102"/>
                  </a:lnTo>
                  <a:lnTo>
                    <a:pt x="410679" y="496455"/>
                  </a:lnTo>
                  <a:lnTo>
                    <a:pt x="448475" y="470268"/>
                  </a:lnTo>
                  <a:lnTo>
                    <a:pt x="481279" y="438251"/>
                  </a:lnTo>
                  <a:lnTo>
                    <a:pt x="508368" y="401142"/>
                  </a:lnTo>
                  <a:lnTo>
                    <a:pt x="529031" y="359689"/>
                  </a:lnTo>
                  <a:lnTo>
                    <a:pt x="542505" y="314591"/>
                  </a:lnTo>
                  <a:lnTo>
                    <a:pt x="548081" y="266598"/>
                  </a:lnTo>
                  <a:close/>
                </a:path>
                <a:path w="548640" h="786764">
                  <a:moveTo>
                    <a:pt x="548081" y="1079"/>
                  </a:moveTo>
                  <a:lnTo>
                    <a:pt x="500367" y="5105"/>
                  </a:lnTo>
                  <a:lnTo>
                    <a:pt x="455841" y="16764"/>
                  </a:lnTo>
                  <a:lnTo>
                    <a:pt x="414616" y="35369"/>
                  </a:lnTo>
                  <a:lnTo>
                    <a:pt x="377355" y="60236"/>
                  </a:lnTo>
                  <a:lnTo>
                    <a:pt x="344728" y="90703"/>
                  </a:lnTo>
                  <a:lnTo>
                    <a:pt x="317411" y="126085"/>
                  </a:lnTo>
                  <a:lnTo>
                    <a:pt x="296087" y="165709"/>
                  </a:lnTo>
                  <a:lnTo>
                    <a:pt x="281419" y="208902"/>
                  </a:lnTo>
                  <a:lnTo>
                    <a:pt x="274091" y="254990"/>
                  </a:lnTo>
                  <a:lnTo>
                    <a:pt x="266915" y="208724"/>
                  </a:lnTo>
                  <a:lnTo>
                    <a:pt x="252361" y="165354"/>
                  </a:lnTo>
                  <a:lnTo>
                    <a:pt x="231101"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36"/>
                  </a:lnTo>
                  <a:lnTo>
                    <a:pt x="481279" y="172720"/>
                  </a:lnTo>
                  <a:lnTo>
                    <a:pt x="508368" y="135623"/>
                  </a:lnTo>
                  <a:lnTo>
                    <a:pt x="529031" y="94157"/>
                  </a:lnTo>
                  <a:lnTo>
                    <a:pt x="542505" y="49060"/>
                  </a:lnTo>
                  <a:lnTo>
                    <a:pt x="548081" y="1079"/>
                  </a:lnTo>
                  <a:close/>
                </a:path>
              </a:pathLst>
            </a:custGeom>
            <a:solidFill>
              <a:srgbClr val="2DB7EA"/>
            </a:solidFill>
          </p:spPr>
          <p:txBody>
            <a:bodyPr wrap="square" lIns="0" tIns="0" rIns="0" bIns="0" rtlCol="0"/>
            <a:lstStyle/>
            <a:p>
              <a:endParaRPr dirty="0"/>
            </a:p>
          </p:txBody>
        </p:sp>
        <p:pic>
          <p:nvPicPr>
            <p:cNvPr id="314" name="object 312">
              <a:extLst>
                <a:ext uri="{FF2B5EF4-FFF2-40B4-BE49-F238E27FC236}">
                  <a16:creationId xmlns:a16="http://schemas.microsoft.com/office/drawing/2014/main" id="{07CE8F11-2C22-81A9-A2C0-1495CEAE7BFA}"/>
                </a:ext>
              </a:extLst>
            </p:cNvPr>
            <p:cNvPicPr/>
            <p:nvPr/>
          </p:nvPicPr>
          <p:blipFill>
            <a:blip r:embed="rId10" cstate="print"/>
            <a:stretch>
              <a:fillRect/>
            </a:stretch>
          </p:blipFill>
          <p:spPr>
            <a:xfrm>
              <a:off x="9251594" y="718433"/>
              <a:ext cx="106445" cy="107156"/>
            </a:xfrm>
            <a:prstGeom prst="rect">
              <a:avLst/>
            </a:prstGeom>
          </p:spPr>
        </p:pic>
        <p:sp>
          <p:nvSpPr>
            <p:cNvPr id="315" name="object 313">
              <a:extLst>
                <a:ext uri="{FF2B5EF4-FFF2-40B4-BE49-F238E27FC236}">
                  <a16:creationId xmlns:a16="http://schemas.microsoft.com/office/drawing/2014/main" id="{BD7B2B31-8C3D-EAB1-90A1-FDEE457D1C88}"/>
                </a:ext>
              </a:extLst>
            </p:cNvPr>
            <p:cNvSpPr/>
            <p:nvPr/>
          </p:nvSpPr>
          <p:spPr>
            <a:xfrm>
              <a:off x="9138939" y="150257"/>
              <a:ext cx="332700" cy="477101"/>
            </a:xfrm>
            <a:custGeom>
              <a:avLst/>
              <a:gdLst/>
              <a:ahLst/>
              <a:cxnLst/>
              <a:rect l="l" t="t" r="r" b="b"/>
              <a:pathLst>
                <a:path w="548640" h="786765">
                  <a:moveTo>
                    <a:pt x="548081" y="520179"/>
                  </a:moveTo>
                  <a:lnTo>
                    <a:pt x="500367" y="524205"/>
                  </a:lnTo>
                  <a:lnTo>
                    <a:pt x="455841" y="535863"/>
                  </a:lnTo>
                  <a:lnTo>
                    <a:pt x="414616" y="554469"/>
                  </a:lnTo>
                  <a:lnTo>
                    <a:pt x="402209" y="562749"/>
                  </a:lnTo>
                  <a:lnTo>
                    <a:pt x="377355" y="579335"/>
                  </a:lnTo>
                  <a:lnTo>
                    <a:pt x="344728" y="609803"/>
                  </a:lnTo>
                  <a:lnTo>
                    <a:pt x="317411" y="645172"/>
                  </a:lnTo>
                  <a:lnTo>
                    <a:pt x="296087" y="684796"/>
                  </a:lnTo>
                  <a:lnTo>
                    <a:pt x="281419" y="727976"/>
                  </a:lnTo>
                  <a:lnTo>
                    <a:pt x="274078" y="774039"/>
                  </a:lnTo>
                  <a:lnTo>
                    <a:pt x="268224" y="736307"/>
                  </a:lnTo>
                  <a:lnTo>
                    <a:pt x="266915" y="727824"/>
                  </a:lnTo>
                  <a:lnTo>
                    <a:pt x="252361" y="684453"/>
                  </a:lnTo>
                  <a:lnTo>
                    <a:pt x="244944" y="670598"/>
                  </a:lnTo>
                  <a:lnTo>
                    <a:pt x="231101"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51"/>
                  </a:lnTo>
                  <a:lnTo>
                    <a:pt x="66548" y="691388"/>
                  </a:lnTo>
                  <a:lnTo>
                    <a:pt x="99402" y="723557"/>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5">
                  <a:moveTo>
                    <a:pt x="548081" y="266611"/>
                  </a:moveTo>
                  <a:lnTo>
                    <a:pt x="500367" y="270649"/>
                  </a:lnTo>
                  <a:lnTo>
                    <a:pt x="455841" y="282308"/>
                  </a:lnTo>
                  <a:lnTo>
                    <a:pt x="414616" y="300901"/>
                  </a:lnTo>
                  <a:lnTo>
                    <a:pt x="377355" y="325767"/>
                  </a:lnTo>
                  <a:lnTo>
                    <a:pt x="344728" y="356235"/>
                  </a:lnTo>
                  <a:lnTo>
                    <a:pt x="317411" y="391617"/>
                  </a:lnTo>
                  <a:lnTo>
                    <a:pt x="296087" y="431253"/>
                  </a:lnTo>
                  <a:lnTo>
                    <a:pt x="281419" y="474446"/>
                  </a:lnTo>
                  <a:lnTo>
                    <a:pt x="274091" y="520534"/>
                  </a:lnTo>
                  <a:lnTo>
                    <a:pt x="266915" y="474256"/>
                  </a:lnTo>
                  <a:lnTo>
                    <a:pt x="252361" y="430885"/>
                  </a:lnTo>
                  <a:lnTo>
                    <a:pt x="231101"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87" y="516039"/>
                  </a:lnTo>
                  <a:lnTo>
                    <a:pt x="225056" y="528459"/>
                  </a:lnTo>
                  <a:lnTo>
                    <a:pt x="273532" y="532828"/>
                  </a:lnTo>
                  <a:lnTo>
                    <a:pt x="274751" y="532828"/>
                  </a:lnTo>
                  <a:lnTo>
                    <a:pt x="323088" y="528472"/>
                  </a:lnTo>
                  <a:lnTo>
                    <a:pt x="368642" y="516115"/>
                  </a:lnTo>
                  <a:lnTo>
                    <a:pt x="410679" y="496468"/>
                  </a:lnTo>
                  <a:lnTo>
                    <a:pt x="448475" y="470268"/>
                  </a:lnTo>
                  <a:lnTo>
                    <a:pt x="481279" y="438251"/>
                  </a:lnTo>
                  <a:lnTo>
                    <a:pt x="508368" y="401154"/>
                  </a:lnTo>
                  <a:lnTo>
                    <a:pt x="529031" y="359689"/>
                  </a:lnTo>
                  <a:lnTo>
                    <a:pt x="542505" y="314604"/>
                  </a:lnTo>
                  <a:lnTo>
                    <a:pt x="548081" y="266611"/>
                  </a:lnTo>
                  <a:close/>
                </a:path>
                <a:path w="548640" h="786765">
                  <a:moveTo>
                    <a:pt x="548081" y="1079"/>
                  </a:moveTo>
                  <a:lnTo>
                    <a:pt x="500367" y="5118"/>
                  </a:lnTo>
                  <a:lnTo>
                    <a:pt x="455841" y="16776"/>
                  </a:lnTo>
                  <a:lnTo>
                    <a:pt x="414616" y="35369"/>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60"/>
                  </a:lnTo>
                  <a:lnTo>
                    <a:pt x="47917" y="4064"/>
                  </a:lnTo>
                  <a:lnTo>
                    <a:pt x="0" y="0"/>
                  </a:lnTo>
                  <a:lnTo>
                    <a:pt x="5448" y="48171"/>
                  </a:lnTo>
                  <a:lnTo>
                    <a:pt x="18846" y="93433"/>
                  </a:lnTo>
                  <a:lnTo>
                    <a:pt x="39458" y="135051"/>
                  </a:lnTo>
                  <a:lnTo>
                    <a:pt x="66560" y="172313"/>
                  </a:lnTo>
                  <a:lnTo>
                    <a:pt x="99402" y="204457"/>
                  </a:lnTo>
                  <a:lnTo>
                    <a:pt x="137248" y="230771"/>
                  </a:lnTo>
                  <a:lnTo>
                    <a:pt x="179387" y="250507"/>
                  </a:lnTo>
                  <a:lnTo>
                    <a:pt x="225056" y="262928"/>
                  </a:lnTo>
                  <a:lnTo>
                    <a:pt x="273532" y="267309"/>
                  </a:lnTo>
                  <a:lnTo>
                    <a:pt x="274751" y="267309"/>
                  </a:lnTo>
                  <a:lnTo>
                    <a:pt x="323088" y="262953"/>
                  </a:lnTo>
                  <a:lnTo>
                    <a:pt x="368642" y="250583"/>
                  </a:lnTo>
                  <a:lnTo>
                    <a:pt x="410679" y="230936"/>
                  </a:lnTo>
                  <a:lnTo>
                    <a:pt x="448475" y="204736"/>
                  </a:lnTo>
                  <a:lnTo>
                    <a:pt x="481279" y="172732"/>
                  </a:lnTo>
                  <a:lnTo>
                    <a:pt x="508368" y="135623"/>
                  </a:lnTo>
                  <a:lnTo>
                    <a:pt x="529031" y="94157"/>
                  </a:lnTo>
                  <a:lnTo>
                    <a:pt x="542505" y="49072"/>
                  </a:lnTo>
                  <a:lnTo>
                    <a:pt x="548081" y="1079"/>
                  </a:lnTo>
                  <a:close/>
                </a:path>
              </a:pathLst>
            </a:custGeom>
            <a:solidFill>
              <a:srgbClr val="7ED3F1"/>
            </a:solidFill>
          </p:spPr>
          <p:txBody>
            <a:bodyPr wrap="square" lIns="0" tIns="0" rIns="0" bIns="0" rtlCol="0"/>
            <a:lstStyle/>
            <a:p>
              <a:endParaRPr dirty="0"/>
            </a:p>
          </p:txBody>
        </p:sp>
        <p:pic>
          <p:nvPicPr>
            <p:cNvPr id="316" name="object 314">
              <a:extLst>
                <a:ext uri="{FF2B5EF4-FFF2-40B4-BE49-F238E27FC236}">
                  <a16:creationId xmlns:a16="http://schemas.microsoft.com/office/drawing/2014/main" id="{B761B291-B870-D2C4-5FCF-A3A686919868}"/>
                </a:ext>
              </a:extLst>
            </p:cNvPr>
            <p:cNvPicPr/>
            <p:nvPr/>
          </p:nvPicPr>
          <p:blipFill>
            <a:blip r:embed="rId11" cstate="print"/>
            <a:stretch>
              <a:fillRect/>
            </a:stretch>
          </p:blipFill>
          <p:spPr>
            <a:xfrm>
              <a:off x="9251594" y="64269"/>
              <a:ext cx="106445" cy="107156"/>
            </a:xfrm>
            <a:prstGeom prst="rect">
              <a:avLst/>
            </a:prstGeom>
          </p:spPr>
        </p:pic>
        <p:sp>
          <p:nvSpPr>
            <p:cNvPr id="317" name="object 315">
              <a:extLst>
                <a:ext uri="{FF2B5EF4-FFF2-40B4-BE49-F238E27FC236}">
                  <a16:creationId xmlns:a16="http://schemas.microsoft.com/office/drawing/2014/main" id="{28373B9B-C5A2-5C00-50F9-7E8B590AD416}"/>
                </a:ext>
              </a:extLst>
            </p:cNvPr>
            <p:cNvSpPr/>
            <p:nvPr/>
          </p:nvSpPr>
          <p:spPr>
            <a:xfrm>
              <a:off x="9138939" y="2112754"/>
              <a:ext cx="332700" cy="477101"/>
            </a:xfrm>
            <a:custGeom>
              <a:avLst/>
              <a:gdLst/>
              <a:ahLst/>
              <a:cxnLst/>
              <a:rect l="l" t="t" r="r" b="b"/>
              <a:pathLst>
                <a:path w="548640" h="786764">
                  <a:moveTo>
                    <a:pt x="548081" y="520166"/>
                  </a:moveTo>
                  <a:lnTo>
                    <a:pt x="500367" y="524205"/>
                  </a:lnTo>
                  <a:lnTo>
                    <a:pt x="455841" y="535863"/>
                  </a:lnTo>
                  <a:lnTo>
                    <a:pt x="414616" y="554456"/>
                  </a:lnTo>
                  <a:lnTo>
                    <a:pt x="377355" y="579335"/>
                  </a:lnTo>
                  <a:lnTo>
                    <a:pt x="375183" y="581367"/>
                  </a:lnTo>
                  <a:lnTo>
                    <a:pt x="344728" y="609803"/>
                  </a:lnTo>
                  <a:lnTo>
                    <a:pt x="317411" y="645172"/>
                  </a:lnTo>
                  <a:lnTo>
                    <a:pt x="296087" y="684796"/>
                  </a:lnTo>
                  <a:lnTo>
                    <a:pt x="281419" y="727989"/>
                  </a:lnTo>
                  <a:lnTo>
                    <a:pt x="274078" y="774039"/>
                  </a:lnTo>
                  <a:lnTo>
                    <a:pt x="266915" y="727811"/>
                  </a:lnTo>
                  <a:lnTo>
                    <a:pt x="252361" y="684441"/>
                  </a:lnTo>
                  <a:lnTo>
                    <a:pt x="231101" y="644652"/>
                  </a:lnTo>
                  <a:lnTo>
                    <a:pt x="203796" y="609117"/>
                  </a:lnTo>
                  <a:lnTo>
                    <a:pt x="171157" y="578523"/>
                  </a:lnTo>
                  <a:lnTo>
                    <a:pt x="133845" y="553542"/>
                  </a:lnTo>
                  <a:lnTo>
                    <a:pt x="92532" y="534860"/>
                  </a:lnTo>
                  <a:lnTo>
                    <a:pt x="47917" y="523125"/>
                  </a:lnTo>
                  <a:lnTo>
                    <a:pt x="0" y="519099"/>
                  </a:lnTo>
                  <a:lnTo>
                    <a:pt x="5448" y="567258"/>
                  </a:lnTo>
                  <a:lnTo>
                    <a:pt x="18846" y="612521"/>
                  </a:lnTo>
                  <a:lnTo>
                    <a:pt x="39458" y="654138"/>
                  </a:lnTo>
                  <a:lnTo>
                    <a:pt x="66548" y="691400"/>
                  </a:lnTo>
                  <a:lnTo>
                    <a:pt x="99390" y="723544"/>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4">
                  <a:moveTo>
                    <a:pt x="548081" y="266611"/>
                  </a:moveTo>
                  <a:lnTo>
                    <a:pt x="500367" y="270649"/>
                  </a:lnTo>
                  <a:lnTo>
                    <a:pt x="455841" y="282308"/>
                  </a:lnTo>
                  <a:lnTo>
                    <a:pt x="414616" y="300901"/>
                  </a:lnTo>
                  <a:lnTo>
                    <a:pt x="377355" y="325780"/>
                  </a:lnTo>
                  <a:lnTo>
                    <a:pt x="344728" y="356247"/>
                  </a:lnTo>
                  <a:lnTo>
                    <a:pt x="317411" y="391629"/>
                  </a:lnTo>
                  <a:lnTo>
                    <a:pt x="296087" y="431253"/>
                  </a:lnTo>
                  <a:lnTo>
                    <a:pt x="281419" y="474446"/>
                  </a:lnTo>
                  <a:lnTo>
                    <a:pt x="274091" y="520534"/>
                  </a:lnTo>
                  <a:lnTo>
                    <a:pt x="266915" y="474256"/>
                  </a:lnTo>
                  <a:lnTo>
                    <a:pt x="252361" y="430885"/>
                  </a:lnTo>
                  <a:lnTo>
                    <a:pt x="231101"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87" y="516039"/>
                  </a:lnTo>
                  <a:lnTo>
                    <a:pt x="225056" y="528459"/>
                  </a:lnTo>
                  <a:lnTo>
                    <a:pt x="273532" y="532841"/>
                  </a:lnTo>
                  <a:lnTo>
                    <a:pt x="274751" y="532841"/>
                  </a:lnTo>
                  <a:lnTo>
                    <a:pt x="323088" y="528485"/>
                  </a:lnTo>
                  <a:lnTo>
                    <a:pt x="368642" y="516115"/>
                  </a:lnTo>
                  <a:lnTo>
                    <a:pt x="410679" y="496468"/>
                  </a:lnTo>
                  <a:lnTo>
                    <a:pt x="448475" y="470268"/>
                  </a:lnTo>
                  <a:lnTo>
                    <a:pt x="481279" y="438264"/>
                  </a:lnTo>
                  <a:lnTo>
                    <a:pt x="508368" y="401154"/>
                  </a:lnTo>
                  <a:lnTo>
                    <a:pt x="529031" y="359689"/>
                  </a:lnTo>
                  <a:lnTo>
                    <a:pt x="542505" y="314604"/>
                  </a:lnTo>
                  <a:lnTo>
                    <a:pt x="548081" y="266611"/>
                  </a:lnTo>
                  <a:close/>
                </a:path>
                <a:path w="548640" h="786764">
                  <a:moveTo>
                    <a:pt x="548081" y="1079"/>
                  </a:moveTo>
                  <a:lnTo>
                    <a:pt x="500367" y="5118"/>
                  </a:lnTo>
                  <a:lnTo>
                    <a:pt x="455841" y="16776"/>
                  </a:lnTo>
                  <a:lnTo>
                    <a:pt x="414616" y="35369"/>
                  </a:lnTo>
                  <a:lnTo>
                    <a:pt x="377355" y="60248"/>
                  </a:lnTo>
                  <a:lnTo>
                    <a:pt x="344728" y="90703"/>
                  </a:lnTo>
                  <a:lnTo>
                    <a:pt x="317411" y="126085"/>
                  </a:lnTo>
                  <a:lnTo>
                    <a:pt x="296087" y="165722"/>
                  </a:lnTo>
                  <a:lnTo>
                    <a:pt x="281419" y="208915"/>
                  </a:lnTo>
                  <a:lnTo>
                    <a:pt x="274091" y="255003"/>
                  </a:lnTo>
                  <a:lnTo>
                    <a:pt x="266915" y="208724"/>
                  </a:lnTo>
                  <a:lnTo>
                    <a:pt x="252361" y="165354"/>
                  </a:lnTo>
                  <a:lnTo>
                    <a:pt x="231101" y="125564"/>
                  </a:lnTo>
                  <a:lnTo>
                    <a:pt x="203796" y="90030"/>
                  </a:lnTo>
                  <a:lnTo>
                    <a:pt x="171157" y="59423"/>
                  </a:lnTo>
                  <a:lnTo>
                    <a:pt x="133845" y="34442"/>
                  </a:lnTo>
                  <a:lnTo>
                    <a:pt x="92532" y="15760"/>
                  </a:lnTo>
                  <a:lnTo>
                    <a:pt x="47917" y="4051"/>
                  </a:lnTo>
                  <a:lnTo>
                    <a:pt x="0" y="0"/>
                  </a:lnTo>
                  <a:lnTo>
                    <a:pt x="5448" y="48158"/>
                  </a:lnTo>
                  <a:lnTo>
                    <a:pt x="18846" y="93421"/>
                  </a:lnTo>
                  <a:lnTo>
                    <a:pt x="39458" y="135051"/>
                  </a:lnTo>
                  <a:lnTo>
                    <a:pt x="66560" y="172313"/>
                  </a:lnTo>
                  <a:lnTo>
                    <a:pt x="99402" y="204457"/>
                  </a:lnTo>
                  <a:lnTo>
                    <a:pt x="137248" y="230771"/>
                  </a:lnTo>
                  <a:lnTo>
                    <a:pt x="179387" y="250507"/>
                  </a:lnTo>
                  <a:lnTo>
                    <a:pt x="225056" y="262928"/>
                  </a:lnTo>
                  <a:lnTo>
                    <a:pt x="273532" y="267296"/>
                  </a:lnTo>
                  <a:lnTo>
                    <a:pt x="274751" y="267296"/>
                  </a:lnTo>
                  <a:lnTo>
                    <a:pt x="323088" y="262940"/>
                  </a:lnTo>
                  <a:lnTo>
                    <a:pt x="368642" y="250583"/>
                  </a:lnTo>
                  <a:lnTo>
                    <a:pt x="410679" y="230936"/>
                  </a:lnTo>
                  <a:lnTo>
                    <a:pt x="448475" y="204736"/>
                  </a:lnTo>
                  <a:lnTo>
                    <a:pt x="481279" y="172720"/>
                  </a:lnTo>
                  <a:lnTo>
                    <a:pt x="508368" y="135623"/>
                  </a:lnTo>
                  <a:lnTo>
                    <a:pt x="529031" y="94157"/>
                  </a:lnTo>
                  <a:lnTo>
                    <a:pt x="542505" y="49072"/>
                  </a:lnTo>
                  <a:lnTo>
                    <a:pt x="548081" y="1079"/>
                  </a:lnTo>
                  <a:close/>
                </a:path>
              </a:pathLst>
            </a:custGeom>
            <a:solidFill>
              <a:srgbClr val="2DB7EA"/>
            </a:solidFill>
          </p:spPr>
          <p:txBody>
            <a:bodyPr wrap="square" lIns="0" tIns="0" rIns="0" bIns="0" rtlCol="0"/>
            <a:lstStyle/>
            <a:p>
              <a:endParaRPr dirty="0"/>
            </a:p>
          </p:txBody>
        </p:sp>
        <p:pic>
          <p:nvPicPr>
            <p:cNvPr id="318" name="object 316">
              <a:extLst>
                <a:ext uri="{FF2B5EF4-FFF2-40B4-BE49-F238E27FC236}">
                  <a16:creationId xmlns:a16="http://schemas.microsoft.com/office/drawing/2014/main" id="{75042BEA-9E99-3640-8496-743515D2177E}"/>
                </a:ext>
              </a:extLst>
            </p:cNvPr>
            <p:cNvPicPr/>
            <p:nvPr/>
          </p:nvPicPr>
          <p:blipFill>
            <a:blip r:embed="rId10" cstate="print"/>
            <a:stretch>
              <a:fillRect/>
            </a:stretch>
          </p:blipFill>
          <p:spPr>
            <a:xfrm>
              <a:off x="9251594" y="2026765"/>
              <a:ext cx="106445" cy="107156"/>
            </a:xfrm>
            <a:prstGeom prst="rect">
              <a:avLst/>
            </a:prstGeom>
          </p:spPr>
        </p:pic>
        <p:sp>
          <p:nvSpPr>
            <p:cNvPr id="319" name="object 317">
              <a:extLst>
                <a:ext uri="{FF2B5EF4-FFF2-40B4-BE49-F238E27FC236}">
                  <a16:creationId xmlns:a16="http://schemas.microsoft.com/office/drawing/2014/main" id="{1F8E2761-3F84-DBAA-8701-6CA389DFE6FA}"/>
                </a:ext>
              </a:extLst>
            </p:cNvPr>
            <p:cNvSpPr/>
            <p:nvPr/>
          </p:nvSpPr>
          <p:spPr>
            <a:xfrm>
              <a:off x="9138939" y="1458591"/>
              <a:ext cx="332700" cy="477101"/>
            </a:xfrm>
            <a:custGeom>
              <a:avLst/>
              <a:gdLst/>
              <a:ahLst/>
              <a:cxnLst/>
              <a:rect l="l" t="t" r="r" b="b"/>
              <a:pathLst>
                <a:path w="548640" h="786764">
                  <a:moveTo>
                    <a:pt x="548081" y="520166"/>
                  </a:moveTo>
                  <a:lnTo>
                    <a:pt x="500367" y="524205"/>
                  </a:lnTo>
                  <a:lnTo>
                    <a:pt x="455841" y="535863"/>
                  </a:lnTo>
                  <a:lnTo>
                    <a:pt x="414616" y="554456"/>
                  </a:lnTo>
                  <a:lnTo>
                    <a:pt x="389775" y="571042"/>
                  </a:lnTo>
                  <a:lnTo>
                    <a:pt x="377355" y="579335"/>
                  </a:lnTo>
                  <a:lnTo>
                    <a:pt x="344728" y="609790"/>
                  </a:lnTo>
                  <a:lnTo>
                    <a:pt x="317411" y="645172"/>
                  </a:lnTo>
                  <a:lnTo>
                    <a:pt x="296087" y="684784"/>
                  </a:lnTo>
                  <a:lnTo>
                    <a:pt x="281419" y="727976"/>
                  </a:lnTo>
                  <a:lnTo>
                    <a:pt x="274078" y="774039"/>
                  </a:lnTo>
                  <a:lnTo>
                    <a:pt x="266915" y="727811"/>
                  </a:lnTo>
                  <a:lnTo>
                    <a:pt x="252361" y="684441"/>
                  </a:lnTo>
                  <a:lnTo>
                    <a:pt x="231101" y="644652"/>
                  </a:lnTo>
                  <a:lnTo>
                    <a:pt x="203796" y="609117"/>
                  </a:lnTo>
                  <a:lnTo>
                    <a:pt x="171157" y="578510"/>
                  </a:lnTo>
                  <a:lnTo>
                    <a:pt x="133845" y="553529"/>
                  </a:lnTo>
                  <a:lnTo>
                    <a:pt x="92532" y="534847"/>
                  </a:lnTo>
                  <a:lnTo>
                    <a:pt x="47917" y="523138"/>
                  </a:lnTo>
                  <a:lnTo>
                    <a:pt x="0" y="519061"/>
                  </a:lnTo>
                  <a:lnTo>
                    <a:pt x="5448" y="567245"/>
                  </a:lnTo>
                  <a:lnTo>
                    <a:pt x="18846" y="612508"/>
                  </a:lnTo>
                  <a:lnTo>
                    <a:pt x="39458" y="654138"/>
                  </a:lnTo>
                  <a:lnTo>
                    <a:pt x="66548" y="691388"/>
                  </a:lnTo>
                  <a:lnTo>
                    <a:pt x="67246" y="692073"/>
                  </a:lnTo>
                  <a:lnTo>
                    <a:pt x="99390" y="723544"/>
                  </a:lnTo>
                  <a:lnTo>
                    <a:pt x="137248" y="749858"/>
                  </a:lnTo>
                  <a:lnTo>
                    <a:pt x="179387" y="769594"/>
                  </a:lnTo>
                  <a:lnTo>
                    <a:pt x="225056" y="782015"/>
                  </a:lnTo>
                  <a:lnTo>
                    <a:pt x="273532" y="786384"/>
                  </a:lnTo>
                  <a:lnTo>
                    <a:pt x="274751" y="786384"/>
                  </a:lnTo>
                  <a:lnTo>
                    <a:pt x="323088" y="782027"/>
                  </a:lnTo>
                  <a:lnTo>
                    <a:pt x="368642" y="769670"/>
                  </a:lnTo>
                  <a:lnTo>
                    <a:pt x="410679" y="750023"/>
                  </a:lnTo>
                  <a:lnTo>
                    <a:pt x="448475" y="723823"/>
                  </a:lnTo>
                  <a:lnTo>
                    <a:pt x="481279" y="691807"/>
                  </a:lnTo>
                  <a:lnTo>
                    <a:pt x="508393" y="654697"/>
                  </a:lnTo>
                  <a:lnTo>
                    <a:pt x="529043" y="613244"/>
                  </a:lnTo>
                  <a:lnTo>
                    <a:pt x="542518" y="568172"/>
                  </a:lnTo>
                  <a:lnTo>
                    <a:pt x="548068" y="520204"/>
                  </a:lnTo>
                  <a:close/>
                </a:path>
                <a:path w="548640" h="786764">
                  <a:moveTo>
                    <a:pt x="548081" y="266611"/>
                  </a:moveTo>
                  <a:lnTo>
                    <a:pt x="500367" y="270649"/>
                  </a:lnTo>
                  <a:lnTo>
                    <a:pt x="455841" y="282295"/>
                  </a:lnTo>
                  <a:lnTo>
                    <a:pt x="414616" y="300901"/>
                  </a:lnTo>
                  <a:lnTo>
                    <a:pt x="377355" y="325767"/>
                  </a:lnTo>
                  <a:lnTo>
                    <a:pt x="344728" y="356235"/>
                  </a:lnTo>
                  <a:lnTo>
                    <a:pt x="317411" y="391617"/>
                  </a:lnTo>
                  <a:lnTo>
                    <a:pt x="296087" y="431241"/>
                  </a:lnTo>
                  <a:lnTo>
                    <a:pt x="281419" y="474446"/>
                  </a:lnTo>
                  <a:lnTo>
                    <a:pt x="274091" y="520522"/>
                  </a:lnTo>
                  <a:lnTo>
                    <a:pt x="266915" y="474256"/>
                  </a:lnTo>
                  <a:lnTo>
                    <a:pt x="252361" y="430885"/>
                  </a:lnTo>
                  <a:lnTo>
                    <a:pt x="231101"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87" y="516026"/>
                  </a:lnTo>
                  <a:lnTo>
                    <a:pt x="225056" y="528459"/>
                  </a:lnTo>
                  <a:lnTo>
                    <a:pt x="273532" y="532828"/>
                  </a:lnTo>
                  <a:lnTo>
                    <a:pt x="274751" y="532828"/>
                  </a:lnTo>
                  <a:lnTo>
                    <a:pt x="323088" y="528472"/>
                  </a:lnTo>
                  <a:lnTo>
                    <a:pt x="368642" y="516102"/>
                  </a:lnTo>
                  <a:lnTo>
                    <a:pt x="410679" y="496468"/>
                  </a:lnTo>
                  <a:lnTo>
                    <a:pt x="448475" y="470268"/>
                  </a:lnTo>
                  <a:lnTo>
                    <a:pt x="481279" y="438251"/>
                  </a:lnTo>
                  <a:lnTo>
                    <a:pt x="508368" y="401154"/>
                  </a:lnTo>
                  <a:lnTo>
                    <a:pt x="529031" y="359689"/>
                  </a:lnTo>
                  <a:lnTo>
                    <a:pt x="542505" y="314604"/>
                  </a:lnTo>
                  <a:lnTo>
                    <a:pt x="548081" y="266611"/>
                  </a:lnTo>
                  <a:close/>
                </a:path>
                <a:path w="548640" h="786764">
                  <a:moveTo>
                    <a:pt x="548081" y="1079"/>
                  </a:moveTo>
                  <a:lnTo>
                    <a:pt x="500367" y="5105"/>
                  </a:lnTo>
                  <a:lnTo>
                    <a:pt x="455841" y="16764"/>
                  </a:lnTo>
                  <a:lnTo>
                    <a:pt x="414616" y="35369"/>
                  </a:lnTo>
                  <a:lnTo>
                    <a:pt x="377355" y="60236"/>
                  </a:lnTo>
                  <a:lnTo>
                    <a:pt x="344728" y="90703"/>
                  </a:lnTo>
                  <a:lnTo>
                    <a:pt x="317411" y="126085"/>
                  </a:lnTo>
                  <a:lnTo>
                    <a:pt x="296087" y="165709"/>
                  </a:lnTo>
                  <a:lnTo>
                    <a:pt x="281419" y="208902"/>
                  </a:lnTo>
                  <a:lnTo>
                    <a:pt x="274091" y="254990"/>
                  </a:lnTo>
                  <a:lnTo>
                    <a:pt x="266915" y="208724"/>
                  </a:lnTo>
                  <a:lnTo>
                    <a:pt x="252361" y="165354"/>
                  </a:lnTo>
                  <a:lnTo>
                    <a:pt x="231101"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36"/>
                  </a:lnTo>
                  <a:lnTo>
                    <a:pt x="481279" y="172720"/>
                  </a:lnTo>
                  <a:lnTo>
                    <a:pt x="508368" y="135623"/>
                  </a:lnTo>
                  <a:lnTo>
                    <a:pt x="529031" y="94157"/>
                  </a:lnTo>
                  <a:lnTo>
                    <a:pt x="542505" y="49060"/>
                  </a:lnTo>
                  <a:lnTo>
                    <a:pt x="548081" y="1079"/>
                  </a:lnTo>
                  <a:close/>
                </a:path>
              </a:pathLst>
            </a:custGeom>
            <a:solidFill>
              <a:srgbClr val="7ED3F1"/>
            </a:solidFill>
          </p:spPr>
          <p:txBody>
            <a:bodyPr wrap="square" lIns="0" tIns="0" rIns="0" bIns="0" rtlCol="0"/>
            <a:lstStyle/>
            <a:p>
              <a:endParaRPr dirty="0"/>
            </a:p>
          </p:txBody>
        </p:sp>
        <p:pic>
          <p:nvPicPr>
            <p:cNvPr id="320" name="object 318">
              <a:extLst>
                <a:ext uri="{FF2B5EF4-FFF2-40B4-BE49-F238E27FC236}">
                  <a16:creationId xmlns:a16="http://schemas.microsoft.com/office/drawing/2014/main" id="{163E3FEE-E13D-6F5E-D5A9-E4FC1EBB3152}"/>
                </a:ext>
              </a:extLst>
            </p:cNvPr>
            <p:cNvPicPr/>
            <p:nvPr/>
          </p:nvPicPr>
          <p:blipFill>
            <a:blip r:embed="rId11" cstate="print"/>
            <a:stretch>
              <a:fillRect/>
            </a:stretch>
          </p:blipFill>
          <p:spPr>
            <a:xfrm>
              <a:off x="9251594" y="1372599"/>
              <a:ext cx="106445" cy="107156"/>
            </a:xfrm>
            <a:prstGeom prst="rect">
              <a:avLst/>
            </a:prstGeom>
          </p:spPr>
        </p:pic>
        <p:sp>
          <p:nvSpPr>
            <p:cNvPr id="321" name="object 319">
              <a:extLst>
                <a:ext uri="{FF2B5EF4-FFF2-40B4-BE49-F238E27FC236}">
                  <a16:creationId xmlns:a16="http://schemas.microsoft.com/office/drawing/2014/main" id="{97C090F6-6A1E-A67A-6511-B538DE532AC3}"/>
                </a:ext>
              </a:extLst>
            </p:cNvPr>
            <p:cNvSpPr/>
            <p:nvPr/>
          </p:nvSpPr>
          <p:spPr>
            <a:xfrm>
              <a:off x="9138939" y="3421088"/>
              <a:ext cx="332700" cy="477101"/>
            </a:xfrm>
            <a:custGeom>
              <a:avLst/>
              <a:gdLst/>
              <a:ahLst/>
              <a:cxnLst/>
              <a:rect l="l" t="t" r="r" b="b"/>
              <a:pathLst>
                <a:path w="548640" h="786764">
                  <a:moveTo>
                    <a:pt x="548081" y="520179"/>
                  </a:moveTo>
                  <a:lnTo>
                    <a:pt x="500367" y="524217"/>
                  </a:lnTo>
                  <a:lnTo>
                    <a:pt x="455841" y="535863"/>
                  </a:lnTo>
                  <a:lnTo>
                    <a:pt x="427418" y="548690"/>
                  </a:lnTo>
                  <a:lnTo>
                    <a:pt x="414616" y="554469"/>
                  </a:lnTo>
                  <a:lnTo>
                    <a:pt x="377355" y="579335"/>
                  </a:lnTo>
                  <a:lnTo>
                    <a:pt x="344716" y="609790"/>
                  </a:lnTo>
                  <a:lnTo>
                    <a:pt x="317411" y="645172"/>
                  </a:lnTo>
                  <a:lnTo>
                    <a:pt x="296087" y="684784"/>
                  </a:lnTo>
                  <a:lnTo>
                    <a:pt x="281419" y="727976"/>
                  </a:lnTo>
                  <a:lnTo>
                    <a:pt x="274078" y="774039"/>
                  </a:lnTo>
                  <a:lnTo>
                    <a:pt x="268224" y="736295"/>
                  </a:lnTo>
                  <a:lnTo>
                    <a:pt x="266915" y="727811"/>
                  </a:lnTo>
                  <a:lnTo>
                    <a:pt x="252361" y="684441"/>
                  </a:lnTo>
                  <a:lnTo>
                    <a:pt x="231101" y="644652"/>
                  </a:lnTo>
                  <a:lnTo>
                    <a:pt x="215646" y="624560"/>
                  </a:lnTo>
                  <a:lnTo>
                    <a:pt x="203796" y="609117"/>
                  </a:lnTo>
                  <a:lnTo>
                    <a:pt x="171157" y="578510"/>
                  </a:lnTo>
                  <a:lnTo>
                    <a:pt x="133845" y="553529"/>
                  </a:lnTo>
                  <a:lnTo>
                    <a:pt x="92532" y="534847"/>
                  </a:lnTo>
                  <a:lnTo>
                    <a:pt x="47917" y="523138"/>
                  </a:lnTo>
                  <a:lnTo>
                    <a:pt x="0" y="519061"/>
                  </a:lnTo>
                  <a:lnTo>
                    <a:pt x="5448" y="567245"/>
                  </a:lnTo>
                  <a:lnTo>
                    <a:pt x="18846" y="612508"/>
                  </a:lnTo>
                  <a:lnTo>
                    <a:pt x="39458" y="654138"/>
                  </a:lnTo>
                  <a:lnTo>
                    <a:pt x="66548" y="691388"/>
                  </a:lnTo>
                  <a:lnTo>
                    <a:pt x="99402" y="723544"/>
                  </a:lnTo>
                  <a:lnTo>
                    <a:pt x="137248" y="749858"/>
                  </a:lnTo>
                  <a:lnTo>
                    <a:pt x="179387" y="769594"/>
                  </a:lnTo>
                  <a:lnTo>
                    <a:pt x="225056" y="782015"/>
                  </a:lnTo>
                  <a:lnTo>
                    <a:pt x="273532" y="786384"/>
                  </a:lnTo>
                  <a:lnTo>
                    <a:pt x="274751" y="786384"/>
                  </a:lnTo>
                  <a:lnTo>
                    <a:pt x="323088" y="782027"/>
                  </a:lnTo>
                  <a:lnTo>
                    <a:pt x="368642" y="769670"/>
                  </a:lnTo>
                  <a:lnTo>
                    <a:pt x="410679" y="750023"/>
                  </a:lnTo>
                  <a:lnTo>
                    <a:pt x="448475" y="723823"/>
                  </a:lnTo>
                  <a:lnTo>
                    <a:pt x="481279" y="691819"/>
                  </a:lnTo>
                  <a:lnTo>
                    <a:pt x="488492" y="681939"/>
                  </a:lnTo>
                  <a:lnTo>
                    <a:pt x="508393" y="654697"/>
                  </a:lnTo>
                  <a:lnTo>
                    <a:pt x="529031" y="613257"/>
                  </a:lnTo>
                  <a:lnTo>
                    <a:pt x="542518" y="568172"/>
                  </a:lnTo>
                  <a:lnTo>
                    <a:pt x="548068" y="520204"/>
                  </a:lnTo>
                  <a:close/>
                </a:path>
                <a:path w="548640" h="786764">
                  <a:moveTo>
                    <a:pt x="548081" y="266611"/>
                  </a:moveTo>
                  <a:lnTo>
                    <a:pt x="500367" y="270637"/>
                  </a:lnTo>
                  <a:lnTo>
                    <a:pt x="455841" y="282295"/>
                  </a:lnTo>
                  <a:lnTo>
                    <a:pt x="414616" y="300901"/>
                  </a:lnTo>
                  <a:lnTo>
                    <a:pt x="377355" y="325767"/>
                  </a:lnTo>
                  <a:lnTo>
                    <a:pt x="344728" y="356235"/>
                  </a:lnTo>
                  <a:lnTo>
                    <a:pt x="317411" y="391617"/>
                  </a:lnTo>
                  <a:lnTo>
                    <a:pt x="296087" y="431241"/>
                  </a:lnTo>
                  <a:lnTo>
                    <a:pt x="281419" y="474433"/>
                  </a:lnTo>
                  <a:lnTo>
                    <a:pt x="274091" y="520522"/>
                  </a:lnTo>
                  <a:lnTo>
                    <a:pt x="266915" y="474256"/>
                  </a:lnTo>
                  <a:lnTo>
                    <a:pt x="252361" y="430885"/>
                  </a:lnTo>
                  <a:lnTo>
                    <a:pt x="231101" y="391083"/>
                  </a:lnTo>
                  <a:lnTo>
                    <a:pt x="203796" y="355549"/>
                  </a:lnTo>
                  <a:lnTo>
                    <a:pt x="171157" y="324954"/>
                  </a:lnTo>
                  <a:lnTo>
                    <a:pt x="133845" y="299974"/>
                  </a:lnTo>
                  <a:lnTo>
                    <a:pt x="92532" y="281292"/>
                  </a:lnTo>
                  <a:lnTo>
                    <a:pt x="47917" y="269582"/>
                  </a:lnTo>
                  <a:lnTo>
                    <a:pt x="0" y="265531"/>
                  </a:lnTo>
                  <a:lnTo>
                    <a:pt x="5448" y="313690"/>
                  </a:lnTo>
                  <a:lnTo>
                    <a:pt x="18846" y="358952"/>
                  </a:lnTo>
                  <a:lnTo>
                    <a:pt x="39458" y="400570"/>
                  </a:lnTo>
                  <a:lnTo>
                    <a:pt x="66560" y="437832"/>
                  </a:lnTo>
                  <a:lnTo>
                    <a:pt x="99402" y="469976"/>
                  </a:lnTo>
                  <a:lnTo>
                    <a:pt x="137248" y="496290"/>
                  </a:lnTo>
                  <a:lnTo>
                    <a:pt x="179387" y="516026"/>
                  </a:lnTo>
                  <a:lnTo>
                    <a:pt x="225056" y="528447"/>
                  </a:lnTo>
                  <a:lnTo>
                    <a:pt x="273532" y="532828"/>
                  </a:lnTo>
                  <a:lnTo>
                    <a:pt x="274751" y="532828"/>
                  </a:lnTo>
                  <a:lnTo>
                    <a:pt x="323088" y="528472"/>
                  </a:lnTo>
                  <a:lnTo>
                    <a:pt x="368642" y="516102"/>
                  </a:lnTo>
                  <a:lnTo>
                    <a:pt x="410679" y="496455"/>
                  </a:lnTo>
                  <a:lnTo>
                    <a:pt x="448475" y="470255"/>
                  </a:lnTo>
                  <a:lnTo>
                    <a:pt x="481279" y="438251"/>
                  </a:lnTo>
                  <a:lnTo>
                    <a:pt x="508368" y="401142"/>
                  </a:lnTo>
                  <a:lnTo>
                    <a:pt x="529031" y="359689"/>
                  </a:lnTo>
                  <a:lnTo>
                    <a:pt x="542505" y="314591"/>
                  </a:lnTo>
                  <a:lnTo>
                    <a:pt x="548081" y="266611"/>
                  </a:lnTo>
                  <a:close/>
                </a:path>
                <a:path w="548640" h="786764">
                  <a:moveTo>
                    <a:pt x="548081" y="1079"/>
                  </a:moveTo>
                  <a:lnTo>
                    <a:pt x="500367" y="5118"/>
                  </a:lnTo>
                  <a:lnTo>
                    <a:pt x="455841" y="16764"/>
                  </a:lnTo>
                  <a:lnTo>
                    <a:pt x="414616" y="35369"/>
                  </a:lnTo>
                  <a:lnTo>
                    <a:pt x="377355" y="60236"/>
                  </a:lnTo>
                  <a:lnTo>
                    <a:pt x="344728" y="90703"/>
                  </a:lnTo>
                  <a:lnTo>
                    <a:pt x="317411" y="126085"/>
                  </a:lnTo>
                  <a:lnTo>
                    <a:pt x="296087" y="165709"/>
                  </a:lnTo>
                  <a:lnTo>
                    <a:pt x="281419" y="208915"/>
                  </a:lnTo>
                  <a:lnTo>
                    <a:pt x="274091" y="254990"/>
                  </a:lnTo>
                  <a:lnTo>
                    <a:pt x="266915" y="208724"/>
                  </a:lnTo>
                  <a:lnTo>
                    <a:pt x="252361" y="165354"/>
                  </a:lnTo>
                  <a:lnTo>
                    <a:pt x="231101" y="125552"/>
                  </a:lnTo>
                  <a:lnTo>
                    <a:pt x="203796" y="90017"/>
                  </a:lnTo>
                  <a:lnTo>
                    <a:pt x="171157" y="59423"/>
                  </a:lnTo>
                  <a:lnTo>
                    <a:pt x="133845" y="34442"/>
                  </a:lnTo>
                  <a:lnTo>
                    <a:pt x="92532" y="15760"/>
                  </a:lnTo>
                  <a:lnTo>
                    <a:pt x="47917" y="4051"/>
                  </a:lnTo>
                  <a:lnTo>
                    <a:pt x="0" y="0"/>
                  </a:lnTo>
                  <a:lnTo>
                    <a:pt x="5448" y="48158"/>
                  </a:lnTo>
                  <a:lnTo>
                    <a:pt x="18846" y="93421"/>
                  </a:lnTo>
                  <a:lnTo>
                    <a:pt x="39458" y="135051"/>
                  </a:lnTo>
                  <a:lnTo>
                    <a:pt x="66560" y="172300"/>
                  </a:lnTo>
                  <a:lnTo>
                    <a:pt x="99402" y="204457"/>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36"/>
                  </a:lnTo>
                  <a:lnTo>
                    <a:pt x="481279" y="172720"/>
                  </a:lnTo>
                  <a:lnTo>
                    <a:pt x="508368" y="135623"/>
                  </a:lnTo>
                  <a:lnTo>
                    <a:pt x="529031" y="94157"/>
                  </a:lnTo>
                  <a:lnTo>
                    <a:pt x="542505" y="49072"/>
                  </a:lnTo>
                  <a:lnTo>
                    <a:pt x="548081" y="1079"/>
                  </a:lnTo>
                  <a:close/>
                </a:path>
              </a:pathLst>
            </a:custGeom>
            <a:solidFill>
              <a:srgbClr val="2DB7EA"/>
            </a:solidFill>
          </p:spPr>
          <p:txBody>
            <a:bodyPr wrap="square" lIns="0" tIns="0" rIns="0" bIns="0" rtlCol="0"/>
            <a:lstStyle/>
            <a:p>
              <a:endParaRPr dirty="0"/>
            </a:p>
          </p:txBody>
        </p:sp>
        <p:pic>
          <p:nvPicPr>
            <p:cNvPr id="322" name="object 320">
              <a:extLst>
                <a:ext uri="{FF2B5EF4-FFF2-40B4-BE49-F238E27FC236}">
                  <a16:creationId xmlns:a16="http://schemas.microsoft.com/office/drawing/2014/main" id="{938A78FE-12B9-C382-F9E3-1C12E3A49FD1}"/>
                </a:ext>
              </a:extLst>
            </p:cNvPr>
            <p:cNvPicPr/>
            <p:nvPr/>
          </p:nvPicPr>
          <p:blipFill>
            <a:blip r:embed="rId10" cstate="print"/>
            <a:stretch>
              <a:fillRect/>
            </a:stretch>
          </p:blipFill>
          <p:spPr>
            <a:xfrm>
              <a:off x="9251594" y="3335097"/>
              <a:ext cx="106445" cy="107156"/>
            </a:xfrm>
            <a:prstGeom prst="rect">
              <a:avLst/>
            </a:prstGeom>
          </p:spPr>
        </p:pic>
        <p:sp>
          <p:nvSpPr>
            <p:cNvPr id="323" name="object 321">
              <a:extLst>
                <a:ext uri="{FF2B5EF4-FFF2-40B4-BE49-F238E27FC236}">
                  <a16:creationId xmlns:a16="http://schemas.microsoft.com/office/drawing/2014/main" id="{70D4F446-FDB0-4213-6782-2E1326D2701C}"/>
                </a:ext>
              </a:extLst>
            </p:cNvPr>
            <p:cNvSpPr/>
            <p:nvPr/>
          </p:nvSpPr>
          <p:spPr>
            <a:xfrm>
              <a:off x="9138939" y="2766918"/>
              <a:ext cx="332700" cy="477101"/>
            </a:xfrm>
            <a:custGeom>
              <a:avLst/>
              <a:gdLst/>
              <a:ahLst/>
              <a:cxnLst/>
              <a:rect l="l" t="t" r="r" b="b"/>
              <a:pathLst>
                <a:path w="548640" h="786764">
                  <a:moveTo>
                    <a:pt x="548081" y="520179"/>
                  </a:moveTo>
                  <a:lnTo>
                    <a:pt x="500367" y="524205"/>
                  </a:lnTo>
                  <a:lnTo>
                    <a:pt x="455841" y="535863"/>
                  </a:lnTo>
                  <a:lnTo>
                    <a:pt x="414616" y="554469"/>
                  </a:lnTo>
                  <a:lnTo>
                    <a:pt x="377355" y="579335"/>
                  </a:lnTo>
                  <a:lnTo>
                    <a:pt x="375183" y="581367"/>
                  </a:lnTo>
                  <a:lnTo>
                    <a:pt x="344728" y="609803"/>
                  </a:lnTo>
                  <a:lnTo>
                    <a:pt x="317411" y="645172"/>
                  </a:lnTo>
                  <a:lnTo>
                    <a:pt x="296087" y="684796"/>
                  </a:lnTo>
                  <a:lnTo>
                    <a:pt x="281419" y="727989"/>
                  </a:lnTo>
                  <a:lnTo>
                    <a:pt x="274078" y="774039"/>
                  </a:lnTo>
                  <a:lnTo>
                    <a:pt x="268224" y="736307"/>
                  </a:lnTo>
                  <a:lnTo>
                    <a:pt x="266915" y="727824"/>
                  </a:lnTo>
                  <a:lnTo>
                    <a:pt x="252361" y="684453"/>
                  </a:lnTo>
                  <a:lnTo>
                    <a:pt x="244944" y="670598"/>
                  </a:lnTo>
                  <a:lnTo>
                    <a:pt x="231101"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51"/>
                  </a:lnTo>
                  <a:lnTo>
                    <a:pt x="66548" y="691400"/>
                  </a:lnTo>
                  <a:lnTo>
                    <a:pt x="98704" y="722884"/>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4">
                  <a:moveTo>
                    <a:pt x="548081" y="266611"/>
                  </a:moveTo>
                  <a:lnTo>
                    <a:pt x="500367" y="270649"/>
                  </a:lnTo>
                  <a:lnTo>
                    <a:pt x="455841" y="282308"/>
                  </a:lnTo>
                  <a:lnTo>
                    <a:pt x="414616" y="300901"/>
                  </a:lnTo>
                  <a:lnTo>
                    <a:pt x="377355" y="325780"/>
                  </a:lnTo>
                  <a:lnTo>
                    <a:pt x="344728" y="356247"/>
                  </a:lnTo>
                  <a:lnTo>
                    <a:pt x="317411" y="391629"/>
                  </a:lnTo>
                  <a:lnTo>
                    <a:pt x="296087" y="431253"/>
                  </a:lnTo>
                  <a:lnTo>
                    <a:pt x="281419" y="474446"/>
                  </a:lnTo>
                  <a:lnTo>
                    <a:pt x="274091" y="520534"/>
                  </a:lnTo>
                  <a:lnTo>
                    <a:pt x="266915" y="474256"/>
                  </a:lnTo>
                  <a:lnTo>
                    <a:pt x="252361" y="430885"/>
                  </a:lnTo>
                  <a:lnTo>
                    <a:pt x="231101" y="391096"/>
                  </a:lnTo>
                  <a:lnTo>
                    <a:pt x="203796" y="355561"/>
                  </a:lnTo>
                  <a:lnTo>
                    <a:pt x="171157" y="324967"/>
                  </a:lnTo>
                  <a:lnTo>
                    <a:pt x="133845" y="299986"/>
                  </a:lnTo>
                  <a:lnTo>
                    <a:pt x="92532" y="281292"/>
                  </a:lnTo>
                  <a:lnTo>
                    <a:pt x="47917" y="269582"/>
                  </a:lnTo>
                  <a:lnTo>
                    <a:pt x="0" y="265531"/>
                  </a:lnTo>
                  <a:lnTo>
                    <a:pt x="5448" y="313702"/>
                  </a:lnTo>
                  <a:lnTo>
                    <a:pt x="18846" y="358952"/>
                  </a:lnTo>
                  <a:lnTo>
                    <a:pt x="39458" y="400583"/>
                  </a:lnTo>
                  <a:lnTo>
                    <a:pt x="66560" y="437845"/>
                  </a:lnTo>
                  <a:lnTo>
                    <a:pt x="99402" y="469988"/>
                  </a:lnTo>
                  <a:lnTo>
                    <a:pt x="137248" y="496303"/>
                  </a:lnTo>
                  <a:lnTo>
                    <a:pt x="179387" y="516039"/>
                  </a:lnTo>
                  <a:lnTo>
                    <a:pt x="225056" y="528459"/>
                  </a:lnTo>
                  <a:lnTo>
                    <a:pt x="273532" y="532841"/>
                  </a:lnTo>
                  <a:lnTo>
                    <a:pt x="274751" y="532841"/>
                  </a:lnTo>
                  <a:lnTo>
                    <a:pt x="323088" y="528485"/>
                  </a:lnTo>
                  <a:lnTo>
                    <a:pt x="368642" y="516115"/>
                  </a:lnTo>
                  <a:lnTo>
                    <a:pt x="410679" y="496468"/>
                  </a:lnTo>
                  <a:lnTo>
                    <a:pt x="448475" y="470268"/>
                  </a:lnTo>
                  <a:lnTo>
                    <a:pt x="481279" y="438264"/>
                  </a:lnTo>
                  <a:lnTo>
                    <a:pt x="508368" y="401154"/>
                  </a:lnTo>
                  <a:lnTo>
                    <a:pt x="529031" y="359689"/>
                  </a:lnTo>
                  <a:lnTo>
                    <a:pt x="542505" y="314604"/>
                  </a:lnTo>
                  <a:lnTo>
                    <a:pt x="548081" y="266611"/>
                  </a:lnTo>
                  <a:close/>
                </a:path>
                <a:path w="548640" h="786764">
                  <a:moveTo>
                    <a:pt x="548081" y="1079"/>
                  </a:moveTo>
                  <a:lnTo>
                    <a:pt x="500367" y="5118"/>
                  </a:lnTo>
                  <a:lnTo>
                    <a:pt x="455841" y="16776"/>
                  </a:lnTo>
                  <a:lnTo>
                    <a:pt x="414616" y="35369"/>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73"/>
                  </a:lnTo>
                  <a:lnTo>
                    <a:pt x="47917" y="4064"/>
                  </a:lnTo>
                  <a:lnTo>
                    <a:pt x="0" y="0"/>
                  </a:lnTo>
                  <a:lnTo>
                    <a:pt x="5448" y="48171"/>
                  </a:lnTo>
                  <a:lnTo>
                    <a:pt x="18846" y="93433"/>
                  </a:lnTo>
                  <a:lnTo>
                    <a:pt x="39458" y="135051"/>
                  </a:lnTo>
                  <a:lnTo>
                    <a:pt x="66560" y="172313"/>
                  </a:lnTo>
                  <a:lnTo>
                    <a:pt x="99402" y="204457"/>
                  </a:lnTo>
                  <a:lnTo>
                    <a:pt x="137248" y="230771"/>
                  </a:lnTo>
                  <a:lnTo>
                    <a:pt x="179387" y="250507"/>
                  </a:lnTo>
                  <a:lnTo>
                    <a:pt x="225056" y="262928"/>
                  </a:lnTo>
                  <a:lnTo>
                    <a:pt x="273532" y="267309"/>
                  </a:lnTo>
                  <a:lnTo>
                    <a:pt x="274751" y="267309"/>
                  </a:lnTo>
                  <a:lnTo>
                    <a:pt x="323088" y="262953"/>
                  </a:lnTo>
                  <a:lnTo>
                    <a:pt x="368642" y="250583"/>
                  </a:lnTo>
                  <a:lnTo>
                    <a:pt x="410679" y="230936"/>
                  </a:lnTo>
                  <a:lnTo>
                    <a:pt x="448475" y="204749"/>
                  </a:lnTo>
                  <a:lnTo>
                    <a:pt x="481279" y="172732"/>
                  </a:lnTo>
                  <a:lnTo>
                    <a:pt x="508368" y="135623"/>
                  </a:lnTo>
                  <a:lnTo>
                    <a:pt x="529031" y="94157"/>
                  </a:lnTo>
                  <a:lnTo>
                    <a:pt x="542505" y="49072"/>
                  </a:lnTo>
                  <a:lnTo>
                    <a:pt x="548081" y="1079"/>
                  </a:lnTo>
                  <a:close/>
                </a:path>
              </a:pathLst>
            </a:custGeom>
            <a:solidFill>
              <a:srgbClr val="7ED3F1"/>
            </a:solidFill>
          </p:spPr>
          <p:txBody>
            <a:bodyPr wrap="square" lIns="0" tIns="0" rIns="0" bIns="0" rtlCol="0"/>
            <a:lstStyle/>
            <a:p>
              <a:endParaRPr dirty="0"/>
            </a:p>
          </p:txBody>
        </p:sp>
        <p:pic>
          <p:nvPicPr>
            <p:cNvPr id="324" name="object 322">
              <a:extLst>
                <a:ext uri="{FF2B5EF4-FFF2-40B4-BE49-F238E27FC236}">
                  <a16:creationId xmlns:a16="http://schemas.microsoft.com/office/drawing/2014/main" id="{6D496C90-8C4E-E12A-84F3-FB31632C77E5}"/>
                </a:ext>
              </a:extLst>
            </p:cNvPr>
            <p:cNvPicPr/>
            <p:nvPr/>
          </p:nvPicPr>
          <p:blipFill>
            <a:blip r:embed="rId11" cstate="print"/>
            <a:stretch>
              <a:fillRect/>
            </a:stretch>
          </p:blipFill>
          <p:spPr>
            <a:xfrm>
              <a:off x="9251594" y="2680931"/>
              <a:ext cx="106445" cy="107156"/>
            </a:xfrm>
            <a:prstGeom prst="rect">
              <a:avLst/>
            </a:prstGeom>
          </p:spPr>
        </p:pic>
        <p:sp>
          <p:nvSpPr>
            <p:cNvPr id="325" name="object 323">
              <a:extLst>
                <a:ext uri="{FF2B5EF4-FFF2-40B4-BE49-F238E27FC236}">
                  <a16:creationId xmlns:a16="http://schemas.microsoft.com/office/drawing/2014/main" id="{A20514F1-5B85-84B1-93B7-B03E6DDF1874}"/>
                </a:ext>
              </a:extLst>
            </p:cNvPr>
            <p:cNvSpPr/>
            <p:nvPr/>
          </p:nvSpPr>
          <p:spPr>
            <a:xfrm>
              <a:off x="9138939" y="4729423"/>
              <a:ext cx="332700" cy="477101"/>
            </a:xfrm>
            <a:custGeom>
              <a:avLst/>
              <a:gdLst/>
              <a:ahLst/>
              <a:cxnLst/>
              <a:rect l="l" t="t" r="r" b="b"/>
              <a:pathLst>
                <a:path w="548640" h="786765">
                  <a:moveTo>
                    <a:pt x="548081" y="520179"/>
                  </a:moveTo>
                  <a:lnTo>
                    <a:pt x="500367" y="524205"/>
                  </a:lnTo>
                  <a:lnTo>
                    <a:pt x="455841" y="535863"/>
                  </a:lnTo>
                  <a:lnTo>
                    <a:pt x="427418" y="548690"/>
                  </a:lnTo>
                  <a:lnTo>
                    <a:pt x="414616" y="554469"/>
                  </a:lnTo>
                  <a:lnTo>
                    <a:pt x="377355" y="579335"/>
                  </a:lnTo>
                  <a:lnTo>
                    <a:pt x="344716" y="609790"/>
                  </a:lnTo>
                  <a:lnTo>
                    <a:pt x="317411" y="645160"/>
                  </a:lnTo>
                  <a:lnTo>
                    <a:pt x="296087" y="684784"/>
                  </a:lnTo>
                  <a:lnTo>
                    <a:pt x="281419" y="727976"/>
                  </a:lnTo>
                  <a:lnTo>
                    <a:pt x="274078" y="774039"/>
                  </a:lnTo>
                  <a:lnTo>
                    <a:pt x="268020" y="734974"/>
                  </a:lnTo>
                  <a:lnTo>
                    <a:pt x="266915" y="727811"/>
                  </a:lnTo>
                  <a:lnTo>
                    <a:pt x="252361" y="684441"/>
                  </a:lnTo>
                  <a:lnTo>
                    <a:pt x="231101" y="644639"/>
                  </a:lnTo>
                  <a:lnTo>
                    <a:pt x="203796" y="609104"/>
                  </a:lnTo>
                  <a:lnTo>
                    <a:pt x="171157" y="578510"/>
                  </a:lnTo>
                  <a:lnTo>
                    <a:pt x="133845" y="553529"/>
                  </a:lnTo>
                  <a:lnTo>
                    <a:pt x="92532" y="534847"/>
                  </a:lnTo>
                  <a:lnTo>
                    <a:pt x="47917" y="523113"/>
                  </a:lnTo>
                  <a:lnTo>
                    <a:pt x="0" y="519061"/>
                  </a:lnTo>
                  <a:lnTo>
                    <a:pt x="5448" y="567245"/>
                  </a:lnTo>
                  <a:lnTo>
                    <a:pt x="18846" y="612508"/>
                  </a:lnTo>
                  <a:lnTo>
                    <a:pt x="39458" y="654138"/>
                  </a:lnTo>
                  <a:lnTo>
                    <a:pt x="66548" y="691388"/>
                  </a:lnTo>
                  <a:lnTo>
                    <a:pt x="98704" y="722871"/>
                  </a:lnTo>
                  <a:lnTo>
                    <a:pt x="137248" y="749858"/>
                  </a:lnTo>
                  <a:lnTo>
                    <a:pt x="179387" y="769581"/>
                  </a:lnTo>
                  <a:lnTo>
                    <a:pt x="225056" y="782015"/>
                  </a:lnTo>
                  <a:lnTo>
                    <a:pt x="273532" y="786384"/>
                  </a:lnTo>
                  <a:lnTo>
                    <a:pt x="274751" y="786384"/>
                  </a:lnTo>
                  <a:lnTo>
                    <a:pt x="323088" y="782027"/>
                  </a:lnTo>
                  <a:lnTo>
                    <a:pt x="368642" y="769670"/>
                  </a:lnTo>
                  <a:lnTo>
                    <a:pt x="410679" y="750023"/>
                  </a:lnTo>
                  <a:lnTo>
                    <a:pt x="448475" y="723823"/>
                  </a:lnTo>
                  <a:lnTo>
                    <a:pt x="481279" y="691807"/>
                  </a:lnTo>
                  <a:lnTo>
                    <a:pt x="508393" y="654697"/>
                  </a:lnTo>
                  <a:lnTo>
                    <a:pt x="529043" y="613244"/>
                  </a:lnTo>
                  <a:lnTo>
                    <a:pt x="542518" y="568172"/>
                  </a:lnTo>
                  <a:lnTo>
                    <a:pt x="548068" y="520204"/>
                  </a:lnTo>
                  <a:close/>
                </a:path>
                <a:path w="548640" h="786765">
                  <a:moveTo>
                    <a:pt x="548081" y="266611"/>
                  </a:moveTo>
                  <a:lnTo>
                    <a:pt x="500367" y="270649"/>
                  </a:lnTo>
                  <a:lnTo>
                    <a:pt x="455841" y="282308"/>
                  </a:lnTo>
                  <a:lnTo>
                    <a:pt x="414616" y="300901"/>
                  </a:lnTo>
                  <a:lnTo>
                    <a:pt x="377355" y="325767"/>
                  </a:lnTo>
                  <a:lnTo>
                    <a:pt x="344728" y="356235"/>
                  </a:lnTo>
                  <a:lnTo>
                    <a:pt x="317411" y="391617"/>
                  </a:lnTo>
                  <a:lnTo>
                    <a:pt x="296087" y="431241"/>
                  </a:lnTo>
                  <a:lnTo>
                    <a:pt x="281419" y="474433"/>
                  </a:lnTo>
                  <a:lnTo>
                    <a:pt x="274091" y="520522"/>
                  </a:lnTo>
                  <a:lnTo>
                    <a:pt x="266915" y="474243"/>
                  </a:lnTo>
                  <a:lnTo>
                    <a:pt x="252361" y="430872"/>
                  </a:lnTo>
                  <a:lnTo>
                    <a:pt x="231101" y="391083"/>
                  </a:lnTo>
                  <a:lnTo>
                    <a:pt x="203796" y="355549"/>
                  </a:lnTo>
                  <a:lnTo>
                    <a:pt x="171157" y="324954"/>
                  </a:lnTo>
                  <a:lnTo>
                    <a:pt x="133845" y="299974"/>
                  </a:lnTo>
                  <a:lnTo>
                    <a:pt x="92532" y="281292"/>
                  </a:lnTo>
                  <a:lnTo>
                    <a:pt x="47917" y="269582"/>
                  </a:lnTo>
                  <a:lnTo>
                    <a:pt x="0" y="265518"/>
                  </a:lnTo>
                  <a:lnTo>
                    <a:pt x="5448" y="313690"/>
                  </a:lnTo>
                  <a:lnTo>
                    <a:pt x="18846" y="358952"/>
                  </a:lnTo>
                  <a:lnTo>
                    <a:pt x="39458" y="400570"/>
                  </a:lnTo>
                  <a:lnTo>
                    <a:pt x="66560" y="437832"/>
                  </a:lnTo>
                  <a:lnTo>
                    <a:pt x="99402" y="469976"/>
                  </a:lnTo>
                  <a:lnTo>
                    <a:pt x="137248" y="496290"/>
                  </a:lnTo>
                  <a:lnTo>
                    <a:pt x="179387" y="516026"/>
                  </a:lnTo>
                  <a:lnTo>
                    <a:pt x="225056" y="528447"/>
                  </a:lnTo>
                  <a:lnTo>
                    <a:pt x="273532" y="532828"/>
                  </a:lnTo>
                  <a:lnTo>
                    <a:pt x="274751" y="532828"/>
                  </a:lnTo>
                  <a:lnTo>
                    <a:pt x="323088" y="528472"/>
                  </a:lnTo>
                  <a:lnTo>
                    <a:pt x="368642" y="516102"/>
                  </a:lnTo>
                  <a:lnTo>
                    <a:pt x="410679" y="496455"/>
                  </a:lnTo>
                  <a:lnTo>
                    <a:pt x="448475" y="470268"/>
                  </a:lnTo>
                  <a:lnTo>
                    <a:pt x="481279" y="438251"/>
                  </a:lnTo>
                  <a:lnTo>
                    <a:pt x="508368" y="401154"/>
                  </a:lnTo>
                  <a:lnTo>
                    <a:pt x="529031" y="359689"/>
                  </a:lnTo>
                  <a:lnTo>
                    <a:pt x="542505" y="314604"/>
                  </a:lnTo>
                  <a:lnTo>
                    <a:pt x="548081" y="266611"/>
                  </a:lnTo>
                  <a:close/>
                </a:path>
                <a:path w="548640" h="786765">
                  <a:moveTo>
                    <a:pt x="548081" y="1079"/>
                  </a:moveTo>
                  <a:lnTo>
                    <a:pt x="500367" y="5105"/>
                  </a:lnTo>
                  <a:lnTo>
                    <a:pt x="455841" y="16764"/>
                  </a:lnTo>
                  <a:lnTo>
                    <a:pt x="414616" y="35369"/>
                  </a:lnTo>
                  <a:lnTo>
                    <a:pt x="377355" y="60236"/>
                  </a:lnTo>
                  <a:lnTo>
                    <a:pt x="344728" y="90703"/>
                  </a:lnTo>
                  <a:lnTo>
                    <a:pt x="317411" y="126085"/>
                  </a:lnTo>
                  <a:lnTo>
                    <a:pt x="296087" y="165709"/>
                  </a:lnTo>
                  <a:lnTo>
                    <a:pt x="281419" y="208902"/>
                  </a:lnTo>
                  <a:lnTo>
                    <a:pt x="274091" y="254990"/>
                  </a:lnTo>
                  <a:lnTo>
                    <a:pt x="266915" y="208724"/>
                  </a:lnTo>
                  <a:lnTo>
                    <a:pt x="252361" y="165354"/>
                  </a:lnTo>
                  <a:lnTo>
                    <a:pt x="231101" y="125552"/>
                  </a:lnTo>
                  <a:lnTo>
                    <a:pt x="203796" y="90017"/>
                  </a:lnTo>
                  <a:lnTo>
                    <a:pt x="171157" y="59423"/>
                  </a:lnTo>
                  <a:lnTo>
                    <a:pt x="133845" y="34442"/>
                  </a:lnTo>
                  <a:lnTo>
                    <a:pt x="92532" y="15760"/>
                  </a:lnTo>
                  <a:lnTo>
                    <a:pt x="47917" y="4051"/>
                  </a:lnTo>
                  <a:lnTo>
                    <a:pt x="0" y="0"/>
                  </a:lnTo>
                  <a:lnTo>
                    <a:pt x="5448" y="48158"/>
                  </a:lnTo>
                  <a:lnTo>
                    <a:pt x="18846" y="93421"/>
                  </a:lnTo>
                  <a:lnTo>
                    <a:pt x="39458" y="135039"/>
                  </a:lnTo>
                  <a:lnTo>
                    <a:pt x="66560" y="172300"/>
                  </a:lnTo>
                  <a:lnTo>
                    <a:pt x="99402" y="204444"/>
                  </a:lnTo>
                  <a:lnTo>
                    <a:pt x="137248" y="230759"/>
                  </a:lnTo>
                  <a:lnTo>
                    <a:pt x="179387" y="250494"/>
                  </a:lnTo>
                  <a:lnTo>
                    <a:pt x="225056" y="262915"/>
                  </a:lnTo>
                  <a:lnTo>
                    <a:pt x="273532" y="267296"/>
                  </a:lnTo>
                  <a:lnTo>
                    <a:pt x="274751" y="267296"/>
                  </a:lnTo>
                  <a:lnTo>
                    <a:pt x="323088" y="262940"/>
                  </a:lnTo>
                  <a:lnTo>
                    <a:pt x="368642" y="250571"/>
                  </a:lnTo>
                  <a:lnTo>
                    <a:pt x="410679" y="230924"/>
                  </a:lnTo>
                  <a:lnTo>
                    <a:pt x="448475" y="204724"/>
                  </a:lnTo>
                  <a:lnTo>
                    <a:pt x="481279" y="172720"/>
                  </a:lnTo>
                  <a:lnTo>
                    <a:pt x="508368" y="135610"/>
                  </a:lnTo>
                  <a:lnTo>
                    <a:pt x="529031" y="94157"/>
                  </a:lnTo>
                  <a:lnTo>
                    <a:pt x="542505" y="49060"/>
                  </a:lnTo>
                  <a:lnTo>
                    <a:pt x="548081" y="1079"/>
                  </a:lnTo>
                  <a:close/>
                </a:path>
              </a:pathLst>
            </a:custGeom>
            <a:solidFill>
              <a:srgbClr val="2DB7EA"/>
            </a:solidFill>
          </p:spPr>
          <p:txBody>
            <a:bodyPr wrap="square" lIns="0" tIns="0" rIns="0" bIns="0" rtlCol="0"/>
            <a:lstStyle/>
            <a:p>
              <a:endParaRPr dirty="0"/>
            </a:p>
          </p:txBody>
        </p:sp>
        <p:pic>
          <p:nvPicPr>
            <p:cNvPr id="326" name="object 324">
              <a:extLst>
                <a:ext uri="{FF2B5EF4-FFF2-40B4-BE49-F238E27FC236}">
                  <a16:creationId xmlns:a16="http://schemas.microsoft.com/office/drawing/2014/main" id="{C3A05335-4C2E-F406-50B5-671C6AFF6C90}"/>
                </a:ext>
              </a:extLst>
            </p:cNvPr>
            <p:cNvPicPr/>
            <p:nvPr/>
          </p:nvPicPr>
          <p:blipFill>
            <a:blip r:embed="rId10" cstate="print"/>
            <a:stretch>
              <a:fillRect/>
            </a:stretch>
          </p:blipFill>
          <p:spPr>
            <a:xfrm>
              <a:off x="9251594" y="4643430"/>
              <a:ext cx="106445" cy="107156"/>
            </a:xfrm>
            <a:prstGeom prst="rect">
              <a:avLst/>
            </a:prstGeom>
          </p:spPr>
        </p:pic>
        <p:sp>
          <p:nvSpPr>
            <p:cNvPr id="327" name="object 325">
              <a:extLst>
                <a:ext uri="{FF2B5EF4-FFF2-40B4-BE49-F238E27FC236}">
                  <a16:creationId xmlns:a16="http://schemas.microsoft.com/office/drawing/2014/main" id="{551F19AC-7E35-F3C4-0F24-3708B5E6C166}"/>
                </a:ext>
              </a:extLst>
            </p:cNvPr>
            <p:cNvSpPr/>
            <p:nvPr/>
          </p:nvSpPr>
          <p:spPr>
            <a:xfrm>
              <a:off x="9138939" y="4075252"/>
              <a:ext cx="332700" cy="477101"/>
            </a:xfrm>
            <a:custGeom>
              <a:avLst/>
              <a:gdLst/>
              <a:ahLst/>
              <a:cxnLst/>
              <a:rect l="l" t="t" r="r" b="b"/>
              <a:pathLst>
                <a:path w="548640" h="786765">
                  <a:moveTo>
                    <a:pt x="548081" y="520179"/>
                  </a:moveTo>
                  <a:lnTo>
                    <a:pt x="500367" y="524217"/>
                  </a:lnTo>
                  <a:lnTo>
                    <a:pt x="455841" y="535876"/>
                  </a:lnTo>
                  <a:lnTo>
                    <a:pt x="414616" y="554469"/>
                  </a:lnTo>
                  <a:lnTo>
                    <a:pt x="402209" y="562749"/>
                  </a:lnTo>
                  <a:lnTo>
                    <a:pt x="377355" y="579335"/>
                  </a:lnTo>
                  <a:lnTo>
                    <a:pt x="344728" y="609803"/>
                  </a:lnTo>
                  <a:lnTo>
                    <a:pt x="317411" y="645172"/>
                  </a:lnTo>
                  <a:lnTo>
                    <a:pt x="296087" y="684796"/>
                  </a:lnTo>
                  <a:lnTo>
                    <a:pt x="281419" y="727976"/>
                  </a:lnTo>
                  <a:lnTo>
                    <a:pt x="274078" y="774039"/>
                  </a:lnTo>
                  <a:lnTo>
                    <a:pt x="268224" y="736307"/>
                  </a:lnTo>
                  <a:lnTo>
                    <a:pt x="266915" y="727824"/>
                  </a:lnTo>
                  <a:lnTo>
                    <a:pt x="252361" y="684441"/>
                  </a:lnTo>
                  <a:lnTo>
                    <a:pt x="231101" y="644652"/>
                  </a:lnTo>
                  <a:lnTo>
                    <a:pt x="203796" y="609117"/>
                  </a:lnTo>
                  <a:lnTo>
                    <a:pt x="171157" y="578523"/>
                  </a:lnTo>
                  <a:lnTo>
                    <a:pt x="133845" y="553542"/>
                  </a:lnTo>
                  <a:lnTo>
                    <a:pt x="92532" y="534835"/>
                  </a:lnTo>
                  <a:lnTo>
                    <a:pt x="47917" y="523125"/>
                  </a:lnTo>
                  <a:lnTo>
                    <a:pt x="0" y="519074"/>
                  </a:lnTo>
                  <a:lnTo>
                    <a:pt x="5448" y="567258"/>
                  </a:lnTo>
                  <a:lnTo>
                    <a:pt x="18846" y="612521"/>
                  </a:lnTo>
                  <a:lnTo>
                    <a:pt x="39458" y="654138"/>
                  </a:lnTo>
                  <a:lnTo>
                    <a:pt x="66548" y="691388"/>
                  </a:lnTo>
                  <a:lnTo>
                    <a:pt x="99402" y="723557"/>
                  </a:lnTo>
                  <a:lnTo>
                    <a:pt x="137248" y="749858"/>
                  </a:lnTo>
                  <a:lnTo>
                    <a:pt x="179387" y="769594"/>
                  </a:lnTo>
                  <a:lnTo>
                    <a:pt x="225056" y="782015"/>
                  </a:lnTo>
                  <a:lnTo>
                    <a:pt x="273532" y="786396"/>
                  </a:lnTo>
                  <a:lnTo>
                    <a:pt x="274751" y="786396"/>
                  </a:lnTo>
                  <a:lnTo>
                    <a:pt x="323088" y="782040"/>
                  </a:lnTo>
                  <a:lnTo>
                    <a:pt x="368642" y="769670"/>
                  </a:lnTo>
                  <a:lnTo>
                    <a:pt x="410679" y="750023"/>
                  </a:lnTo>
                  <a:lnTo>
                    <a:pt x="448475" y="723836"/>
                  </a:lnTo>
                  <a:lnTo>
                    <a:pt x="481279" y="691819"/>
                  </a:lnTo>
                  <a:lnTo>
                    <a:pt x="508393" y="654710"/>
                  </a:lnTo>
                  <a:lnTo>
                    <a:pt x="529043" y="613257"/>
                  </a:lnTo>
                  <a:lnTo>
                    <a:pt x="542518" y="568172"/>
                  </a:lnTo>
                  <a:lnTo>
                    <a:pt x="548068" y="520217"/>
                  </a:lnTo>
                  <a:close/>
                </a:path>
                <a:path w="548640" h="786765">
                  <a:moveTo>
                    <a:pt x="548081" y="266623"/>
                  </a:moveTo>
                  <a:lnTo>
                    <a:pt x="500367" y="270662"/>
                  </a:lnTo>
                  <a:lnTo>
                    <a:pt x="455841" y="282308"/>
                  </a:lnTo>
                  <a:lnTo>
                    <a:pt x="414616" y="300913"/>
                  </a:lnTo>
                  <a:lnTo>
                    <a:pt x="377355" y="325780"/>
                  </a:lnTo>
                  <a:lnTo>
                    <a:pt x="344728" y="356247"/>
                  </a:lnTo>
                  <a:lnTo>
                    <a:pt x="317411" y="391629"/>
                  </a:lnTo>
                  <a:lnTo>
                    <a:pt x="296087" y="431253"/>
                  </a:lnTo>
                  <a:lnTo>
                    <a:pt x="281419" y="474446"/>
                  </a:lnTo>
                  <a:lnTo>
                    <a:pt x="274091" y="520534"/>
                  </a:lnTo>
                  <a:lnTo>
                    <a:pt x="266915" y="474256"/>
                  </a:lnTo>
                  <a:lnTo>
                    <a:pt x="252361" y="430885"/>
                  </a:lnTo>
                  <a:lnTo>
                    <a:pt x="231101" y="391096"/>
                  </a:lnTo>
                  <a:lnTo>
                    <a:pt x="203796" y="355561"/>
                  </a:lnTo>
                  <a:lnTo>
                    <a:pt x="171157" y="324954"/>
                  </a:lnTo>
                  <a:lnTo>
                    <a:pt x="133845" y="299974"/>
                  </a:lnTo>
                  <a:lnTo>
                    <a:pt x="92532" y="281292"/>
                  </a:lnTo>
                  <a:lnTo>
                    <a:pt x="47917" y="269582"/>
                  </a:lnTo>
                  <a:lnTo>
                    <a:pt x="0" y="265531"/>
                  </a:lnTo>
                  <a:lnTo>
                    <a:pt x="5448" y="313690"/>
                  </a:lnTo>
                  <a:lnTo>
                    <a:pt x="18846" y="358952"/>
                  </a:lnTo>
                  <a:lnTo>
                    <a:pt x="39458" y="400583"/>
                  </a:lnTo>
                  <a:lnTo>
                    <a:pt x="66560" y="437832"/>
                  </a:lnTo>
                  <a:lnTo>
                    <a:pt x="99402" y="469988"/>
                  </a:lnTo>
                  <a:lnTo>
                    <a:pt x="137248" y="496303"/>
                  </a:lnTo>
                  <a:lnTo>
                    <a:pt x="179387" y="516039"/>
                  </a:lnTo>
                  <a:lnTo>
                    <a:pt x="225056" y="528459"/>
                  </a:lnTo>
                  <a:lnTo>
                    <a:pt x="273532" y="532828"/>
                  </a:lnTo>
                  <a:lnTo>
                    <a:pt x="274751" y="532828"/>
                  </a:lnTo>
                  <a:lnTo>
                    <a:pt x="323088" y="528472"/>
                  </a:lnTo>
                  <a:lnTo>
                    <a:pt x="368642" y="516115"/>
                  </a:lnTo>
                  <a:lnTo>
                    <a:pt x="410679" y="496468"/>
                  </a:lnTo>
                  <a:lnTo>
                    <a:pt x="448475" y="470268"/>
                  </a:lnTo>
                  <a:lnTo>
                    <a:pt x="481279" y="438264"/>
                  </a:lnTo>
                  <a:lnTo>
                    <a:pt x="508368" y="401154"/>
                  </a:lnTo>
                  <a:lnTo>
                    <a:pt x="529031" y="359702"/>
                  </a:lnTo>
                  <a:lnTo>
                    <a:pt x="542505" y="314604"/>
                  </a:lnTo>
                  <a:lnTo>
                    <a:pt x="548081" y="266623"/>
                  </a:lnTo>
                  <a:close/>
                </a:path>
                <a:path w="548640" h="786765">
                  <a:moveTo>
                    <a:pt x="548081" y="1092"/>
                  </a:moveTo>
                  <a:lnTo>
                    <a:pt x="500367" y="5130"/>
                  </a:lnTo>
                  <a:lnTo>
                    <a:pt x="455841" y="16776"/>
                  </a:lnTo>
                  <a:lnTo>
                    <a:pt x="414616" y="35382"/>
                  </a:lnTo>
                  <a:lnTo>
                    <a:pt x="377355" y="60248"/>
                  </a:lnTo>
                  <a:lnTo>
                    <a:pt x="344728" y="90716"/>
                  </a:lnTo>
                  <a:lnTo>
                    <a:pt x="317411" y="126098"/>
                  </a:lnTo>
                  <a:lnTo>
                    <a:pt x="296087" y="165722"/>
                  </a:lnTo>
                  <a:lnTo>
                    <a:pt x="281419" y="208915"/>
                  </a:lnTo>
                  <a:lnTo>
                    <a:pt x="274091" y="255003"/>
                  </a:lnTo>
                  <a:lnTo>
                    <a:pt x="266915" y="208724"/>
                  </a:lnTo>
                  <a:lnTo>
                    <a:pt x="252361" y="165354"/>
                  </a:lnTo>
                  <a:lnTo>
                    <a:pt x="231101" y="125564"/>
                  </a:lnTo>
                  <a:lnTo>
                    <a:pt x="203796" y="90030"/>
                  </a:lnTo>
                  <a:lnTo>
                    <a:pt x="171157" y="59436"/>
                  </a:lnTo>
                  <a:lnTo>
                    <a:pt x="133845" y="34455"/>
                  </a:lnTo>
                  <a:lnTo>
                    <a:pt x="92532" y="15760"/>
                  </a:lnTo>
                  <a:lnTo>
                    <a:pt x="47917" y="4051"/>
                  </a:lnTo>
                  <a:lnTo>
                    <a:pt x="0" y="0"/>
                  </a:lnTo>
                  <a:lnTo>
                    <a:pt x="5448" y="48158"/>
                  </a:lnTo>
                  <a:lnTo>
                    <a:pt x="18846" y="93421"/>
                  </a:lnTo>
                  <a:lnTo>
                    <a:pt x="39458" y="135051"/>
                  </a:lnTo>
                  <a:lnTo>
                    <a:pt x="66560" y="172300"/>
                  </a:lnTo>
                  <a:lnTo>
                    <a:pt x="99402" y="204457"/>
                  </a:lnTo>
                  <a:lnTo>
                    <a:pt x="137248" y="230771"/>
                  </a:lnTo>
                  <a:lnTo>
                    <a:pt x="179387" y="250494"/>
                  </a:lnTo>
                  <a:lnTo>
                    <a:pt x="225056" y="262928"/>
                  </a:lnTo>
                  <a:lnTo>
                    <a:pt x="273532" y="267309"/>
                  </a:lnTo>
                  <a:lnTo>
                    <a:pt x="274751" y="267309"/>
                  </a:lnTo>
                  <a:lnTo>
                    <a:pt x="323088" y="262940"/>
                  </a:lnTo>
                  <a:lnTo>
                    <a:pt x="368642" y="250583"/>
                  </a:lnTo>
                  <a:lnTo>
                    <a:pt x="410679" y="230936"/>
                  </a:lnTo>
                  <a:lnTo>
                    <a:pt x="448475" y="204736"/>
                  </a:lnTo>
                  <a:lnTo>
                    <a:pt x="481279" y="172720"/>
                  </a:lnTo>
                  <a:lnTo>
                    <a:pt x="508368" y="135623"/>
                  </a:lnTo>
                  <a:lnTo>
                    <a:pt x="529031" y="94170"/>
                  </a:lnTo>
                  <a:lnTo>
                    <a:pt x="542505" y="49072"/>
                  </a:lnTo>
                  <a:lnTo>
                    <a:pt x="548081" y="1092"/>
                  </a:lnTo>
                  <a:close/>
                </a:path>
              </a:pathLst>
            </a:custGeom>
            <a:solidFill>
              <a:srgbClr val="7ED3F1"/>
            </a:solidFill>
          </p:spPr>
          <p:txBody>
            <a:bodyPr wrap="square" lIns="0" tIns="0" rIns="0" bIns="0" rtlCol="0"/>
            <a:lstStyle/>
            <a:p>
              <a:endParaRPr dirty="0"/>
            </a:p>
          </p:txBody>
        </p:sp>
        <p:pic>
          <p:nvPicPr>
            <p:cNvPr id="328" name="object 326">
              <a:extLst>
                <a:ext uri="{FF2B5EF4-FFF2-40B4-BE49-F238E27FC236}">
                  <a16:creationId xmlns:a16="http://schemas.microsoft.com/office/drawing/2014/main" id="{FCDABF08-FBE7-61E8-1AEC-D836FD9F664B}"/>
                </a:ext>
              </a:extLst>
            </p:cNvPr>
            <p:cNvPicPr/>
            <p:nvPr/>
          </p:nvPicPr>
          <p:blipFill>
            <a:blip r:embed="rId11" cstate="print"/>
            <a:stretch>
              <a:fillRect/>
            </a:stretch>
          </p:blipFill>
          <p:spPr>
            <a:xfrm>
              <a:off x="9251594" y="3989263"/>
              <a:ext cx="106445" cy="107156"/>
            </a:xfrm>
            <a:prstGeom prst="rect">
              <a:avLst/>
            </a:prstGeom>
          </p:spPr>
        </p:pic>
        <p:sp>
          <p:nvSpPr>
            <p:cNvPr id="329" name="object 327">
              <a:extLst>
                <a:ext uri="{FF2B5EF4-FFF2-40B4-BE49-F238E27FC236}">
                  <a16:creationId xmlns:a16="http://schemas.microsoft.com/office/drawing/2014/main" id="{4AF75884-949F-4070-3E61-9F84A0CD6FBD}"/>
                </a:ext>
              </a:extLst>
            </p:cNvPr>
            <p:cNvSpPr/>
            <p:nvPr/>
          </p:nvSpPr>
          <p:spPr>
            <a:xfrm>
              <a:off x="8753854" y="3862863"/>
              <a:ext cx="332700" cy="477101"/>
            </a:xfrm>
            <a:custGeom>
              <a:avLst/>
              <a:gdLst/>
              <a:ahLst/>
              <a:cxnLst/>
              <a:rect l="l" t="t" r="r" b="b"/>
              <a:pathLst>
                <a:path w="548640" h="786765">
                  <a:moveTo>
                    <a:pt x="548081" y="786396"/>
                  </a:moveTo>
                  <a:lnTo>
                    <a:pt x="542645" y="738238"/>
                  </a:lnTo>
                  <a:lnTo>
                    <a:pt x="529247" y="692975"/>
                  </a:lnTo>
                  <a:lnTo>
                    <a:pt x="508622" y="651344"/>
                  </a:lnTo>
                  <a:lnTo>
                    <a:pt x="481533" y="614083"/>
                  </a:lnTo>
                  <a:lnTo>
                    <a:pt x="448691" y="581939"/>
                  </a:lnTo>
                  <a:lnTo>
                    <a:pt x="410832" y="555625"/>
                  </a:lnTo>
                  <a:lnTo>
                    <a:pt x="368706" y="535889"/>
                  </a:lnTo>
                  <a:lnTo>
                    <a:pt x="323037" y="523468"/>
                  </a:lnTo>
                  <a:lnTo>
                    <a:pt x="274561" y="519099"/>
                  </a:lnTo>
                  <a:lnTo>
                    <a:pt x="273342" y="519099"/>
                  </a:lnTo>
                  <a:lnTo>
                    <a:pt x="224993" y="523455"/>
                  </a:lnTo>
                  <a:lnTo>
                    <a:pt x="179438" y="535813"/>
                  </a:lnTo>
                  <a:lnTo>
                    <a:pt x="137414" y="555459"/>
                  </a:lnTo>
                  <a:lnTo>
                    <a:pt x="99618" y="581660"/>
                  </a:lnTo>
                  <a:lnTo>
                    <a:pt x="66827" y="613664"/>
                  </a:lnTo>
                  <a:lnTo>
                    <a:pt x="39738" y="650773"/>
                  </a:lnTo>
                  <a:lnTo>
                    <a:pt x="19088" y="692226"/>
                  </a:lnTo>
                  <a:lnTo>
                    <a:pt x="5613" y="737323"/>
                  </a:lnTo>
                  <a:lnTo>
                    <a:pt x="50" y="785304"/>
                  </a:lnTo>
                  <a:lnTo>
                    <a:pt x="47713" y="781265"/>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72"/>
                  </a:lnTo>
                  <a:lnTo>
                    <a:pt x="295732" y="621042"/>
                  </a:lnTo>
                  <a:lnTo>
                    <a:pt x="316992" y="660831"/>
                  </a:lnTo>
                  <a:lnTo>
                    <a:pt x="344284" y="696366"/>
                  </a:lnTo>
                  <a:lnTo>
                    <a:pt x="376936" y="726973"/>
                  </a:lnTo>
                  <a:lnTo>
                    <a:pt x="414248" y="751954"/>
                  </a:lnTo>
                  <a:lnTo>
                    <a:pt x="455549" y="770636"/>
                  </a:lnTo>
                  <a:lnTo>
                    <a:pt x="500176" y="782345"/>
                  </a:lnTo>
                  <a:lnTo>
                    <a:pt x="548081" y="786396"/>
                  </a:lnTo>
                  <a:close/>
                </a:path>
                <a:path w="548640" h="786765">
                  <a:moveTo>
                    <a:pt x="548081" y="520865"/>
                  </a:moveTo>
                  <a:lnTo>
                    <a:pt x="542645" y="472706"/>
                  </a:lnTo>
                  <a:lnTo>
                    <a:pt x="529247" y="427443"/>
                  </a:lnTo>
                  <a:lnTo>
                    <a:pt x="508622" y="385813"/>
                  </a:lnTo>
                  <a:lnTo>
                    <a:pt x="481533" y="348564"/>
                  </a:lnTo>
                  <a:lnTo>
                    <a:pt x="448691" y="316407"/>
                  </a:lnTo>
                  <a:lnTo>
                    <a:pt x="410832" y="290106"/>
                  </a:lnTo>
                  <a:lnTo>
                    <a:pt x="368706" y="270370"/>
                  </a:lnTo>
                  <a:lnTo>
                    <a:pt x="323037" y="257949"/>
                  </a:lnTo>
                  <a:lnTo>
                    <a:pt x="274561" y="253568"/>
                  </a:lnTo>
                  <a:lnTo>
                    <a:pt x="273342" y="253568"/>
                  </a:lnTo>
                  <a:lnTo>
                    <a:pt x="224993" y="257924"/>
                  </a:lnTo>
                  <a:lnTo>
                    <a:pt x="179438" y="270294"/>
                  </a:lnTo>
                  <a:lnTo>
                    <a:pt x="137414" y="289941"/>
                  </a:lnTo>
                  <a:lnTo>
                    <a:pt x="99618" y="316128"/>
                  </a:lnTo>
                  <a:lnTo>
                    <a:pt x="66827" y="348145"/>
                  </a:lnTo>
                  <a:lnTo>
                    <a:pt x="39738" y="385241"/>
                  </a:lnTo>
                  <a:lnTo>
                    <a:pt x="19088" y="426707"/>
                  </a:lnTo>
                  <a:lnTo>
                    <a:pt x="5613" y="471792"/>
                  </a:lnTo>
                  <a:lnTo>
                    <a:pt x="50" y="519785"/>
                  </a:lnTo>
                  <a:lnTo>
                    <a:pt x="47713" y="515747"/>
                  </a:lnTo>
                  <a:lnTo>
                    <a:pt x="92240" y="504101"/>
                  </a:lnTo>
                  <a:lnTo>
                    <a:pt x="133477" y="485495"/>
                  </a:lnTo>
                  <a:lnTo>
                    <a:pt x="170738" y="460629"/>
                  </a:lnTo>
                  <a:lnTo>
                    <a:pt x="203365" y="430161"/>
                  </a:lnTo>
                  <a:lnTo>
                    <a:pt x="230682" y="394779"/>
                  </a:lnTo>
                  <a:lnTo>
                    <a:pt x="252006" y="355142"/>
                  </a:lnTo>
                  <a:lnTo>
                    <a:pt x="266661" y="311950"/>
                  </a:lnTo>
                  <a:lnTo>
                    <a:pt x="274002" y="265874"/>
                  </a:lnTo>
                  <a:lnTo>
                    <a:pt x="281178" y="312140"/>
                  </a:lnTo>
                  <a:lnTo>
                    <a:pt x="295732" y="355511"/>
                  </a:lnTo>
                  <a:lnTo>
                    <a:pt x="316992" y="395300"/>
                  </a:lnTo>
                  <a:lnTo>
                    <a:pt x="344284" y="430847"/>
                  </a:lnTo>
                  <a:lnTo>
                    <a:pt x="376936" y="461441"/>
                  </a:lnTo>
                  <a:lnTo>
                    <a:pt x="414248" y="486422"/>
                  </a:lnTo>
                  <a:lnTo>
                    <a:pt x="455549" y="505104"/>
                  </a:lnTo>
                  <a:lnTo>
                    <a:pt x="500176" y="516813"/>
                  </a:lnTo>
                  <a:lnTo>
                    <a:pt x="548081" y="520865"/>
                  </a:lnTo>
                  <a:close/>
                </a:path>
                <a:path w="548640" h="786765">
                  <a:moveTo>
                    <a:pt x="548093" y="267322"/>
                  </a:moveTo>
                  <a:lnTo>
                    <a:pt x="543255" y="224586"/>
                  </a:lnTo>
                  <a:lnTo>
                    <a:pt x="542645" y="219151"/>
                  </a:lnTo>
                  <a:lnTo>
                    <a:pt x="529247" y="173888"/>
                  </a:lnTo>
                  <a:lnTo>
                    <a:pt x="522414" y="160096"/>
                  </a:lnTo>
                  <a:lnTo>
                    <a:pt x="508635" y="132257"/>
                  </a:lnTo>
                  <a:lnTo>
                    <a:pt x="492937" y="110693"/>
                  </a:lnTo>
                  <a:lnTo>
                    <a:pt x="481533" y="95008"/>
                  </a:lnTo>
                  <a:lnTo>
                    <a:pt x="448691" y="62852"/>
                  </a:lnTo>
                  <a:lnTo>
                    <a:pt x="410845" y="36550"/>
                  </a:lnTo>
                  <a:lnTo>
                    <a:pt x="368706" y="16802"/>
                  </a:lnTo>
                  <a:lnTo>
                    <a:pt x="323037" y="4381"/>
                  </a:lnTo>
                  <a:lnTo>
                    <a:pt x="274561" y="0"/>
                  </a:lnTo>
                  <a:lnTo>
                    <a:pt x="273342" y="0"/>
                  </a:lnTo>
                  <a:lnTo>
                    <a:pt x="224993" y="4356"/>
                  </a:lnTo>
                  <a:lnTo>
                    <a:pt x="179438" y="16725"/>
                  </a:lnTo>
                  <a:lnTo>
                    <a:pt x="137414" y="36372"/>
                  </a:lnTo>
                  <a:lnTo>
                    <a:pt x="99618" y="62560"/>
                  </a:lnTo>
                  <a:lnTo>
                    <a:pt x="82613" y="79171"/>
                  </a:lnTo>
                  <a:lnTo>
                    <a:pt x="66827" y="94576"/>
                  </a:lnTo>
                  <a:lnTo>
                    <a:pt x="39700" y="131686"/>
                  </a:lnTo>
                  <a:lnTo>
                    <a:pt x="19050" y="173139"/>
                  </a:lnTo>
                  <a:lnTo>
                    <a:pt x="5575" y="218224"/>
                  </a:lnTo>
                  <a:lnTo>
                    <a:pt x="0" y="266192"/>
                  </a:lnTo>
                  <a:lnTo>
                    <a:pt x="47713" y="262178"/>
                  </a:lnTo>
                  <a:lnTo>
                    <a:pt x="92240" y="250520"/>
                  </a:lnTo>
                  <a:lnTo>
                    <a:pt x="133477" y="231927"/>
                  </a:lnTo>
                  <a:lnTo>
                    <a:pt x="170751" y="207060"/>
                  </a:lnTo>
                  <a:lnTo>
                    <a:pt x="203377" y="176593"/>
                  </a:lnTo>
                  <a:lnTo>
                    <a:pt x="230682" y="141224"/>
                  </a:lnTo>
                  <a:lnTo>
                    <a:pt x="252006" y="101600"/>
                  </a:lnTo>
                  <a:lnTo>
                    <a:pt x="266674" y="58420"/>
                  </a:lnTo>
                  <a:lnTo>
                    <a:pt x="274002" y="12331"/>
                  </a:lnTo>
                  <a:lnTo>
                    <a:pt x="281178" y="58585"/>
                  </a:lnTo>
                  <a:lnTo>
                    <a:pt x="295732" y="101955"/>
                  </a:lnTo>
                  <a:lnTo>
                    <a:pt x="316992" y="141744"/>
                  </a:lnTo>
                  <a:lnTo>
                    <a:pt x="344284" y="177279"/>
                  </a:lnTo>
                  <a:lnTo>
                    <a:pt x="360083" y="192087"/>
                  </a:lnTo>
                  <a:lnTo>
                    <a:pt x="376936" y="207886"/>
                  </a:lnTo>
                  <a:lnTo>
                    <a:pt x="414248" y="232867"/>
                  </a:lnTo>
                  <a:lnTo>
                    <a:pt x="455561" y="251561"/>
                  </a:lnTo>
                  <a:lnTo>
                    <a:pt x="500176" y="263271"/>
                  </a:lnTo>
                  <a:lnTo>
                    <a:pt x="548093" y="267322"/>
                  </a:lnTo>
                  <a:close/>
                </a:path>
              </a:pathLst>
            </a:custGeom>
            <a:solidFill>
              <a:srgbClr val="2DB7EA"/>
            </a:solidFill>
          </p:spPr>
          <p:txBody>
            <a:bodyPr wrap="square" lIns="0" tIns="0" rIns="0" bIns="0" rtlCol="0"/>
            <a:lstStyle/>
            <a:p>
              <a:endParaRPr dirty="0"/>
            </a:p>
          </p:txBody>
        </p:sp>
        <p:pic>
          <p:nvPicPr>
            <p:cNvPr id="330" name="object 328">
              <a:extLst>
                <a:ext uri="{FF2B5EF4-FFF2-40B4-BE49-F238E27FC236}">
                  <a16:creationId xmlns:a16="http://schemas.microsoft.com/office/drawing/2014/main" id="{C9B6F317-8FEE-ED2B-828E-FBA274BF35F5}"/>
                </a:ext>
              </a:extLst>
            </p:cNvPr>
            <p:cNvPicPr/>
            <p:nvPr/>
          </p:nvPicPr>
          <p:blipFill>
            <a:blip r:embed="rId13" cstate="print"/>
            <a:stretch>
              <a:fillRect/>
            </a:stretch>
          </p:blipFill>
          <p:spPr>
            <a:xfrm>
              <a:off x="8867131" y="4318566"/>
              <a:ext cx="106445" cy="107156"/>
            </a:xfrm>
            <a:prstGeom prst="rect">
              <a:avLst/>
            </a:prstGeom>
          </p:spPr>
        </p:pic>
        <p:sp>
          <p:nvSpPr>
            <p:cNvPr id="331" name="object 329">
              <a:extLst>
                <a:ext uri="{FF2B5EF4-FFF2-40B4-BE49-F238E27FC236}">
                  <a16:creationId xmlns:a16="http://schemas.microsoft.com/office/drawing/2014/main" id="{9D1EA0BF-0D29-95E4-61B5-91216040D639}"/>
                </a:ext>
              </a:extLst>
            </p:cNvPr>
            <p:cNvSpPr/>
            <p:nvPr/>
          </p:nvSpPr>
          <p:spPr>
            <a:xfrm>
              <a:off x="8753854" y="4517034"/>
              <a:ext cx="332700" cy="477101"/>
            </a:xfrm>
            <a:custGeom>
              <a:avLst/>
              <a:gdLst/>
              <a:ahLst/>
              <a:cxnLst/>
              <a:rect l="l" t="t" r="r" b="b"/>
              <a:pathLst>
                <a:path w="548640" h="786765">
                  <a:moveTo>
                    <a:pt x="548081" y="786384"/>
                  </a:moveTo>
                  <a:lnTo>
                    <a:pt x="542645" y="738225"/>
                  </a:lnTo>
                  <a:lnTo>
                    <a:pt x="529247"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47"/>
                  </a:lnTo>
                  <a:lnTo>
                    <a:pt x="66827" y="613664"/>
                  </a:lnTo>
                  <a:lnTo>
                    <a:pt x="39738" y="650760"/>
                  </a:lnTo>
                  <a:lnTo>
                    <a:pt x="19088" y="692226"/>
                  </a:lnTo>
                  <a:lnTo>
                    <a:pt x="5613" y="737323"/>
                  </a:lnTo>
                  <a:lnTo>
                    <a:pt x="50" y="785304"/>
                  </a:lnTo>
                  <a:lnTo>
                    <a:pt x="47713" y="781265"/>
                  </a:lnTo>
                  <a:lnTo>
                    <a:pt x="92240" y="769620"/>
                  </a:lnTo>
                  <a:lnTo>
                    <a:pt x="133477" y="751014"/>
                  </a:lnTo>
                  <a:lnTo>
                    <a:pt x="170738" y="726147"/>
                  </a:lnTo>
                  <a:lnTo>
                    <a:pt x="203365" y="695680"/>
                  </a:lnTo>
                  <a:lnTo>
                    <a:pt x="230682" y="660298"/>
                  </a:lnTo>
                  <a:lnTo>
                    <a:pt x="252006" y="620674"/>
                  </a:lnTo>
                  <a:lnTo>
                    <a:pt x="266661" y="577469"/>
                  </a:lnTo>
                  <a:lnTo>
                    <a:pt x="274002" y="531393"/>
                  </a:lnTo>
                  <a:lnTo>
                    <a:pt x="281178" y="577659"/>
                  </a:lnTo>
                  <a:lnTo>
                    <a:pt x="295732" y="621030"/>
                  </a:lnTo>
                  <a:lnTo>
                    <a:pt x="316992" y="660831"/>
                  </a:lnTo>
                  <a:lnTo>
                    <a:pt x="344284" y="696366"/>
                  </a:lnTo>
                  <a:lnTo>
                    <a:pt x="376936" y="726960"/>
                  </a:lnTo>
                  <a:lnTo>
                    <a:pt x="414248" y="751941"/>
                  </a:lnTo>
                  <a:lnTo>
                    <a:pt x="455549" y="770623"/>
                  </a:lnTo>
                  <a:lnTo>
                    <a:pt x="500176" y="782332"/>
                  </a:lnTo>
                  <a:lnTo>
                    <a:pt x="548081" y="786384"/>
                  </a:lnTo>
                  <a:close/>
                </a:path>
                <a:path w="548640" h="786765">
                  <a:moveTo>
                    <a:pt x="548081" y="520852"/>
                  </a:moveTo>
                  <a:lnTo>
                    <a:pt x="542645" y="472694"/>
                  </a:lnTo>
                  <a:lnTo>
                    <a:pt x="529247" y="427431"/>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11"/>
                  </a:lnTo>
                  <a:lnTo>
                    <a:pt x="179438" y="270281"/>
                  </a:lnTo>
                  <a:lnTo>
                    <a:pt x="137414" y="289928"/>
                  </a:lnTo>
                  <a:lnTo>
                    <a:pt x="99618" y="316128"/>
                  </a:lnTo>
                  <a:lnTo>
                    <a:pt x="66827" y="348132"/>
                  </a:lnTo>
                  <a:lnTo>
                    <a:pt x="39738" y="385241"/>
                  </a:lnTo>
                  <a:lnTo>
                    <a:pt x="19088" y="426694"/>
                  </a:lnTo>
                  <a:lnTo>
                    <a:pt x="5613" y="471779"/>
                  </a:lnTo>
                  <a:lnTo>
                    <a:pt x="50" y="519772"/>
                  </a:lnTo>
                  <a:lnTo>
                    <a:pt x="47713" y="515734"/>
                  </a:lnTo>
                  <a:lnTo>
                    <a:pt x="92240" y="504075"/>
                  </a:lnTo>
                  <a:lnTo>
                    <a:pt x="133477" y="485482"/>
                  </a:lnTo>
                  <a:lnTo>
                    <a:pt x="170738" y="460616"/>
                  </a:lnTo>
                  <a:lnTo>
                    <a:pt x="203365" y="430149"/>
                  </a:lnTo>
                  <a:lnTo>
                    <a:pt x="230682" y="394766"/>
                  </a:lnTo>
                  <a:lnTo>
                    <a:pt x="252006" y="355142"/>
                  </a:lnTo>
                  <a:lnTo>
                    <a:pt x="266661" y="311950"/>
                  </a:lnTo>
                  <a:lnTo>
                    <a:pt x="274002" y="265861"/>
                  </a:lnTo>
                  <a:lnTo>
                    <a:pt x="281178" y="312127"/>
                  </a:lnTo>
                  <a:lnTo>
                    <a:pt x="295732" y="355511"/>
                  </a:lnTo>
                  <a:lnTo>
                    <a:pt x="316992" y="395300"/>
                  </a:lnTo>
                  <a:lnTo>
                    <a:pt x="344284" y="430834"/>
                  </a:lnTo>
                  <a:lnTo>
                    <a:pt x="376936" y="461429"/>
                  </a:lnTo>
                  <a:lnTo>
                    <a:pt x="414248" y="486410"/>
                  </a:lnTo>
                  <a:lnTo>
                    <a:pt x="455549" y="505091"/>
                  </a:lnTo>
                  <a:lnTo>
                    <a:pt x="500176" y="516801"/>
                  </a:lnTo>
                  <a:lnTo>
                    <a:pt x="548081" y="520852"/>
                  </a:lnTo>
                  <a:close/>
                </a:path>
                <a:path w="548640" h="786765">
                  <a:moveTo>
                    <a:pt x="548093" y="267322"/>
                  </a:moveTo>
                  <a:lnTo>
                    <a:pt x="543331" y="225285"/>
                  </a:lnTo>
                  <a:lnTo>
                    <a:pt x="542645" y="219151"/>
                  </a:lnTo>
                  <a:lnTo>
                    <a:pt x="529247" y="173875"/>
                  </a:lnTo>
                  <a:lnTo>
                    <a:pt x="508635" y="132245"/>
                  </a:lnTo>
                  <a:lnTo>
                    <a:pt x="481533" y="94996"/>
                  </a:lnTo>
                  <a:lnTo>
                    <a:pt x="448691" y="62852"/>
                  </a:lnTo>
                  <a:lnTo>
                    <a:pt x="426351" y="47332"/>
                  </a:lnTo>
                  <a:lnTo>
                    <a:pt x="410845" y="36537"/>
                  </a:lnTo>
                  <a:lnTo>
                    <a:pt x="391109" y="27305"/>
                  </a:lnTo>
                  <a:lnTo>
                    <a:pt x="368719" y="16814"/>
                  </a:lnTo>
                  <a:lnTo>
                    <a:pt x="323037" y="4368"/>
                  </a:lnTo>
                  <a:lnTo>
                    <a:pt x="274561" y="0"/>
                  </a:lnTo>
                  <a:lnTo>
                    <a:pt x="273342" y="0"/>
                  </a:lnTo>
                  <a:lnTo>
                    <a:pt x="224993" y="4356"/>
                  </a:lnTo>
                  <a:lnTo>
                    <a:pt x="179438" y="16725"/>
                  </a:lnTo>
                  <a:lnTo>
                    <a:pt x="137414" y="36372"/>
                  </a:lnTo>
                  <a:lnTo>
                    <a:pt x="99618" y="62560"/>
                  </a:lnTo>
                  <a:lnTo>
                    <a:pt x="98806" y="63347"/>
                  </a:lnTo>
                  <a:lnTo>
                    <a:pt x="66827" y="94576"/>
                  </a:lnTo>
                  <a:lnTo>
                    <a:pt x="39700" y="131686"/>
                  </a:lnTo>
                  <a:lnTo>
                    <a:pt x="19050" y="173139"/>
                  </a:lnTo>
                  <a:lnTo>
                    <a:pt x="5575" y="218211"/>
                  </a:lnTo>
                  <a:lnTo>
                    <a:pt x="0" y="266192"/>
                  </a:lnTo>
                  <a:lnTo>
                    <a:pt x="47713" y="262166"/>
                  </a:lnTo>
                  <a:lnTo>
                    <a:pt x="92240" y="250520"/>
                  </a:lnTo>
                  <a:lnTo>
                    <a:pt x="133477" y="231914"/>
                  </a:lnTo>
                  <a:lnTo>
                    <a:pt x="170751" y="207048"/>
                  </a:lnTo>
                  <a:lnTo>
                    <a:pt x="203377" y="176593"/>
                  </a:lnTo>
                  <a:lnTo>
                    <a:pt x="230682" y="141211"/>
                  </a:lnTo>
                  <a:lnTo>
                    <a:pt x="252006" y="101600"/>
                  </a:lnTo>
                  <a:lnTo>
                    <a:pt x="266674" y="58407"/>
                  </a:lnTo>
                  <a:lnTo>
                    <a:pt x="274002" y="12319"/>
                  </a:lnTo>
                  <a:lnTo>
                    <a:pt x="281178" y="58585"/>
                  </a:lnTo>
                  <a:lnTo>
                    <a:pt x="295732" y="101942"/>
                  </a:lnTo>
                  <a:lnTo>
                    <a:pt x="316992" y="141732"/>
                  </a:lnTo>
                  <a:lnTo>
                    <a:pt x="344284" y="177266"/>
                  </a:lnTo>
                  <a:lnTo>
                    <a:pt x="376936" y="207873"/>
                  </a:lnTo>
                  <a:lnTo>
                    <a:pt x="414248" y="232867"/>
                  </a:lnTo>
                  <a:lnTo>
                    <a:pt x="455561"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332" name="object 330">
              <a:extLst>
                <a:ext uri="{FF2B5EF4-FFF2-40B4-BE49-F238E27FC236}">
                  <a16:creationId xmlns:a16="http://schemas.microsoft.com/office/drawing/2014/main" id="{ADABDCD7-FE54-FEE7-6986-1110ACACF9FF}"/>
                </a:ext>
              </a:extLst>
            </p:cNvPr>
            <p:cNvPicPr/>
            <p:nvPr/>
          </p:nvPicPr>
          <p:blipFill>
            <a:blip r:embed="rId14" cstate="print"/>
            <a:stretch>
              <a:fillRect/>
            </a:stretch>
          </p:blipFill>
          <p:spPr>
            <a:xfrm>
              <a:off x="8867131" y="4972731"/>
              <a:ext cx="106445" cy="107156"/>
            </a:xfrm>
            <a:prstGeom prst="rect">
              <a:avLst/>
            </a:prstGeom>
          </p:spPr>
        </p:pic>
        <p:sp>
          <p:nvSpPr>
            <p:cNvPr id="333" name="object 331">
              <a:extLst>
                <a:ext uri="{FF2B5EF4-FFF2-40B4-BE49-F238E27FC236}">
                  <a16:creationId xmlns:a16="http://schemas.microsoft.com/office/drawing/2014/main" id="{23EE09C4-684A-73E5-DD3C-7E44481D882F}"/>
                </a:ext>
              </a:extLst>
            </p:cNvPr>
            <p:cNvSpPr/>
            <p:nvPr/>
          </p:nvSpPr>
          <p:spPr>
            <a:xfrm>
              <a:off x="8753854" y="2554529"/>
              <a:ext cx="332700" cy="477101"/>
            </a:xfrm>
            <a:custGeom>
              <a:avLst/>
              <a:gdLst/>
              <a:ahLst/>
              <a:cxnLst/>
              <a:rect l="l" t="t" r="r" b="b"/>
              <a:pathLst>
                <a:path w="548640" h="786764">
                  <a:moveTo>
                    <a:pt x="548081" y="786396"/>
                  </a:moveTo>
                  <a:lnTo>
                    <a:pt x="542645" y="738238"/>
                  </a:lnTo>
                  <a:lnTo>
                    <a:pt x="529247" y="692975"/>
                  </a:lnTo>
                  <a:lnTo>
                    <a:pt x="508622" y="651344"/>
                  </a:lnTo>
                  <a:lnTo>
                    <a:pt x="481533" y="614095"/>
                  </a:lnTo>
                  <a:lnTo>
                    <a:pt x="448691" y="581939"/>
                  </a:lnTo>
                  <a:lnTo>
                    <a:pt x="410832" y="555625"/>
                  </a:lnTo>
                  <a:lnTo>
                    <a:pt x="368706" y="535901"/>
                  </a:lnTo>
                  <a:lnTo>
                    <a:pt x="323037" y="523468"/>
                  </a:lnTo>
                  <a:lnTo>
                    <a:pt x="274561" y="519099"/>
                  </a:lnTo>
                  <a:lnTo>
                    <a:pt x="273342" y="519099"/>
                  </a:lnTo>
                  <a:lnTo>
                    <a:pt x="224993" y="523455"/>
                  </a:lnTo>
                  <a:lnTo>
                    <a:pt x="179438" y="535813"/>
                  </a:lnTo>
                  <a:lnTo>
                    <a:pt x="137414" y="555459"/>
                  </a:lnTo>
                  <a:lnTo>
                    <a:pt x="99618" y="581660"/>
                  </a:lnTo>
                  <a:lnTo>
                    <a:pt x="66827" y="613676"/>
                  </a:lnTo>
                  <a:lnTo>
                    <a:pt x="39738" y="650773"/>
                  </a:lnTo>
                  <a:lnTo>
                    <a:pt x="19088" y="692238"/>
                  </a:lnTo>
                  <a:lnTo>
                    <a:pt x="5613" y="737323"/>
                  </a:lnTo>
                  <a:lnTo>
                    <a:pt x="50" y="785317"/>
                  </a:lnTo>
                  <a:lnTo>
                    <a:pt x="47713" y="781278"/>
                  </a:lnTo>
                  <a:lnTo>
                    <a:pt x="92240" y="769632"/>
                  </a:lnTo>
                  <a:lnTo>
                    <a:pt x="133477" y="751027"/>
                  </a:lnTo>
                  <a:lnTo>
                    <a:pt x="170738" y="726160"/>
                  </a:lnTo>
                  <a:lnTo>
                    <a:pt x="203365" y="695693"/>
                  </a:lnTo>
                  <a:lnTo>
                    <a:pt x="230682" y="660311"/>
                  </a:lnTo>
                  <a:lnTo>
                    <a:pt x="252006" y="620687"/>
                  </a:lnTo>
                  <a:lnTo>
                    <a:pt x="266661" y="577481"/>
                  </a:lnTo>
                  <a:lnTo>
                    <a:pt x="274002" y="531406"/>
                  </a:lnTo>
                  <a:lnTo>
                    <a:pt x="281178" y="577672"/>
                  </a:lnTo>
                  <a:lnTo>
                    <a:pt x="295732" y="621042"/>
                  </a:lnTo>
                  <a:lnTo>
                    <a:pt x="316992" y="660844"/>
                  </a:lnTo>
                  <a:lnTo>
                    <a:pt x="344284" y="696379"/>
                  </a:lnTo>
                  <a:lnTo>
                    <a:pt x="376936" y="726973"/>
                  </a:lnTo>
                  <a:lnTo>
                    <a:pt x="414248" y="751954"/>
                  </a:lnTo>
                  <a:lnTo>
                    <a:pt x="455549" y="770636"/>
                  </a:lnTo>
                  <a:lnTo>
                    <a:pt x="500176" y="782345"/>
                  </a:lnTo>
                  <a:lnTo>
                    <a:pt x="548081" y="786396"/>
                  </a:lnTo>
                  <a:close/>
                </a:path>
                <a:path w="548640" h="786764">
                  <a:moveTo>
                    <a:pt x="548081" y="520865"/>
                  </a:moveTo>
                  <a:lnTo>
                    <a:pt x="542645" y="472706"/>
                  </a:lnTo>
                  <a:lnTo>
                    <a:pt x="529247" y="427443"/>
                  </a:lnTo>
                  <a:lnTo>
                    <a:pt x="508622" y="385813"/>
                  </a:lnTo>
                  <a:lnTo>
                    <a:pt x="481533" y="348564"/>
                  </a:lnTo>
                  <a:lnTo>
                    <a:pt x="448691" y="316407"/>
                  </a:lnTo>
                  <a:lnTo>
                    <a:pt x="410832" y="290106"/>
                  </a:lnTo>
                  <a:lnTo>
                    <a:pt x="368706" y="270370"/>
                  </a:lnTo>
                  <a:lnTo>
                    <a:pt x="323037" y="257949"/>
                  </a:lnTo>
                  <a:lnTo>
                    <a:pt x="274561" y="253568"/>
                  </a:lnTo>
                  <a:lnTo>
                    <a:pt x="273342" y="253568"/>
                  </a:lnTo>
                  <a:lnTo>
                    <a:pt x="224993" y="257924"/>
                  </a:lnTo>
                  <a:lnTo>
                    <a:pt x="179438" y="270294"/>
                  </a:lnTo>
                  <a:lnTo>
                    <a:pt x="137414" y="289941"/>
                  </a:lnTo>
                  <a:lnTo>
                    <a:pt x="99618" y="316128"/>
                  </a:lnTo>
                  <a:lnTo>
                    <a:pt x="66827" y="348145"/>
                  </a:lnTo>
                  <a:lnTo>
                    <a:pt x="39738" y="385254"/>
                  </a:lnTo>
                  <a:lnTo>
                    <a:pt x="19088" y="426707"/>
                  </a:lnTo>
                  <a:lnTo>
                    <a:pt x="5613" y="471805"/>
                  </a:lnTo>
                  <a:lnTo>
                    <a:pt x="50" y="519785"/>
                  </a:lnTo>
                  <a:lnTo>
                    <a:pt x="47713" y="515759"/>
                  </a:lnTo>
                  <a:lnTo>
                    <a:pt x="92240" y="504101"/>
                  </a:lnTo>
                  <a:lnTo>
                    <a:pt x="133477" y="485495"/>
                  </a:lnTo>
                  <a:lnTo>
                    <a:pt x="170738" y="460629"/>
                  </a:lnTo>
                  <a:lnTo>
                    <a:pt x="203365" y="430161"/>
                  </a:lnTo>
                  <a:lnTo>
                    <a:pt x="230682" y="394779"/>
                  </a:lnTo>
                  <a:lnTo>
                    <a:pt x="252006" y="355155"/>
                  </a:lnTo>
                  <a:lnTo>
                    <a:pt x="266661" y="311962"/>
                  </a:lnTo>
                  <a:lnTo>
                    <a:pt x="274002" y="265874"/>
                  </a:lnTo>
                  <a:lnTo>
                    <a:pt x="281178" y="312140"/>
                  </a:lnTo>
                  <a:lnTo>
                    <a:pt x="295732" y="355511"/>
                  </a:lnTo>
                  <a:lnTo>
                    <a:pt x="316992" y="395312"/>
                  </a:lnTo>
                  <a:lnTo>
                    <a:pt x="344284" y="430847"/>
                  </a:lnTo>
                  <a:lnTo>
                    <a:pt x="376936" y="461441"/>
                  </a:lnTo>
                  <a:lnTo>
                    <a:pt x="414248" y="486422"/>
                  </a:lnTo>
                  <a:lnTo>
                    <a:pt x="455549" y="505104"/>
                  </a:lnTo>
                  <a:lnTo>
                    <a:pt x="500176" y="516813"/>
                  </a:lnTo>
                  <a:lnTo>
                    <a:pt x="548081" y="520865"/>
                  </a:lnTo>
                  <a:close/>
                </a:path>
                <a:path w="548640" h="786764">
                  <a:moveTo>
                    <a:pt x="548093" y="267335"/>
                  </a:moveTo>
                  <a:lnTo>
                    <a:pt x="543864" y="230035"/>
                  </a:lnTo>
                  <a:lnTo>
                    <a:pt x="542645" y="219163"/>
                  </a:lnTo>
                  <a:lnTo>
                    <a:pt x="529247" y="173888"/>
                  </a:lnTo>
                  <a:lnTo>
                    <a:pt x="508635" y="132257"/>
                  </a:lnTo>
                  <a:lnTo>
                    <a:pt x="492937" y="110693"/>
                  </a:lnTo>
                  <a:lnTo>
                    <a:pt x="481533" y="95008"/>
                  </a:lnTo>
                  <a:lnTo>
                    <a:pt x="448691" y="62865"/>
                  </a:lnTo>
                  <a:lnTo>
                    <a:pt x="410845" y="36563"/>
                  </a:lnTo>
                  <a:lnTo>
                    <a:pt x="368706" y="16802"/>
                  </a:lnTo>
                  <a:lnTo>
                    <a:pt x="323037" y="4381"/>
                  </a:lnTo>
                  <a:lnTo>
                    <a:pt x="274561" y="0"/>
                  </a:lnTo>
                  <a:lnTo>
                    <a:pt x="273342" y="0"/>
                  </a:lnTo>
                  <a:lnTo>
                    <a:pt x="224993" y="4356"/>
                  </a:lnTo>
                  <a:lnTo>
                    <a:pt x="179438" y="16725"/>
                  </a:lnTo>
                  <a:lnTo>
                    <a:pt x="137414" y="36372"/>
                  </a:lnTo>
                  <a:lnTo>
                    <a:pt x="99618" y="62572"/>
                  </a:lnTo>
                  <a:lnTo>
                    <a:pt x="66827" y="94576"/>
                  </a:lnTo>
                  <a:lnTo>
                    <a:pt x="39700" y="131699"/>
                  </a:lnTo>
                  <a:lnTo>
                    <a:pt x="19050" y="173151"/>
                  </a:lnTo>
                  <a:lnTo>
                    <a:pt x="5575" y="218224"/>
                  </a:lnTo>
                  <a:lnTo>
                    <a:pt x="0" y="266204"/>
                  </a:lnTo>
                  <a:lnTo>
                    <a:pt x="47713" y="262191"/>
                  </a:lnTo>
                  <a:lnTo>
                    <a:pt x="92240" y="250532"/>
                  </a:lnTo>
                  <a:lnTo>
                    <a:pt x="133477" y="231940"/>
                  </a:lnTo>
                  <a:lnTo>
                    <a:pt x="161417" y="213283"/>
                  </a:lnTo>
                  <a:lnTo>
                    <a:pt x="170751" y="207060"/>
                  </a:lnTo>
                  <a:lnTo>
                    <a:pt x="203377" y="176606"/>
                  </a:lnTo>
                  <a:lnTo>
                    <a:pt x="230682" y="141224"/>
                  </a:lnTo>
                  <a:lnTo>
                    <a:pt x="252006" y="101612"/>
                  </a:lnTo>
                  <a:lnTo>
                    <a:pt x="266674" y="58420"/>
                  </a:lnTo>
                  <a:lnTo>
                    <a:pt x="274002" y="12331"/>
                  </a:lnTo>
                  <a:lnTo>
                    <a:pt x="281178" y="58597"/>
                  </a:lnTo>
                  <a:lnTo>
                    <a:pt x="295732" y="101955"/>
                  </a:lnTo>
                  <a:lnTo>
                    <a:pt x="316992" y="141744"/>
                  </a:lnTo>
                  <a:lnTo>
                    <a:pt x="344284" y="177279"/>
                  </a:lnTo>
                  <a:lnTo>
                    <a:pt x="360083" y="192087"/>
                  </a:lnTo>
                  <a:lnTo>
                    <a:pt x="376936" y="207886"/>
                  </a:lnTo>
                  <a:lnTo>
                    <a:pt x="414248" y="232867"/>
                  </a:lnTo>
                  <a:lnTo>
                    <a:pt x="455561" y="251561"/>
                  </a:lnTo>
                  <a:lnTo>
                    <a:pt x="500176" y="263271"/>
                  </a:lnTo>
                  <a:lnTo>
                    <a:pt x="548093" y="267335"/>
                  </a:lnTo>
                  <a:close/>
                </a:path>
              </a:pathLst>
            </a:custGeom>
            <a:solidFill>
              <a:srgbClr val="2DB7EA"/>
            </a:solidFill>
          </p:spPr>
          <p:txBody>
            <a:bodyPr wrap="square" lIns="0" tIns="0" rIns="0" bIns="0" rtlCol="0"/>
            <a:lstStyle/>
            <a:p>
              <a:endParaRPr dirty="0"/>
            </a:p>
          </p:txBody>
        </p:sp>
        <p:pic>
          <p:nvPicPr>
            <p:cNvPr id="334" name="object 332">
              <a:extLst>
                <a:ext uri="{FF2B5EF4-FFF2-40B4-BE49-F238E27FC236}">
                  <a16:creationId xmlns:a16="http://schemas.microsoft.com/office/drawing/2014/main" id="{2B217CDD-188C-EF2D-B4A2-38921E1AC193}"/>
                </a:ext>
              </a:extLst>
            </p:cNvPr>
            <p:cNvPicPr/>
            <p:nvPr/>
          </p:nvPicPr>
          <p:blipFill>
            <a:blip r:embed="rId13" cstate="print"/>
            <a:stretch>
              <a:fillRect/>
            </a:stretch>
          </p:blipFill>
          <p:spPr>
            <a:xfrm>
              <a:off x="8867131" y="3010234"/>
              <a:ext cx="106445" cy="107156"/>
            </a:xfrm>
            <a:prstGeom prst="rect">
              <a:avLst/>
            </a:prstGeom>
          </p:spPr>
        </p:pic>
        <p:sp>
          <p:nvSpPr>
            <p:cNvPr id="335" name="object 333">
              <a:extLst>
                <a:ext uri="{FF2B5EF4-FFF2-40B4-BE49-F238E27FC236}">
                  <a16:creationId xmlns:a16="http://schemas.microsoft.com/office/drawing/2014/main" id="{3C295021-3BEA-F859-55D9-F2928D47852E}"/>
                </a:ext>
              </a:extLst>
            </p:cNvPr>
            <p:cNvSpPr/>
            <p:nvPr/>
          </p:nvSpPr>
          <p:spPr>
            <a:xfrm>
              <a:off x="8753854" y="3208700"/>
              <a:ext cx="332700" cy="477101"/>
            </a:xfrm>
            <a:custGeom>
              <a:avLst/>
              <a:gdLst/>
              <a:ahLst/>
              <a:cxnLst/>
              <a:rect l="l" t="t" r="r" b="b"/>
              <a:pathLst>
                <a:path w="548640" h="786764">
                  <a:moveTo>
                    <a:pt x="548081" y="786384"/>
                  </a:moveTo>
                  <a:lnTo>
                    <a:pt x="542645" y="738225"/>
                  </a:lnTo>
                  <a:lnTo>
                    <a:pt x="529247" y="692962"/>
                  </a:lnTo>
                  <a:lnTo>
                    <a:pt x="508622" y="651344"/>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47"/>
                  </a:lnTo>
                  <a:lnTo>
                    <a:pt x="66827" y="613664"/>
                  </a:lnTo>
                  <a:lnTo>
                    <a:pt x="39738" y="650773"/>
                  </a:lnTo>
                  <a:lnTo>
                    <a:pt x="19088" y="692226"/>
                  </a:lnTo>
                  <a:lnTo>
                    <a:pt x="5613" y="737323"/>
                  </a:lnTo>
                  <a:lnTo>
                    <a:pt x="50" y="785317"/>
                  </a:lnTo>
                  <a:lnTo>
                    <a:pt x="47713" y="781278"/>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59"/>
                  </a:lnTo>
                  <a:lnTo>
                    <a:pt x="295732" y="621042"/>
                  </a:lnTo>
                  <a:lnTo>
                    <a:pt x="316992" y="660831"/>
                  </a:lnTo>
                  <a:lnTo>
                    <a:pt x="344284" y="696366"/>
                  </a:lnTo>
                  <a:lnTo>
                    <a:pt x="376936" y="726960"/>
                  </a:lnTo>
                  <a:lnTo>
                    <a:pt x="414248" y="751941"/>
                  </a:lnTo>
                  <a:lnTo>
                    <a:pt x="455549" y="770623"/>
                  </a:lnTo>
                  <a:lnTo>
                    <a:pt x="500176" y="782332"/>
                  </a:lnTo>
                  <a:lnTo>
                    <a:pt x="548081" y="786384"/>
                  </a:lnTo>
                  <a:close/>
                </a:path>
                <a:path w="548640" h="786764">
                  <a:moveTo>
                    <a:pt x="548081" y="520865"/>
                  </a:moveTo>
                  <a:lnTo>
                    <a:pt x="542645" y="472694"/>
                  </a:lnTo>
                  <a:lnTo>
                    <a:pt x="529247" y="427431"/>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11"/>
                  </a:lnTo>
                  <a:lnTo>
                    <a:pt x="179438" y="270281"/>
                  </a:lnTo>
                  <a:lnTo>
                    <a:pt x="137414" y="289928"/>
                  </a:lnTo>
                  <a:lnTo>
                    <a:pt x="99618" y="316115"/>
                  </a:lnTo>
                  <a:lnTo>
                    <a:pt x="66827" y="348132"/>
                  </a:lnTo>
                  <a:lnTo>
                    <a:pt x="39738" y="385241"/>
                  </a:lnTo>
                  <a:lnTo>
                    <a:pt x="19088" y="426694"/>
                  </a:lnTo>
                  <a:lnTo>
                    <a:pt x="5613" y="471792"/>
                  </a:lnTo>
                  <a:lnTo>
                    <a:pt x="50" y="519785"/>
                  </a:lnTo>
                  <a:lnTo>
                    <a:pt x="47713" y="515747"/>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40"/>
                  </a:lnTo>
                  <a:lnTo>
                    <a:pt x="295732" y="355511"/>
                  </a:lnTo>
                  <a:lnTo>
                    <a:pt x="316992" y="395300"/>
                  </a:lnTo>
                  <a:lnTo>
                    <a:pt x="344284" y="430834"/>
                  </a:lnTo>
                  <a:lnTo>
                    <a:pt x="376936" y="461429"/>
                  </a:lnTo>
                  <a:lnTo>
                    <a:pt x="414248" y="486410"/>
                  </a:lnTo>
                  <a:lnTo>
                    <a:pt x="455549" y="505091"/>
                  </a:lnTo>
                  <a:lnTo>
                    <a:pt x="500176" y="516801"/>
                  </a:lnTo>
                  <a:lnTo>
                    <a:pt x="548081" y="520865"/>
                  </a:lnTo>
                  <a:close/>
                </a:path>
                <a:path w="548640" h="786764">
                  <a:moveTo>
                    <a:pt x="548093" y="267322"/>
                  </a:moveTo>
                  <a:lnTo>
                    <a:pt x="543331" y="225285"/>
                  </a:lnTo>
                  <a:lnTo>
                    <a:pt x="542645" y="219151"/>
                  </a:lnTo>
                  <a:lnTo>
                    <a:pt x="529247" y="173888"/>
                  </a:lnTo>
                  <a:lnTo>
                    <a:pt x="519023" y="153263"/>
                  </a:lnTo>
                  <a:lnTo>
                    <a:pt x="508635" y="132257"/>
                  </a:lnTo>
                  <a:lnTo>
                    <a:pt x="481533" y="94996"/>
                  </a:lnTo>
                  <a:lnTo>
                    <a:pt x="448691" y="62852"/>
                  </a:lnTo>
                  <a:lnTo>
                    <a:pt x="410845" y="36550"/>
                  </a:lnTo>
                  <a:lnTo>
                    <a:pt x="368719" y="16814"/>
                  </a:lnTo>
                  <a:lnTo>
                    <a:pt x="323037" y="4368"/>
                  </a:lnTo>
                  <a:lnTo>
                    <a:pt x="274561" y="0"/>
                  </a:lnTo>
                  <a:lnTo>
                    <a:pt x="273342" y="0"/>
                  </a:lnTo>
                  <a:lnTo>
                    <a:pt x="224993" y="4356"/>
                  </a:lnTo>
                  <a:lnTo>
                    <a:pt x="179438" y="16725"/>
                  </a:lnTo>
                  <a:lnTo>
                    <a:pt x="137414" y="36360"/>
                  </a:lnTo>
                  <a:lnTo>
                    <a:pt x="99618" y="62560"/>
                  </a:lnTo>
                  <a:lnTo>
                    <a:pt x="82613" y="79171"/>
                  </a:lnTo>
                  <a:lnTo>
                    <a:pt x="66827" y="94576"/>
                  </a:lnTo>
                  <a:lnTo>
                    <a:pt x="39700" y="131686"/>
                  </a:lnTo>
                  <a:lnTo>
                    <a:pt x="19050" y="173139"/>
                  </a:lnTo>
                  <a:lnTo>
                    <a:pt x="5575" y="218224"/>
                  </a:lnTo>
                  <a:lnTo>
                    <a:pt x="0" y="266192"/>
                  </a:lnTo>
                  <a:lnTo>
                    <a:pt x="47713" y="262178"/>
                  </a:lnTo>
                  <a:lnTo>
                    <a:pt x="92240" y="250532"/>
                  </a:lnTo>
                  <a:lnTo>
                    <a:pt x="133477" y="231927"/>
                  </a:lnTo>
                  <a:lnTo>
                    <a:pt x="170738" y="207060"/>
                  </a:lnTo>
                  <a:lnTo>
                    <a:pt x="172910" y="205041"/>
                  </a:lnTo>
                  <a:lnTo>
                    <a:pt x="203377" y="176593"/>
                  </a:lnTo>
                  <a:lnTo>
                    <a:pt x="230682" y="141224"/>
                  </a:lnTo>
                  <a:lnTo>
                    <a:pt x="252006" y="101600"/>
                  </a:lnTo>
                  <a:lnTo>
                    <a:pt x="266674" y="58407"/>
                  </a:lnTo>
                  <a:lnTo>
                    <a:pt x="274002" y="12331"/>
                  </a:lnTo>
                  <a:lnTo>
                    <a:pt x="281178" y="58585"/>
                  </a:lnTo>
                  <a:lnTo>
                    <a:pt x="295732" y="101942"/>
                  </a:lnTo>
                  <a:lnTo>
                    <a:pt x="316992" y="141744"/>
                  </a:lnTo>
                  <a:lnTo>
                    <a:pt x="344284" y="177279"/>
                  </a:lnTo>
                  <a:lnTo>
                    <a:pt x="376936" y="207873"/>
                  </a:lnTo>
                  <a:lnTo>
                    <a:pt x="414248" y="232867"/>
                  </a:lnTo>
                  <a:lnTo>
                    <a:pt x="455561" y="251548"/>
                  </a:lnTo>
                  <a:lnTo>
                    <a:pt x="500176" y="263271"/>
                  </a:lnTo>
                  <a:lnTo>
                    <a:pt x="548093" y="267322"/>
                  </a:lnTo>
                  <a:close/>
                </a:path>
              </a:pathLst>
            </a:custGeom>
            <a:solidFill>
              <a:srgbClr val="7ED3F1"/>
            </a:solidFill>
          </p:spPr>
          <p:txBody>
            <a:bodyPr wrap="square" lIns="0" tIns="0" rIns="0" bIns="0" rtlCol="0"/>
            <a:lstStyle/>
            <a:p>
              <a:endParaRPr dirty="0"/>
            </a:p>
          </p:txBody>
        </p:sp>
        <p:pic>
          <p:nvPicPr>
            <p:cNvPr id="336" name="object 334">
              <a:extLst>
                <a:ext uri="{FF2B5EF4-FFF2-40B4-BE49-F238E27FC236}">
                  <a16:creationId xmlns:a16="http://schemas.microsoft.com/office/drawing/2014/main" id="{AC8DF193-0B48-7DD2-097D-120010726251}"/>
                </a:ext>
              </a:extLst>
            </p:cNvPr>
            <p:cNvPicPr/>
            <p:nvPr/>
          </p:nvPicPr>
          <p:blipFill>
            <a:blip r:embed="rId14" cstate="print"/>
            <a:stretch>
              <a:fillRect/>
            </a:stretch>
          </p:blipFill>
          <p:spPr>
            <a:xfrm>
              <a:off x="8867131" y="3664400"/>
              <a:ext cx="106445" cy="107156"/>
            </a:xfrm>
            <a:prstGeom prst="rect">
              <a:avLst/>
            </a:prstGeom>
          </p:spPr>
        </p:pic>
        <p:sp>
          <p:nvSpPr>
            <p:cNvPr id="337" name="object 335">
              <a:extLst>
                <a:ext uri="{FF2B5EF4-FFF2-40B4-BE49-F238E27FC236}">
                  <a16:creationId xmlns:a16="http://schemas.microsoft.com/office/drawing/2014/main" id="{3C167C17-C595-8E04-4428-285AE66148DD}"/>
                </a:ext>
              </a:extLst>
            </p:cNvPr>
            <p:cNvSpPr/>
            <p:nvPr/>
          </p:nvSpPr>
          <p:spPr>
            <a:xfrm>
              <a:off x="8753854" y="1246203"/>
              <a:ext cx="332700" cy="477101"/>
            </a:xfrm>
            <a:custGeom>
              <a:avLst/>
              <a:gdLst/>
              <a:ahLst/>
              <a:cxnLst/>
              <a:rect l="l" t="t" r="r" b="b"/>
              <a:pathLst>
                <a:path w="548640" h="786764">
                  <a:moveTo>
                    <a:pt x="548081" y="786384"/>
                  </a:moveTo>
                  <a:lnTo>
                    <a:pt x="542645" y="738225"/>
                  </a:lnTo>
                  <a:lnTo>
                    <a:pt x="529247"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47"/>
                  </a:lnTo>
                  <a:lnTo>
                    <a:pt x="66827" y="613664"/>
                  </a:lnTo>
                  <a:lnTo>
                    <a:pt x="39738" y="650760"/>
                  </a:lnTo>
                  <a:lnTo>
                    <a:pt x="19088" y="692226"/>
                  </a:lnTo>
                  <a:lnTo>
                    <a:pt x="5613" y="737323"/>
                  </a:lnTo>
                  <a:lnTo>
                    <a:pt x="50" y="785304"/>
                  </a:lnTo>
                  <a:lnTo>
                    <a:pt x="47713" y="781278"/>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59"/>
                  </a:lnTo>
                  <a:lnTo>
                    <a:pt x="295732" y="621030"/>
                  </a:lnTo>
                  <a:lnTo>
                    <a:pt x="316992" y="660831"/>
                  </a:lnTo>
                  <a:lnTo>
                    <a:pt x="344284" y="696366"/>
                  </a:lnTo>
                  <a:lnTo>
                    <a:pt x="376936" y="726960"/>
                  </a:lnTo>
                  <a:lnTo>
                    <a:pt x="414248" y="751941"/>
                  </a:lnTo>
                  <a:lnTo>
                    <a:pt x="455549" y="770623"/>
                  </a:lnTo>
                  <a:lnTo>
                    <a:pt x="500176" y="782332"/>
                  </a:lnTo>
                  <a:lnTo>
                    <a:pt x="548081" y="786384"/>
                  </a:lnTo>
                  <a:close/>
                </a:path>
                <a:path w="548640" h="786764">
                  <a:moveTo>
                    <a:pt x="548081" y="520852"/>
                  </a:moveTo>
                  <a:lnTo>
                    <a:pt x="542645" y="472694"/>
                  </a:lnTo>
                  <a:lnTo>
                    <a:pt x="529247" y="427431"/>
                  </a:lnTo>
                  <a:lnTo>
                    <a:pt x="508622" y="385813"/>
                  </a:lnTo>
                  <a:lnTo>
                    <a:pt x="481533" y="348551"/>
                  </a:lnTo>
                  <a:lnTo>
                    <a:pt x="448691" y="316395"/>
                  </a:lnTo>
                  <a:lnTo>
                    <a:pt x="410832" y="290093"/>
                  </a:lnTo>
                  <a:lnTo>
                    <a:pt x="368706" y="270357"/>
                  </a:lnTo>
                  <a:lnTo>
                    <a:pt x="323037" y="257937"/>
                  </a:lnTo>
                  <a:lnTo>
                    <a:pt x="274561" y="253555"/>
                  </a:lnTo>
                  <a:lnTo>
                    <a:pt x="273342" y="253555"/>
                  </a:lnTo>
                  <a:lnTo>
                    <a:pt x="224993" y="257911"/>
                  </a:lnTo>
                  <a:lnTo>
                    <a:pt x="179438" y="270281"/>
                  </a:lnTo>
                  <a:lnTo>
                    <a:pt x="137414" y="289928"/>
                  </a:lnTo>
                  <a:lnTo>
                    <a:pt x="99618" y="316115"/>
                  </a:lnTo>
                  <a:lnTo>
                    <a:pt x="66827" y="348132"/>
                  </a:lnTo>
                  <a:lnTo>
                    <a:pt x="39738" y="385241"/>
                  </a:lnTo>
                  <a:lnTo>
                    <a:pt x="19088" y="426694"/>
                  </a:lnTo>
                  <a:lnTo>
                    <a:pt x="5613" y="471792"/>
                  </a:lnTo>
                  <a:lnTo>
                    <a:pt x="50" y="519785"/>
                  </a:lnTo>
                  <a:lnTo>
                    <a:pt x="47713" y="515747"/>
                  </a:lnTo>
                  <a:lnTo>
                    <a:pt x="92240" y="504088"/>
                  </a:lnTo>
                  <a:lnTo>
                    <a:pt x="133477" y="485482"/>
                  </a:lnTo>
                  <a:lnTo>
                    <a:pt x="170738" y="460616"/>
                  </a:lnTo>
                  <a:lnTo>
                    <a:pt x="203365" y="430149"/>
                  </a:lnTo>
                  <a:lnTo>
                    <a:pt x="230682" y="394766"/>
                  </a:lnTo>
                  <a:lnTo>
                    <a:pt x="252006" y="355142"/>
                  </a:lnTo>
                  <a:lnTo>
                    <a:pt x="266661" y="311950"/>
                  </a:lnTo>
                  <a:lnTo>
                    <a:pt x="274002" y="265861"/>
                  </a:lnTo>
                  <a:lnTo>
                    <a:pt x="281178" y="312127"/>
                  </a:lnTo>
                  <a:lnTo>
                    <a:pt x="295732" y="355511"/>
                  </a:lnTo>
                  <a:lnTo>
                    <a:pt x="316992" y="395300"/>
                  </a:lnTo>
                  <a:lnTo>
                    <a:pt x="344284" y="430834"/>
                  </a:lnTo>
                  <a:lnTo>
                    <a:pt x="376936" y="461429"/>
                  </a:lnTo>
                  <a:lnTo>
                    <a:pt x="414248" y="486410"/>
                  </a:lnTo>
                  <a:lnTo>
                    <a:pt x="455549" y="505091"/>
                  </a:lnTo>
                  <a:lnTo>
                    <a:pt x="500176" y="516801"/>
                  </a:lnTo>
                  <a:lnTo>
                    <a:pt x="548081" y="520852"/>
                  </a:lnTo>
                  <a:close/>
                </a:path>
                <a:path w="548640" h="786764">
                  <a:moveTo>
                    <a:pt x="548093" y="267322"/>
                  </a:moveTo>
                  <a:lnTo>
                    <a:pt x="543331" y="225285"/>
                  </a:lnTo>
                  <a:lnTo>
                    <a:pt x="542645" y="219151"/>
                  </a:lnTo>
                  <a:lnTo>
                    <a:pt x="529247" y="173875"/>
                  </a:lnTo>
                  <a:lnTo>
                    <a:pt x="508635" y="132257"/>
                  </a:lnTo>
                  <a:lnTo>
                    <a:pt x="481533" y="94996"/>
                  </a:lnTo>
                  <a:lnTo>
                    <a:pt x="448691" y="62852"/>
                  </a:lnTo>
                  <a:lnTo>
                    <a:pt x="410845" y="36550"/>
                  </a:lnTo>
                  <a:lnTo>
                    <a:pt x="368706" y="16789"/>
                  </a:lnTo>
                  <a:lnTo>
                    <a:pt x="323037" y="4368"/>
                  </a:lnTo>
                  <a:lnTo>
                    <a:pt x="274561" y="0"/>
                  </a:lnTo>
                  <a:lnTo>
                    <a:pt x="273342" y="0"/>
                  </a:lnTo>
                  <a:lnTo>
                    <a:pt x="224993" y="4356"/>
                  </a:lnTo>
                  <a:lnTo>
                    <a:pt x="179438" y="16713"/>
                  </a:lnTo>
                  <a:lnTo>
                    <a:pt x="137414" y="36360"/>
                  </a:lnTo>
                  <a:lnTo>
                    <a:pt x="99618" y="62560"/>
                  </a:lnTo>
                  <a:lnTo>
                    <a:pt x="98806" y="63347"/>
                  </a:lnTo>
                  <a:lnTo>
                    <a:pt x="66827" y="94576"/>
                  </a:lnTo>
                  <a:lnTo>
                    <a:pt x="39700" y="131686"/>
                  </a:lnTo>
                  <a:lnTo>
                    <a:pt x="19050" y="173139"/>
                  </a:lnTo>
                  <a:lnTo>
                    <a:pt x="5575" y="218211"/>
                  </a:lnTo>
                  <a:lnTo>
                    <a:pt x="0" y="266192"/>
                  </a:lnTo>
                  <a:lnTo>
                    <a:pt x="47713" y="262178"/>
                  </a:lnTo>
                  <a:lnTo>
                    <a:pt x="92240" y="250532"/>
                  </a:lnTo>
                  <a:lnTo>
                    <a:pt x="133477" y="231927"/>
                  </a:lnTo>
                  <a:lnTo>
                    <a:pt x="170738" y="207060"/>
                  </a:lnTo>
                  <a:lnTo>
                    <a:pt x="172910" y="205041"/>
                  </a:lnTo>
                  <a:lnTo>
                    <a:pt x="203377" y="176593"/>
                  </a:lnTo>
                  <a:lnTo>
                    <a:pt x="230682" y="141224"/>
                  </a:lnTo>
                  <a:lnTo>
                    <a:pt x="252006" y="101600"/>
                  </a:lnTo>
                  <a:lnTo>
                    <a:pt x="266674" y="58407"/>
                  </a:lnTo>
                  <a:lnTo>
                    <a:pt x="274002" y="12319"/>
                  </a:lnTo>
                  <a:lnTo>
                    <a:pt x="281178" y="58585"/>
                  </a:lnTo>
                  <a:lnTo>
                    <a:pt x="295732" y="101942"/>
                  </a:lnTo>
                  <a:lnTo>
                    <a:pt x="316992" y="141732"/>
                  </a:lnTo>
                  <a:lnTo>
                    <a:pt x="344284" y="177266"/>
                  </a:lnTo>
                  <a:lnTo>
                    <a:pt x="376936" y="207873"/>
                  </a:lnTo>
                  <a:lnTo>
                    <a:pt x="414248" y="232867"/>
                  </a:lnTo>
                  <a:lnTo>
                    <a:pt x="455561" y="251548"/>
                  </a:lnTo>
                  <a:lnTo>
                    <a:pt x="500176" y="263271"/>
                  </a:lnTo>
                  <a:lnTo>
                    <a:pt x="548093" y="267322"/>
                  </a:lnTo>
                  <a:close/>
                </a:path>
              </a:pathLst>
            </a:custGeom>
            <a:solidFill>
              <a:srgbClr val="2DB7EA"/>
            </a:solidFill>
          </p:spPr>
          <p:txBody>
            <a:bodyPr wrap="square" lIns="0" tIns="0" rIns="0" bIns="0" rtlCol="0"/>
            <a:lstStyle/>
            <a:p>
              <a:endParaRPr dirty="0"/>
            </a:p>
          </p:txBody>
        </p:sp>
        <p:pic>
          <p:nvPicPr>
            <p:cNvPr id="338" name="object 336">
              <a:extLst>
                <a:ext uri="{FF2B5EF4-FFF2-40B4-BE49-F238E27FC236}">
                  <a16:creationId xmlns:a16="http://schemas.microsoft.com/office/drawing/2014/main" id="{85806F0F-523A-FA03-87C1-B8470E0FDC16}"/>
                </a:ext>
              </a:extLst>
            </p:cNvPr>
            <p:cNvPicPr/>
            <p:nvPr/>
          </p:nvPicPr>
          <p:blipFill>
            <a:blip r:embed="rId13" cstate="print"/>
            <a:stretch>
              <a:fillRect/>
            </a:stretch>
          </p:blipFill>
          <p:spPr>
            <a:xfrm>
              <a:off x="8867131" y="1701903"/>
              <a:ext cx="106445" cy="107156"/>
            </a:xfrm>
            <a:prstGeom prst="rect">
              <a:avLst/>
            </a:prstGeom>
          </p:spPr>
        </p:pic>
        <p:sp>
          <p:nvSpPr>
            <p:cNvPr id="339" name="object 337">
              <a:extLst>
                <a:ext uri="{FF2B5EF4-FFF2-40B4-BE49-F238E27FC236}">
                  <a16:creationId xmlns:a16="http://schemas.microsoft.com/office/drawing/2014/main" id="{55223113-FB3E-760E-D9B9-3B3B5F17278C}"/>
                </a:ext>
              </a:extLst>
            </p:cNvPr>
            <p:cNvSpPr/>
            <p:nvPr/>
          </p:nvSpPr>
          <p:spPr>
            <a:xfrm>
              <a:off x="8753854" y="1900365"/>
              <a:ext cx="332700" cy="477101"/>
            </a:xfrm>
            <a:custGeom>
              <a:avLst/>
              <a:gdLst/>
              <a:ahLst/>
              <a:cxnLst/>
              <a:rect l="l" t="t" r="r" b="b"/>
              <a:pathLst>
                <a:path w="548640" h="786764">
                  <a:moveTo>
                    <a:pt x="548081" y="786396"/>
                  </a:moveTo>
                  <a:lnTo>
                    <a:pt x="542645" y="738225"/>
                  </a:lnTo>
                  <a:lnTo>
                    <a:pt x="529247" y="692962"/>
                  </a:lnTo>
                  <a:lnTo>
                    <a:pt x="508622" y="651344"/>
                  </a:lnTo>
                  <a:lnTo>
                    <a:pt x="481533" y="614083"/>
                  </a:lnTo>
                  <a:lnTo>
                    <a:pt x="448691" y="581939"/>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60"/>
                  </a:lnTo>
                  <a:lnTo>
                    <a:pt x="66827" y="613664"/>
                  </a:lnTo>
                  <a:lnTo>
                    <a:pt x="39738" y="650773"/>
                  </a:lnTo>
                  <a:lnTo>
                    <a:pt x="19088" y="692238"/>
                  </a:lnTo>
                  <a:lnTo>
                    <a:pt x="5613" y="737323"/>
                  </a:lnTo>
                  <a:lnTo>
                    <a:pt x="50" y="785317"/>
                  </a:lnTo>
                  <a:lnTo>
                    <a:pt x="47713" y="781278"/>
                  </a:lnTo>
                  <a:lnTo>
                    <a:pt x="92240" y="769620"/>
                  </a:lnTo>
                  <a:lnTo>
                    <a:pt x="133477" y="751027"/>
                  </a:lnTo>
                  <a:lnTo>
                    <a:pt x="170738" y="726147"/>
                  </a:lnTo>
                  <a:lnTo>
                    <a:pt x="203365" y="695680"/>
                  </a:lnTo>
                  <a:lnTo>
                    <a:pt x="230682" y="660298"/>
                  </a:lnTo>
                  <a:lnTo>
                    <a:pt x="252006" y="620674"/>
                  </a:lnTo>
                  <a:lnTo>
                    <a:pt x="266661" y="577481"/>
                  </a:lnTo>
                  <a:lnTo>
                    <a:pt x="274002" y="531393"/>
                  </a:lnTo>
                  <a:lnTo>
                    <a:pt x="281178" y="577672"/>
                  </a:lnTo>
                  <a:lnTo>
                    <a:pt x="295732" y="621042"/>
                  </a:lnTo>
                  <a:lnTo>
                    <a:pt x="316992" y="660831"/>
                  </a:lnTo>
                  <a:lnTo>
                    <a:pt x="344284" y="696366"/>
                  </a:lnTo>
                  <a:lnTo>
                    <a:pt x="376936" y="726960"/>
                  </a:lnTo>
                  <a:lnTo>
                    <a:pt x="414248" y="751941"/>
                  </a:lnTo>
                  <a:lnTo>
                    <a:pt x="455549" y="770636"/>
                  </a:lnTo>
                  <a:lnTo>
                    <a:pt x="500176" y="782332"/>
                  </a:lnTo>
                  <a:lnTo>
                    <a:pt x="548081" y="786396"/>
                  </a:lnTo>
                  <a:close/>
                </a:path>
                <a:path w="548640" h="786764">
                  <a:moveTo>
                    <a:pt x="548081" y="520865"/>
                  </a:moveTo>
                  <a:lnTo>
                    <a:pt x="542645" y="472706"/>
                  </a:lnTo>
                  <a:lnTo>
                    <a:pt x="529247" y="427443"/>
                  </a:lnTo>
                  <a:lnTo>
                    <a:pt x="508622" y="385813"/>
                  </a:lnTo>
                  <a:lnTo>
                    <a:pt x="481533" y="348551"/>
                  </a:lnTo>
                  <a:lnTo>
                    <a:pt x="448691" y="316407"/>
                  </a:lnTo>
                  <a:lnTo>
                    <a:pt x="410832" y="290093"/>
                  </a:lnTo>
                  <a:lnTo>
                    <a:pt x="368706" y="270357"/>
                  </a:lnTo>
                  <a:lnTo>
                    <a:pt x="323037" y="257937"/>
                  </a:lnTo>
                  <a:lnTo>
                    <a:pt x="274561" y="253555"/>
                  </a:lnTo>
                  <a:lnTo>
                    <a:pt x="273342" y="253555"/>
                  </a:lnTo>
                  <a:lnTo>
                    <a:pt x="224993" y="257924"/>
                  </a:lnTo>
                  <a:lnTo>
                    <a:pt x="179438" y="270281"/>
                  </a:lnTo>
                  <a:lnTo>
                    <a:pt x="137414" y="289928"/>
                  </a:lnTo>
                  <a:lnTo>
                    <a:pt x="99618" y="316128"/>
                  </a:lnTo>
                  <a:lnTo>
                    <a:pt x="66827" y="348132"/>
                  </a:lnTo>
                  <a:lnTo>
                    <a:pt x="39738" y="385241"/>
                  </a:lnTo>
                  <a:lnTo>
                    <a:pt x="19088" y="426707"/>
                  </a:lnTo>
                  <a:lnTo>
                    <a:pt x="5613" y="471792"/>
                  </a:lnTo>
                  <a:lnTo>
                    <a:pt x="50" y="519785"/>
                  </a:lnTo>
                  <a:lnTo>
                    <a:pt x="47713" y="515747"/>
                  </a:lnTo>
                  <a:lnTo>
                    <a:pt x="92240" y="504088"/>
                  </a:lnTo>
                  <a:lnTo>
                    <a:pt x="133477" y="485495"/>
                  </a:lnTo>
                  <a:lnTo>
                    <a:pt x="170738" y="460616"/>
                  </a:lnTo>
                  <a:lnTo>
                    <a:pt x="203365" y="430161"/>
                  </a:lnTo>
                  <a:lnTo>
                    <a:pt x="230682" y="394766"/>
                  </a:lnTo>
                  <a:lnTo>
                    <a:pt x="252006" y="355142"/>
                  </a:lnTo>
                  <a:lnTo>
                    <a:pt x="266661" y="311950"/>
                  </a:lnTo>
                  <a:lnTo>
                    <a:pt x="274002" y="265861"/>
                  </a:lnTo>
                  <a:lnTo>
                    <a:pt x="281178" y="312140"/>
                  </a:lnTo>
                  <a:lnTo>
                    <a:pt x="295732" y="355511"/>
                  </a:lnTo>
                  <a:lnTo>
                    <a:pt x="316992" y="395300"/>
                  </a:lnTo>
                  <a:lnTo>
                    <a:pt x="344284" y="430834"/>
                  </a:lnTo>
                  <a:lnTo>
                    <a:pt x="376936" y="461441"/>
                  </a:lnTo>
                  <a:lnTo>
                    <a:pt x="414248" y="486410"/>
                  </a:lnTo>
                  <a:lnTo>
                    <a:pt x="455549" y="505104"/>
                  </a:lnTo>
                  <a:lnTo>
                    <a:pt x="500176" y="516813"/>
                  </a:lnTo>
                  <a:lnTo>
                    <a:pt x="548081" y="520865"/>
                  </a:lnTo>
                  <a:close/>
                </a:path>
                <a:path w="548640" h="786764">
                  <a:moveTo>
                    <a:pt x="548093" y="267322"/>
                  </a:moveTo>
                  <a:lnTo>
                    <a:pt x="543331" y="225285"/>
                  </a:lnTo>
                  <a:lnTo>
                    <a:pt x="542645" y="219151"/>
                  </a:lnTo>
                  <a:lnTo>
                    <a:pt x="529247" y="173888"/>
                  </a:lnTo>
                  <a:lnTo>
                    <a:pt x="519023" y="153263"/>
                  </a:lnTo>
                  <a:lnTo>
                    <a:pt x="508635" y="132257"/>
                  </a:lnTo>
                  <a:lnTo>
                    <a:pt x="501230" y="122097"/>
                  </a:lnTo>
                  <a:lnTo>
                    <a:pt x="481533" y="95008"/>
                  </a:lnTo>
                  <a:lnTo>
                    <a:pt x="448691" y="62852"/>
                  </a:lnTo>
                  <a:lnTo>
                    <a:pt x="410845" y="36550"/>
                  </a:lnTo>
                  <a:lnTo>
                    <a:pt x="368719" y="16814"/>
                  </a:lnTo>
                  <a:lnTo>
                    <a:pt x="323037" y="4381"/>
                  </a:lnTo>
                  <a:lnTo>
                    <a:pt x="274561" y="0"/>
                  </a:lnTo>
                  <a:lnTo>
                    <a:pt x="273342" y="0"/>
                  </a:lnTo>
                  <a:lnTo>
                    <a:pt x="224993" y="4356"/>
                  </a:lnTo>
                  <a:lnTo>
                    <a:pt x="179438" y="16725"/>
                  </a:lnTo>
                  <a:lnTo>
                    <a:pt x="137414" y="36372"/>
                  </a:lnTo>
                  <a:lnTo>
                    <a:pt x="99618" y="62560"/>
                  </a:lnTo>
                  <a:lnTo>
                    <a:pt x="82613" y="79171"/>
                  </a:lnTo>
                  <a:lnTo>
                    <a:pt x="66827" y="94576"/>
                  </a:lnTo>
                  <a:lnTo>
                    <a:pt x="39700" y="131686"/>
                  </a:lnTo>
                  <a:lnTo>
                    <a:pt x="19050" y="173139"/>
                  </a:lnTo>
                  <a:lnTo>
                    <a:pt x="5575" y="218224"/>
                  </a:lnTo>
                  <a:lnTo>
                    <a:pt x="0" y="266192"/>
                  </a:lnTo>
                  <a:lnTo>
                    <a:pt x="47713" y="262191"/>
                  </a:lnTo>
                  <a:lnTo>
                    <a:pt x="92240" y="250532"/>
                  </a:lnTo>
                  <a:lnTo>
                    <a:pt x="133477" y="231927"/>
                  </a:lnTo>
                  <a:lnTo>
                    <a:pt x="170751" y="207060"/>
                  </a:lnTo>
                  <a:lnTo>
                    <a:pt x="203377" y="176593"/>
                  </a:lnTo>
                  <a:lnTo>
                    <a:pt x="230682" y="141224"/>
                  </a:lnTo>
                  <a:lnTo>
                    <a:pt x="252006" y="101600"/>
                  </a:lnTo>
                  <a:lnTo>
                    <a:pt x="266674" y="58420"/>
                  </a:lnTo>
                  <a:lnTo>
                    <a:pt x="274002" y="12331"/>
                  </a:lnTo>
                  <a:lnTo>
                    <a:pt x="281178" y="58585"/>
                  </a:lnTo>
                  <a:lnTo>
                    <a:pt x="295732" y="101955"/>
                  </a:lnTo>
                  <a:lnTo>
                    <a:pt x="303136" y="115811"/>
                  </a:lnTo>
                  <a:lnTo>
                    <a:pt x="316992" y="141744"/>
                  </a:lnTo>
                  <a:lnTo>
                    <a:pt x="344284" y="177279"/>
                  </a:lnTo>
                  <a:lnTo>
                    <a:pt x="360083" y="192087"/>
                  </a:lnTo>
                  <a:lnTo>
                    <a:pt x="376936" y="207886"/>
                  </a:lnTo>
                  <a:lnTo>
                    <a:pt x="414248" y="232867"/>
                  </a:lnTo>
                  <a:lnTo>
                    <a:pt x="455561" y="251561"/>
                  </a:lnTo>
                  <a:lnTo>
                    <a:pt x="500176" y="263271"/>
                  </a:lnTo>
                  <a:lnTo>
                    <a:pt x="548093" y="267322"/>
                  </a:lnTo>
                  <a:close/>
                </a:path>
              </a:pathLst>
            </a:custGeom>
            <a:solidFill>
              <a:srgbClr val="7ED3F1"/>
            </a:solidFill>
          </p:spPr>
          <p:txBody>
            <a:bodyPr wrap="square" lIns="0" tIns="0" rIns="0" bIns="0" rtlCol="0"/>
            <a:lstStyle/>
            <a:p>
              <a:endParaRPr dirty="0"/>
            </a:p>
          </p:txBody>
        </p:sp>
        <p:pic>
          <p:nvPicPr>
            <p:cNvPr id="340" name="object 338">
              <a:extLst>
                <a:ext uri="{FF2B5EF4-FFF2-40B4-BE49-F238E27FC236}">
                  <a16:creationId xmlns:a16="http://schemas.microsoft.com/office/drawing/2014/main" id="{AF25FD18-D36C-67A9-23E6-C06A7CA1C32F}"/>
                </a:ext>
              </a:extLst>
            </p:cNvPr>
            <p:cNvPicPr/>
            <p:nvPr/>
          </p:nvPicPr>
          <p:blipFill>
            <a:blip r:embed="rId14" cstate="print"/>
            <a:stretch>
              <a:fillRect/>
            </a:stretch>
          </p:blipFill>
          <p:spPr>
            <a:xfrm>
              <a:off x="8867131" y="2356067"/>
              <a:ext cx="106445" cy="107156"/>
            </a:xfrm>
            <a:prstGeom prst="rect">
              <a:avLst/>
            </a:prstGeom>
          </p:spPr>
        </p:pic>
        <p:sp>
          <p:nvSpPr>
            <p:cNvPr id="341" name="object 339">
              <a:extLst>
                <a:ext uri="{FF2B5EF4-FFF2-40B4-BE49-F238E27FC236}">
                  <a16:creationId xmlns:a16="http://schemas.microsoft.com/office/drawing/2014/main" id="{0F3821D2-4926-2008-082C-C8AE72E47D49}"/>
                </a:ext>
              </a:extLst>
            </p:cNvPr>
            <p:cNvSpPr/>
            <p:nvPr/>
          </p:nvSpPr>
          <p:spPr>
            <a:xfrm>
              <a:off x="8753860"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342" name="object 340">
              <a:extLst>
                <a:ext uri="{FF2B5EF4-FFF2-40B4-BE49-F238E27FC236}">
                  <a16:creationId xmlns:a16="http://schemas.microsoft.com/office/drawing/2014/main" id="{D40ECDAF-2EAD-BBC5-9D65-2EBB73B13FFB}"/>
                </a:ext>
              </a:extLst>
            </p:cNvPr>
            <p:cNvPicPr/>
            <p:nvPr/>
          </p:nvPicPr>
          <p:blipFill>
            <a:blip r:embed="rId22" cstate="print"/>
            <a:stretch>
              <a:fillRect/>
            </a:stretch>
          </p:blipFill>
          <p:spPr>
            <a:xfrm>
              <a:off x="8753888" y="123"/>
              <a:ext cx="152433" cy="99184"/>
            </a:xfrm>
            <a:prstGeom prst="rect">
              <a:avLst/>
            </a:prstGeom>
          </p:spPr>
        </p:pic>
        <p:pic>
          <p:nvPicPr>
            <p:cNvPr id="343" name="object 341">
              <a:extLst>
                <a:ext uri="{FF2B5EF4-FFF2-40B4-BE49-F238E27FC236}">
                  <a16:creationId xmlns:a16="http://schemas.microsoft.com/office/drawing/2014/main" id="{7F88CB64-88CD-D558-7440-083E9A7FA224}"/>
                </a:ext>
              </a:extLst>
            </p:cNvPr>
            <p:cNvPicPr/>
            <p:nvPr/>
          </p:nvPicPr>
          <p:blipFill>
            <a:blip r:embed="rId21" cstate="print"/>
            <a:stretch>
              <a:fillRect/>
            </a:stretch>
          </p:blipFill>
          <p:spPr>
            <a:xfrm>
              <a:off x="8933423" y="123"/>
              <a:ext cx="152798" cy="99837"/>
            </a:xfrm>
            <a:prstGeom prst="rect">
              <a:avLst/>
            </a:prstGeom>
          </p:spPr>
        </p:pic>
        <p:sp>
          <p:nvSpPr>
            <p:cNvPr id="344" name="object 342">
              <a:extLst>
                <a:ext uri="{FF2B5EF4-FFF2-40B4-BE49-F238E27FC236}">
                  <a16:creationId xmlns:a16="http://schemas.microsoft.com/office/drawing/2014/main" id="{6215DFE2-1B09-5F6B-4BE9-E52E74DA77B5}"/>
                </a:ext>
              </a:extLst>
            </p:cNvPr>
            <p:cNvSpPr/>
            <p:nvPr/>
          </p:nvSpPr>
          <p:spPr>
            <a:xfrm>
              <a:off x="8753885" y="91626"/>
              <a:ext cx="332700" cy="323458"/>
            </a:xfrm>
            <a:custGeom>
              <a:avLst/>
              <a:gdLst/>
              <a:ahLst/>
              <a:cxnLst/>
              <a:rect l="l" t="t" r="r" b="b"/>
              <a:pathLst>
                <a:path w="548640" h="533400">
                  <a:moveTo>
                    <a:pt x="548030" y="532841"/>
                  </a:moveTo>
                  <a:lnTo>
                    <a:pt x="542594" y="484682"/>
                  </a:lnTo>
                  <a:lnTo>
                    <a:pt x="529196" y="439420"/>
                  </a:lnTo>
                  <a:lnTo>
                    <a:pt x="508571" y="397789"/>
                  </a:lnTo>
                  <a:lnTo>
                    <a:pt x="481482" y="360527"/>
                  </a:lnTo>
                  <a:lnTo>
                    <a:pt x="448640" y="328383"/>
                  </a:lnTo>
                  <a:lnTo>
                    <a:pt x="410781" y="302069"/>
                  </a:lnTo>
                  <a:lnTo>
                    <a:pt x="368655" y="282333"/>
                  </a:lnTo>
                  <a:lnTo>
                    <a:pt x="322986" y="269913"/>
                  </a:lnTo>
                  <a:lnTo>
                    <a:pt x="274510" y="265544"/>
                  </a:lnTo>
                  <a:lnTo>
                    <a:pt x="273291" y="265544"/>
                  </a:lnTo>
                  <a:lnTo>
                    <a:pt x="224942" y="269900"/>
                  </a:lnTo>
                  <a:lnTo>
                    <a:pt x="179387" y="282257"/>
                  </a:lnTo>
                  <a:lnTo>
                    <a:pt x="137363" y="301904"/>
                  </a:lnTo>
                  <a:lnTo>
                    <a:pt x="99568" y="328104"/>
                  </a:lnTo>
                  <a:lnTo>
                    <a:pt x="66776" y="360121"/>
                  </a:lnTo>
                  <a:lnTo>
                    <a:pt x="39687" y="397217"/>
                  </a:lnTo>
                  <a:lnTo>
                    <a:pt x="19037" y="438683"/>
                  </a:lnTo>
                  <a:lnTo>
                    <a:pt x="5562" y="483768"/>
                  </a:lnTo>
                  <a:lnTo>
                    <a:pt x="0" y="531761"/>
                  </a:lnTo>
                  <a:lnTo>
                    <a:pt x="47663" y="527723"/>
                  </a:lnTo>
                  <a:lnTo>
                    <a:pt x="92189" y="516064"/>
                  </a:lnTo>
                  <a:lnTo>
                    <a:pt x="133426" y="497471"/>
                  </a:lnTo>
                  <a:lnTo>
                    <a:pt x="170688" y="472592"/>
                  </a:lnTo>
                  <a:lnTo>
                    <a:pt x="203314" y="442137"/>
                  </a:lnTo>
                  <a:lnTo>
                    <a:pt x="230632" y="406755"/>
                  </a:lnTo>
                  <a:lnTo>
                    <a:pt x="251955" y="367118"/>
                  </a:lnTo>
                  <a:lnTo>
                    <a:pt x="266611" y="323926"/>
                  </a:lnTo>
                  <a:lnTo>
                    <a:pt x="273951" y="277837"/>
                  </a:lnTo>
                  <a:lnTo>
                    <a:pt x="281127" y="324116"/>
                  </a:lnTo>
                  <a:lnTo>
                    <a:pt x="295681" y="367487"/>
                  </a:lnTo>
                  <a:lnTo>
                    <a:pt x="316941" y="407276"/>
                  </a:lnTo>
                  <a:lnTo>
                    <a:pt x="344233" y="442810"/>
                  </a:lnTo>
                  <a:lnTo>
                    <a:pt x="376885" y="473417"/>
                  </a:lnTo>
                  <a:lnTo>
                    <a:pt x="414197" y="498398"/>
                  </a:lnTo>
                  <a:lnTo>
                    <a:pt x="455498" y="517080"/>
                  </a:lnTo>
                  <a:lnTo>
                    <a:pt x="500126" y="528789"/>
                  </a:lnTo>
                  <a:lnTo>
                    <a:pt x="548030" y="532841"/>
                  </a:lnTo>
                  <a:close/>
                </a:path>
                <a:path w="548640" h="533400">
                  <a:moveTo>
                    <a:pt x="548030" y="267309"/>
                  </a:moveTo>
                  <a:lnTo>
                    <a:pt x="542594" y="219138"/>
                  </a:lnTo>
                  <a:lnTo>
                    <a:pt x="529196" y="173888"/>
                  </a:lnTo>
                  <a:lnTo>
                    <a:pt x="508571" y="132257"/>
                  </a:lnTo>
                  <a:lnTo>
                    <a:pt x="481482" y="94996"/>
                  </a:lnTo>
                  <a:lnTo>
                    <a:pt x="448640" y="62852"/>
                  </a:lnTo>
                  <a:lnTo>
                    <a:pt x="410781" y="36537"/>
                  </a:lnTo>
                  <a:lnTo>
                    <a:pt x="368655" y="16802"/>
                  </a:lnTo>
                  <a:lnTo>
                    <a:pt x="322986" y="4381"/>
                  </a:lnTo>
                  <a:lnTo>
                    <a:pt x="274510" y="0"/>
                  </a:lnTo>
                  <a:lnTo>
                    <a:pt x="273291" y="0"/>
                  </a:lnTo>
                  <a:lnTo>
                    <a:pt x="224942" y="4356"/>
                  </a:lnTo>
                  <a:lnTo>
                    <a:pt x="179387" y="16725"/>
                  </a:lnTo>
                  <a:lnTo>
                    <a:pt x="137363" y="36372"/>
                  </a:lnTo>
                  <a:lnTo>
                    <a:pt x="99568" y="62572"/>
                  </a:lnTo>
                  <a:lnTo>
                    <a:pt x="66776" y="94576"/>
                  </a:lnTo>
                  <a:lnTo>
                    <a:pt x="39687" y="131686"/>
                  </a:lnTo>
                  <a:lnTo>
                    <a:pt x="19037" y="173151"/>
                  </a:lnTo>
                  <a:lnTo>
                    <a:pt x="5562" y="218236"/>
                  </a:lnTo>
                  <a:lnTo>
                    <a:pt x="0" y="266230"/>
                  </a:lnTo>
                  <a:lnTo>
                    <a:pt x="47663" y="262191"/>
                  </a:lnTo>
                  <a:lnTo>
                    <a:pt x="92189" y="250532"/>
                  </a:lnTo>
                  <a:lnTo>
                    <a:pt x="133426" y="231940"/>
                  </a:lnTo>
                  <a:lnTo>
                    <a:pt x="170688" y="207060"/>
                  </a:lnTo>
                  <a:lnTo>
                    <a:pt x="203314" y="176593"/>
                  </a:lnTo>
                  <a:lnTo>
                    <a:pt x="230632" y="141211"/>
                  </a:lnTo>
                  <a:lnTo>
                    <a:pt x="251955" y="101587"/>
                  </a:lnTo>
                  <a:lnTo>
                    <a:pt x="266611" y="58394"/>
                  </a:lnTo>
                  <a:lnTo>
                    <a:pt x="273951" y="12306"/>
                  </a:lnTo>
                  <a:lnTo>
                    <a:pt x="281127" y="58585"/>
                  </a:lnTo>
                  <a:lnTo>
                    <a:pt x="295681" y="101955"/>
                  </a:lnTo>
                  <a:lnTo>
                    <a:pt x="316941" y="141744"/>
                  </a:lnTo>
                  <a:lnTo>
                    <a:pt x="344233" y="177279"/>
                  </a:lnTo>
                  <a:lnTo>
                    <a:pt x="376885" y="207873"/>
                  </a:lnTo>
                  <a:lnTo>
                    <a:pt x="414197" y="232854"/>
                  </a:lnTo>
                  <a:lnTo>
                    <a:pt x="455498" y="251548"/>
                  </a:lnTo>
                  <a:lnTo>
                    <a:pt x="500126" y="263258"/>
                  </a:lnTo>
                  <a:lnTo>
                    <a:pt x="548030" y="267309"/>
                  </a:lnTo>
                  <a:close/>
                </a:path>
              </a:pathLst>
            </a:custGeom>
            <a:solidFill>
              <a:srgbClr val="2DB7EA"/>
            </a:solidFill>
          </p:spPr>
          <p:txBody>
            <a:bodyPr wrap="square" lIns="0" tIns="0" rIns="0" bIns="0" rtlCol="0"/>
            <a:lstStyle/>
            <a:p>
              <a:endParaRPr dirty="0"/>
            </a:p>
          </p:txBody>
        </p:sp>
        <p:pic>
          <p:nvPicPr>
            <p:cNvPr id="345" name="object 343">
              <a:extLst>
                <a:ext uri="{FF2B5EF4-FFF2-40B4-BE49-F238E27FC236}">
                  <a16:creationId xmlns:a16="http://schemas.microsoft.com/office/drawing/2014/main" id="{BC3BCD93-75CC-03FD-7F7A-F07764060D0E}"/>
                </a:ext>
              </a:extLst>
            </p:cNvPr>
            <p:cNvPicPr/>
            <p:nvPr/>
          </p:nvPicPr>
          <p:blipFill>
            <a:blip r:embed="rId13" cstate="print"/>
            <a:stretch>
              <a:fillRect/>
            </a:stretch>
          </p:blipFill>
          <p:spPr>
            <a:xfrm>
              <a:off x="8867131" y="393572"/>
              <a:ext cx="106445" cy="107156"/>
            </a:xfrm>
            <a:prstGeom prst="rect">
              <a:avLst/>
            </a:prstGeom>
          </p:spPr>
        </p:pic>
        <p:sp>
          <p:nvSpPr>
            <p:cNvPr id="346" name="object 344">
              <a:extLst>
                <a:ext uri="{FF2B5EF4-FFF2-40B4-BE49-F238E27FC236}">
                  <a16:creationId xmlns:a16="http://schemas.microsoft.com/office/drawing/2014/main" id="{EB28ADFB-C1A7-E3DF-1876-0C2CE6CE3939}"/>
                </a:ext>
              </a:extLst>
            </p:cNvPr>
            <p:cNvSpPr/>
            <p:nvPr/>
          </p:nvSpPr>
          <p:spPr>
            <a:xfrm>
              <a:off x="8753854" y="592039"/>
              <a:ext cx="332700" cy="477101"/>
            </a:xfrm>
            <a:custGeom>
              <a:avLst/>
              <a:gdLst/>
              <a:ahLst/>
              <a:cxnLst/>
              <a:rect l="l" t="t" r="r" b="b"/>
              <a:pathLst>
                <a:path w="548640" h="786764">
                  <a:moveTo>
                    <a:pt x="548081" y="786384"/>
                  </a:moveTo>
                  <a:lnTo>
                    <a:pt x="542645" y="738225"/>
                  </a:lnTo>
                  <a:lnTo>
                    <a:pt x="529247" y="692962"/>
                  </a:lnTo>
                  <a:lnTo>
                    <a:pt x="508622" y="651332"/>
                  </a:lnTo>
                  <a:lnTo>
                    <a:pt x="481533" y="614083"/>
                  </a:lnTo>
                  <a:lnTo>
                    <a:pt x="448691" y="581926"/>
                  </a:lnTo>
                  <a:lnTo>
                    <a:pt x="410832" y="555625"/>
                  </a:lnTo>
                  <a:lnTo>
                    <a:pt x="368706" y="535889"/>
                  </a:lnTo>
                  <a:lnTo>
                    <a:pt x="323037" y="523468"/>
                  </a:lnTo>
                  <a:lnTo>
                    <a:pt x="274561" y="519087"/>
                  </a:lnTo>
                  <a:lnTo>
                    <a:pt x="273342" y="519087"/>
                  </a:lnTo>
                  <a:lnTo>
                    <a:pt x="224993" y="523443"/>
                  </a:lnTo>
                  <a:lnTo>
                    <a:pt x="179438" y="535813"/>
                  </a:lnTo>
                  <a:lnTo>
                    <a:pt x="137414" y="555459"/>
                  </a:lnTo>
                  <a:lnTo>
                    <a:pt x="99618" y="581647"/>
                  </a:lnTo>
                  <a:lnTo>
                    <a:pt x="66827" y="613664"/>
                  </a:lnTo>
                  <a:lnTo>
                    <a:pt x="39738" y="650760"/>
                  </a:lnTo>
                  <a:lnTo>
                    <a:pt x="19088" y="692226"/>
                  </a:lnTo>
                  <a:lnTo>
                    <a:pt x="5613" y="737323"/>
                  </a:lnTo>
                  <a:lnTo>
                    <a:pt x="50" y="785304"/>
                  </a:lnTo>
                  <a:lnTo>
                    <a:pt x="47713" y="781278"/>
                  </a:lnTo>
                  <a:lnTo>
                    <a:pt x="92240" y="769620"/>
                  </a:lnTo>
                  <a:lnTo>
                    <a:pt x="133477" y="751014"/>
                  </a:lnTo>
                  <a:lnTo>
                    <a:pt x="170738" y="726147"/>
                  </a:lnTo>
                  <a:lnTo>
                    <a:pt x="203365" y="695680"/>
                  </a:lnTo>
                  <a:lnTo>
                    <a:pt x="230682" y="660298"/>
                  </a:lnTo>
                  <a:lnTo>
                    <a:pt x="252006" y="620674"/>
                  </a:lnTo>
                  <a:lnTo>
                    <a:pt x="266661" y="577481"/>
                  </a:lnTo>
                  <a:lnTo>
                    <a:pt x="274002" y="531393"/>
                  </a:lnTo>
                  <a:lnTo>
                    <a:pt x="281178" y="577659"/>
                  </a:lnTo>
                  <a:lnTo>
                    <a:pt x="295732" y="621030"/>
                  </a:lnTo>
                  <a:lnTo>
                    <a:pt x="316992" y="660831"/>
                  </a:lnTo>
                  <a:lnTo>
                    <a:pt x="344284" y="696366"/>
                  </a:lnTo>
                  <a:lnTo>
                    <a:pt x="376936" y="726960"/>
                  </a:lnTo>
                  <a:lnTo>
                    <a:pt x="414248" y="751941"/>
                  </a:lnTo>
                  <a:lnTo>
                    <a:pt x="455549" y="770623"/>
                  </a:lnTo>
                  <a:lnTo>
                    <a:pt x="500176" y="782332"/>
                  </a:lnTo>
                  <a:lnTo>
                    <a:pt x="548081" y="786384"/>
                  </a:lnTo>
                  <a:close/>
                </a:path>
                <a:path w="548640" h="786764">
                  <a:moveTo>
                    <a:pt x="548081" y="520852"/>
                  </a:moveTo>
                  <a:lnTo>
                    <a:pt x="542645" y="472694"/>
                  </a:lnTo>
                  <a:lnTo>
                    <a:pt x="529247" y="427431"/>
                  </a:lnTo>
                  <a:lnTo>
                    <a:pt x="508622" y="385800"/>
                  </a:lnTo>
                  <a:lnTo>
                    <a:pt x="481533" y="348551"/>
                  </a:lnTo>
                  <a:lnTo>
                    <a:pt x="448691" y="316395"/>
                  </a:lnTo>
                  <a:lnTo>
                    <a:pt x="410832" y="290080"/>
                  </a:lnTo>
                  <a:lnTo>
                    <a:pt x="368706" y="270357"/>
                  </a:lnTo>
                  <a:lnTo>
                    <a:pt x="323037" y="257924"/>
                  </a:lnTo>
                  <a:lnTo>
                    <a:pt x="274561" y="253555"/>
                  </a:lnTo>
                  <a:lnTo>
                    <a:pt x="273342" y="253555"/>
                  </a:lnTo>
                  <a:lnTo>
                    <a:pt x="224993" y="257911"/>
                  </a:lnTo>
                  <a:lnTo>
                    <a:pt x="179438" y="270281"/>
                  </a:lnTo>
                  <a:lnTo>
                    <a:pt x="137414" y="289915"/>
                  </a:lnTo>
                  <a:lnTo>
                    <a:pt x="99618" y="316115"/>
                  </a:lnTo>
                  <a:lnTo>
                    <a:pt x="66827" y="348132"/>
                  </a:lnTo>
                  <a:lnTo>
                    <a:pt x="39738" y="385229"/>
                  </a:lnTo>
                  <a:lnTo>
                    <a:pt x="19088" y="426694"/>
                  </a:lnTo>
                  <a:lnTo>
                    <a:pt x="5613" y="471779"/>
                  </a:lnTo>
                  <a:lnTo>
                    <a:pt x="50" y="519772"/>
                  </a:lnTo>
                  <a:lnTo>
                    <a:pt x="47713" y="515734"/>
                  </a:lnTo>
                  <a:lnTo>
                    <a:pt x="92240" y="504088"/>
                  </a:lnTo>
                  <a:lnTo>
                    <a:pt x="133477" y="485482"/>
                  </a:lnTo>
                  <a:lnTo>
                    <a:pt x="170738" y="460616"/>
                  </a:lnTo>
                  <a:lnTo>
                    <a:pt x="203365" y="430149"/>
                  </a:lnTo>
                  <a:lnTo>
                    <a:pt x="230682" y="394766"/>
                  </a:lnTo>
                  <a:lnTo>
                    <a:pt x="252006" y="355142"/>
                  </a:lnTo>
                  <a:lnTo>
                    <a:pt x="266661" y="311937"/>
                  </a:lnTo>
                  <a:lnTo>
                    <a:pt x="274002" y="265861"/>
                  </a:lnTo>
                  <a:lnTo>
                    <a:pt x="281178" y="312127"/>
                  </a:lnTo>
                  <a:lnTo>
                    <a:pt x="295732" y="355498"/>
                  </a:lnTo>
                  <a:lnTo>
                    <a:pt x="316992" y="395300"/>
                  </a:lnTo>
                  <a:lnTo>
                    <a:pt x="344284" y="430834"/>
                  </a:lnTo>
                  <a:lnTo>
                    <a:pt x="376936" y="461429"/>
                  </a:lnTo>
                  <a:lnTo>
                    <a:pt x="414248" y="486410"/>
                  </a:lnTo>
                  <a:lnTo>
                    <a:pt x="455549" y="505091"/>
                  </a:lnTo>
                  <a:lnTo>
                    <a:pt x="500176" y="516801"/>
                  </a:lnTo>
                  <a:lnTo>
                    <a:pt x="548081" y="520852"/>
                  </a:lnTo>
                  <a:close/>
                </a:path>
                <a:path w="548640" h="786764">
                  <a:moveTo>
                    <a:pt x="548093" y="267322"/>
                  </a:moveTo>
                  <a:lnTo>
                    <a:pt x="542645" y="219138"/>
                  </a:lnTo>
                  <a:lnTo>
                    <a:pt x="529247" y="173875"/>
                  </a:lnTo>
                  <a:lnTo>
                    <a:pt x="508635" y="132245"/>
                  </a:lnTo>
                  <a:lnTo>
                    <a:pt x="492937" y="110680"/>
                  </a:lnTo>
                  <a:lnTo>
                    <a:pt x="481533" y="94996"/>
                  </a:lnTo>
                  <a:lnTo>
                    <a:pt x="448691" y="62839"/>
                  </a:lnTo>
                  <a:lnTo>
                    <a:pt x="410845" y="36537"/>
                  </a:lnTo>
                  <a:lnTo>
                    <a:pt x="368706" y="16789"/>
                  </a:lnTo>
                  <a:lnTo>
                    <a:pt x="323037" y="4368"/>
                  </a:lnTo>
                  <a:lnTo>
                    <a:pt x="274574" y="12"/>
                  </a:lnTo>
                  <a:lnTo>
                    <a:pt x="273342" y="0"/>
                  </a:lnTo>
                  <a:lnTo>
                    <a:pt x="224993" y="4356"/>
                  </a:lnTo>
                  <a:lnTo>
                    <a:pt x="179438" y="16713"/>
                  </a:lnTo>
                  <a:lnTo>
                    <a:pt x="137414" y="36360"/>
                  </a:lnTo>
                  <a:lnTo>
                    <a:pt x="99618" y="62560"/>
                  </a:lnTo>
                  <a:lnTo>
                    <a:pt x="98806" y="63347"/>
                  </a:lnTo>
                  <a:lnTo>
                    <a:pt x="66827" y="94576"/>
                  </a:lnTo>
                  <a:lnTo>
                    <a:pt x="39700" y="131686"/>
                  </a:lnTo>
                  <a:lnTo>
                    <a:pt x="19050" y="173139"/>
                  </a:lnTo>
                  <a:lnTo>
                    <a:pt x="5575" y="218211"/>
                  </a:lnTo>
                  <a:lnTo>
                    <a:pt x="0" y="266192"/>
                  </a:lnTo>
                  <a:lnTo>
                    <a:pt x="47713" y="262178"/>
                  </a:lnTo>
                  <a:lnTo>
                    <a:pt x="92240" y="250520"/>
                  </a:lnTo>
                  <a:lnTo>
                    <a:pt x="133477" y="231927"/>
                  </a:lnTo>
                  <a:lnTo>
                    <a:pt x="161417" y="213271"/>
                  </a:lnTo>
                  <a:lnTo>
                    <a:pt x="170751" y="207048"/>
                  </a:lnTo>
                  <a:lnTo>
                    <a:pt x="203377" y="176593"/>
                  </a:lnTo>
                  <a:lnTo>
                    <a:pt x="230682" y="141211"/>
                  </a:lnTo>
                  <a:lnTo>
                    <a:pt x="252006" y="101587"/>
                  </a:lnTo>
                  <a:lnTo>
                    <a:pt x="266674" y="58407"/>
                  </a:lnTo>
                  <a:lnTo>
                    <a:pt x="274002" y="12319"/>
                  </a:lnTo>
                  <a:lnTo>
                    <a:pt x="281178" y="58572"/>
                  </a:lnTo>
                  <a:lnTo>
                    <a:pt x="295732" y="101942"/>
                  </a:lnTo>
                  <a:lnTo>
                    <a:pt x="316992" y="141732"/>
                  </a:lnTo>
                  <a:lnTo>
                    <a:pt x="344284" y="177266"/>
                  </a:lnTo>
                  <a:lnTo>
                    <a:pt x="376936" y="207873"/>
                  </a:lnTo>
                  <a:lnTo>
                    <a:pt x="414248" y="232854"/>
                  </a:lnTo>
                  <a:lnTo>
                    <a:pt x="455561" y="251548"/>
                  </a:lnTo>
                  <a:lnTo>
                    <a:pt x="500176" y="263258"/>
                  </a:lnTo>
                  <a:lnTo>
                    <a:pt x="548093" y="267322"/>
                  </a:lnTo>
                  <a:close/>
                </a:path>
              </a:pathLst>
            </a:custGeom>
            <a:solidFill>
              <a:srgbClr val="7ED3F1"/>
            </a:solidFill>
          </p:spPr>
          <p:txBody>
            <a:bodyPr wrap="square" lIns="0" tIns="0" rIns="0" bIns="0" rtlCol="0"/>
            <a:lstStyle/>
            <a:p>
              <a:endParaRPr dirty="0"/>
            </a:p>
          </p:txBody>
        </p:sp>
        <p:pic>
          <p:nvPicPr>
            <p:cNvPr id="347" name="object 345">
              <a:extLst>
                <a:ext uri="{FF2B5EF4-FFF2-40B4-BE49-F238E27FC236}">
                  <a16:creationId xmlns:a16="http://schemas.microsoft.com/office/drawing/2014/main" id="{A2D3D73F-BC58-8FD6-2036-216D933CCBD3}"/>
                </a:ext>
              </a:extLst>
            </p:cNvPr>
            <p:cNvPicPr/>
            <p:nvPr/>
          </p:nvPicPr>
          <p:blipFill>
            <a:blip r:embed="rId14" cstate="print"/>
            <a:stretch>
              <a:fillRect/>
            </a:stretch>
          </p:blipFill>
          <p:spPr>
            <a:xfrm>
              <a:off x="8867131" y="1047738"/>
              <a:ext cx="106445" cy="107156"/>
            </a:xfrm>
            <a:prstGeom prst="rect">
              <a:avLst/>
            </a:prstGeom>
          </p:spPr>
        </p:pic>
        <p:sp>
          <p:nvSpPr>
            <p:cNvPr id="348" name="object 346">
              <a:extLst>
                <a:ext uri="{FF2B5EF4-FFF2-40B4-BE49-F238E27FC236}">
                  <a16:creationId xmlns:a16="http://schemas.microsoft.com/office/drawing/2014/main" id="{2E766A18-2AC6-EF9B-42F5-55086D974784}"/>
                </a:ext>
              </a:extLst>
            </p:cNvPr>
            <p:cNvSpPr/>
            <p:nvPr/>
          </p:nvSpPr>
          <p:spPr>
            <a:xfrm>
              <a:off x="9909070" y="804428"/>
              <a:ext cx="332700" cy="477101"/>
            </a:xfrm>
            <a:custGeom>
              <a:avLst/>
              <a:gdLst/>
              <a:ahLst/>
              <a:cxnLst/>
              <a:rect l="l" t="t" r="r" b="b"/>
              <a:pathLst>
                <a:path w="548640" h="786764">
                  <a:moveTo>
                    <a:pt x="548093" y="520166"/>
                  </a:moveTo>
                  <a:lnTo>
                    <a:pt x="500380" y="524205"/>
                  </a:lnTo>
                  <a:lnTo>
                    <a:pt x="455853" y="535851"/>
                  </a:lnTo>
                  <a:lnTo>
                    <a:pt x="414616" y="554456"/>
                  </a:lnTo>
                  <a:lnTo>
                    <a:pt x="377355" y="579323"/>
                  </a:lnTo>
                  <a:lnTo>
                    <a:pt x="375183" y="581355"/>
                  </a:lnTo>
                  <a:lnTo>
                    <a:pt x="344728" y="609790"/>
                  </a:lnTo>
                  <a:lnTo>
                    <a:pt x="317411" y="645160"/>
                  </a:lnTo>
                  <a:lnTo>
                    <a:pt x="296087" y="684784"/>
                  </a:lnTo>
                  <a:lnTo>
                    <a:pt x="281419" y="727976"/>
                  </a:lnTo>
                  <a:lnTo>
                    <a:pt x="274091" y="774065"/>
                  </a:lnTo>
                  <a:lnTo>
                    <a:pt x="272161" y="761669"/>
                  </a:lnTo>
                  <a:lnTo>
                    <a:pt x="266928" y="727811"/>
                  </a:lnTo>
                  <a:lnTo>
                    <a:pt x="252361" y="684441"/>
                  </a:lnTo>
                  <a:lnTo>
                    <a:pt x="231101" y="644652"/>
                  </a:lnTo>
                  <a:lnTo>
                    <a:pt x="210121" y="617347"/>
                  </a:lnTo>
                  <a:lnTo>
                    <a:pt x="203809" y="609117"/>
                  </a:lnTo>
                  <a:lnTo>
                    <a:pt x="171157" y="578510"/>
                  </a:lnTo>
                  <a:lnTo>
                    <a:pt x="133845" y="553529"/>
                  </a:lnTo>
                  <a:lnTo>
                    <a:pt x="92544" y="534847"/>
                  </a:lnTo>
                  <a:lnTo>
                    <a:pt x="47917" y="523113"/>
                  </a:lnTo>
                  <a:lnTo>
                    <a:pt x="0" y="519061"/>
                  </a:lnTo>
                  <a:lnTo>
                    <a:pt x="5448" y="567232"/>
                  </a:lnTo>
                  <a:lnTo>
                    <a:pt x="18846" y="612508"/>
                  </a:lnTo>
                  <a:lnTo>
                    <a:pt x="39458" y="654126"/>
                  </a:lnTo>
                  <a:lnTo>
                    <a:pt x="66560" y="691388"/>
                  </a:lnTo>
                  <a:lnTo>
                    <a:pt x="99402" y="723544"/>
                  </a:lnTo>
                  <a:lnTo>
                    <a:pt x="137261" y="749858"/>
                  </a:lnTo>
                  <a:lnTo>
                    <a:pt x="179387" y="769594"/>
                  </a:lnTo>
                  <a:lnTo>
                    <a:pt x="225056" y="782015"/>
                  </a:lnTo>
                  <a:lnTo>
                    <a:pt x="273532" y="786384"/>
                  </a:lnTo>
                  <a:lnTo>
                    <a:pt x="274751" y="786384"/>
                  </a:lnTo>
                  <a:lnTo>
                    <a:pt x="323100" y="782027"/>
                  </a:lnTo>
                  <a:lnTo>
                    <a:pt x="368655" y="769670"/>
                  </a:lnTo>
                  <a:lnTo>
                    <a:pt x="410692" y="750023"/>
                  </a:lnTo>
                  <a:lnTo>
                    <a:pt x="448475" y="723823"/>
                  </a:lnTo>
                  <a:lnTo>
                    <a:pt x="481279" y="691807"/>
                  </a:lnTo>
                  <a:lnTo>
                    <a:pt x="508381" y="654710"/>
                  </a:lnTo>
                  <a:lnTo>
                    <a:pt x="529043" y="613244"/>
                  </a:lnTo>
                  <a:lnTo>
                    <a:pt x="542518" y="568172"/>
                  </a:lnTo>
                  <a:lnTo>
                    <a:pt x="548081" y="520204"/>
                  </a:lnTo>
                  <a:close/>
                </a:path>
                <a:path w="548640" h="786764">
                  <a:moveTo>
                    <a:pt x="548093" y="266598"/>
                  </a:moveTo>
                  <a:lnTo>
                    <a:pt x="500380" y="270637"/>
                  </a:lnTo>
                  <a:lnTo>
                    <a:pt x="455853" y="282295"/>
                  </a:lnTo>
                  <a:lnTo>
                    <a:pt x="414616" y="300901"/>
                  </a:lnTo>
                  <a:lnTo>
                    <a:pt x="377355" y="325767"/>
                  </a:lnTo>
                  <a:lnTo>
                    <a:pt x="344728" y="356235"/>
                  </a:lnTo>
                  <a:lnTo>
                    <a:pt x="317423" y="391617"/>
                  </a:lnTo>
                  <a:lnTo>
                    <a:pt x="296087" y="431241"/>
                  </a:lnTo>
                  <a:lnTo>
                    <a:pt x="281432" y="474433"/>
                  </a:lnTo>
                  <a:lnTo>
                    <a:pt x="274091" y="520522"/>
                  </a:lnTo>
                  <a:lnTo>
                    <a:pt x="266928" y="474256"/>
                  </a:lnTo>
                  <a:lnTo>
                    <a:pt x="252361" y="430872"/>
                  </a:lnTo>
                  <a:lnTo>
                    <a:pt x="231101" y="391083"/>
                  </a:lnTo>
                  <a:lnTo>
                    <a:pt x="203809" y="355549"/>
                  </a:lnTo>
                  <a:lnTo>
                    <a:pt x="171157" y="324954"/>
                  </a:lnTo>
                  <a:lnTo>
                    <a:pt x="133845" y="299974"/>
                  </a:lnTo>
                  <a:lnTo>
                    <a:pt x="92544" y="281292"/>
                  </a:lnTo>
                  <a:lnTo>
                    <a:pt x="47917" y="269582"/>
                  </a:lnTo>
                  <a:lnTo>
                    <a:pt x="12" y="265531"/>
                  </a:lnTo>
                  <a:lnTo>
                    <a:pt x="5461" y="313690"/>
                  </a:lnTo>
                  <a:lnTo>
                    <a:pt x="18859" y="358952"/>
                  </a:lnTo>
                  <a:lnTo>
                    <a:pt x="39471" y="400570"/>
                  </a:lnTo>
                  <a:lnTo>
                    <a:pt x="66560" y="437832"/>
                  </a:lnTo>
                  <a:lnTo>
                    <a:pt x="99402" y="469988"/>
                  </a:lnTo>
                  <a:lnTo>
                    <a:pt x="137261" y="496290"/>
                  </a:lnTo>
                  <a:lnTo>
                    <a:pt x="179387" y="516026"/>
                  </a:lnTo>
                  <a:lnTo>
                    <a:pt x="225056" y="528447"/>
                  </a:lnTo>
                  <a:lnTo>
                    <a:pt x="273532" y="532828"/>
                  </a:lnTo>
                  <a:lnTo>
                    <a:pt x="274751" y="532828"/>
                  </a:lnTo>
                  <a:lnTo>
                    <a:pt x="323100" y="528472"/>
                  </a:lnTo>
                  <a:lnTo>
                    <a:pt x="368655" y="516102"/>
                  </a:lnTo>
                  <a:lnTo>
                    <a:pt x="410692" y="496455"/>
                  </a:lnTo>
                  <a:lnTo>
                    <a:pt x="448475" y="470268"/>
                  </a:lnTo>
                  <a:lnTo>
                    <a:pt x="481279" y="438251"/>
                  </a:lnTo>
                  <a:lnTo>
                    <a:pt x="508381" y="401142"/>
                  </a:lnTo>
                  <a:lnTo>
                    <a:pt x="529031" y="359689"/>
                  </a:lnTo>
                  <a:lnTo>
                    <a:pt x="542505" y="314591"/>
                  </a:lnTo>
                  <a:lnTo>
                    <a:pt x="548093" y="266598"/>
                  </a:lnTo>
                  <a:close/>
                </a:path>
                <a:path w="548640" h="786764">
                  <a:moveTo>
                    <a:pt x="548093" y="1079"/>
                  </a:moveTo>
                  <a:lnTo>
                    <a:pt x="500380" y="5105"/>
                  </a:lnTo>
                  <a:lnTo>
                    <a:pt x="455853" y="16764"/>
                  </a:lnTo>
                  <a:lnTo>
                    <a:pt x="414616" y="35369"/>
                  </a:lnTo>
                  <a:lnTo>
                    <a:pt x="377355" y="60236"/>
                  </a:lnTo>
                  <a:lnTo>
                    <a:pt x="344728" y="90703"/>
                  </a:lnTo>
                  <a:lnTo>
                    <a:pt x="317423" y="126085"/>
                  </a:lnTo>
                  <a:lnTo>
                    <a:pt x="296087" y="165709"/>
                  </a:lnTo>
                  <a:lnTo>
                    <a:pt x="281432" y="208902"/>
                  </a:lnTo>
                  <a:lnTo>
                    <a:pt x="274091" y="254990"/>
                  </a:lnTo>
                  <a:lnTo>
                    <a:pt x="266928"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59"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36"/>
                  </a:lnTo>
                  <a:lnTo>
                    <a:pt x="481279" y="172720"/>
                  </a:lnTo>
                  <a:lnTo>
                    <a:pt x="508381" y="135623"/>
                  </a:lnTo>
                  <a:lnTo>
                    <a:pt x="529031" y="94157"/>
                  </a:lnTo>
                  <a:lnTo>
                    <a:pt x="542505" y="49060"/>
                  </a:lnTo>
                  <a:lnTo>
                    <a:pt x="548093" y="1079"/>
                  </a:lnTo>
                  <a:close/>
                </a:path>
              </a:pathLst>
            </a:custGeom>
            <a:solidFill>
              <a:srgbClr val="2DB7EA"/>
            </a:solidFill>
          </p:spPr>
          <p:txBody>
            <a:bodyPr wrap="square" lIns="0" tIns="0" rIns="0" bIns="0" rtlCol="0"/>
            <a:lstStyle/>
            <a:p>
              <a:endParaRPr dirty="0"/>
            </a:p>
          </p:txBody>
        </p:sp>
        <p:pic>
          <p:nvPicPr>
            <p:cNvPr id="349" name="object 347">
              <a:extLst>
                <a:ext uri="{FF2B5EF4-FFF2-40B4-BE49-F238E27FC236}">
                  <a16:creationId xmlns:a16="http://schemas.microsoft.com/office/drawing/2014/main" id="{22705488-B186-CC23-46AD-10300C2FEA83}"/>
                </a:ext>
              </a:extLst>
            </p:cNvPr>
            <p:cNvPicPr/>
            <p:nvPr/>
          </p:nvPicPr>
          <p:blipFill>
            <a:blip r:embed="rId5" cstate="print"/>
            <a:stretch>
              <a:fillRect/>
            </a:stretch>
          </p:blipFill>
          <p:spPr>
            <a:xfrm>
              <a:off x="10021726" y="718433"/>
              <a:ext cx="106445" cy="107156"/>
            </a:xfrm>
            <a:prstGeom prst="rect">
              <a:avLst/>
            </a:prstGeom>
          </p:spPr>
        </p:pic>
        <p:sp>
          <p:nvSpPr>
            <p:cNvPr id="350" name="object 348">
              <a:extLst>
                <a:ext uri="{FF2B5EF4-FFF2-40B4-BE49-F238E27FC236}">
                  <a16:creationId xmlns:a16="http://schemas.microsoft.com/office/drawing/2014/main" id="{5AF69093-C3D6-AD7D-A0CC-50BBA5891596}"/>
                </a:ext>
              </a:extLst>
            </p:cNvPr>
            <p:cNvSpPr/>
            <p:nvPr/>
          </p:nvSpPr>
          <p:spPr>
            <a:xfrm>
              <a:off x="9909070" y="150257"/>
              <a:ext cx="332700" cy="477101"/>
            </a:xfrm>
            <a:custGeom>
              <a:avLst/>
              <a:gdLst/>
              <a:ahLst/>
              <a:cxnLst/>
              <a:rect l="l" t="t" r="r" b="b"/>
              <a:pathLst>
                <a:path w="548640" h="786765">
                  <a:moveTo>
                    <a:pt x="548093" y="520179"/>
                  </a:moveTo>
                  <a:lnTo>
                    <a:pt x="500380" y="524205"/>
                  </a:lnTo>
                  <a:lnTo>
                    <a:pt x="455853" y="535863"/>
                  </a:lnTo>
                  <a:lnTo>
                    <a:pt x="414616" y="554469"/>
                  </a:lnTo>
                  <a:lnTo>
                    <a:pt x="377355" y="579335"/>
                  </a:lnTo>
                  <a:lnTo>
                    <a:pt x="344728" y="609803"/>
                  </a:lnTo>
                  <a:lnTo>
                    <a:pt x="317411" y="645172"/>
                  </a:lnTo>
                  <a:lnTo>
                    <a:pt x="296087" y="684796"/>
                  </a:lnTo>
                  <a:lnTo>
                    <a:pt x="281419" y="727976"/>
                  </a:lnTo>
                  <a:lnTo>
                    <a:pt x="274091" y="774065"/>
                  </a:lnTo>
                  <a:lnTo>
                    <a:pt x="272161" y="761669"/>
                  </a:lnTo>
                  <a:lnTo>
                    <a:pt x="266928" y="727824"/>
                  </a:lnTo>
                  <a:lnTo>
                    <a:pt x="257238" y="699008"/>
                  </a:lnTo>
                  <a:lnTo>
                    <a:pt x="252361" y="684453"/>
                  </a:lnTo>
                  <a:lnTo>
                    <a:pt x="231101" y="644652"/>
                  </a:lnTo>
                  <a:lnTo>
                    <a:pt x="203809" y="609117"/>
                  </a:lnTo>
                  <a:lnTo>
                    <a:pt x="187998" y="594321"/>
                  </a:lnTo>
                  <a:lnTo>
                    <a:pt x="171157" y="578523"/>
                  </a:lnTo>
                  <a:lnTo>
                    <a:pt x="133845" y="553542"/>
                  </a:lnTo>
                  <a:lnTo>
                    <a:pt x="92532" y="534835"/>
                  </a:lnTo>
                  <a:lnTo>
                    <a:pt x="47917" y="523125"/>
                  </a:lnTo>
                  <a:lnTo>
                    <a:pt x="0" y="519074"/>
                  </a:lnTo>
                  <a:lnTo>
                    <a:pt x="5448" y="567245"/>
                  </a:lnTo>
                  <a:lnTo>
                    <a:pt x="18846" y="612508"/>
                  </a:lnTo>
                  <a:lnTo>
                    <a:pt x="39458" y="654138"/>
                  </a:lnTo>
                  <a:lnTo>
                    <a:pt x="46850" y="66429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93" y="654710"/>
                  </a:lnTo>
                  <a:lnTo>
                    <a:pt x="529043" y="613257"/>
                  </a:lnTo>
                  <a:lnTo>
                    <a:pt x="542518" y="568172"/>
                  </a:lnTo>
                  <a:lnTo>
                    <a:pt x="548081" y="520217"/>
                  </a:lnTo>
                  <a:close/>
                </a:path>
                <a:path w="548640" h="786765">
                  <a:moveTo>
                    <a:pt x="548093" y="266611"/>
                  </a:moveTo>
                  <a:lnTo>
                    <a:pt x="500380" y="270649"/>
                  </a:lnTo>
                  <a:lnTo>
                    <a:pt x="455853" y="282308"/>
                  </a:lnTo>
                  <a:lnTo>
                    <a:pt x="414616" y="300901"/>
                  </a:lnTo>
                  <a:lnTo>
                    <a:pt x="377355" y="325767"/>
                  </a:lnTo>
                  <a:lnTo>
                    <a:pt x="344728" y="356235"/>
                  </a:lnTo>
                  <a:lnTo>
                    <a:pt x="317423" y="391617"/>
                  </a:lnTo>
                  <a:lnTo>
                    <a:pt x="296087" y="431253"/>
                  </a:lnTo>
                  <a:lnTo>
                    <a:pt x="281432" y="474446"/>
                  </a:lnTo>
                  <a:lnTo>
                    <a:pt x="274091" y="520534"/>
                  </a:lnTo>
                  <a:lnTo>
                    <a:pt x="266928" y="474256"/>
                  </a:lnTo>
                  <a:lnTo>
                    <a:pt x="252361" y="430885"/>
                  </a:lnTo>
                  <a:lnTo>
                    <a:pt x="231101" y="391096"/>
                  </a:lnTo>
                  <a:lnTo>
                    <a:pt x="203809" y="355561"/>
                  </a:lnTo>
                  <a:lnTo>
                    <a:pt x="171157" y="324954"/>
                  </a:lnTo>
                  <a:lnTo>
                    <a:pt x="133845" y="299974"/>
                  </a:lnTo>
                  <a:lnTo>
                    <a:pt x="92544" y="281292"/>
                  </a:lnTo>
                  <a:lnTo>
                    <a:pt x="47917" y="269582"/>
                  </a:lnTo>
                  <a:lnTo>
                    <a:pt x="12" y="265531"/>
                  </a:lnTo>
                  <a:lnTo>
                    <a:pt x="5461" y="313690"/>
                  </a:lnTo>
                  <a:lnTo>
                    <a:pt x="18859" y="358952"/>
                  </a:lnTo>
                  <a:lnTo>
                    <a:pt x="39471" y="400583"/>
                  </a:lnTo>
                  <a:lnTo>
                    <a:pt x="66560" y="437832"/>
                  </a:lnTo>
                  <a:lnTo>
                    <a:pt x="99402" y="469988"/>
                  </a:lnTo>
                  <a:lnTo>
                    <a:pt x="137261" y="496303"/>
                  </a:lnTo>
                  <a:lnTo>
                    <a:pt x="179387" y="516039"/>
                  </a:lnTo>
                  <a:lnTo>
                    <a:pt x="225056" y="528459"/>
                  </a:lnTo>
                  <a:lnTo>
                    <a:pt x="273532" y="532828"/>
                  </a:lnTo>
                  <a:lnTo>
                    <a:pt x="274751" y="532828"/>
                  </a:lnTo>
                  <a:lnTo>
                    <a:pt x="323100" y="528472"/>
                  </a:lnTo>
                  <a:lnTo>
                    <a:pt x="368655" y="516115"/>
                  </a:lnTo>
                  <a:lnTo>
                    <a:pt x="410692" y="496468"/>
                  </a:lnTo>
                  <a:lnTo>
                    <a:pt x="448475" y="470268"/>
                  </a:lnTo>
                  <a:lnTo>
                    <a:pt x="481279" y="438251"/>
                  </a:lnTo>
                  <a:lnTo>
                    <a:pt x="508381" y="401154"/>
                  </a:lnTo>
                  <a:lnTo>
                    <a:pt x="529031" y="359689"/>
                  </a:lnTo>
                  <a:lnTo>
                    <a:pt x="542505" y="314604"/>
                  </a:lnTo>
                  <a:lnTo>
                    <a:pt x="548093" y="266611"/>
                  </a:lnTo>
                  <a:close/>
                </a:path>
                <a:path w="548640" h="786765">
                  <a:moveTo>
                    <a:pt x="548093" y="1079"/>
                  </a:moveTo>
                  <a:lnTo>
                    <a:pt x="500380" y="5118"/>
                  </a:lnTo>
                  <a:lnTo>
                    <a:pt x="455853" y="16776"/>
                  </a:lnTo>
                  <a:lnTo>
                    <a:pt x="414616" y="35369"/>
                  </a:lnTo>
                  <a:lnTo>
                    <a:pt x="377355" y="60248"/>
                  </a:lnTo>
                  <a:lnTo>
                    <a:pt x="344728" y="90716"/>
                  </a:lnTo>
                  <a:lnTo>
                    <a:pt x="317423" y="126098"/>
                  </a:lnTo>
                  <a:lnTo>
                    <a:pt x="296087" y="165722"/>
                  </a:lnTo>
                  <a:lnTo>
                    <a:pt x="281432" y="208915"/>
                  </a:lnTo>
                  <a:lnTo>
                    <a:pt x="274091" y="255003"/>
                  </a:lnTo>
                  <a:lnTo>
                    <a:pt x="266928" y="208724"/>
                  </a:lnTo>
                  <a:lnTo>
                    <a:pt x="252361" y="165354"/>
                  </a:lnTo>
                  <a:lnTo>
                    <a:pt x="231101" y="125564"/>
                  </a:lnTo>
                  <a:lnTo>
                    <a:pt x="203809" y="90030"/>
                  </a:lnTo>
                  <a:lnTo>
                    <a:pt x="171157" y="59436"/>
                  </a:lnTo>
                  <a:lnTo>
                    <a:pt x="133845" y="34455"/>
                  </a:lnTo>
                  <a:lnTo>
                    <a:pt x="92544" y="15760"/>
                  </a:lnTo>
                  <a:lnTo>
                    <a:pt x="47917" y="4064"/>
                  </a:lnTo>
                  <a:lnTo>
                    <a:pt x="12" y="0"/>
                  </a:lnTo>
                  <a:lnTo>
                    <a:pt x="5461" y="48171"/>
                  </a:lnTo>
                  <a:lnTo>
                    <a:pt x="18859"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92" y="230936"/>
                  </a:lnTo>
                  <a:lnTo>
                    <a:pt x="448475" y="204736"/>
                  </a:lnTo>
                  <a:lnTo>
                    <a:pt x="481279" y="172732"/>
                  </a:lnTo>
                  <a:lnTo>
                    <a:pt x="508381" y="135623"/>
                  </a:lnTo>
                  <a:lnTo>
                    <a:pt x="529031" y="94157"/>
                  </a:lnTo>
                  <a:lnTo>
                    <a:pt x="542505" y="49072"/>
                  </a:lnTo>
                  <a:lnTo>
                    <a:pt x="548093" y="1079"/>
                  </a:lnTo>
                  <a:close/>
                </a:path>
              </a:pathLst>
            </a:custGeom>
            <a:solidFill>
              <a:srgbClr val="7ED3F1"/>
            </a:solidFill>
          </p:spPr>
          <p:txBody>
            <a:bodyPr wrap="square" lIns="0" tIns="0" rIns="0" bIns="0" rtlCol="0"/>
            <a:lstStyle/>
            <a:p>
              <a:endParaRPr dirty="0"/>
            </a:p>
          </p:txBody>
        </p:sp>
        <p:pic>
          <p:nvPicPr>
            <p:cNvPr id="351" name="object 349">
              <a:extLst>
                <a:ext uri="{FF2B5EF4-FFF2-40B4-BE49-F238E27FC236}">
                  <a16:creationId xmlns:a16="http://schemas.microsoft.com/office/drawing/2014/main" id="{CBABCE26-8822-74D1-A1E6-80D2A0F292B8}"/>
                </a:ext>
              </a:extLst>
            </p:cNvPr>
            <p:cNvPicPr/>
            <p:nvPr/>
          </p:nvPicPr>
          <p:blipFill>
            <a:blip r:embed="rId6" cstate="print"/>
            <a:stretch>
              <a:fillRect/>
            </a:stretch>
          </p:blipFill>
          <p:spPr>
            <a:xfrm>
              <a:off x="10021726" y="64269"/>
              <a:ext cx="106445" cy="107156"/>
            </a:xfrm>
            <a:prstGeom prst="rect">
              <a:avLst/>
            </a:prstGeom>
          </p:spPr>
        </p:pic>
        <p:sp>
          <p:nvSpPr>
            <p:cNvPr id="352" name="object 350">
              <a:extLst>
                <a:ext uri="{FF2B5EF4-FFF2-40B4-BE49-F238E27FC236}">
                  <a16:creationId xmlns:a16="http://schemas.microsoft.com/office/drawing/2014/main" id="{3F43280D-CA75-1429-7558-AA6204E5B8E1}"/>
                </a:ext>
              </a:extLst>
            </p:cNvPr>
            <p:cNvSpPr/>
            <p:nvPr/>
          </p:nvSpPr>
          <p:spPr>
            <a:xfrm>
              <a:off x="9909070" y="2112754"/>
              <a:ext cx="332700" cy="477101"/>
            </a:xfrm>
            <a:custGeom>
              <a:avLst/>
              <a:gdLst/>
              <a:ahLst/>
              <a:cxnLst/>
              <a:rect l="l" t="t" r="r" b="b"/>
              <a:pathLst>
                <a:path w="548640" h="786764">
                  <a:moveTo>
                    <a:pt x="548093" y="520166"/>
                  </a:moveTo>
                  <a:lnTo>
                    <a:pt x="500380" y="524205"/>
                  </a:lnTo>
                  <a:lnTo>
                    <a:pt x="455853" y="535863"/>
                  </a:lnTo>
                  <a:lnTo>
                    <a:pt x="414616" y="554456"/>
                  </a:lnTo>
                  <a:lnTo>
                    <a:pt x="377355" y="579335"/>
                  </a:lnTo>
                  <a:lnTo>
                    <a:pt x="375183" y="581367"/>
                  </a:lnTo>
                  <a:lnTo>
                    <a:pt x="344728" y="609803"/>
                  </a:lnTo>
                  <a:lnTo>
                    <a:pt x="317411" y="645172"/>
                  </a:lnTo>
                  <a:lnTo>
                    <a:pt x="296087" y="684796"/>
                  </a:lnTo>
                  <a:lnTo>
                    <a:pt x="281419" y="727989"/>
                  </a:lnTo>
                  <a:lnTo>
                    <a:pt x="274091" y="774065"/>
                  </a:lnTo>
                  <a:lnTo>
                    <a:pt x="272389" y="763143"/>
                  </a:lnTo>
                  <a:lnTo>
                    <a:pt x="266928" y="727811"/>
                  </a:lnTo>
                  <a:lnTo>
                    <a:pt x="252361" y="684441"/>
                  </a:lnTo>
                  <a:lnTo>
                    <a:pt x="231101" y="644652"/>
                  </a:lnTo>
                  <a:lnTo>
                    <a:pt x="203809" y="609117"/>
                  </a:lnTo>
                  <a:lnTo>
                    <a:pt x="171157" y="578523"/>
                  </a:lnTo>
                  <a:lnTo>
                    <a:pt x="133845" y="553542"/>
                  </a:lnTo>
                  <a:lnTo>
                    <a:pt x="92544" y="534860"/>
                  </a:lnTo>
                  <a:lnTo>
                    <a:pt x="47917" y="523125"/>
                  </a:lnTo>
                  <a:lnTo>
                    <a:pt x="12" y="519087"/>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93" y="654710"/>
                  </a:lnTo>
                  <a:lnTo>
                    <a:pt x="529043" y="613257"/>
                  </a:lnTo>
                  <a:lnTo>
                    <a:pt x="542518" y="568172"/>
                  </a:lnTo>
                  <a:lnTo>
                    <a:pt x="548081" y="520217"/>
                  </a:lnTo>
                  <a:close/>
                </a:path>
                <a:path w="548640" h="786764">
                  <a:moveTo>
                    <a:pt x="548093" y="266611"/>
                  </a:moveTo>
                  <a:lnTo>
                    <a:pt x="500380" y="270649"/>
                  </a:lnTo>
                  <a:lnTo>
                    <a:pt x="455853" y="282308"/>
                  </a:lnTo>
                  <a:lnTo>
                    <a:pt x="414616" y="300901"/>
                  </a:lnTo>
                  <a:lnTo>
                    <a:pt x="377355" y="325780"/>
                  </a:lnTo>
                  <a:lnTo>
                    <a:pt x="344728" y="356247"/>
                  </a:lnTo>
                  <a:lnTo>
                    <a:pt x="317423" y="391629"/>
                  </a:lnTo>
                  <a:lnTo>
                    <a:pt x="296087" y="431253"/>
                  </a:lnTo>
                  <a:lnTo>
                    <a:pt x="281432" y="474446"/>
                  </a:lnTo>
                  <a:lnTo>
                    <a:pt x="274091" y="520534"/>
                  </a:lnTo>
                  <a:lnTo>
                    <a:pt x="266928" y="474256"/>
                  </a:lnTo>
                  <a:lnTo>
                    <a:pt x="252361" y="430885"/>
                  </a:lnTo>
                  <a:lnTo>
                    <a:pt x="231101" y="391096"/>
                  </a:lnTo>
                  <a:lnTo>
                    <a:pt x="203809" y="355561"/>
                  </a:lnTo>
                  <a:lnTo>
                    <a:pt x="171157" y="324967"/>
                  </a:lnTo>
                  <a:lnTo>
                    <a:pt x="133845" y="299986"/>
                  </a:lnTo>
                  <a:lnTo>
                    <a:pt x="92544" y="281292"/>
                  </a:lnTo>
                  <a:lnTo>
                    <a:pt x="47917" y="269582"/>
                  </a:lnTo>
                  <a:lnTo>
                    <a:pt x="12" y="265531"/>
                  </a:lnTo>
                  <a:lnTo>
                    <a:pt x="5461" y="313702"/>
                  </a:lnTo>
                  <a:lnTo>
                    <a:pt x="18859" y="358952"/>
                  </a:lnTo>
                  <a:lnTo>
                    <a:pt x="39471" y="400583"/>
                  </a:lnTo>
                  <a:lnTo>
                    <a:pt x="66560" y="437845"/>
                  </a:lnTo>
                  <a:lnTo>
                    <a:pt x="99402" y="469988"/>
                  </a:lnTo>
                  <a:lnTo>
                    <a:pt x="137261" y="496303"/>
                  </a:lnTo>
                  <a:lnTo>
                    <a:pt x="179387" y="516039"/>
                  </a:lnTo>
                  <a:lnTo>
                    <a:pt x="225056" y="528459"/>
                  </a:lnTo>
                  <a:lnTo>
                    <a:pt x="273532" y="532841"/>
                  </a:lnTo>
                  <a:lnTo>
                    <a:pt x="274751" y="532841"/>
                  </a:lnTo>
                  <a:lnTo>
                    <a:pt x="323100" y="528485"/>
                  </a:lnTo>
                  <a:lnTo>
                    <a:pt x="368655" y="516115"/>
                  </a:lnTo>
                  <a:lnTo>
                    <a:pt x="410692" y="496468"/>
                  </a:lnTo>
                  <a:lnTo>
                    <a:pt x="448475" y="470268"/>
                  </a:lnTo>
                  <a:lnTo>
                    <a:pt x="481279" y="438264"/>
                  </a:lnTo>
                  <a:lnTo>
                    <a:pt x="508381" y="401154"/>
                  </a:lnTo>
                  <a:lnTo>
                    <a:pt x="529031" y="359689"/>
                  </a:lnTo>
                  <a:lnTo>
                    <a:pt x="542505" y="314604"/>
                  </a:lnTo>
                  <a:lnTo>
                    <a:pt x="548093" y="266611"/>
                  </a:lnTo>
                  <a:close/>
                </a:path>
                <a:path w="548640" h="786764">
                  <a:moveTo>
                    <a:pt x="548093" y="1079"/>
                  </a:moveTo>
                  <a:lnTo>
                    <a:pt x="500380" y="5118"/>
                  </a:lnTo>
                  <a:lnTo>
                    <a:pt x="455853" y="16776"/>
                  </a:lnTo>
                  <a:lnTo>
                    <a:pt x="414616" y="35369"/>
                  </a:lnTo>
                  <a:lnTo>
                    <a:pt x="377355" y="60248"/>
                  </a:lnTo>
                  <a:lnTo>
                    <a:pt x="344728" y="90703"/>
                  </a:lnTo>
                  <a:lnTo>
                    <a:pt x="317423" y="126085"/>
                  </a:lnTo>
                  <a:lnTo>
                    <a:pt x="296087" y="165722"/>
                  </a:lnTo>
                  <a:lnTo>
                    <a:pt x="281432" y="208915"/>
                  </a:lnTo>
                  <a:lnTo>
                    <a:pt x="274091" y="255003"/>
                  </a:lnTo>
                  <a:lnTo>
                    <a:pt x="266928" y="208724"/>
                  </a:lnTo>
                  <a:lnTo>
                    <a:pt x="252361" y="165354"/>
                  </a:lnTo>
                  <a:lnTo>
                    <a:pt x="231101" y="125564"/>
                  </a:lnTo>
                  <a:lnTo>
                    <a:pt x="203809" y="90030"/>
                  </a:lnTo>
                  <a:lnTo>
                    <a:pt x="171157" y="59423"/>
                  </a:lnTo>
                  <a:lnTo>
                    <a:pt x="133845" y="34442"/>
                  </a:lnTo>
                  <a:lnTo>
                    <a:pt x="92544" y="15760"/>
                  </a:lnTo>
                  <a:lnTo>
                    <a:pt x="47917" y="4051"/>
                  </a:lnTo>
                  <a:lnTo>
                    <a:pt x="12" y="0"/>
                  </a:lnTo>
                  <a:lnTo>
                    <a:pt x="5461" y="48158"/>
                  </a:lnTo>
                  <a:lnTo>
                    <a:pt x="18859" y="93421"/>
                  </a:lnTo>
                  <a:lnTo>
                    <a:pt x="39471" y="135051"/>
                  </a:lnTo>
                  <a:lnTo>
                    <a:pt x="66560" y="172313"/>
                  </a:lnTo>
                  <a:lnTo>
                    <a:pt x="99402" y="204457"/>
                  </a:lnTo>
                  <a:lnTo>
                    <a:pt x="137261" y="230771"/>
                  </a:lnTo>
                  <a:lnTo>
                    <a:pt x="179387" y="250507"/>
                  </a:lnTo>
                  <a:lnTo>
                    <a:pt x="225056" y="262928"/>
                  </a:lnTo>
                  <a:lnTo>
                    <a:pt x="273532" y="267296"/>
                  </a:lnTo>
                  <a:lnTo>
                    <a:pt x="274751" y="267296"/>
                  </a:lnTo>
                  <a:lnTo>
                    <a:pt x="323100" y="262940"/>
                  </a:lnTo>
                  <a:lnTo>
                    <a:pt x="368655" y="250583"/>
                  </a:lnTo>
                  <a:lnTo>
                    <a:pt x="410692" y="230936"/>
                  </a:lnTo>
                  <a:lnTo>
                    <a:pt x="448475" y="204736"/>
                  </a:lnTo>
                  <a:lnTo>
                    <a:pt x="481279" y="172720"/>
                  </a:lnTo>
                  <a:lnTo>
                    <a:pt x="508381" y="135623"/>
                  </a:lnTo>
                  <a:lnTo>
                    <a:pt x="529031" y="94157"/>
                  </a:lnTo>
                  <a:lnTo>
                    <a:pt x="542505" y="49072"/>
                  </a:lnTo>
                  <a:lnTo>
                    <a:pt x="548093" y="1079"/>
                  </a:lnTo>
                  <a:close/>
                </a:path>
              </a:pathLst>
            </a:custGeom>
            <a:solidFill>
              <a:srgbClr val="2DB7EA"/>
            </a:solidFill>
          </p:spPr>
          <p:txBody>
            <a:bodyPr wrap="square" lIns="0" tIns="0" rIns="0" bIns="0" rtlCol="0"/>
            <a:lstStyle/>
            <a:p>
              <a:endParaRPr dirty="0"/>
            </a:p>
          </p:txBody>
        </p:sp>
        <p:pic>
          <p:nvPicPr>
            <p:cNvPr id="353" name="object 351">
              <a:extLst>
                <a:ext uri="{FF2B5EF4-FFF2-40B4-BE49-F238E27FC236}">
                  <a16:creationId xmlns:a16="http://schemas.microsoft.com/office/drawing/2014/main" id="{DBAA4C9F-CCFF-2C75-2403-14838FD8B8CD}"/>
                </a:ext>
              </a:extLst>
            </p:cNvPr>
            <p:cNvPicPr/>
            <p:nvPr/>
          </p:nvPicPr>
          <p:blipFill>
            <a:blip r:embed="rId5" cstate="print"/>
            <a:stretch>
              <a:fillRect/>
            </a:stretch>
          </p:blipFill>
          <p:spPr>
            <a:xfrm>
              <a:off x="10021726" y="2026765"/>
              <a:ext cx="106445" cy="107156"/>
            </a:xfrm>
            <a:prstGeom prst="rect">
              <a:avLst/>
            </a:prstGeom>
          </p:spPr>
        </p:pic>
        <p:sp>
          <p:nvSpPr>
            <p:cNvPr id="354" name="object 352">
              <a:extLst>
                <a:ext uri="{FF2B5EF4-FFF2-40B4-BE49-F238E27FC236}">
                  <a16:creationId xmlns:a16="http://schemas.microsoft.com/office/drawing/2014/main" id="{44C875AD-4A4F-8C94-CD2A-FEA7988DF5FC}"/>
                </a:ext>
              </a:extLst>
            </p:cNvPr>
            <p:cNvSpPr/>
            <p:nvPr/>
          </p:nvSpPr>
          <p:spPr>
            <a:xfrm>
              <a:off x="9909070" y="1458591"/>
              <a:ext cx="332700" cy="477101"/>
            </a:xfrm>
            <a:custGeom>
              <a:avLst/>
              <a:gdLst/>
              <a:ahLst/>
              <a:cxnLst/>
              <a:rect l="l" t="t" r="r" b="b"/>
              <a:pathLst>
                <a:path w="548640" h="786764">
                  <a:moveTo>
                    <a:pt x="548093" y="520166"/>
                  </a:moveTo>
                  <a:lnTo>
                    <a:pt x="500380" y="524205"/>
                  </a:lnTo>
                  <a:lnTo>
                    <a:pt x="455853" y="535863"/>
                  </a:lnTo>
                  <a:lnTo>
                    <a:pt x="414616" y="554456"/>
                  </a:lnTo>
                  <a:lnTo>
                    <a:pt x="386664" y="573125"/>
                  </a:lnTo>
                  <a:lnTo>
                    <a:pt x="377355" y="579335"/>
                  </a:lnTo>
                  <a:lnTo>
                    <a:pt x="344728" y="609790"/>
                  </a:lnTo>
                  <a:lnTo>
                    <a:pt x="317411" y="645172"/>
                  </a:lnTo>
                  <a:lnTo>
                    <a:pt x="296087" y="684784"/>
                  </a:lnTo>
                  <a:lnTo>
                    <a:pt x="281419" y="727976"/>
                  </a:lnTo>
                  <a:lnTo>
                    <a:pt x="274091" y="774065"/>
                  </a:lnTo>
                  <a:lnTo>
                    <a:pt x="272389" y="763143"/>
                  </a:lnTo>
                  <a:lnTo>
                    <a:pt x="266928" y="727811"/>
                  </a:lnTo>
                  <a:lnTo>
                    <a:pt x="252361" y="684441"/>
                  </a:lnTo>
                  <a:lnTo>
                    <a:pt x="231101" y="644652"/>
                  </a:lnTo>
                  <a:lnTo>
                    <a:pt x="203809" y="609117"/>
                  </a:lnTo>
                  <a:lnTo>
                    <a:pt x="171157" y="578510"/>
                  </a:lnTo>
                  <a:lnTo>
                    <a:pt x="133845" y="553529"/>
                  </a:lnTo>
                  <a:lnTo>
                    <a:pt x="92544" y="534847"/>
                  </a:lnTo>
                  <a:lnTo>
                    <a:pt x="47917" y="523138"/>
                  </a:lnTo>
                  <a:lnTo>
                    <a:pt x="0" y="519061"/>
                  </a:lnTo>
                  <a:lnTo>
                    <a:pt x="5448" y="567245"/>
                  </a:lnTo>
                  <a:lnTo>
                    <a:pt x="18846" y="612508"/>
                  </a:lnTo>
                  <a:lnTo>
                    <a:pt x="39458" y="654138"/>
                  </a:lnTo>
                  <a:lnTo>
                    <a:pt x="66560" y="691400"/>
                  </a:lnTo>
                  <a:lnTo>
                    <a:pt x="99402" y="723544"/>
                  </a:lnTo>
                  <a:lnTo>
                    <a:pt x="137261" y="749858"/>
                  </a:lnTo>
                  <a:lnTo>
                    <a:pt x="179387" y="769594"/>
                  </a:lnTo>
                  <a:lnTo>
                    <a:pt x="225056" y="782015"/>
                  </a:lnTo>
                  <a:lnTo>
                    <a:pt x="273532" y="786384"/>
                  </a:lnTo>
                  <a:lnTo>
                    <a:pt x="274751" y="786384"/>
                  </a:lnTo>
                  <a:lnTo>
                    <a:pt x="323100" y="782027"/>
                  </a:lnTo>
                  <a:lnTo>
                    <a:pt x="368655" y="769670"/>
                  </a:lnTo>
                  <a:lnTo>
                    <a:pt x="410692" y="750023"/>
                  </a:lnTo>
                  <a:lnTo>
                    <a:pt x="448475" y="723823"/>
                  </a:lnTo>
                  <a:lnTo>
                    <a:pt x="481279" y="691807"/>
                  </a:lnTo>
                  <a:lnTo>
                    <a:pt x="508381" y="654710"/>
                  </a:lnTo>
                  <a:lnTo>
                    <a:pt x="529043" y="613244"/>
                  </a:lnTo>
                  <a:lnTo>
                    <a:pt x="542518" y="568172"/>
                  </a:lnTo>
                  <a:lnTo>
                    <a:pt x="548081" y="520204"/>
                  </a:lnTo>
                  <a:close/>
                </a:path>
                <a:path w="548640" h="786764">
                  <a:moveTo>
                    <a:pt x="548093" y="266611"/>
                  </a:moveTo>
                  <a:lnTo>
                    <a:pt x="500380" y="270649"/>
                  </a:lnTo>
                  <a:lnTo>
                    <a:pt x="455853" y="282295"/>
                  </a:lnTo>
                  <a:lnTo>
                    <a:pt x="414616" y="300901"/>
                  </a:lnTo>
                  <a:lnTo>
                    <a:pt x="377355" y="325767"/>
                  </a:lnTo>
                  <a:lnTo>
                    <a:pt x="344728" y="356235"/>
                  </a:lnTo>
                  <a:lnTo>
                    <a:pt x="317423" y="391617"/>
                  </a:lnTo>
                  <a:lnTo>
                    <a:pt x="296087" y="431241"/>
                  </a:lnTo>
                  <a:lnTo>
                    <a:pt x="281432" y="474446"/>
                  </a:lnTo>
                  <a:lnTo>
                    <a:pt x="274091" y="520522"/>
                  </a:lnTo>
                  <a:lnTo>
                    <a:pt x="266928"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59" y="358952"/>
                  </a:lnTo>
                  <a:lnTo>
                    <a:pt x="39471" y="400583"/>
                  </a:lnTo>
                  <a:lnTo>
                    <a:pt x="66560" y="437832"/>
                  </a:lnTo>
                  <a:lnTo>
                    <a:pt x="99402" y="469988"/>
                  </a:lnTo>
                  <a:lnTo>
                    <a:pt x="137261" y="496303"/>
                  </a:lnTo>
                  <a:lnTo>
                    <a:pt x="179387" y="516026"/>
                  </a:lnTo>
                  <a:lnTo>
                    <a:pt x="225056" y="528459"/>
                  </a:lnTo>
                  <a:lnTo>
                    <a:pt x="273532" y="532828"/>
                  </a:lnTo>
                  <a:lnTo>
                    <a:pt x="274751" y="532828"/>
                  </a:lnTo>
                  <a:lnTo>
                    <a:pt x="323100" y="528472"/>
                  </a:lnTo>
                  <a:lnTo>
                    <a:pt x="368655" y="516102"/>
                  </a:lnTo>
                  <a:lnTo>
                    <a:pt x="410692" y="496468"/>
                  </a:lnTo>
                  <a:lnTo>
                    <a:pt x="448475" y="470268"/>
                  </a:lnTo>
                  <a:lnTo>
                    <a:pt x="481279" y="438251"/>
                  </a:lnTo>
                  <a:lnTo>
                    <a:pt x="508381" y="401154"/>
                  </a:lnTo>
                  <a:lnTo>
                    <a:pt x="529031" y="359689"/>
                  </a:lnTo>
                  <a:lnTo>
                    <a:pt x="542505" y="314604"/>
                  </a:lnTo>
                  <a:lnTo>
                    <a:pt x="548093" y="266611"/>
                  </a:lnTo>
                  <a:close/>
                </a:path>
                <a:path w="548640" h="786764">
                  <a:moveTo>
                    <a:pt x="548093" y="1079"/>
                  </a:moveTo>
                  <a:lnTo>
                    <a:pt x="500380" y="5105"/>
                  </a:lnTo>
                  <a:lnTo>
                    <a:pt x="455853" y="16764"/>
                  </a:lnTo>
                  <a:lnTo>
                    <a:pt x="414616" y="35369"/>
                  </a:lnTo>
                  <a:lnTo>
                    <a:pt x="377355" y="60236"/>
                  </a:lnTo>
                  <a:lnTo>
                    <a:pt x="344728" y="90703"/>
                  </a:lnTo>
                  <a:lnTo>
                    <a:pt x="317423" y="126085"/>
                  </a:lnTo>
                  <a:lnTo>
                    <a:pt x="296087" y="165709"/>
                  </a:lnTo>
                  <a:lnTo>
                    <a:pt x="281432" y="208902"/>
                  </a:lnTo>
                  <a:lnTo>
                    <a:pt x="274091" y="254990"/>
                  </a:lnTo>
                  <a:lnTo>
                    <a:pt x="266928"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59"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36"/>
                  </a:lnTo>
                  <a:lnTo>
                    <a:pt x="481279" y="172720"/>
                  </a:lnTo>
                  <a:lnTo>
                    <a:pt x="508381" y="135623"/>
                  </a:lnTo>
                  <a:lnTo>
                    <a:pt x="529031" y="94157"/>
                  </a:lnTo>
                  <a:lnTo>
                    <a:pt x="542505" y="49060"/>
                  </a:lnTo>
                  <a:lnTo>
                    <a:pt x="548093" y="1079"/>
                  </a:lnTo>
                  <a:close/>
                </a:path>
              </a:pathLst>
            </a:custGeom>
            <a:solidFill>
              <a:srgbClr val="7ED3F1"/>
            </a:solidFill>
          </p:spPr>
          <p:txBody>
            <a:bodyPr wrap="square" lIns="0" tIns="0" rIns="0" bIns="0" rtlCol="0"/>
            <a:lstStyle/>
            <a:p>
              <a:endParaRPr dirty="0"/>
            </a:p>
          </p:txBody>
        </p:sp>
        <p:pic>
          <p:nvPicPr>
            <p:cNvPr id="355" name="object 353">
              <a:extLst>
                <a:ext uri="{FF2B5EF4-FFF2-40B4-BE49-F238E27FC236}">
                  <a16:creationId xmlns:a16="http://schemas.microsoft.com/office/drawing/2014/main" id="{AA170314-7E59-9A99-FAB6-DB405A593530}"/>
                </a:ext>
              </a:extLst>
            </p:cNvPr>
            <p:cNvPicPr/>
            <p:nvPr/>
          </p:nvPicPr>
          <p:blipFill>
            <a:blip r:embed="rId6" cstate="print"/>
            <a:stretch>
              <a:fillRect/>
            </a:stretch>
          </p:blipFill>
          <p:spPr>
            <a:xfrm>
              <a:off x="10021726" y="1372599"/>
              <a:ext cx="106445" cy="107156"/>
            </a:xfrm>
            <a:prstGeom prst="rect">
              <a:avLst/>
            </a:prstGeom>
          </p:spPr>
        </p:pic>
        <p:sp>
          <p:nvSpPr>
            <p:cNvPr id="356" name="object 354">
              <a:extLst>
                <a:ext uri="{FF2B5EF4-FFF2-40B4-BE49-F238E27FC236}">
                  <a16:creationId xmlns:a16="http://schemas.microsoft.com/office/drawing/2014/main" id="{3B985501-E7C2-7A08-0F08-BAAA69ED7689}"/>
                </a:ext>
              </a:extLst>
            </p:cNvPr>
            <p:cNvSpPr/>
            <p:nvPr/>
          </p:nvSpPr>
          <p:spPr>
            <a:xfrm>
              <a:off x="9909070" y="3421088"/>
              <a:ext cx="332700" cy="477101"/>
            </a:xfrm>
            <a:custGeom>
              <a:avLst/>
              <a:gdLst/>
              <a:ahLst/>
              <a:cxnLst/>
              <a:rect l="l" t="t" r="r" b="b"/>
              <a:pathLst>
                <a:path w="548640" h="786764">
                  <a:moveTo>
                    <a:pt x="548093" y="520179"/>
                  </a:moveTo>
                  <a:lnTo>
                    <a:pt x="500380" y="524217"/>
                  </a:lnTo>
                  <a:lnTo>
                    <a:pt x="455853" y="535863"/>
                  </a:lnTo>
                  <a:lnTo>
                    <a:pt x="414616" y="554469"/>
                  </a:lnTo>
                  <a:lnTo>
                    <a:pt x="377355" y="579335"/>
                  </a:lnTo>
                  <a:lnTo>
                    <a:pt x="344716" y="609790"/>
                  </a:lnTo>
                  <a:lnTo>
                    <a:pt x="317411" y="645172"/>
                  </a:lnTo>
                  <a:lnTo>
                    <a:pt x="296087" y="684784"/>
                  </a:lnTo>
                  <a:lnTo>
                    <a:pt x="281419" y="727976"/>
                  </a:lnTo>
                  <a:lnTo>
                    <a:pt x="274091" y="774065"/>
                  </a:lnTo>
                  <a:lnTo>
                    <a:pt x="272161" y="761669"/>
                  </a:lnTo>
                  <a:lnTo>
                    <a:pt x="266928" y="727811"/>
                  </a:lnTo>
                  <a:lnTo>
                    <a:pt x="252361" y="684441"/>
                  </a:lnTo>
                  <a:lnTo>
                    <a:pt x="231101" y="644652"/>
                  </a:lnTo>
                  <a:lnTo>
                    <a:pt x="203809" y="609117"/>
                  </a:lnTo>
                  <a:lnTo>
                    <a:pt x="171157" y="578510"/>
                  </a:lnTo>
                  <a:lnTo>
                    <a:pt x="133845" y="553529"/>
                  </a:lnTo>
                  <a:lnTo>
                    <a:pt x="92544" y="534847"/>
                  </a:lnTo>
                  <a:lnTo>
                    <a:pt x="47917" y="523138"/>
                  </a:lnTo>
                  <a:lnTo>
                    <a:pt x="0" y="519061"/>
                  </a:lnTo>
                  <a:lnTo>
                    <a:pt x="5448" y="567232"/>
                  </a:lnTo>
                  <a:lnTo>
                    <a:pt x="18846" y="612508"/>
                  </a:lnTo>
                  <a:lnTo>
                    <a:pt x="39458" y="654138"/>
                  </a:lnTo>
                  <a:lnTo>
                    <a:pt x="66560" y="691400"/>
                  </a:lnTo>
                  <a:lnTo>
                    <a:pt x="99402" y="723544"/>
                  </a:lnTo>
                  <a:lnTo>
                    <a:pt x="137261" y="749858"/>
                  </a:lnTo>
                  <a:lnTo>
                    <a:pt x="179387" y="769594"/>
                  </a:lnTo>
                  <a:lnTo>
                    <a:pt x="225056" y="782015"/>
                  </a:lnTo>
                  <a:lnTo>
                    <a:pt x="273532" y="786384"/>
                  </a:lnTo>
                  <a:lnTo>
                    <a:pt x="274751" y="786384"/>
                  </a:lnTo>
                  <a:lnTo>
                    <a:pt x="323100" y="782027"/>
                  </a:lnTo>
                  <a:lnTo>
                    <a:pt x="368655" y="769670"/>
                  </a:lnTo>
                  <a:lnTo>
                    <a:pt x="410692" y="750023"/>
                  </a:lnTo>
                  <a:lnTo>
                    <a:pt x="448475" y="723823"/>
                  </a:lnTo>
                  <a:lnTo>
                    <a:pt x="481279" y="691819"/>
                  </a:lnTo>
                  <a:lnTo>
                    <a:pt x="498386" y="668401"/>
                  </a:lnTo>
                  <a:lnTo>
                    <a:pt x="508381" y="654710"/>
                  </a:lnTo>
                  <a:lnTo>
                    <a:pt x="529031" y="613257"/>
                  </a:lnTo>
                  <a:lnTo>
                    <a:pt x="542518" y="568172"/>
                  </a:lnTo>
                  <a:lnTo>
                    <a:pt x="548081" y="520204"/>
                  </a:lnTo>
                  <a:close/>
                </a:path>
                <a:path w="548640" h="786764">
                  <a:moveTo>
                    <a:pt x="548093" y="266611"/>
                  </a:moveTo>
                  <a:lnTo>
                    <a:pt x="500380" y="270637"/>
                  </a:lnTo>
                  <a:lnTo>
                    <a:pt x="455853" y="282295"/>
                  </a:lnTo>
                  <a:lnTo>
                    <a:pt x="414616" y="300901"/>
                  </a:lnTo>
                  <a:lnTo>
                    <a:pt x="377355" y="325767"/>
                  </a:lnTo>
                  <a:lnTo>
                    <a:pt x="344728" y="356235"/>
                  </a:lnTo>
                  <a:lnTo>
                    <a:pt x="317423" y="391617"/>
                  </a:lnTo>
                  <a:lnTo>
                    <a:pt x="296087" y="431241"/>
                  </a:lnTo>
                  <a:lnTo>
                    <a:pt x="281432" y="474433"/>
                  </a:lnTo>
                  <a:lnTo>
                    <a:pt x="274091" y="520522"/>
                  </a:lnTo>
                  <a:lnTo>
                    <a:pt x="266928" y="474256"/>
                  </a:lnTo>
                  <a:lnTo>
                    <a:pt x="252361" y="430885"/>
                  </a:lnTo>
                  <a:lnTo>
                    <a:pt x="231101" y="391083"/>
                  </a:lnTo>
                  <a:lnTo>
                    <a:pt x="203809" y="355549"/>
                  </a:lnTo>
                  <a:lnTo>
                    <a:pt x="171157" y="324954"/>
                  </a:lnTo>
                  <a:lnTo>
                    <a:pt x="133845" y="299974"/>
                  </a:lnTo>
                  <a:lnTo>
                    <a:pt x="92544" y="281292"/>
                  </a:lnTo>
                  <a:lnTo>
                    <a:pt x="47917" y="269582"/>
                  </a:lnTo>
                  <a:lnTo>
                    <a:pt x="12" y="265531"/>
                  </a:lnTo>
                  <a:lnTo>
                    <a:pt x="5461" y="313690"/>
                  </a:lnTo>
                  <a:lnTo>
                    <a:pt x="18859" y="358952"/>
                  </a:lnTo>
                  <a:lnTo>
                    <a:pt x="39471" y="400570"/>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92" y="496455"/>
                  </a:lnTo>
                  <a:lnTo>
                    <a:pt x="448475" y="470255"/>
                  </a:lnTo>
                  <a:lnTo>
                    <a:pt x="481279" y="438251"/>
                  </a:lnTo>
                  <a:lnTo>
                    <a:pt x="508381" y="401142"/>
                  </a:lnTo>
                  <a:lnTo>
                    <a:pt x="529031" y="359689"/>
                  </a:lnTo>
                  <a:lnTo>
                    <a:pt x="542505" y="314591"/>
                  </a:lnTo>
                  <a:lnTo>
                    <a:pt x="548093" y="266611"/>
                  </a:lnTo>
                  <a:close/>
                </a:path>
                <a:path w="548640" h="786764">
                  <a:moveTo>
                    <a:pt x="548093" y="1079"/>
                  </a:moveTo>
                  <a:lnTo>
                    <a:pt x="500380" y="5118"/>
                  </a:lnTo>
                  <a:lnTo>
                    <a:pt x="455853" y="16764"/>
                  </a:lnTo>
                  <a:lnTo>
                    <a:pt x="414616" y="35369"/>
                  </a:lnTo>
                  <a:lnTo>
                    <a:pt x="377355" y="60236"/>
                  </a:lnTo>
                  <a:lnTo>
                    <a:pt x="344728" y="90703"/>
                  </a:lnTo>
                  <a:lnTo>
                    <a:pt x="317423" y="126085"/>
                  </a:lnTo>
                  <a:lnTo>
                    <a:pt x="296087" y="165709"/>
                  </a:lnTo>
                  <a:lnTo>
                    <a:pt x="281432" y="208915"/>
                  </a:lnTo>
                  <a:lnTo>
                    <a:pt x="274091" y="254990"/>
                  </a:lnTo>
                  <a:lnTo>
                    <a:pt x="266928"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59" y="93421"/>
                  </a:lnTo>
                  <a:lnTo>
                    <a:pt x="39471" y="135051"/>
                  </a:lnTo>
                  <a:lnTo>
                    <a:pt x="66560" y="172300"/>
                  </a:lnTo>
                  <a:lnTo>
                    <a:pt x="99402" y="204457"/>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36"/>
                  </a:lnTo>
                  <a:lnTo>
                    <a:pt x="481279" y="172720"/>
                  </a:lnTo>
                  <a:lnTo>
                    <a:pt x="508381" y="135623"/>
                  </a:lnTo>
                  <a:lnTo>
                    <a:pt x="529031" y="94157"/>
                  </a:lnTo>
                  <a:lnTo>
                    <a:pt x="542505" y="49072"/>
                  </a:lnTo>
                  <a:lnTo>
                    <a:pt x="548093" y="1079"/>
                  </a:lnTo>
                  <a:close/>
                </a:path>
              </a:pathLst>
            </a:custGeom>
            <a:solidFill>
              <a:srgbClr val="2DB7EA"/>
            </a:solidFill>
          </p:spPr>
          <p:txBody>
            <a:bodyPr wrap="square" lIns="0" tIns="0" rIns="0" bIns="0" rtlCol="0"/>
            <a:lstStyle/>
            <a:p>
              <a:endParaRPr dirty="0"/>
            </a:p>
          </p:txBody>
        </p:sp>
        <p:pic>
          <p:nvPicPr>
            <p:cNvPr id="357" name="object 355">
              <a:extLst>
                <a:ext uri="{FF2B5EF4-FFF2-40B4-BE49-F238E27FC236}">
                  <a16:creationId xmlns:a16="http://schemas.microsoft.com/office/drawing/2014/main" id="{1C5CDFF6-C3B5-B4FB-2CD2-D59ED054DD4D}"/>
                </a:ext>
              </a:extLst>
            </p:cNvPr>
            <p:cNvPicPr/>
            <p:nvPr/>
          </p:nvPicPr>
          <p:blipFill>
            <a:blip r:embed="rId5" cstate="print"/>
            <a:stretch>
              <a:fillRect/>
            </a:stretch>
          </p:blipFill>
          <p:spPr>
            <a:xfrm>
              <a:off x="10021726" y="3335097"/>
              <a:ext cx="106445" cy="107156"/>
            </a:xfrm>
            <a:prstGeom prst="rect">
              <a:avLst/>
            </a:prstGeom>
          </p:spPr>
        </p:pic>
        <p:sp>
          <p:nvSpPr>
            <p:cNvPr id="358" name="object 356">
              <a:extLst>
                <a:ext uri="{FF2B5EF4-FFF2-40B4-BE49-F238E27FC236}">
                  <a16:creationId xmlns:a16="http://schemas.microsoft.com/office/drawing/2014/main" id="{C5A712F6-3001-B7E4-AA38-819A93DF2946}"/>
                </a:ext>
              </a:extLst>
            </p:cNvPr>
            <p:cNvSpPr/>
            <p:nvPr/>
          </p:nvSpPr>
          <p:spPr>
            <a:xfrm>
              <a:off x="9909070" y="2766918"/>
              <a:ext cx="332700" cy="477101"/>
            </a:xfrm>
            <a:custGeom>
              <a:avLst/>
              <a:gdLst/>
              <a:ahLst/>
              <a:cxnLst/>
              <a:rect l="l" t="t" r="r" b="b"/>
              <a:pathLst>
                <a:path w="548640" h="786764">
                  <a:moveTo>
                    <a:pt x="548093" y="520179"/>
                  </a:moveTo>
                  <a:lnTo>
                    <a:pt x="500380" y="524205"/>
                  </a:lnTo>
                  <a:lnTo>
                    <a:pt x="455853" y="535863"/>
                  </a:lnTo>
                  <a:lnTo>
                    <a:pt x="414616" y="554469"/>
                  </a:lnTo>
                  <a:lnTo>
                    <a:pt x="377355" y="579335"/>
                  </a:lnTo>
                  <a:lnTo>
                    <a:pt x="375183" y="581367"/>
                  </a:lnTo>
                  <a:lnTo>
                    <a:pt x="344728" y="609803"/>
                  </a:lnTo>
                  <a:lnTo>
                    <a:pt x="317411" y="645172"/>
                  </a:lnTo>
                  <a:lnTo>
                    <a:pt x="296087" y="684796"/>
                  </a:lnTo>
                  <a:lnTo>
                    <a:pt x="281419" y="727989"/>
                  </a:lnTo>
                  <a:lnTo>
                    <a:pt x="274091" y="774065"/>
                  </a:lnTo>
                  <a:lnTo>
                    <a:pt x="272161" y="761669"/>
                  </a:lnTo>
                  <a:lnTo>
                    <a:pt x="266928" y="727824"/>
                  </a:lnTo>
                  <a:lnTo>
                    <a:pt x="257238" y="699008"/>
                  </a:lnTo>
                  <a:lnTo>
                    <a:pt x="252361" y="684453"/>
                  </a:lnTo>
                  <a:lnTo>
                    <a:pt x="231101" y="644652"/>
                  </a:lnTo>
                  <a:lnTo>
                    <a:pt x="203809" y="609117"/>
                  </a:lnTo>
                  <a:lnTo>
                    <a:pt x="171157" y="578523"/>
                  </a:lnTo>
                  <a:lnTo>
                    <a:pt x="133845" y="553542"/>
                  </a:lnTo>
                  <a:lnTo>
                    <a:pt x="92532" y="534835"/>
                  </a:lnTo>
                  <a:lnTo>
                    <a:pt x="47917" y="523125"/>
                  </a:lnTo>
                  <a:lnTo>
                    <a:pt x="0" y="519074"/>
                  </a:lnTo>
                  <a:lnTo>
                    <a:pt x="5448" y="567245"/>
                  </a:lnTo>
                  <a:lnTo>
                    <a:pt x="18846" y="612508"/>
                  </a:lnTo>
                  <a:lnTo>
                    <a:pt x="39458" y="65413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81" y="654723"/>
                  </a:lnTo>
                  <a:lnTo>
                    <a:pt x="529043" y="613257"/>
                  </a:lnTo>
                  <a:lnTo>
                    <a:pt x="542518" y="568172"/>
                  </a:lnTo>
                  <a:lnTo>
                    <a:pt x="548081" y="520217"/>
                  </a:lnTo>
                  <a:close/>
                </a:path>
                <a:path w="548640" h="786764">
                  <a:moveTo>
                    <a:pt x="548093" y="266611"/>
                  </a:moveTo>
                  <a:lnTo>
                    <a:pt x="500380" y="270649"/>
                  </a:lnTo>
                  <a:lnTo>
                    <a:pt x="455853" y="282308"/>
                  </a:lnTo>
                  <a:lnTo>
                    <a:pt x="414616" y="300901"/>
                  </a:lnTo>
                  <a:lnTo>
                    <a:pt x="377355" y="325780"/>
                  </a:lnTo>
                  <a:lnTo>
                    <a:pt x="344728" y="356247"/>
                  </a:lnTo>
                  <a:lnTo>
                    <a:pt x="317423" y="391629"/>
                  </a:lnTo>
                  <a:lnTo>
                    <a:pt x="296087" y="431253"/>
                  </a:lnTo>
                  <a:lnTo>
                    <a:pt x="281432" y="474446"/>
                  </a:lnTo>
                  <a:lnTo>
                    <a:pt x="274091" y="520534"/>
                  </a:lnTo>
                  <a:lnTo>
                    <a:pt x="266928" y="474256"/>
                  </a:lnTo>
                  <a:lnTo>
                    <a:pt x="252361" y="430885"/>
                  </a:lnTo>
                  <a:lnTo>
                    <a:pt x="231101" y="391096"/>
                  </a:lnTo>
                  <a:lnTo>
                    <a:pt x="203809" y="355561"/>
                  </a:lnTo>
                  <a:lnTo>
                    <a:pt x="171157" y="324967"/>
                  </a:lnTo>
                  <a:lnTo>
                    <a:pt x="133845" y="299986"/>
                  </a:lnTo>
                  <a:lnTo>
                    <a:pt x="92544" y="281292"/>
                  </a:lnTo>
                  <a:lnTo>
                    <a:pt x="47917" y="269582"/>
                  </a:lnTo>
                  <a:lnTo>
                    <a:pt x="12" y="265531"/>
                  </a:lnTo>
                  <a:lnTo>
                    <a:pt x="5461" y="313702"/>
                  </a:lnTo>
                  <a:lnTo>
                    <a:pt x="18859" y="358952"/>
                  </a:lnTo>
                  <a:lnTo>
                    <a:pt x="39471" y="400583"/>
                  </a:lnTo>
                  <a:lnTo>
                    <a:pt x="66560" y="437845"/>
                  </a:lnTo>
                  <a:lnTo>
                    <a:pt x="99402" y="469988"/>
                  </a:lnTo>
                  <a:lnTo>
                    <a:pt x="137261" y="496303"/>
                  </a:lnTo>
                  <a:lnTo>
                    <a:pt x="179387" y="516039"/>
                  </a:lnTo>
                  <a:lnTo>
                    <a:pt x="225056" y="528459"/>
                  </a:lnTo>
                  <a:lnTo>
                    <a:pt x="273532" y="532841"/>
                  </a:lnTo>
                  <a:lnTo>
                    <a:pt x="274751" y="532841"/>
                  </a:lnTo>
                  <a:lnTo>
                    <a:pt x="323100" y="528485"/>
                  </a:lnTo>
                  <a:lnTo>
                    <a:pt x="368655" y="516115"/>
                  </a:lnTo>
                  <a:lnTo>
                    <a:pt x="410692" y="496468"/>
                  </a:lnTo>
                  <a:lnTo>
                    <a:pt x="448475" y="470268"/>
                  </a:lnTo>
                  <a:lnTo>
                    <a:pt x="481279" y="438264"/>
                  </a:lnTo>
                  <a:lnTo>
                    <a:pt x="508381" y="401154"/>
                  </a:lnTo>
                  <a:lnTo>
                    <a:pt x="529031" y="359689"/>
                  </a:lnTo>
                  <a:lnTo>
                    <a:pt x="542505" y="314604"/>
                  </a:lnTo>
                  <a:lnTo>
                    <a:pt x="548093" y="266611"/>
                  </a:lnTo>
                  <a:close/>
                </a:path>
                <a:path w="548640" h="786764">
                  <a:moveTo>
                    <a:pt x="548093" y="1079"/>
                  </a:moveTo>
                  <a:lnTo>
                    <a:pt x="500380" y="5118"/>
                  </a:lnTo>
                  <a:lnTo>
                    <a:pt x="455853" y="16776"/>
                  </a:lnTo>
                  <a:lnTo>
                    <a:pt x="414616" y="35369"/>
                  </a:lnTo>
                  <a:lnTo>
                    <a:pt x="377355" y="60248"/>
                  </a:lnTo>
                  <a:lnTo>
                    <a:pt x="344728" y="90716"/>
                  </a:lnTo>
                  <a:lnTo>
                    <a:pt x="317423" y="126098"/>
                  </a:lnTo>
                  <a:lnTo>
                    <a:pt x="296087" y="165722"/>
                  </a:lnTo>
                  <a:lnTo>
                    <a:pt x="281432" y="208915"/>
                  </a:lnTo>
                  <a:lnTo>
                    <a:pt x="274091" y="255003"/>
                  </a:lnTo>
                  <a:lnTo>
                    <a:pt x="266928" y="208724"/>
                  </a:lnTo>
                  <a:lnTo>
                    <a:pt x="252361" y="165354"/>
                  </a:lnTo>
                  <a:lnTo>
                    <a:pt x="231101" y="125564"/>
                  </a:lnTo>
                  <a:lnTo>
                    <a:pt x="203809" y="90030"/>
                  </a:lnTo>
                  <a:lnTo>
                    <a:pt x="171157" y="59436"/>
                  </a:lnTo>
                  <a:lnTo>
                    <a:pt x="133845" y="34455"/>
                  </a:lnTo>
                  <a:lnTo>
                    <a:pt x="92544" y="15773"/>
                  </a:lnTo>
                  <a:lnTo>
                    <a:pt x="47917" y="4064"/>
                  </a:lnTo>
                  <a:lnTo>
                    <a:pt x="12" y="0"/>
                  </a:lnTo>
                  <a:lnTo>
                    <a:pt x="5461" y="48171"/>
                  </a:lnTo>
                  <a:lnTo>
                    <a:pt x="18859" y="93433"/>
                  </a:lnTo>
                  <a:lnTo>
                    <a:pt x="39471" y="135051"/>
                  </a:lnTo>
                  <a:lnTo>
                    <a:pt x="66560" y="172313"/>
                  </a:lnTo>
                  <a:lnTo>
                    <a:pt x="99402" y="204457"/>
                  </a:lnTo>
                  <a:lnTo>
                    <a:pt x="137261" y="230771"/>
                  </a:lnTo>
                  <a:lnTo>
                    <a:pt x="179387" y="250507"/>
                  </a:lnTo>
                  <a:lnTo>
                    <a:pt x="225056" y="262928"/>
                  </a:lnTo>
                  <a:lnTo>
                    <a:pt x="273532" y="267309"/>
                  </a:lnTo>
                  <a:lnTo>
                    <a:pt x="274751" y="267309"/>
                  </a:lnTo>
                  <a:lnTo>
                    <a:pt x="323100" y="262953"/>
                  </a:lnTo>
                  <a:lnTo>
                    <a:pt x="368655" y="250583"/>
                  </a:lnTo>
                  <a:lnTo>
                    <a:pt x="410692" y="230936"/>
                  </a:lnTo>
                  <a:lnTo>
                    <a:pt x="448475" y="204749"/>
                  </a:lnTo>
                  <a:lnTo>
                    <a:pt x="481279" y="172732"/>
                  </a:lnTo>
                  <a:lnTo>
                    <a:pt x="508381" y="135623"/>
                  </a:lnTo>
                  <a:lnTo>
                    <a:pt x="529031" y="94157"/>
                  </a:lnTo>
                  <a:lnTo>
                    <a:pt x="542505" y="49072"/>
                  </a:lnTo>
                  <a:lnTo>
                    <a:pt x="548093" y="1079"/>
                  </a:lnTo>
                  <a:close/>
                </a:path>
              </a:pathLst>
            </a:custGeom>
            <a:solidFill>
              <a:srgbClr val="7ED3F1"/>
            </a:solidFill>
          </p:spPr>
          <p:txBody>
            <a:bodyPr wrap="square" lIns="0" tIns="0" rIns="0" bIns="0" rtlCol="0"/>
            <a:lstStyle/>
            <a:p>
              <a:endParaRPr dirty="0"/>
            </a:p>
          </p:txBody>
        </p:sp>
        <p:pic>
          <p:nvPicPr>
            <p:cNvPr id="359" name="object 357">
              <a:extLst>
                <a:ext uri="{FF2B5EF4-FFF2-40B4-BE49-F238E27FC236}">
                  <a16:creationId xmlns:a16="http://schemas.microsoft.com/office/drawing/2014/main" id="{D7E36554-26AC-D4A5-4645-5A3CA71C2121}"/>
                </a:ext>
              </a:extLst>
            </p:cNvPr>
            <p:cNvPicPr/>
            <p:nvPr/>
          </p:nvPicPr>
          <p:blipFill>
            <a:blip r:embed="rId6" cstate="print"/>
            <a:stretch>
              <a:fillRect/>
            </a:stretch>
          </p:blipFill>
          <p:spPr>
            <a:xfrm>
              <a:off x="10021726" y="2680931"/>
              <a:ext cx="106445" cy="107156"/>
            </a:xfrm>
            <a:prstGeom prst="rect">
              <a:avLst/>
            </a:prstGeom>
          </p:spPr>
        </p:pic>
        <p:sp>
          <p:nvSpPr>
            <p:cNvPr id="360" name="object 358">
              <a:extLst>
                <a:ext uri="{FF2B5EF4-FFF2-40B4-BE49-F238E27FC236}">
                  <a16:creationId xmlns:a16="http://schemas.microsoft.com/office/drawing/2014/main" id="{B2EA3E2B-3137-D132-DF75-895862214B20}"/>
                </a:ext>
              </a:extLst>
            </p:cNvPr>
            <p:cNvSpPr/>
            <p:nvPr/>
          </p:nvSpPr>
          <p:spPr>
            <a:xfrm>
              <a:off x="9909070" y="4729423"/>
              <a:ext cx="332700" cy="477101"/>
            </a:xfrm>
            <a:custGeom>
              <a:avLst/>
              <a:gdLst/>
              <a:ahLst/>
              <a:cxnLst/>
              <a:rect l="l" t="t" r="r" b="b"/>
              <a:pathLst>
                <a:path w="548640" h="786765">
                  <a:moveTo>
                    <a:pt x="548093" y="520179"/>
                  </a:moveTo>
                  <a:lnTo>
                    <a:pt x="500380" y="524205"/>
                  </a:lnTo>
                  <a:lnTo>
                    <a:pt x="455853" y="535863"/>
                  </a:lnTo>
                  <a:lnTo>
                    <a:pt x="414616" y="554469"/>
                  </a:lnTo>
                  <a:lnTo>
                    <a:pt x="377355" y="579335"/>
                  </a:lnTo>
                  <a:lnTo>
                    <a:pt x="344716" y="609790"/>
                  </a:lnTo>
                  <a:lnTo>
                    <a:pt x="317411" y="645160"/>
                  </a:lnTo>
                  <a:lnTo>
                    <a:pt x="296087" y="684784"/>
                  </a:lnTo>
                  <a:lnTo>
                    <a:pt x="281419" y="727976"/>
                  </a:lnTo>
                  <a:lnTo>
                    <a:pt x="274091" y="774065"/>
                  </a:lnTo>
                  <a:lnTo>
                    <a:pt x="272973" y="766902"/>
                  </a:lnTo>
                  <a:lnTo>
                    <a:pt x="266928" y="727811"/>
                  </a:lnTo>
                  <a:lnTo>
                    <a:pt x="252361" y="684441"/>
                  </a:lnTo>
                  <a:lnTo>
                    <a:pt x="231101" y="644639"/>
                  </a:lnTo>
                  <a:lnTo>
                    <a:pt x="203809" y="609104"/>
                  </a:lnTo>
                  <a:lnTo>
                    <a:pt x="171157" y="578510"/>
                  </a:lnTo>
                  <a:lnTo>
                    <a:pt x="133845" y="553529"/>
                  </a:lnTo>
                  <a:lnTo>
                    <a:pt x="92544" y="534847"/>
                  </a:lnTo>
                  <a:lnTo>
                    <a:pt x="47917" y="523113"/>
                  </a:lnTo>
                  <a:lnTo>
                    <a:pt x="0" y="519061"/>
                  </a:lnTo>
                  <a:lnTo>
                    <a:pt x="5448" y="567232"/>
                  </a:lnTo>
                  <a:lnTo>
                    <a:pt x="18846" y="612508"/>
                  </a:lnTo>
                  <a:lnTo>
                    <a:pt x="39458" y="654126"/>
                  </a:lnTo>
                  <a:lnTo>
                    <a:pt x="66560" y="691388"/>
                  </a:lnTo>
                  <a:lnTo>
                    <a:pt x="99402" y="723544"/>
                  </a:lnTo>
                  <a:lnTo>
                    <a:pt x="137261" y="749858"/>
                  </a:lnTo>
                  <a:lnTo>
                    <a:pt x="179387" y="769581"/>
                  </a:lnTo>
                  <a:lnTo>
                    <a:pt x="225056" y="782015"/>
                  </a:lnTo>
                  <a:lnTo>
                    <a:pt x="273532" y="786384"/>
                  </a:lnTo>
                  <a:lnTo>
                    <a:pt x="274751" y="786384"/>
                  </a:lnTo>
                  <a:lnTo>
                    <a:pt x="323100" y="782027"/>
                  </a:lnTo>
                  <a:lnTo>
                    <a:pt x="368655" y="769670"/>
                  </a:lnTo>
                  <a:lnTo>
                    <a:pt x="410692" y="750023"/>
                  </a:lnTo>
                  <a:lnTo>
                    <a:pt x="448475" y="723823"/>
                  </a:lnTo>
                  <a:lnTo>
                    <a:pt x="481279" y="691807"/>
                  </a:lnTo>
                  <a:lnTo>
                    <a:pt x="508381" y="654710"/>
                  </a:lnTo>
                  <a:lnTo>
                    <a:pt x="529043" y="613244"/>
                  </a:lnTo>
                  <a:lnTo>
                    <a:pt x="542518" y="568172"/>
                  </a:lnTo>
                  <a:lnTo>
                    <a:pt x="548081" y="520204"/>
                  </a:lnTo>
                  <a:close/>
                </a:path>
                <a:path w="548640" h="786765">
                  <a:moveTo>
                    <a:pt x="548093" y="266611"/>
                  </a:moveTo>
                  <a:lnTo>
                    <a:pt x="500380" y="270649"/>
                  </a:lnTo>
                  <a:lnTo>
                    <a:pt x="455853" y="282308"/>
                  </a:lnTo>
                  <a:lnTo>
                    <a:pt x="414616" y="300901"/>
                  </a:lnTo>
                  <a:lnTo>
                    <a:pt x="377355" y="325767"/>
                  </a:lnTo>
                  <a:lnTo>
                    <a:pt x="344728" y="356235"/>
                  </a:lnTo>
                  <a:lnTo>
                    <a:pt x="317423" y="391617"/>
                  </a:lnTo>
                  <a:lnTo>
                    <a:pt x="296087" y="431241"/>
                  </a:lnTo>
                  <a:lnTo>
                    <a:pt x="281432" y="474433"/>
                  </a:lnTo>
                  <a:lnTo>
                    <a:pt x="274091" y="520522"/>
                  </a:lnTo>
                  <a:lnTo>
                    <a:pt x="266928" y="474243"/>
                  </a:lnTo>
                  <a:lnTo>
                    <a:pt x="252361" y="430872"/>
                  </a:lnTo>
                  <a:lnTo>
                    <a:pt x="231101" y="391083"/>
                  </a:lnTo>
                  <a:lnTo>
                    <a:pt x="203809" y="355549"/>
                  </a:lnTo>
                  <a:lnTo>
                    <a:pt x="171157" y="324954"/>
                  </a:lnTo>
                  <a:lnTo>
                    <a:pt x="133845" y="299974"/>
                  </a:lnTo>
                  <a:lnTo>
                    <a:pt x="92544" y="281292"/>
                  </a:lnTo>
                  <a:lnTo>
                    <a:pt x="47917" y="269582"/>
                  </a:lnTo>
                  <a:lnTo>
                    <a:pt x="12" y="265518"/>
                  </a:lnTo>
                  <a:lnTo>
                    <a:pt x="5461" y="313690"/>
                  </a:lnTo>
                  <a:lnTo>
                    <a:pt x="18859" y="358952"/>
                  </a:lnTo>
                  <a:lnTo>
                    <a:pt x="39471" y="400570"/>
                  </a:lnTo>
                  <a:lnTo>
                    <a:pt x="66560" y="437832"/>
                  </a:lnTo>
                  <a:lnTo>
                    <a:pt x="99402" y="469976"/>
                  </a:lnTo>
                  <a:lnTo>
                    <a:pt x="137261" y="496290"/>
                  </a:lnTo>
                  <a:lnTo>
                    <a:pt x="179387" y="516026"/>
                  </a:lnTo>
                  <a:lnTo>
                    <a:pt x="225056" y="528447"/>
                  </a:lnTo>
                  <a:lnTo>
                    <a:pt x="273532" y="532828"/>
                  </a:lnTo>
                  <a:lnTo>
                    <a:pt x="274751" y="532828"/>
                  </a:lnTo>
                  <a:lnTo>
                    <a:pt x="323100" y="528472"/>
                  </a:lnTo>
                  <a:lnTo>
                    <a:pt x="368655" y="516102"/>
                  </a:lnTo>
                  <a:lnTo>
                    <a:pt x="410692" y="496455"/>
                  </a:lnTo>
                  <a:lnTo>
                    <a:pt x="448475" y="470268"/>
                  </a:lnTo>
                  <a:lnTo>
                    <a:pt x="481279" y="438251"/>
                  </a:lnTo>
                  <a:lnTo>
                    <a:pt x="508381" y="401154"/>
                  </a:lnTo>
                  <a:lnTo>
                    <a:pt x="529031" y="359689"/>
                  </a:lnTo>
                  <a:lnTo>
                    <a:pt x="542505" y="314604"/>
                  </a:lnTo>
                  <a:lnTo>
                    <a:pt x="548093" y="266611"/>
                  </a:lnTo>
                  <a:close/>
                </a:path>
                <a:path w="548640" h="786765">
                  <a:moveTo>
                    <a:pt x="548093" y="1079"/>
                  </a:moveTo>
                  <a:lnTo>
                    <a:pt x="500380" y="5105"/>
                  </a:lnTo>
                  <a:lnTo>
                    <a:pt x="455853" y="16764"/>
                  </a:lnTo>
                  <a:lnTo>
                    <a:pt x="414616" y="35369"/>
                  </a:lnTo>
                  <a:lnTo>
                    <a:pt x="377355" y="60236"/>
                  </a:lnTo>
                  <a:lnTo>
                    <a:pt x="344728" y="90703"/>
                  </a:lnTo>
                  <a:lnTo>
                    <a:pt x="317423" y="126085"/>
                  </a:lnTo>
                  <a:lnTo>
                    <a:pt x="296087" y="165709"/>
                  </a:lnTo>
                  <a:lnTo>
                    <a:pt x="281432" y="208902"/>
                  </a:lnTo>
                  <a:lnTo>
                    <a:pt x="274091" y="254990"/>
                  </a:lnTo>
                  <a:lnTo>
                    <a:pt x="266928" y="208724"/>
                  </a:lnTo>
                  <a:lnTo>
                    <a:pt x="252361" y="165354"/>
                  </a:lnTo>
                  <a:lnTo>
                    <a:pt x="231101" y="125552"/>
                  </a:lnTo>
                  <a:lnTo>
                    <a:pt x="203809" y="90017"/>
                  </a:lnTo>
                  <a:lnTo>
                    <a:pt x="171157" y="59423"/>
                  </a:lnTo>
                  <a:lnTo>
                    <a:pt x="133845" y="34442"/>
                  </a:lnTo>
                  <a:lnTo>
                    <a:pt x="92544" y="15760"/>
                  </a:lnTo>
                  <a:lnTo>
                    <a:pt x="47917" y="4051"/>
                  </a:lnTo>
                  <a:lnTo>
                    <a:pt x="12" y="0"/>
                  </a:lnTo>
                  <a:lnTo>
                    <a:pt x="5461" y="48158"/>
                  </a:lnTo>
                  <a:lnTo>
                    <a:pt x="18859" y="93421"/>
                  </a:lnTo>
                  <a:lnTo>
                    <a:pt x="39471" y="135039"/>
                  </a:lnTo>
                  <a:lnTo>
                    <a:pt x="66560" y="172300"/>
                  </a:lnTo>
                  <a:lnTo>
                    <a:pt x="99402" y="204444"/>
                  </a:lnTo>
                  <a:lnTo>
                    <a:pt x="137261" y="230759"/>
                  </a:lnTo>
                  <a:lnTo>
                    <a:pt x="179387" y="250494"/>
                  </a:lnTo>
                  <a:lnTo>
                    <a:pt x="225056" y="262915"/>
                  </a:lnTo>
                  <a:lnTo>
                    <a:pt x="273532" y="267296"/>
                  </a:lnTo>
                  <a:lnTo>
                    <a:pt x="274751" y="267296"/>
                  </a:lnTo>
                  <a:lnTo>
                    <a:pt x="323100" y="262940"/>
                  </a:lnTo>
                  <a:lnTo>
                    <a:pt x="368655" y="250571"/>
                  </a:lnTo>
                  <a:lnTo>
                    <a:pt x="410692" y="230924"/>
                  </a:lnTo>
                  <a:lnTo>
                    <a:pt x="448475" y="204724"/>
                  </a:lnTo>
                  <a:lnTo>
                    <a:pt x="481279" y="172720"/>
                  </a:lnTo>
                  <a:lnTo>
                    <a:pt x="508381" y="135610"/>
                  </a:lnTo>
                  <a:lnTo>
                    <a:pt x="529031" y="94157"/>
                  </a:lnTo>
                  <a:lnTo>
                    <a:pt x="542505" y="49060"/>
                  </a:lnTo>
                  <a:lnTo>
                    <a:pt x="548093" y="1079"/>
                  </a:lnTo>
                  <a:close/>
                </a:path>
              </a:pathLst>
            </a:custGeom>
            <a:solidFill>
              <a:srgbClr val="2DB7EA"/>
            </a:solidFill>
          </p:spPr>
          <p:txBody>
            <a:bodyPr wrap="square" lIns="0" tIns="0" rIns="0" bIns="0" rtlCol="0"/>
            <a:lstStyle/>
            <a:p>
              <a:endParaRPr dirty="0"/>
            </a:p>
          </p:txBody>
        </p:sp>
        <p:pic>
          <p:nvPicPr>
            <p:cNvPr id="361" name="object 359">
              <a:extLst>
                <a:ext uri="{FF2B5EF4-FFF2-40B4-BE49-F238E27FC236}">
                  <a16:creationId xmlns:a16="http://schemas.microsoft.com/office/drawing/2014/main" id="{4F1A0E14-8F86-A199-74D3-30F40336A444}"/>
                </a:ext>
              </a:extLst>
            </p:cNvPr>
            <p:cNvPicPr/>
            <p:nvPr/>
          </p:nvPicPr>
          <p:blipFill>
            <a:blip r:embed="rId5" cstate="print"/>
            <a:stretch>
              <a:fillRect/>
            </a:stretch>
          </p:blipFill>
          <p:spPr>
            <a:xfrm>
              <a:off x="10021726" y="4643430"/>
              <a:ext cx="106445" cy="107156"/>
            </a:xfrm>
            <a:prstGeom prst="rect">
              <a:avLst/>
            </a:prstGeom>
          </p:spPr>
        </p:pic>
        <p:sp>
          <p:nvSpPr>
            <p:cNvPr id="362" name="object 360">
              <a:extLst>
                <a:ext uri="{FF2B5EF4-FFF2-40B4-BE49-F238E27FC236}">
                  <a16:creationId xmlns:a16="http://schemas.microsoft.com/office/drawing/2014/main" id="{86FA0292-DFF0-2548-F1DA-654206D0D810}"/>
                </a:ext>
              </a:extLst>
            </p:cNvPr>
            <p:cNvSpPr/>
            <p:nvPr/>
          </p:nvSpPr>
          <p:spPr>
            <a:xfrm>
              <a:off x="9909070" y="4075252"/>
              <a:ext cx="332700" cy="477101"/>
            </a:xfrm>
            <a:custGeom>
              <a:avLst/>
              <a:gdLst/>
              <a:ahLst/>
              <a:cxnLst/>
              <a:rect l="l" t="t" r="r" b="b"/>
              <a:pathLst>
                <a:path w="548640" h="786765">
                  <a:moveTo>
                    <a:pt x="548093" y="520179"/>
                  </a:moveTo>
                  <a:lnTo>
                    <a:pt x="500380" y="524217"/>
                  </a:lnTo>
                  <a:lnTo>
                    <a:pt x="455853" y="535876"/>
                  </a:lnTo>
                  <a:lnTo>
                    <a:pt x="414616" y="554469"/>
                  </a:lnTo>
                  <a:lnTo>
                    <a:pt x="392252" y="569391"/>
                  </a:lnTo>
                  <a:lnTo>
                    <a:pt x="377355" y="579335"/>
                  </a:lnTo>
                  <a:lnTo>
                    <a:pt x="344728" y="609803"/>
                  </a:lnTo>
                  <a:lnTo>
                    <a:pt x="317411" y="645172"/>
                  </a:lnTo>
                  <a:lnTo>
                    <a:pt x="296087" y="684796"/>
                  </a:lnTo>
                  <a:lnTo>
                    <a:pt x="281419" y="727976"/>
                  </a:lnTo>
                  <a:lnTo>
                    <a:pt x="274091" y="774065"/>
                  </a:lnTo>
                  <a:lnTo>
                    <a:pt x="272161" y="761669"/>
                  </a:lnTo>
                  <a:lnTo>
                    <a:pt x="266928" y="727824"/>
                  </a:lnTo>
                  <a:lnTo>
                    <a:pt x="252361" y="684441"/>
                  </a:lnTo>
                  <a:lnTo>
                    <a:pt x="231101" y="644652"/>
                  </a:lnTo>
                  <a:lnTo>
                    <a:pt x="203809" y="609117"/>
                  </a:lnTo>
                  <a:lnTo>
                    <a:pt x="187998" y="594321"/>
                  </a:lnTo>
                  <a:lnTo>
                    <a:pt x="171157" y="578523"/>
                  </a:lnTo>
                  <a:lnTo>
                    <a:pt x="133845" y="553542"/>
                  </a:lnTo>
                  <a:lnTo>
                    <a:pt x="92532" y="534835"/>
                  </a:lnTo>
                  <a:lnTo>
                    <a:pt x="47917" y="523125"/>
                  </a:lnTo>
                  <a:lnTo>
                    <a:pt x="0" y="519074"/>
                  </a:lnTo>
                  <a:lnTo>
                    <a:pt x="5448" y="567245"/>
                  </a:lnTo>
                  <a:lnTo>
                    <a:pt x="18846" y="612508"/>
                  </a:lnTo>
                  <a:lnTo>
                    <a:pt x="39458" y="654138"/>
                  </a:lnTo>
                  <a:lnTo>
                    <a:pt x="66560" y="691400"/>
                  </a:lnTo>
                  <a:lnTo>
                    <a:pt x="99402" y="723557"/>
                  </a:lnTo>
                  <a:lnTo>
                    <a:pt x="137261" y="749858"/>
                  </a:lnTo>
                  <a:lnTo>
                    <a:pt x="179387" y="769594"/>
                  </a:lnTo>
                  <a:lnTo>
                    <a:pt x="225056" y="782015"/>
                  </a:lnTo>
                  <a:lnTo>
                    <a:pt x="273532" y="786396"/>
                  </a:lnTo>
                  <a:lnTo>
                    <a:pt x="274751" y="786396"/>
                  </a:lnTo>
                  <a:lnTo>
                    <a:pt x="323100" y="782040"/>
                  </a:lnTo>
                  <a:lnTo>
                    <a:pt x="368655" y="769670"/>
                  </a:lnTo>
                  <a:lnTo>
                    <a:pt x="410692" y="750023"/>
                  </a:lnTo>
                  <a:lnTo>
                    <a:pt x="448475" y="723836"/>
                  </a:lnTo>
                  <a:lnTo>
                    <a:pt x="481279" y="691819"/>
                  </a:lnTo>
                  <a:lnTo>
                    <a:pt x="508381" y="654723"/>
                  </a:lnTo>
                  <a:lnTo>
                    <a:pt x="529043" y="613257"/>
                  </a:lnTo>
                  <a:lnTo>
                    <a:pt x="542518" y="568172"/>
                  </a:lnTo>
                  <a:lnTo>
                    <a:pt x="548081" y="520217"/>
                  </a:lnTo>
                  <a:close/>
                </a:path>
                <a:path w="548640" h="786765">
                  <a:moveTo>
                    <a:pt x="548093" y="266623"/>
                  </a:moveTo>
                  <a:lnTo>
                    <a:pt x="500380" y="270662"/>
                  </a:lnTo>
                  <a:lnTo>
                    <a:pt x="455853" y="282308"/>
                  </a:lnTo>
                  <a:lnTo>
                    <a:pt x="414616" y="300913"/>
                  </a:lnTo>
                  <a:lnTo>
                    <a:pt x="377355" y="325780"/>
                  </a:lnTo>
                  <a:lnTo>
                    <a:pt x="344728" y="356247"/>
                  </a:lnTo>
                  <a:lnTo>
                    <a:pt x="317423" y="391629"/>
                  </a:lnTo>
                  <a:lnTo>
                    <a:pt x="296087" y="431253"/>
                  </a:lnTo>
                  <a:lnTo>
                    <a:pt x="281432" y="474446"/>
                  </a:lnTo>
                  <a:lnTo>
                    <a:pt x="274091" y="520534"/>
                  </a:lnTo>
                  <a:lnTo>
                    <a:pt x="266928" y="474256"/>
                  </a:lnTo>
                  <a:lnTo>
                    <a:pt x="252361" y="430885"/>
                  </a:lnTo>
                  <a:lnTo>
                    <a:pt x="231101" y="391096"/>
                  </a:lnTo>
                  <a:lnTo>
                    <a:pt x="203809" y="355561"/>
                  </a:lnTo>
                  <a:lnTo>
                    <a:pt x="171157" y="324954"/>
                  </a:lnTo>
                  <a:lnTo>
                    <a:pt x="133845" y="299974"/>
                  </a:lnTo>
                  <a:lnTo>
                    <a:pt x="92544" y="281292"/>
                  </a:lnTo>
                  <a:lnTo>
                    <a:pt x="47917" y="269582"/>
                  </a:lnTo>
                  <a:lnTo>
                    <a:pt x="12" y="265531"/>
                  </a:lnTo>
                  <a:lnTo>
                    <a:pt x="5461" y="313690"/>
                  </a:lnTo>
                  <a:lnTo>
                    <a:pt x="18859" y="358952"/>
                  </a:lnTo>
                  <a:lnTo>
                    <a:pt x="39471" y="400583"/>
                  </a:lnTo>
                  <a:lnTo>
                    <a:pt x="66560" y="437832"/>
                  </a:lnTo>
                  <a:lnTo>
                    <a:pt x="99402" y="469988"/>
                  </a:lnTo>
                  <a:lnTo>
                    <a:pt x="137261" y="496303"/>
                  </a:lnTo>
                  <a:lnTo>
                    <a:pt x="179387" y="516039"/>
                  </a:lnTo>
                  <a:lnTo>
                    <a:pt x="225056" y="528459"/>
                  </a:lnTo>
                  <a:lnTo>
                    <a:pt x="273532" y="532828"/>
                  </a:lnTo>
                  <a:lnTo>
                    <a:pt x="274751" y="532828"/>
                  </a:lnTo>
                  <a:lnTo>
                    <a:pt x="323100" y="528472"/>
                  </a:lnTo>
                  <a:lnTo>
                    <a:pt x="368655" y="516115"/>
                  </a:lnTo>
                  <a:lnTo>
                    <a:pt x="410692" y="496468"/>
                  </a:lnTo>
                  <a:lnTo>
                    <a:pt x="448475" y="470268"/>
                  </a:lnTo>
                  <a:lnTo>
                    <a:pt x="481279" y="438264"/>
                  </a:lnTo>
                  <a:lnTo>
                    <a:pt x="508381" y="401154"/>
                  </a:lnTo>
                  <a:lnTo>
                    <a:pt x="529031" y="359702"/>
                  </a:lnTo>
                  <a:lnTo>
                    <a:pt x="542505" y="314604"/>
                  </a:lnTo>
                  <a:lnTo>
                    <a:pt x="548093" y="266623"/>
                  </a:lnTo>
                  <a:close/>
                </a:path>
                <a:path w="548640" h="786765">
                  <a:moveTo>
                    <a:pt x="548093" y="1092"/>
                  </a:moveTo>
                  <a:lnTo>
                    <a:pt x="500380" y="5130"/>
                  </a:lnTo>
                  <a:lnTo>
                    <a:pt x="455853" y="16776"/>
                  </a:lnTo>
                  <a:lnTo>
                    <a:pt x="414616" y="35382"/>
                  </a:lnTo>
                  <a:lnTo>
                    <a:pt x="377355" y="60248"/>
                  </a:lnTo>
                  <a:lnTo>
                    <a:pt x="344728" y="90716"/>
                  </a:lnTo>
                  <a:lnTo>
                    <a:pt x="317423" y="126098"/>
                  </a:lnTo>
                  <a:lnTo>
                    <a:pt x="296087" y="165722"/>
                  </a:lnTo>
                  <a:lnTo>
                    <a:pt x="281432" y="208915"/>
                  </a:lnTo>
                  <a:lnTo>
                    <a:pt x="274091" y="255003"/>
                  </a:lnTo>
                  <a:lnTo>
                    <a:pt x="266928" y="208724"/>
                  </a:lnTo>
                  <a:lnTo>
                    <a:pt x="252361" y="165354"/>
                  </a:lnTo>
                  <a:lnTo>
                    <a:pt x="231101" y="125564"/>
                  </a:lnTo>
                  <a:lnTo>
                    <a:pt x="203809" y="90030"/>
                  </a:lnTo>
                  <a:lnTo>
                    <a:pt x="171157" y="59436"/>
                  </a:lnTo>
                  <a:lnTo>
                    <a:pt x="133845" y="34455"/>
                  </a:lnTo>
                  <a:lnTo>
                    <a:pt x="92544" y="15760"/>
                  </a:lnTo>
                  <a:lnTo>
                    <a:pt x="47917" y="4051"/>
                  </a:lnTo>
                  <a:lnTo>
                    <a:pt x="12" y="0"/>
                  </a:lnTo>
                  <a:lnTo>
                    <a:pt x="5461" y="48158"/>
                  </a:lnTo>
                  <a:lnTo>
                    <a:pt x="18859" y="93421"/>
                  </a:lnTo>
                  <a:lnTo>
                    <a:pt x="39471" y="135051"/>
                  </a:lnTo>
                  <a:lnTo>
                    <a:pt x="66560" y="172300"/>
                  </a:lnTo>
                  <a:lnTo>
                    <a:pt x="99402" y="204457"/>
                  </a:lnTo>
                  <a:lnTo>
                    <a:pt x="137261" y="230771"/>
                  </a:lnTo>
                  <a:lnTo>
                    <a:pt x="179387" y="250494"/>
                  </a:lnTo>
                  <a:lnTo>
                    <a:pt x="225056" y="262928"/>
                  </a:lnTo>
                  <a:lnTo>
                    <a:pt x="273532" y="267309"/>
                  </a:lnTo>
                  <a:lnTo>
                    <a:pt x="274751" y="267309"/>
                  </a:lnTo>
                  <a:lnTo>
                    <a:pt x="323100" y="262940"/>
                  </a:lnTo>
                  <a:lnTo>
                    <a:pt x="368655" y="250583"/>
                  </a:lnTo>
                  <a:lnTo>
                    <a:pt x="410692" y="230936"/>
                  </a:lnTo>
                  <a:lnTo>
                    <a:pt x="448475" y="204736"/>
                  </a:lnTo>
                  <a:lnTo>
                    <a:pt x="481279" y="172720"/>
                  </a:lnTo>
                  <a:lnTo>
                    <a:pt x="508381" y="135623"/>
                  </a:lnTo>
                  <a:lnTo>
                    <a:pt x="529031" y="94170"/>
                  </a:lnTo>
                  <a:lnTo>
                    <a:pt x="542505" y="49072"/>
                  </a:lnTo>
                  <a:lnTo>
                    <a:pt x="548093" y="1092"/>
                  </a:lnTo>
                  <a:close/>
                </a:path>
              </a:pathLst>
            </a:custGeom>
            <a:solidFill>
              <a:srgbClr val="7ED3F1"/>
            </a:solidFill>
          </p:spPr>
          <p:txBody>
            <a:bodyPr wrap="square" lIns="0" tIns="0" rIns="0" bIns="0" rtlCol="0"/>
            <a:lstStyle/>
            <a:p>
              <a:endParaRPr dirty="0"/>
            </a:p>
          </p:txBody>
        </p:sp>
        <p:pic>
          <p:nvPicPr>
            <p:cNvPr id="363" name="object 361">
              <a:extLst>
                <a:ext uri="{FF2B5EF4-FFF2-40B4-BE49-F238E27FC236}">
                  <a16:creationId xmlns:a16="http://schemas.microsoft.com/office/drawing/2014/main" id="{7360C62C-241C-0F0C-3086-73021F4F46FB}"/>
                </a:ext>
              </a:extLst>
            </p:cNvPr>
            <p:cNvPicPr/>
            <p:nvPr/>
          </p:nvPicPr>
          <p:blipFill>
            <a:blip r:embed="rId6" cstate="print"/>
            <a:stretch>
              <a:fillRect/>
            </a:stretch>
          </p:blipFill>
          <p:spPr>
            <a:xfrm>
              <a:off x="10021726" y="3989263"/>
              <a:ext cx="106445" cy="107156"/>
            </a:xfrm>
            <a:prstGeom prst="rect">
              <a:avLst/>
            </a:prstGeom>
          </p:spPr>
        </p:pic>
        <p:sp>
          <p:nvSpPr>
            <p:cNvPr id="364" name="object 362">
              <a:extLst>
                <a:ext uri="{FF2B5EF4-FFF2-40B4-BE49-F238E27FC236}">
                  <a16:creationId xmlns:a16="http://schemas.microsoft.com/office/drawing/2014/main" id="{62167718-AC1C-78FE-844D-A27F09705327}"/>
                </a:ext>
              </a:extLst>
            </p:cNvPr>
            <p:cNvSpPr/>
            <p:nvPr/>
          </p:nvSpPr>
          <p:spPr>
            <a:xfrm>
              <a:off x="9523993" y="3862863"/>
              <a:ext cx="332700" cy="477101"/>
            </a:xfrm>
            <a:custGeom>
              <a:avLst/>
              <a:gdLst/>
              <a:ahLst/>
              <a:cxnLst/>
              <a:rect l="l" t="t" r="r" b="b"/>
              <a:pathLst>
                <a:path w="548640" h="786765">
                  <a:moveTo>
                    <a:pt x="548081" y="786396"/>
                  </a:moveTo>
                  <a:lnTo>
                    <a:pt x="542632" y="738238"/>
                  </a:lnTo>
                  <a:lnTo>
                    <a:pt x="529234" y="692975"/>
                  </a:lnTo>
                  <a:lnTo>
                    <a:pt x="508622" y="651344"/>
                  </a:lnTo>
                  <a:lnTo>
                    <a:pt x="481520" y="614083"/>
                  </a:lnTo>
                  <a:lnTo>
                    <a:pt x="448678" y="581939"/>
                  </a:lnTo>
                  <a:lnTo>
                    <a:pt x="410832" y="555625"/>
                  </a:lnTo>
                  <a:lnTo>
                    <a:pt x="368693" y="535889"/>
                  </a:lnTo>
                  <a:lnTo>
                    <a:pt x="323024" y="523468"/>
                  </a:lnTo>
                  <a:lnTo>
                    <a:pt x="274561" y="519099"/>
                  </a:lnTo>
                  <a:lnTo>
                    <a:pt x="273329" y="519099"/>
                  </a:lnTo>
                  <a:lnTo>
                    <a:pt x="224993" y="523455"/>
                  </a:lnTo>
                  <a:lnTo>
                    <a:pt x="179438" y="535813"/>
                  </a:lnTo>
                  <a:lnTo>
                    <a:pt x="137401" y="555459"/>
                  </a:lnTo>
                  <a:lnTo>
                    <a:pt x="99606" y="581660"/>
                  </a:lnTo>
                  <a:lnTo>
                    <a:pt x="66802" y="613664"/>
                  </a:lnTo>
                  <a:lnTo>
                    <a:pt x="39712" y="650773"/>
                  </a:lnTo>
                  <a:lnTo>
                    <a:pt x="19062" y="692226"/>
                  </a:lnTo>
                  <a:lnTo>
                    <a:pt x="5575" y="737323"/>
                  </a:lnTo>
                  <a:lnTo>
                    <a:pt x="0" y="785304"/>
                  </a:lnTo>
                  <a:lnTo>
                    <a:pt x="47713" y="781265"/>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73"/>
                  </a:lnTo>
                  <a:lnTo>
                    <a:pt x="414235" y="751954"/>
                  </a:lnTo>
                  <a:lnTo>
                    <a:pt x="455549" y="770636"/>
                  </a:lnTo>
                  <a:lnTo>
                    <a:pt x="500164" y="782345"/>
                  </a:lnTo>
                  <a:lnTo>
                    <a:pt x="548081" y="786396"/>
                  </a:lnTo>
                  <a:close/>
                </a:path>
                <a:path w="548640" h="786765">
                  <a:moveTo>
                    <a:pt x="548081" y="520865"/>
                  </a:moveTo>
                  <a:lnTo>
                    <a:pt x="542632" y="472706"/>
                  </a:lnTo>
                  <a:lnTo>
                    <a:pt x="529234" y="427443"/>
                  </a:lnTo>
                  <a:lnTo>
                    <a:pt x="508622" y="385813"/>
                  </a:lnTo>
                  <a:lnTo>
                    <a:pt x="481520" y="348564"/>
                  </a:lnTo>
                  <a:lnTo>
                    <a:pt x="448678" y="316407"/>
                  </a:lnTo>
                  <a:lnTo>
                    <a:pt x="410832" y="290106"/>
                  </a:lnTo>
                  <a:lnTo>
                    <a:pt x="368693" y="270370"/>
                  </a:lnTo>
                  <a:lnTo>
                    <a:pt x="323024" y="257949"/>
                  </a:lnTo>
                  <a:lnTo>
                    <a:pt x="274561" y="253568"/>
                  </a:lnTo>
                  <a:lnTo>
                    <a:pt x="273329" y="253568"/>
                  </a:lnTo>
                  <a:lnTo>
                    <a:pt x="224993" y="257924"/>
                  </a:lnTo>
                  <a:lnTo>
                    <a:pt x="179438" y="270294"/>
                  </a:lnTo>
                  <a:lnTo>
                    <a:pt x="137401" y="289941"/>
                  </a:lnTo>
                  <a:lnTo>
                    <a:pt x="99606" y="316128"/>
                  </a:lnTo>
                  <a:lnTo>
                    <a:pt x="66802" y="348145"/>
                  </a:lnTo>
                  <a:lnTo>
                    <a:pt x="39712" y="385241"/>
                  </a:lnTo>
                  <a:lnTo>
                    <a:pt x="19062" y="426707"/>
                  </a:lnTo>
                  <a:lnTo>
                    <a:pt x="5575" y="471792"/>
                  </a:lnTo>
                  <a:lnTo>
                    <a:pt x="0" y="519785"/>
                  </a:lnTo>
                  <a:lnTo>
                    <a:pt x="47713" y="515747"/>
                  </a:lnTo>
                  <a:lnTo>
                    <a:pt x="92240" y="504101"/>
                  </a:lnTo>
                  <a:lnTo>
                    <a:pt x="133464" y="485495"/>
                  </a:lnTo>
                  <a:lnTo>
                    <a:pt x="170738" y="460629"/>
                  </a:lnTo>
                  <a:lnTo>
                    <a:pt x="203352" y="430161"/>
                  </a:lnTo>
                  <a:lnTo>
                    <a:pt x="230670" y="394779"/>
                  </a:lnTo>
                  <a:lnTo>
                    <a:pt x="251993" y="355142"/>
                  </a:lnTo>
                  <a:lnTo>
                    <a:pt x="266661" y="311950"/>
                  </a:lnTo>
                  <a:lnTo>
                    <a:pt x="273989" y="265874"/>
                  </a:lnTo>
                  <a:lnTo>
                    <a:pt x="281165" y="312140"/>
                  </a:lnTo>
                  <a:lnTo>
                    <a:pt x="295719" y="355511"/>
                  </a:lnTo>
                  <a:lnTo>
                    <a:pt x="316992" y="395300"/>
                  </a:lnTo>
                  <a:lnTo>
                    <a:pt x="344284" y="430847"/>
                  </a:lnTo>
                  <a:lnTo>
                    <a:pt x="376923" y="461441"/>
                  </a:lnTo>
                  <a:lnTo>
                    <a:pt x="414235" y="486422"/>
                  </a:lnTo>
                  <a:lnTo>
                    <a:pt x="455549" y="505104"/>
                  </a:lnTo>
                  <a:lnTo>
                    <a:pt x="500164" y="516813"/>
                  </a:lnTo>
                  <a:lnTo>
                    <a:pt x="548081" y="520865"/>
                  </a:lnTo>
                  <a:close/>
                </a:path>
                <a:path w="548640" h="786765">
                  <a:moveTo>
                    <a:pt x="548081" y="267322"/>
                  </a:moveTo>
                  <a:lnTo>
                    <a:pt x="542632" y="219151"/>
                  </a:lnTo>
                  <a:lnTo>
                    <a:pt x="529234" y="173888"/>
                  </a:lnTo>
                  <a:lnTo>
                    <a:pt x="508622" y="132257"/>
                  </a:lnTo>
                  <a:lnTo>
                    <a:pt x="481533" y="95008"/>
                  </a:lnTo>
                  <a:lnTo>
                    <a:pt x="480834" y="94335"/>
                  </a:lnTo>
                  <a:lnTo>
                    <a:pt x="448691" y="62852"/>
                  </a:lnTo>
                  <a:lnTo>
                    <a:pt x="433158" y="52070"/>
                  </a:lnTo>
                  <a:lnTo>
                    <a:pt x="410832" y="36550"/>
                  </a:lnTo>
                  <a:lnTo>
                    <a:pt x="368693" y="16802"/>
                  </a:lnTo>
                  <a:lnTo>
                    <a:pt x="323024" y="4381"/>
                  </a:lnTo>
                  <a:lnTo>
                    <a:pt x="274561" y="0"/>
                  </a:lnTo>
                  <a:lnTo>
                    <a:pt x="273329" y="0"/>
                  </a:lnTo>
                  <a:lnTo>
                    <a:pt x="224993" y="4356"/>
                  </a:lnTo>
                  <a:lnTo>
                    <a:pt x="179438" y="16725"/>
                  </a:lnTo>
                  <a:lnTo>
                    <a:pt x="137401" y="36372"/>
                  </a:lnTo>
                  <a:lnTo>
                    <a:pt x="99606" y="62560"/>
                  </a:lnTo>
                  <a:lnTo>
                    <a:pt x="66802" y="94576"/>
                  </a:lnTo>
                  <a:lnTo>
                    <a:pt x="39687" y="131686"/>
                  </a:lnTo>
                  <a:lnTo>
                    <a:pt x="19037" y="173139"/>
                  </a:lnTo>
                  <a:lnTo>
                    <a:pt x="5562" y="218224"/>
                  </a:lnTo>
                  <a:lnTo>
                    <a:pt x="0" y="266192"/>
                  </a:lnTo>
                  <a:lnTo>
                    <a:pt x="47713" y="262178"/>
                  </a:lnTo>
                  <a:lnTo>
                    <a:pt x="92240" y="250520"/>
                  </a:lnTo>
                  <a:lnTo>
                    <a:pt x="133464" y="231927"/>
                  </a:lnTo>
                  <a:lnTo>
                    <a:pt x="170738" y="207060"/>
                  </a:lnTo>
                  <a:lnTo>
                    <a:pt x="203365" y="176593"/>
                  </a:lnTo>
                  <a:lnTo>
                    <a:pt x="230670" y="141224"/>
                  </a:lnTo>
                  <a:lnTo>
                    <a:pt x="252006" y="101600"/>
                  </a:lnTo>
                  <a:lnTo>
                    <a:pt x="266661" y="58420"/>
                  </a:lnTo>
                  <a:lnTo>
                    <a:pt x="273989" y="12369"/>
                  </a:lnTo>
                  <a:lnTo>
                    <a:pt x="279844" y="50101"/>
                  </a:lnTo>
                  <a:lnTo>
                    <a:pt x="295719" y="101955"/>
                  </a:lnTo>
                  <a:lnTo>
                    <a:pt x="316992" y="141744"/>
                  </a:lnTo>
                  <a:lnTo>
                    <a:pt x="344284" y="177279"/>
                  </a:lnTo>
                  <a:lnTo>
                    <a:pt x="376923" y="207886"/>
                  </a:lnTo>
                  <a:lnTo>
                    <a:pt x="414248" y="232867"/>
                  </a:lnTo>
                  <a:lnTo>
                    <a:pt x="455549" y="251561"/>
                  </a:lnTo>
                  <a:lnTo>
                    <a:pt x="500176" y="263271"/>
                  </a:lnTo>
                  <a:lnTo>
                    <a:pt x="548081" y="267322"/>
                  </a:lnTo>
                  <a:close/>
                </a:path>
              </a:pathLst>
            </a:custGeom>
            <a:solidFill>
              <a:srgbClr val="2DB7EA"/>
            </a:solidFill>
          </p:spPr>
          <p:txBody>
            <a:bodyPr wrap="square" lIns="0" tIns="0" rIns="0" bIns="0" rtlCol="0"/>
            <a:lstStyle/>
            <a:p>
              <a:endParaRPr dirty="0"/>
            </a:p>
          </p:txBody>
        </p:sp>
        <p:pic>
          <p:nvPicPr>
            <p:cNvPr id="365" name="object 363">
              <a:extLst>
                <a:ext uri="{FF2B5EF4-FFF2-40B4-BE49-F238E27FC236}">
                  <a16:creationId xmlns:a16="http://schemas.microsoft.com/office/drawing/2014/main" id="{AF632474-BC23-590A-4E4E-33AD15CFCB64}"/>
                </a:ext>
              </a:extLst>
            </p:cNvPr>
            <p:cNvPicPr/>
            <p:nvPr/>
          </p:nvPicPr>
          <p:blipFill>
            <a:blip r:embed="rId8" cstate="print"/>
            <a:stretch>
              <a:fillRect/>
            </a:stretch>
          </p:blipFill>
          <p:spPr>
            <a:xfrm>
              <a:off x="9637261" y="4318566"/>
              <a:ext cx="106445" cy="107156"/>
            </a:xfrm>
            <a:prstGeom prst="rect">
              <a:avLst/>
            </a:prstGeom>
          </p:spPr>
        </p:pic>
        <p:sp>
          <p:nvSpPr>
            <p:cNvPr id="366" name="object 364">
              <a:extLst>
                <a:ext uri="{FF2B5EF4-FFF2-40B4-BE49-F238E27FC236}">
                  <a16:creationId xmlns:a16="http://schemas.microsoft.com/office/drawing/2014/main" id="{F745DE2C-36B4-7086-EB28-3C62478B524C}"/>
                </a:ext>
              </a:extLst>
            </p:cNvPr>
            <p:cNvSpPr/>
            <p:nvPr/>
          </p:nvSpPr>
          <p:spPr>
            <a:xfrm>
              <a:off x="9523993" y="4517034"/>
              <a:ext cx="332700" cy="477101"/>
            </a:xfrm>
            <a:custGeom>
              <a:avLst/>
              <a:gdLst/>
              <a:ahLst/>
              <a:cxnLst/>
              <a:rect l="l" t="t" r="r" b="b"/>
              <a:pathLst>
                <a:path w="548640" h="786765">
                  <a:moveTo>
                    <a:pt x="548081" y="786384"/>
                  </a:moveTo>
                  <a:lnTo>
                    <a:pt x="542632" y="738225"/>
                  </a:lnTo>
                  <a:lnTo>
                    <a:pt x="529234" y="692962"/>
                  </a:lnTo>
                  <a:lnTo>
                    <a:pt x="508622" y="651332"/>
                  </a:lnTo>
                  <a:lnTo>
                    <a:pt x="481520" y="614083"/>
                  </a:lnTo>
                  <a:lnTo>
                    <a:pt x="448678" y="581926"/>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47"/>
                  </a:lnTo>
                  <a:lnTo>
                    <a:pt x="66802" y="613664"/>
                  </a:lnTo>
                  <a:lnTo>
                    <a:pt x="39712" y="650760"/>
                  </a:lnTo>
                  <a:lnTo>
                    <a:pt x="19062" y="692226"/>
                  </a:lnTo>
                  <a:lnTo>
                    <a:pt x="5575" y="737323"/>
                  </a:lnTo>
                  <a:lnTo>
                    <a:pt x="0" y="785304"/>
                  </a:lnTo>
                  <a:lnTo>
                    <a:pt x="47713" y="781265"/>
                  </a:lnTo>
                  <a:lnTo>
                    <a:pt x="92240" y="769620"/>
                  </a:lnTo>
                  <a:lnTo>
                    <a:pt x="133464" y="751014"/>
                  </a:lnTo>
                  <a:lnTo>
                    <a:pt x="170738" y="726147"/>
                  </a:lnTo>
                  <a:lnTo>
                    <a:pt x="203352" y="695680"/>
                  </a:lnTo>
                  <a:lnTo>
                    <a:pt x="230670" y="660298"/>
                  </a:lnTo>
                  <a:lnTo>
                    <a:pt x="251993" y="620674"/>
                  </a:lnTo>
                  <a:lnTo>
                    <a:pt x="266661" y="577469"/>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5">
                  <a:moveTo>
                    <a:pt x="548081" y="520852"/>
                  </a:moveTo>
                  <a:lnTo>
                    <a:pt x="542632" y="472694"/>
                  </a:lnTo>
                  <a:lnTo>
                    <a:pt x="529234" y="427431"/>
                  </a:lnTo>
                  <a:lnTo>
                    <a:pt x="508622" y="385813"/>
                  </a:lnTo>
                  <a:lnTo>
                    <a:pt x="481520" y="348551"/>
                  </a:lnTo>
                  <a:lnTo>
                    <a:pt x="448678" y="316407"/>
                  </a:lnTo>
                  <a:lnTo>
                    <a:pt x="410832" y="290093"/>
                  </a:lnTo>
                  <a:lnTo>
                    <a:pt x="368693" y="270357"/>
                  </a:lnTo>
                  <a:lnTo>
                    <a:pt x="323024" y="257937"/>
                  </a:lnTo>
                  <a:lnTo>
                    <a:pt x="274561" y="253555"/>
                  </a:lnTo>
                  <a:lnTo>
                    <a:pt x="273329" y="253555"/>
                  </a:lnTo>
                  <a:lnTo>
                    <a:pt x="224993" y="257911"/>
                  </a:lnTo>
                  <a:lnTo>
                    <a:pt x="179438" y="270281"/>
                  </a:lnTo>
                  <a:lnTo>
                    <a:pt x="137401" y="289928"/>
                  </a:lnTo>
                  <a:lnTo>
                    <a:pt x="99606" y="316128"/>
                  </a:lnTo>
                  <a:lnTo>
                    <a:pt x="66802" y="348132"/>
                  </a:lnTo>
                  <a:lnTo>
                    <a:pt x="39712" y="385241"/>
                  </a:lnTo>
                  <a:lnTo>
                    <a:pt x="19062" y="426694"/>
                  </a:lnTo>
                  <a:lnTo>
                    <a:pt x="5575" y="471779"/>
                  </a:lnTo>
                  <a:lnTo>
                    <a:pt x="0" y="519772"/>
                  </a:lnTo>
                  <a:lnTo>
                    <a:pt x="47713" y="515734"/>
                  </a:lnTo>
                  <a:lnTo>
                    <a:pt x="92240" y="504075"/>
                  </a:lnTo>
                  <a:lnTo>
                    <a:pt x="133464" y="485482"/>
                  </a:lnTo>
                  <a:lnTo>
                    <a:pt x="170738" y="460616"/>
                  </a:lnTo>
                  <a:lnTo>
                    <a:pt x="203352"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35" y="486410"/>
                  </a:lnTo>
                  <a:lnTo>
                    <a:pt x="455549" y="505091"/>
                  </a:lnTo>
                  <a:lnTo>
                    <a:pt x="500164" y="516801"/>
                  </a:lnTo>
                  <a:lnTo>
                    <a:pt x="548081" y="520852"/>
                  </a:lnTo>
                  <a:close/>
                </a:path>
                <a:path w="548640" h="786765">
                  <a:moveTo>
                    <a:pt x="548081" y="267322"/>
                  </a:moveTo>
                  <a:lnTo>
                    <a:pt x="542632" y="219151"/>
                  </a:lnTo>
                  <a:lnTo>
                    <a:pt x="529234" y="173875"/>
                  </a:lnTo>
                  <a:lnTo>
                    <a:pt x="508622" y="132245"/>
                  </a:lnTo>
                  <a:lnTo>
                    <a:pt x="481533" y="94996"/>
                  </a:lnTo>
                  <a:lnTo>
                    <a:pt x="449376" y="63525"/>
                  </a:lnTo>
                  <a:lnTo>
                    <a:pt x="448691" y="62852"/>
                  </a:lnTo>
                  <a:lnTo>
                    <a:pt x="410832" y="36537"/>
                  </a:lnTo>
                  <a:lnTo>
                    <a:pt x="368706" y="16814"/>
                  </a:lnTo>
                  <a:lnTo>
                    <a:pt x="323024" y="4368"/>
                  </a:lnTo>
                  <a:lnTo>
                    <a:pt x="274561" y="0"/>
                  </a:lnTo>
                  <a:lnTo>
                    <a:pt x="273329" y="0"/>
                  </a:lnTo>
                  <a:lnTo>
                    <a:pt x="224993" y="4356"/>
                  </a:lnTo>
                  <a:lnTo>
                    <a:pt x="179438" y="16725"/>
                  </a:lnTo>
                  <a:lnTo>
                    <a:pt x="137401" y="36372"/>
                  </a:lnTo>
                  <a:lnTo>
                    <a:pt x="99606" y="62560"/>
                  </a:lnTo>
                  <a:lnTo>
                    <a:pt x="66802" y="94576"/>
                  </a:lnTo>
                  <a:lnTo>
                    <a:pt x="39687" y="131686"/>
                  </a:lnTo>
                  <a:lnTo>
                    <a:pt x="19037" y="173139"/>
                  </a:lnTo>
                  <a:lnTo>
                    <a:pt x="5562" y="218211"/>
                  </a:lnTo>
                  <a:lnTo>
                    <a:pt x="0" y="266192"/>
                  </a:lnTo>
                  <a:lnTo>
                    <a:pt x="47713" y="262166"/>
                  </a:lnTo>
                  <a:lnTo>
                    <a:pt x="92240" y="250520"/>
                  </a:lnTo>
                  <a:lnTo>
                    <a:pt x="133477" y="231914"/>
                  </a:lnTo>
                  <a:lnTo>
                    <a:pt x="170738" y="207048"/>
                  </a:lnTo>
                  <a:lnTo>
                    <a:pt x="203365" y="176593"/>
                  </a:lnTo>
                  <a:lnTo>
                    <a:pt x="230670" y="141211"/>
                  </a:lnTo>
                  <a:lnTo>
                    <a:pt x="252006" y="101600"/>
                  </a:lnTo>
                  <a:lnTo>
                    <a:pt x="266661" y="58407"/>
                  </a:lnTo>
                  <a:lnTo>
                    <a:pt x="273989" y="12357"/>
                  </a:lnTo>
                  <a:lnTo>
                    <a:pt x="279844" y="50101"/>
                  </a:lnTo>
                  <a:lnTo>
                    <a:pt x="295719" y="101942"/>
                  </a:lnTo>
                  <a:lnTo>
                    <a:pt x="316992" y="141732"/>
                  </a:lnTo>
                  <a:lnTo>
                    <a:pt x="344284" y="177279"/>
                  </a:lnTo>
                  <a:lnTo>
                    <a:pt x="376923" y="207873"/>
                  </a:lnTo>
                  <a:lnTo>
                    <a:pt x="414248" y="232867"/>
                  </a:lnTo>
                  <a:lnTo>
                    <a:pt x="455549" y="251548"/>
                  </a:lnTo>
                  <a:lnTo>
                    <a:pt x="500176" y="263258"/>
                  </a:lnTo>
                  <a:lnTo>
                    <a:pt x="548081" y="267322"/>
                  </a:lnTo>
                  <a:close/>
                </a:path>
              </a:pathLst>
            </a:custGeom>
            <a:solidFill>
              <a:srgbClr val="7ED3F1"/>
            </a:solidFill>
          </p:spPr>
          <p:txBody>
            <a:bodyPr wrap="square" lIns="0" tIns="0" rIns="0" bIns="0" rtlCol="0"/>
            <a:lstStyle/>
            <a:p>
              <a:endParaRPr dirty="0"/>
            </a:p>
          </p:txBody>
        </p:sp>
        <p:pic>
          <p:nvPicPr>
            <p:cNvPr id="367" name="object 365">
              <a:extLst>
                <a:ext uri="{FF2B5EF4-FFF2-40B4-BE49-F238E27FC236}">
                  <a16:creationId xmlns:a16="http://schemas.microsoft.com/office/drawing/2014/main" id="{76B55246-A0EA-BE80-D104-5F22AF3D3FAD}"/>
                </a:ext>
              </a:extLst>
            </p:cNvPr>
            <p:cNvPicPr/>
            <p:nvPr/>
          </p:nvPicPr>
          <p:blipFill>
            <a:blip r:embed="rId9" cstate="print"/>
            <a:stretch>
              <a:fillRect/>
            </a:stretch>
          </p:blipFill>
          <p:spPr>
            <a:xfrm>
              <a:off x="9637261" y="4972731"/>
              <a:ext cx="106445" cy="107156"/>
            </a:xfrm>
            <a:prstGeom prst="rect">
              <a:avLst/>
            </a:prstGeom>
          </p:spPr>
        </p:pic>
        <p:sp>
          <p:nvSpPr>
            <p:cNvPr id="368" name="object 366">
              <a:extLst>
                <a:ext uri="{FF2B5EF4-FFF2-40B4-BE49-F238E27FC236}">
                  <a16:creationId xmlns:a16="http://schemas.microsoft.com/office/drawing/2014/main" id="{3642DDC2-D1FA-6830-0D48-0152CAA25336}"/>
                </a:ext>
              </a:extLst>
            </p:cNvPr>
            <p:cNvSpPr/>
            <p:nvPr/>
          </p:nvSpPr>
          <p:spPr>
            <a:xfrm>
              <a:off x="9523993" y="2554529"/>
              <a:ext cx="332700" cy="477101"/>
            </a:xfrm>
            <a:custGeom>
              <a:avLst/>
              <a:gdLst/>
              <a:ahLst/>
              <a:cxnLst/>
              <a:rect l="l" t="t" r="r" b="b"/>
              <a:pathLst>
                <a:path w="548640" h="786764">
                  <a:moveTo>
                    <a:pt x="548081" y="786396"/>
                  </a:moveTo>
                  <a:lnTo>
                    <a:pt x="542632" y="738238"/>
                  </a:lnTo>
                  <a:lnTo>
                    <a:pt x="529234" y="692975"/>
                  </a:lnTo>
                  <a:lnTo>
                    <a:pt x="508622" y="651344"/>
                  </a:lnTo>
                  <a:lnTo>
                    <a:pt x="481520" y="614095"/>
                  </a:lnTo>
                  <a:lnTo>
                    <a:pt x="448678" y="581939"/>
                  </a:lnTo>
                  <a:lnTo>
                    <a:pt x="410832" y="555625"/>
                  </a:lnTo>
                  <a:lnTo>
                    <a:pt x="368693" y="535901"/>
                  </a:lnTo>
                  <a:lnTo>
                    <a:pt x="323024" y="523468"/>
                  </a:lnTo>
                  <a:lnTo>
                    <a:pt x="274561" y="519099"/>
                  </a:lnTo>
                  <a:lnTo>
                    <a:pt x="273329" y="519099"/>
                  </a:lnTo>
                  <a:lnTo>
                    <a:pt x="224993" y="523455"/>
                  </a:lnTo>
                  <a:lnTo>
                    <a:pt x="179438" y="535813"/>
                  </a:lnTo>
                  <a:lnTo>
                    <a:pt x="137401" y="555459"/>
                  </a:lnTo>
                  <a:lnTo>
                    <a:pt x="99606" y="581660"/>
                  </a:lnTo>
                  <a:lnTo>
                    <a:pt x="66802" y="613676"/>
                  </a:lnTo>
                  <a:lnTo>
                    <a:pt x="39712" y="650773"/>
                  </a:lnTo>
                  <a:lnTo>
                    <a:pt x="19062" y="692238"/>
                  </a:lnTo>
                  <a:lnTo>
                    <a:pt x="5575" y="737323"/>
                  </a:lnTo>
                  <a:lnTo>
                    <a:pt x="0" y="785317"/>
                  </a:lnTo>
                  <a:lnTo>
                    <a:pt x="47713" y="781278"/>
                  </a:lnTo>
                  <a:lnTo>
                    <a:pt x="92240" y="769632"/>
                  </a:lnTo>
                  <a:lnTo>
                    <a:pt x="133464" y="751027"/>
                  </a:lnTo>
                  <a:lnTo>
                    <a:pt x="170738" y="726160"/>
                  </a:lnTo>
                  <a:lnTo>
                    <a:pt x="203352" y="695693"/>
                  </a:lnTo>
                  <a:lnTo>
                    <a:pt x="230670" y="660311"/>
                  </a:lnTo>
                  <a:lnTo>
                    <a:pt x="251993" y="620687"/>
                  </a:lnTo>
                  <a:lnTo>
                    <a:pt x="266661" y="577481"/>
                  </a:lnTo>
                  <a:lnTo>
                    <a:pt x="273989" y="531406"/>
                  </a:lnTo>
                  <a:lnTo>
                    <a:pt x="281165" y="577672"/>
                  </a:lnTo>
                  <a:lnTo>
                    <a:pt x="295719" y="621042"/>
                  </a:lnTo>
                  <a:lnTo>
                    <a:pt x="316992" y="660844"/>
                  </a:lnTo>
                  <a:lnTo>
                    <a:pt x="344284" y="696379"/>
                  </a:lnTo>
                  <a:lnTo>
                    <a:pt x="376923" y="726973"/>
                  </a:lnTo>
                  <a:lnTo>
                    <a:pt x="414235" y="751954"/>
                  </a:lnTo>
                  <a:lnTo>
                    <a:pt x="455549" y="770636"/>
                  </a:lnTo>
                  <a:lnTo>
                    <a:pt x="500164" y="782345"/>
                  </a:lnTo>
                  <a:lnTo>
                    <a:pt x="548081" y="786396"/>
                  </a:lnTo>
                  <a:close/>
                </a:path>
                <a:path w="548640" h="786764">
                  <a:moveTo>
                    <a:pt x="548081" y="520865"/>
                  </a:moveTo>
                  <a:lnTo>
                    <a:pt x="542632" y="472706"/>
                  </a:lnTo>
                  <a:lnTo>
                    <a:pt x="529234" y="427443"/>
                  </a:lnTo>
                  <a:lnTo>
                    <a:pt x="508622" y="385813"/>
                  </a:lnTo>
                  <a:lnTo>
                    <a:pt x="481520" y="348564"/>
                  </a:lnTo>
                  <a:lnTo>
                    <a:pt x="448678" y="316407"/>
                  </a:lnTo>
                  <a:lnTo>
                    <a:pt x="410832" y="290106"/>
                  </a:lnTo>
                  <a:lnTo>
                    <a:pt x="368693" y="270370"/>
                  </a:lnTo>
                  <a:lnTo>
                    <a:pt x="323024" y="257949"/>
                  </a:lnTo>
                  <a:lnTo>
                    <a:pt x="274561" y="253568"/>
                  </a:lnTo>
                  <a:lnTo>
                    <a:pt x="273329" y="253568"/>
                  </a:lnTo>
                  <a:lnTo>
                    <a:pt x="224993" y="257924"/>
                  </a:lnTo>
                  <a:lnTo>
                    <a:pt x="179438" y="270294"/>
                  </a:lnTo>
                  <a:lnTo>
                    <a:pt x="137401" y="289941"/>
                  </a:lnTo>
                  <a:lnTo>
                    <a:pt x="99606" y="316128"/>
                  </a:lnTo>
                  <a:lnTo>
                    <a:pt x="66802" y="348145"/>
                  </a:lnTo>
                  <a:lnTo>
                    <a:pt x="39712" y="385254"/>
                  </a:lnTo>
                  <a:lnTo>
                    <a:pt x="19062" y="426707"/>
                  </a:lnTo>
                  <a:lnTo>
                    <a:pt x="5575" y="471805"/>
                  </a:lnTo>
                  <a:lnTo>
                    <a:pt x="0" y="519785"/>
                  </a:lnTo>
                  <a:lnTo>
                    <a:pt x="47713" y="515759"/>
                  </a:lnTo>
                  <a:lnTo>
                    <a:pt x="92240" y="504101"/>
                  </a:lnTo>
                  <a:lnTo>
                    <a:pt x="133464" y="485495"/>
                  </a:lnTo>
                  <a:lnTo>
                    <a:pt x="170738" y="460629"/>
                  </a:lnTo>
                  <a:lnTo>
                    <a:pt x="203352" y="430161"/>
                  </a:lnTo>
                  <a:lnTo>
                    <a:pt x="230670" y="394779"/>
                  </a:lnTo>
                  <a:lnTo>
                    <a:pt x="251993" y="355155"/>
                  </a:lnTo>
                  <a:lnTo>
                    <a:pt x="266661" y="311962"/>
                  </a:lnTo>
                  <a:lnTo>
                    <a:pt x="273989" y="265874"/>
                  </a:lnTo>
                  <a:lnTo>
                    <a:pt x="281165" y="312140"/>
                  </a:lnTo>
                  <a:lnTo>
                    <a:pt x="295719" y="355511"/>
                  </a:lnTo>
                  <a:lnTo>
                    <a:pt x="316992" y="395312"/>
                  </a:lnTo>
                  <a:lnTo>
                    <a:pt x="344284" y="430847"/>
                  </a:lnTo>
                  <a:lnTo>
                    <a:pt x="376923" y="461441"/>
                  </a:lnTo>
                  <a:lnTo>
                    <a:pt x="414235" y="486422"/>
                  </a:lnTo>
                  <a:lnTo>
                    <a:pt x="455549" y="505104"/>
                  </a:lnTo>
                  <a:lnTo>
                    <a:pt x="500164" y="516813"/>
                  </a:lnTo>
                  <a:lnTo>
                    <a:pt x="548081" y="520865"/>
                  </a:lnTo>
                  <a:close/>
                </a:path>
                <a:path w="548640" h="786764">
                  <a:moveTo>
                    <a:pt x="548081" y="267335"/>
                  </a:moveTo>
                  <a:lnTo>
                    <a:pt x="542632" y="219163"/>
                  </a:lnTo>
                  <a:lnTo>
                    <a:pt x="529234" y="173888"/>
                  </a:lnTo>
                  <a:lnTo>
                    <a:pt x="508622" y="132257"/>
                  </a:lnTo>
                  <a:lnTo>
                    <a:pt x="481533" y="95008"/>
                  </a:lnTo>
                  <a:lnTo>
                    <a:pt x="448691" y="62865"/>
                  </a:lnTo>
                  <a:lnTo>
                    <a:pt x="410832" y="36537"/>
                  </a:lnTo>
                  <a:lnTo>
                    <a:pt x="368693" y="16802"/>
                  </a:lnTo>
                  <a:lnTo>
                    <a:pt x="323024" y="4381"/>
                  </a:lnTo>
                  <a:lnTo>
                    <a:pt x="274561" y="0"/>
                  </a:lnTo>
                  <a:lnTo>
                    <a:pt x="273329" y="0"/>
                  </a:lnTo>
                  <a:lnTo>
                    <a:pt x="224993" y="4356"/>
                  </a:lnTo>
                  <a:lnTo>
                    <a:pt x="179438" y="16725"/>
                  </a:lnTo>
                  <a:lnTo>
                    <a:pt x="137401" y="36372"/>
                  </a:lnTo>
                  <a:lnTo>
                    <a:pt x="99606" y="62572"/>
                  </a:lnTo>
                  <a:lnTo>
                    <a:pt x="66802" y="94576"/>
                  </a:lnTo>
                  <a:lnTo>
                    <a:pt x="59575" y="104470"/>
                  </a:lnTo>
                  <a:lnTo>
                    <a:pt x="39687" y="131699"/>
                  </a:lnTo>
                  <a:lnTo>
                    <a:pt x="19037" y="173151"/>
                  </a:lnTo>
                  <a:lnTo>
                    <a:pt x="5562" y="218224"/>
                  </a:lnTo>
                  <a:lnTo>
                    <a:pt x="0" y="266204"/>
                  </a:lnTo>
                  <a:lnTo>
                    <a:pt x="47713" y="262191"/>
                  </a:lnTo>
                  <a:lnTo>
                    <a:pt x="92240" y="250532"/>
                  </a:lnTo>
                  <a:lnTo>
                    <a:pt x="133464" y="231940"/>
                  </a:lnTo>
                  <a:lnTo>
                    <a:pt x="170738" y="207060"/>
                  </a:lnTo>
                  <a:lnTo>
                    <a:pt x="203365" y="176606"/>
                  </a:lnTo>
                  <a:lnTo>
                    <a:pt x="230670" y="141224"/>
                  </a:lnTo>
                  <a:lnTo>
                    <a:pt x="252006" y="101612"/>
                  </a:lnTo>
                  <a:lnTo>
                    <a:pt x="266661" y="58420"/>
                  </a:lnTo>
                  <a:lnTo>
                    <a:pt x="273989" y="12369"/>
                  </a:lnTo>
                  <a:lnTo>
                    <a:pt x="279844" y="50114"/>
                  </a:lnTo>
                  <a:lnTo>
                    <a:pt x="295719" y="101955"/>
                  </a:lnTo>
                  <a:lnTo>
                    <a:pt x="316992" y="141744"/>
                  </a:lnTo>
                  <a:lnTo>
                    <a:pt x="344284" y="177279"/>
                  </a:lnTo>
                  <a:lnTo>
                    <a:pt x="376923" y="207886"/>
                  </a:lnTo>
                  <a:lnTo>
                    <a:pt x="414248" y="232867"/>
                  </a:lnTo>
                  <a:lnTo>
                    <a:pt x="455549" y="251561"/>
                  </a:lnTo>
                  <a:lnTo>
                    <a:pt x="500176" y="263271"/>
                  </a:lnTo>
                  <a:lnTo>
                    <a:pt x="548081" y="267335"/>
                  </a:lnTo>
                  <a:close/>
                </a:path>
              </a:pathLst>
            </a:custGeom>
            <a:solidFill>
              <a:srgbClr val="2DB7EA"/>
            </a:solidFill>
          </p:spPr>
          <p:txBody>
            <a:bodyPr wrap="square" lIns="0" tIns="0" rIns="0" bIns="0" rtlCol="0"/>
            <a:lstStyle/>
            <a:p>
              <a:endParaRPr dirty="0"/>
            </a:p>
          </p:txBody>
        </p:sp>
        <p:pic>
          <p:nvPicPr>
            <p:cNvPr id="369" name="object 367">
              <a:extLst>
                <a:ext uri="{FF2B5EF4-FFF2-40B4-BE49-F238E27FC236}">
                  <a16:creationId xmlns:a16="http://schemas.microsoft.com/office/drawing/2014/main" id="{C5A7AC9C-FEBC-591F-A4E6-F4B02D6F914F}"/>
                </a:ext>
              </a:extLst>
            </p:cNvPr>
            <p:cNvPicPr/>
            <p:nvPr/>
          </p:nvPicPr>
          <p:blipFill>
            <a:blip r:embed="rId8" cstate="print"/>
            <a:stretch>
              <a:fillRect/>
            </a:stretch>
          </p:blipFill>
          <p:spPr>
            <a:xfrm>
              <a:off x="9637261" y="3010234"/>
              <a:ext cx="106445" cy="107156"/>
            </a:xfrm>
            <a:prstGeom prst="rect">
              <a:avLst/>
            </a:prstGeom>
          </p:spPr>
        </p:pic>
        <p:sp>
          <p:nvSpPr>
            <p:cNvPr id="370" name="object 368">
              <a:extLst>
                <a:ext uri="{FF2B5EF4-FFF2-40B4-BE49-F238E27FC236}">
                  <a16:creationId xmlns:a16="http://schemas.microsoft.com/office/drawing/2014/main" id="{169BB2E8-2142-7EAB-3E33-E1DEBBC19E7D}"/>
                </a:ext>
              </a:extLst>
            </p:cNvPr>
            <p:cNvSpPr/>
            <p:nvPr/>
          </p:nvSpPr>
          <p:spPr>
            <a:xfrm>
              <a:off x="9523993" y="3208700"/>
              <a:ext cx="332700" cy="477101"/>
            </a:xfrm>
            <a:custGeom>
              <a:avLst/>
              <a:gdLst/>
              <a:ahLst/>
              <a:cxnLst/>
              <a:rect l="l" t="t" r="r" b="b"/>
              <a:pathLst>
                <a:path w="548640" h="786764">
                  <a:moveTo>
                    <a:pt x="548081" y="786384"/>
                  </a:moveTo>
                  <a:lnTo>
                    <a:pt x="542632" y="738225"/>
                  </a:lnTo>
                  <a:lnTo>
                    <a:pt x="529234" y="692962"/>
                  </a:lnTo>
                  <a:lnTo>
                    <a:pt x="508622" y="651344"/>
                  </a:lnTo>
                  <a:lnTo>
                    <a:pt x="481520" y="614083"/>
                  </a:lnTo>
                  <a:lnTo>
                    <a:pt x="448678" y="581926"/>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47"/>
                  </a:lnTo>
                  <a:lnTo>
                    <a:pt x="66802" y="613664"/>
                  </a:lnTo>
                  <a:lnTo>
                    <a:pt x="39712" y="650773"/>
                  </a:lnTo>
                  <a:lnTo>
                    <a:pt x="19062" y="692226"/>
                  </a:lnTo>
                  <a:lnTo>
                    <a:pt x="5575" y="737323"/>
                  </a:lnTo>
                  <a:lnTo>
                    <a:pt x="0" y="785317"/>
                  </a:lnTo>
                  <a:lnTo>
                    <a:pt x="47713" y="781278"/>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59"/>
                  </a:lnTo>
                  <a:lnTo>
                    <a:pt x="295719" y="621042"/>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65"/>
                  </a:moveTo>
                  <a:lnTo>
                    <a:pt x="542632" y="472694"/>
                  </a:lnTo>
                  <a:lnTo>
                    <a:pt x="529234" y="427431"/>
                  </a:lnTo>
                  <a:lnTo>
                    <a:pt x="508622" y="385813"/>
                  </a:lnTo>
                  <a:lnTo>
                    <a:pt x="481520" y="348551"/>
                  </a:lnTo>
                  <a:lnTo>
                    <a:pt x="448678" y="316407"/>
                  </a:lnTo>
                  <a:lnTo>
                    <a:pt x="410832" y="290093"/>
                  </a:lnTo>
                  <a:lnTo>
                    <a:pt x="368693" y="270357"/>
                  </a:lnTo>
                  <a:lnTo>
                    <a:pt x="323024" y="257937"/>
                  </a:lnTo>
                  <a:lnTo>
                    <a:pt x="274561" y="253555"/>
                  </a:lnTo>
                  <a:lnTo>
                    <a:pt x="273329" y="253555"/>
                  </a:lnTo>
                  <a:lnTo>
                    <a:pt x="224993" y="257911"/>
                  </a:lnTo>
                  <a:lnTo>
                    <a:pt x="179438" y="270281"/>
                  </a:lnTo>
                  <a:lnTo>
                    <a:pt x="137401" y="289928"/>
                  </a:lnTo>
                  <a:lnTo>
                    <a:pt x="99606" y="316115"/>
                  </a:lnTo>
                  <a:lnTo>
                    <a:pt x="66802" y="348132"/>
                  </a:lnTo>
                  <a:lnTo>
                    <a:pt x="39712" y="385241"/>
                  </a:lnTo>
                  <a:lnTo>
                    <a:pt x="19062" y="426694"/>
                  </a:lnTo>
                  <a:lnTo>
                    <a:pt x="5575" y="471792"/>
                  </a:lnTo>
                  <a:lnTo>
                    <a:pt x="0" y="519785"/>
                  </a:lnTo>
                  <a:lnTo>
                    <a:pt x="47713" y="515747"/>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29"/>
                  </a:lnTo>
                  <a:lnTo>
                    <a:pt x="414235" y="486410"/>
                  </a:lnTo>
                  <a:lnTo>
                    <a:pt x="455549" y="505091"/>
                  </a:lnTo>
                  <a:lnTo>
                    <a:pt x="500164" y="516801"/>
                  </a:lnTo>
                  <a:lnTo>
                    <a:pt x="548081" y="520865"/>
                  </a:lnTo>
                  <a:close/>
                </a:path>
                <a:path w="548640" h="786764">
                  <a:moveTo>
                    <a:pt x="548081" y="267322"/>
                  </a:moveTo>
                  <a:lnTo>
                    <a:pt x="542632" y="219151"/>
                  </a:lnTo>
                  <a:lnTo>
                    <a:pt x="529234" y="173888"/>
                  </a:lnTo>
                  <a:lnTo>
                    <a:pt x="508622" y="132257"/>
                  </a:lnTo>
                  <a:lnTo>
                    <a:pt x="497205" y="116573"/>
                  </a:lnTo>
                  <a:lnTo>
                    <a:pt x="481533" y="94996"/>
                  </a:lnTo>
                  <a:lnTo>
                    <a:pt x="449376" y="63525"/>
                  </a:lnTo>
                  <a:lnTo>
                    <a:pt x="448691" y="62852"/>
                  </a:lnTo>
                  <a:lnTo>
                    <a:pt x="410832" y="36525"/>
                  </a:lnTo>
                  <a:lnTo>
                    <a:pt x="368706" y="16814"/>
                  </a:lnTo>
                  <a:lnTo>
                    <a:pt x="323024" y="4368"/>
                  </a:lnTo>
                  <a:lnTo>
                    <a:pt x="274561" y="0"/>
                  </a:lnTo>
                  <a:lnTo>
                    <a:pt x="273329" y="0"/>
                  </a:lnTo>
                  <a:lnTo>
                    <a:pt x="224993" y="4356"/>
                  </a:lnTo>
                  <a:lnTo>
                    <a:pt x="179438" y="16725"/>
                  </a:lnTo>
                  <a:lnTo>
                    <a:pt x="137401" y="36360"/>
                  </a:lnTo>
                  <a:lnTo>
                    <a:pt x="99606" y="62560"/>
                  </a:lnTo>
                  <a:lnTo>
                    <a:pt x="66802" y="94576"/>
                  </a:lnTo>
                  <a:lnTo>
                    <a:pt x="39687" y="131686"/>
                  </a:lnTo>
                  <a:lnTo>
                    <a:pt x="19037" y="173139"/>
                  </a:lnTo>
                  <a:lnTo>
                    <a:pt x="5562" y="218224"/>
                  </a:lnTo>
                  <a:lnTo>
                    <a:pt x="0" y="266192"/>
                  </a:lnTo>
                  <a:lnTo>
                    <a:pt x="47713" y="262178"/>
                  </a:lnTo>
                  <a:lnTo>
                    <a:pt x="92240" y="250532"/>
                  </a:lnTo>
                  <a:lnTo>
                    <a:pt x="133464" y="231927"/>
                  </a:lnTo>
                  <a:lnTo>
                    <a:pt x="170738" y="207060"/>
                  </a:lnTo>
                  <a:lnTo>
                    <a:pt x="187604" y="191312"/>
                  </a:lnTo>
                  <a:lnTo>
                    <a:pt x="203365" y="176593"/>
                  </a:lnTo>
                  <a:lnTo>
                    <a:pt x="230670" y="141224"/>
                  </a:lnTo>
                  <a:lnTo>
                    <a:pt x="252006" y="101600"/>
                  </a:lnTo>
                  <a:lnTo>
                    <a:pt x="266661" y="58407"/>
                  </a:lnTo>
                  <a:lnTo>
                    <a:pt x="273989" y="12369"/>
                  </a:lnTo>
                  <a:lnTo>
                    <a:pt x="279844" y="50101"/>
                  </a:lnTo>
                  <a:lnTo>
                    <a:pt x="295719" y="101942"/>
                  </a:lnTo>
                  <a:lnTo>
                    <a:pt x="316992" y="141744"/>
                  </a:lnTo>
                  <a:lnTo>
                    <a:pt x="344284" y="177279"/>
                  </a:lnTo>
                  <a:lnTo>
                    <a:pt x="376923" y="207873"/>
                  </a:lnTo>
                  <a:lnTo>
                    <a:pt x="414248" y="232867"/>
                  </a:lnTo>
                  <a:lnTo>
                    <a:pt x="455549" y="251548"/>
                  </a:lnTo>
                  <a:lnTo>
                    <a:pt x="500176" y="263271"/>
                  </a:lnTo>
                  <a:lnTo>
                    <a:pt x="548081" y="267322"/>
                  </a:lnTo>
                  <a:close/>
                </a:path>
              </a:pathLst>
            </a:custGeom>
            <a:solidFill>
              <a:srgbClr val="7ED3F1"/>
            </a:solidFill>
          </p:spPr>
          <p:txBody>
            <a:bodyPr wrap="square" lIns="0" tIns="0" rIns="0" bIns="0" rtlCol="0"/>
            <a:lstStyle/>
            <a:p>
              <a:endParaRPr dirty="0"/>
            </a:p>
          </p:txBody>
        </p:sp>
        <p:pic>
          <p:nvPicPr>
            <p:cNvPr id="371" name="object 369">
              <a:extLst>
                <a:ext uri="{FF2B5EF4-FFF2-40B4-BE49-F238E27FC236}">
                  <a16:creationId xmlns:a16="http://schemas.microsoft.com/office/drawing/2014/main" id="{E33E9F0C-33D6-CE2A-CE50-7F0DD961D4FB}"/>
                </a:ext>
              </a:extLst>
            </p:cNvPr>
            <p:cNvPicPr/>
            <p:nvPr/>
          </p:nvPicPr>
          <p:blipFill>
            <a:blip r:embed="rId9" cstate="print"/>
            <a:stretch>
              <a:fillRect/>
            </a:stretch>
          </p:blipFill>
          <p:spPr>
            <a:xfrm>
              <a:off x="9637261" y="3664400"/>
              <a:ext cx="106445" cy="107156"/>
            </a:xfrm>
            <a:prstGeom prst="rect">
              <a:avLst/>
            </a:prstGeom>
          </p:spPr>
        </p:pic>
        <p:sp>
          <p:nvSpPr>
            <p:cNvPr id="372" name="object 370">
              <a:extLst>
                <a:ext uri="{FF2B5EF4-FFF2-40B4-BE49-F238E27FC236}">
                  <a16:creationId xmlns:a16="http://schemas.microsoft.com/office/drawing/2014/main" id="{1920ACBC-21F3-F0B1-2767-37E8AFA302B0}"/>
                </a:ext>
              </a:extLst>
            </p:cNvPr>
            <p:cNvSpPr/>
            <p:nvPr/>
          </p:nvSpPr>
          <p:spPr>
            <a:xfrm>
              <a:off x="9523993" y="1246203"/>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78" y="581926"/>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47"/>
                  </a:lnTo>
                  <a:lnTo>
                    <a:pt x="66802" y="613664"/>
                  </a:lnTo>
                  <a:lnTo>
                    <a:pt x="39712" y="650760"/>
                  </a:lnTo>
                  <a:lnTo>
                    <a:pt x="19062" y="692226"/>
                  </a:lnTo>
                  <a:lnTo>
                    <a:pt x="5575" y="737323"/>
                  </a:lnTo>
                  <a:lnTo>
                    <a:pt x="0" y="785304"/>
                  </a:lnTo>
                  <a:lnTo>
                    <a:pt x="47713" y="781278"/>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52"/>
                  </a:moveTo>
                  <a:lnTo>
                    <a:pt x="542632" y="472694"/>
                  </a:lnTo>
                  <a:lnTo>
                    <a:pt x="529234" y="427431"/>
                  </a:lnTo>
                  <a:lnTo>
                    <a:pt x="508622" y="385813"/>
                  </a:lnTo>
                  <a:lnTo>
                    <a:pt x="481520" y="348551"/>
                  </a:lnTo>
                  <a:lnTo>
                    <a:pt x="448678" y="316395"/>
                  </a:lnTo>
                  <a:lnTo>
                    <a:pt x="410832" y="290093"/>
                  </a:lnTo>
                  <a:lnTo>
                    <a:pt x="368693" y="270357"/>
                  </a:lnTo>
                  <a:lnTo>
                    <a:pt x="323024" y="257937"/>
                  </a:lnTo>
                  <a:lnTo>
                    <a:pt x="274561" y="253555"/>
                  </a:lnTo>
                  <a:lnTo>
                    <a:pt x="273329" y="253555"/>
                  </a:lnTo>
                  <a:lnTo>
                    <a:pt x="224993" y="257911"/>
                  </a:lnTo>
                  <a:lnTo>
                    <a:pt x="179438" y="270281"/>
                  </a:lnTo>
                  <a:lnTo>
                    <a:pt x="137401" y="289928"/>
                  </a:lnTo>
                  <a:lnTo>
                    <a:pt x="99606" y="316115"/>
                  </a:lnTo>
                  <a:lnTo>
                    <a:pt x="66802" y="348132"/>
                  </a:lnTo>
                  <a:lnTo>
                    <a:pt x="39712" y="385241"/>
                  </a:lnTo>
                  <a:lnTo>
                    <a:pt x="19062" y="426694"/>
                  </a:lnTo>
                  <a:lnTo>
                    <a:pt x="5575" y="471792"/>
                  </a:lnTo>
                  <a:lnTo>
                    <a:pt x="0" y="519785"/>
                  </a:lnTo>
                  <a:lnTo>
                    <a:pt x="47713" y="515747"/>
                  </a:lnTo>
                  <a:lnTo>
                    <a:pt x="92240" y="504088"/>
                  </a:lnTo>
                  <a:lnTo>
                    <a:pt x="133464" y="485482"/>
                  </a:lnTo>
                  <a:lnTo>
                    <a:pt x="170738" y="460616"/>
                  </a:lnTo>
                  <a:lnTo>
                    <a:pt x="203352" y="430149"/>
                  </a:lnTo>
                  <a:lnTo>
                    <a:pt x="230670" y="394766"/>
                  </a:lnTo>
                  <a:lnTo>
                    <a:pt x="251993" y="355142"/>
                  </a:lnTo>
                  <a:lnTo>
                    <a:pt x="266661" y="311950"/>
                  </a:lnTo>
                  <a:lnTo>
                    <a:pt x="273989" y="265861"/>
                  </a:lnTo>
                  <a:lnTo>
                    <a:pt x="281165" y="312127"/>
                  </a:lnTo>
                  <a:lnTo>
                    <a:pt x="295719" y="355511"/>
                  </a:lnTo>
                  <a:lnTo>
                    <a:pt x="316992" y="395300"/>
                  </a:lnTo>
                  <a:lnTo>
                    <a:pt x="344284" y="430834"/>
                  </a:lnTo>
                  <a:lnTo>
                    <a:pt x="376923" y="461429"/>
                  </a:lnTo>
                  <a:lnTo>
                    <a:pt x="414235" y="486410"/>
                  </a:lnTo>
                  <a:lnTo>
                    <a:pt x="455549" y="505091"/>
                  </a:lnTo>
                  <a:lnTo>
                    <a:pt x="500164" y="516801"/>
                  </a:lnTo>
                  <a:lnTo>
                    <a:pt x="548081" y="520852"/>
                  </a:lnTo>
                  <a:close/>
                </a:path>
                <a:path w="548640" h="786764">
                  <a:moveTo>
                    <a:pt x="548081" y="267322"/>
                  </a:moveTo>
                  <a:lnTo>
                    <a:pt x="542632" y="219151"/>
                  </a:lnTo>
                  <a:lnTo>
                    <a:pt x="529234" y="173875"/>
                  </a:lnTo>
                  <a:lnTo>
                    <a:pt x="508622" y="132257"/>
                  </a:lnTo>
                  <a:lnTo>
                    <a:pt x="497205" y="116573"/>
                  </a:lnTo>
                  <a:lnTo>
                    <a:pt x="481533" y="94996"/>
                  </a:lnTo>
                  <a:lnTo>
                    <a:pt x="449376" y="63525"/>
                  </a:lnTo>
                  <a:lnTo>
                    <a:pt x="448691" y="62852"/>
                  </a:lnTo>
                  <a:lnTo>
                    <a:pt x="410832" y="36525"/>
                  </a:lnTo>
                  <a:lnTo>
                    <a:pt x="368693" y="16789"/>
                  </a:lnTo>
                  <a:lnTo>
                    <a:pt x="323024" y="4368"/>
                  </a:lnTo>
                  <a:lnTo>
                    <a:pt x="274561" y="0"/>
                  </a:lnTo>
                  <a:lnTo>
                    <a:pt x="273329" y="0"/>
                  </a:lnTo>
                  <a:lnTo>
                    <a:pt x="224993" y="4356"/>
                  </a:lnTo>
                  <a:lnTo>
                    <a:pt x="179438" y="16713"/>
                  </a:lnTo>
                  <a:lnTo>
                    <a:pt x="137401" y="36360"/>
                  </a:lnTo>
                  <a:lnTo>
                    <a:pt x="99606" y="62560"/>
                  </a:lnTo>
                  <a:lnTo>
                    <a:pt x="66802" y="94576"/>
                  </a:lnTo>
                  <a:lnTo>
                    <a:pt x="39687" y="131686"/>
                  </a:lnTo>
                  <a:lnTo>
                    <a:pt x="19037" y="173139"/>
                  </a:lnTo>
                  <a:lnTo>
                    <a:pt x="5562" y="218211"/>
                  </a:lnTo>
                  <a:lnTo>
                    <a:pt x="0" y="266192"/>
                  </a:lnTo>
                  <a:lnTo>
                    <a:pt x="47713" y="262178"/>
                  </a:lnTo>
                  <a:lnTo>
                    <a:pt x="92240" y="250532"/>
                  </a:lnTo>
                  <a:lnTo>
                    <a:pt x="133464" y="231927"/>
                  </a:lnTo>
                  <a:lnTo>
                    <a:pt x="170738" y="207060"/>
                  </a:lnTo>
                  <a:lnTo>
                    <a:pt x="187604" y="191312"/>
                  </a:lnTo>
                  <a:lnTo>
                    <a:pt x="203365" y="176593"/>
                  </a:lnTo>
                  <a:lnTo>
                    <a:pt x="230670" y="141224"/>
                  </a:lnTo>
                  <a:lnTo>
                    <a:pt x="252006" y="101600"/>
                  </a:lnTo>
                  <a:lnTo>
                    <a:pt x="266661" y="58407"/>
                  </a:lnTo>
                  <a:lnTo>
                    <a:pt x="273989" y="12357"/>
                  </a:lnTo>
                  <a:lnTo>
                    <a:pt x="279844" y="50101"/>
                  </a:lnTo>
                  <a:lnTo>
                    <a:pt x="295719" y="101942"/>
                  </a:lnTo>
                  <a:lnTo>
                    <a:pt x="316992" y="141744"/>
                  </a:lnTo>
                  <a:lnTo>
                    <a:pt x="344284" y="177279"/>
                  </a:lnTo>
                  <a:lnTo>
                    <a:pt x="376923" y="207873"/>
                  </a:lnTo>
                  <a:lnTo>
                    <a:pt x="414248" y="232867"/>
                  </a:lnTo>
                  <a:lnTo>
                    <a:pt x="455549" y="251548"/>
                  </a:lnTo>
                  <a:lnTo>
                    <a:pt x="500176" y="263271"/>
                  </a:lnTo>
                  <a:lnTo>
                    <a:pt x="548081" y="267322"/>
                  </a:lnTo>
                  <a:close/>
                </a:path>
              </a:pathLst>
            </a:custGeom>
            <a:solidFill>
              <a:srgbClr val="2DB7EA"/>
            </a:solidFill>
          </p:spPr>
          <p:txBody>
            <a:bodyPr wrap="square" lIns="0" tIns="0" rIns="0" bIns="0" rtlCol="0"/>
            <a:lstStyle/>
            <a:p>
              <a:endParaRPr dirty="0"/>
            </a:p>
          </p:txBody>
        </p:sp>
        <p:pic>
          <p:nvPicPr>
            <p:cNvPr id="373" name="object 371">
              <a:extLst>
                <a:ext uri="{FF2B5EF4-FFF2-40B4-BE49-F238E27FC236}">
                  <a16:creationId xmlns:a16="http://schemas.microsoft.com/office/drawing/2014/main" id="{9182BA11-5F62-ECCD-05B2-B24B70862324}"/>
                </a:ext>
              </a:extLst>
            </p:cNvPr>
            <p:cNvPicPr/>
            <p:nvPr/>
          </p:nvPicPr>
          <p:blipFill>
            <a:blip r:embed="rId8" cstate="print"/>
            <a:stretch>
              <a:fillRect/>
            </a:stretch>
          </p:blipFill>
          <p:spPr>
            <a:xfrm>
              <a:off x="9637261" y="1701903"/>
              <a:ext cx="106445" cy="107156"/>
            </a:xfrm>
            <a:prstGeom prst="rect">
              <a:avLst/>
            </a:prstGeom>
          </p:spPr>
        </p:pic>
        <p:sp>
          <p:nvSpPr>
            <p:cNvPr id="374" name="object 372">
              <a:extLst>
                <a:ext uri="{FF2B5EF4-FFF2-40B4-BE49-F238E27FC236}">
                  <a16:creationId xmlns:a16="http://schemas.microsoft.com/office/drawing/2014/main" id="{C0E5CDA9-2AAE-E6D3-C77B-A9D5E1E6C8E2}"/>
                </a:ext>
              </a:extLst>
            </p:cNvPr>
            <p:cNvSpPr/>
            <p:nvPr/>
          </p:nvSpPr>
          <p:spPr>
            <a:xfrm>
              <a:off x="9523993" y="1900365"/>
              <a:ext cx="332700" cy="477101"/>
            </a:xfrm>
            <a:custGeom>
              <a:avLst/>
              <a:gdLst/>
              <a:ahLst/>
              <a:cxnLst/>
              <a:rect l="l" t="t" r="r" b="b"/>
              <a:pathLst>
                <a:path w="548640" h="786764">
                  <a:moveTo>
                    <a:pt x="548081" y="786396"/>
                  </a:moveTo>
                  <a:lnTo>
                    <a:pt x="542632" y="738225"/>
                  </a:lnTo>
                  <a:lnTo>
                    <a:pt x="529234" y="692962"/>
                  </a:lnTo>
                  <a:lnTo>
                    <a:pt x="508622" y="651344"/>
                  </a:lnTo>
                  <a:lnTo>
                    <a:pt x="481520" y="614083"/>
                  </a:lnTo>
                  <a:lnTo>
                    <a:pt x="448678" y="581939"/>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60"/>
                  </a:lnTo>
                  <a:lnTo>
                    <a:pt x="66802" y="613664"/>
                  </a:lnTo>
                  <a:lnTo>
                    <a:pt x="39712" y="650773"/>
                  </a:lnTo>
                  <a:lnTo>
                    <a:pt x="19062" y="692238"/>
                  </a:lnTo>
                  <a:lnTo>
                    <a:pt x="5575" y="737323"/>
                  </a:lnTo>
                  <a:lnTo>
                    <a:pt x="0" y="785317"/>
                  </a:lnTo>
                  <a:lnTo>
                    <a:pt x="47713" y="781278"/>
                  </a:lnTo>
                  <a:lnTo>
                    <a:pt x="92240" y="769620"/>
                  </a:lnTo>
                  <a:lnTo>
                    <a:pt x="133464" y="751027"/>
                  </a:lnTo>
                  <a:lnTo>
                    <a:pt x="170738" y="726147"/>
                  </a:lnTo>
                  <a:lnTo>
                    <a:pt x="203352" y="695680"/>
                  </a:lnTo>
                  <a:lnTo>
                    <a:pt x="230670" y="660298"/>
                  </a:lnTo>
                  <a:lnTo>
                    <a:pt x="251993" y="620674"/>
                  </a:lnTo>
                  <a:lnTo>
                    <a:pt x="266661" y="577481"/>
                  </a:lnTo>
                  <a:lnTo>
                    <a:pt x="273989" y="531393"/>
                  </a:lnTo>
                  <a:lnTo>
                    <a:pt x="281165" y="577672"/>
                  </a:lnTo>
                  <a:lnTo>
                    <a:pt x="295719" y="621042"/>
                  </a:lnTo>
                  <a:lnTo>
                    <a:pt x="316992" y="660831"/>
                  </a:lnTo>
                  <a:lnTo>
                    <a:pt x="344284" y="696366"/>
                  </a:lnTo>
                  <a:lnTo>
                    <a:pt x="376923" y="726960"/>
                  </a:lnTo>
                  <a:lnTo>
                    <a:pt x="414235" y="751941"/>
                  </a:lnTo>
                  <a:lnTo>
                    <a:pt x="455549" y="770636"/>
                  </a:lnTo>
                  <a:lnTo>
                    <a:pt x="500164" y="782332"/>
                  </a:lnTo>
                  <a:lnTo>
                    <a:pt x="548081" y="786396"/>
                  </a:lnTo>
                  <a:close/>
                </a:path>
                <a:path w="548640" h="786764">
                  <a:moveTo>
                    <a:pt x="548081" y="520865"/>
                  </a:moveTo>
                  <a:lnTo>
                    <a:pt x="542632" y="472706"/>
                  </a:lnTo>
                  <a:lnTo>
                    <a:pt x="529234" y="427443"/>
                  </a:lnTo>
                  <a:lnTo>
                    <a:pt x="508622" y="385813"/>
                  </a:lnTo>
                  <a:lnTo>
                    <a:pt x="481520" y="348551"/>
                  </a:lnTo>
                  <a:lnTo>
                    <a:pt x="448678" y="316407"/>
                  </a:lnTo>
                  <a:lnTo>
                    <a:pt x="410832" y="290093"/>
                  </a:lnTo>
                  <a:lnTo>
                    <a:pt x="368693" y="270357"/>
                  </a:lnTo>
                  <a:lnTo>
                    <a:pt x="323024" y="257937"/>
                  </a:lnTo>
                  <a:lnTo>
                    <a:pt x="274561" y="253555"/>
                  </a:lnTo>
                  <a:lnTo>
                    <a:pt x="273329" y="253555"/>
                  </a:lnTo>
                  <a:lnTo>
                    <a:pt x="224993" y="257924"/>
                  </a:lnTo>
                  <a:lnTo>
                    <a:pt x="179438" y="270281"/>
                  </a:lnTo>
                  <a:lnTo>
                    <a:pt x="137401" y="289928"/>
                  </a:lnTo>
                  <a:lnTo>
                    <a:pt x="99606" y="316128"/>
                  </a:lnTo>
                  <a:lnTo>
                    <a:pt x="66802" y="348132"/>
                  </a:lnTo>
                  <a:lnTo>
                    <a:pt x="39712" y="385241"/>
                  </a:lnTo>
                  <a:lnTo>
                    <a:pt x="19062" y="426707"/>
                  </a:lnTo>
                  <a:lnTo>
                    <a:pt x="5575" y="471792"/>
                  </a:lnTo>
                  <a:lnTo>
                    <a:pt x="0" y="519785"/>
                  </a:lnTo>
                  <a:lnTo>
                    <a:pt x="47713" y="515747"/>
                  </a:lnTo>
                  <a:lnTo>
                    <a:pt x="92240" y="504088"/>
                  </a:lnTo>
                  <a:lnTo>
                    <a:pt x="133464" y="485495"/>
                  </a:lnTo>
                  <a:lnTo>
                    <a:pt x="170738" y="460616"/>
                  </a:lnTo>
                  <a:lnTo>
                    <a:pt x="203352" y="430161"/>
                  </a:lnTo>
                  <a:lnTo>
                    <a:pt x="230670" y="394766"/>
                  </a:lnTo>
                  <a:lnTo>
                    <a:pt x="251993" y="355142"/>
                  </a:lnTo>
                  <a:lnTo>
                    <a:pt x="266661" y="311950"/>
                  </a:lnTo>
                  <a:lnTo>
                    <a:pt x="273989" y="265861"/>
                  </a:lnTo>
                  <a:lnTo>
                    <a:pt x="281165" y="312140"/>
                  </a:lnTo>
                  <a:lnTo>
                    <a:pt x="295719" y="355511"/>
                  </a:lnTo>
                  <a:lnTo>
                    <a:pt x="316992" y="395300"/>
                  </a:lnTo>
                  <a:lnTo>
                    <a:pt x="344284" y="430834"/>
                  </a:lnTo>
                  <a:lnTo>
                    <a:pt x="376923" y="461441"/>
                  </a:lnTo>
                  <a:lnTo>
                    <a:pt x="414235" y="486410"/>
                  </a:lnTo>
                  <a:lnTo>
                    <a:pt x="455549" y="505104"/>
                  </a:lnTo>
                  <a:lnTo>
                    <a:pt x="500164" y="516813"/>
                  </a:lnTo>
                  <a:lnTo>
                    <a:pt x="548081" y="520865"/>
                  </a:lnTo>
                  <a:close/>
                </a:path>
                <a:path w="548640" h="786764">
                  <a:moveTo>
                    <a:pt x="548081" y="267322"/>
                  </a:moveTo>
                  <a:lnTo>
                    <a:pt x="542632" y="219151"/>
                  </a:lnTo>
                  <a:lnTo>
                    <a:pt x="529234" y="173888"/>
                  </a:lnTo>
                  <a:lnTo>
                    <a:pt x="508622" y="132257"/>
                  </a:lnTo>
                  <a:lnTo>
                    <a:pt x="488911" y="105156"/>
                  </a:lnTo>
                  <a:lnTo>
                    <a:pt x="481533" y="95008"/>
                  </a:lnTo>
                  <a:lnTo>
                    <a:pt x="448691" y="62852"/>
                  </a:lnTo>
                  <a:lnTo>
                    <a:pt x="410832" y="36550"/>
                  </a:lnTo>
                  <a:lnTo>
                    <a:pt x="368706" y="16814"/>
                  </a:lnTo>
                  <a:lnTo>
                    <a:pt x="323024" y="4381"/>
                  </a:lnTo>
                  <a:lnTo>
                    <a:pt x="274561" y="0"/>
                  </a:lnTo>
                  <a:lnTo>
                    <a:pt x="273329" y="0"/>
                  </a:lnTo>
                  <a:lnTo>
                    <a:pt x="224993" y="4356"/>
                  </a:lnTo>
                  <a:lnTo>
                    <a:pt x="179438" y="16725"/>
                  </a:lnTo>
                  <a:lnTo>
                    <a:pt x="137401" y="36372"/>
                  </a:lnTo>
                  <a:lnTo>
                    <a:pt x="99606" y="62560"/>
                  </a:lnTo>
                  <a:lnTo>
                    <a:pt x="66802" y="94576"/>
                  </a:lnTo>
                  <a:lnTo>
                    <a:pt x="39687" y="131686"/>
                  </a:lnTo>
                  <a:lnTo>
                    <a:pt x="19037" y="173139"/>
                  </a:lnTo>
                  <a:lnTo>
                    <a:pt x="5562" y="218224"/>
                  </a:lnTo>
                  <a:lnTo>
                    <a:pt x="0" y="266192"/>
                  </a:lnTo>
                  <a:lnTo>
                    <a:pt x="47713" y="262191"/>
                  </a:lnTo>
                  <a:lnTo>
                    <a:pt x="92240" y="250532"/>
                  </a:lnTo>
                  <a:lnTo>
                    <a:pt x="133464" y="231927"/>
                  </a:lnTo>
                  <a:lnTo>
                    <a:pt x="170738" y="207060"/>
                  </a:lnTo>
                  <a:lnTo>
                    <a:pt x="203365" y="176593"/>
                  </a:lnTo>
                  <a:lnTo>
                    <a:pt x="230670" y="141224"/>
                  </a:lnTo>
                  <a:lnTo>
                    <a:pt x="252006" y="101600"/>
                  </a:lnTo>
                  <a:lnTo>
                    <a:pt x="266661" y="58420"/>
                  </a:lnTo>
                  <a:lnTo>
                    <a:pt x="273989" y="12369"/>
                  </a:lnTo>
                  <a:lnTo>
                    <a:pt x="279844" y="50101"/>
                  </a:lnTo>
                  <a:lnTo>
                    <a:pt x="295719" y="101955"/>
                  </a:lnTo>
                  <a:lnTo>
                    <a:pt x="316992" y="141744"/>
                  </a:lnTo>
                  <a:lnTo>
                    <a:pt x="344284" y="177279"/>
                  </a:lnTo>
                  <a:lnTo>
                    <a:pt x="376923" y="207886"/>
                  </a:lnTo>
                  <a:lnTo>
                    <a:pt x="414248" y="232867"/>
                  </a:lnTo>
                  <a:lnTo>
                    <a:pt x="455549" y="251561"/>
                  </a:lnTo>
                  <a:lnTo>
                    <a:pt x="500176" y="263271"/>
                  </a:lnTo>
                  <a:lnTo>
                    <a:pt x="548081" y="267322"/>
                  </a:lnTo>
                  <a:close/>
                </a:path>
              </a:pathLst>
            </a:custGeom>
            <a:solidFill>
              <a:srgbClr val="7ED3F1"/>
            </a:solidFill>
          </p:spPr>
          <p:txBody>
            <a:bodyPr wrap="square" lIns="0" tIns="0" rIns="0" bIns="0" rtlCol="0"/>
            <a:lstStyle/>
            <a:p>
              <a:endParaRPr dirty="0"/>
            </a:p>
          </p:txBody>
        </p:sp>
        <p:pic>
          <p:nvPicPr>
            <p:cNvPr id="375" name="object 373">
              <a:extLst>
                <a:ext uri="{FF2B5EF4-FFF2-40B4-BE49-F238E27FC236}">
                  <a16:creationId xmlns:a16="http://schemas.microsoft.com/office/drawing/2014/main" id="{3F29564B-A670-3437-DA65-7A8BDE9ADCB8}"/>
                </a:ext>
              </a:extLst>
            </p:cNvPr>
            <p:cNvPicPr/>
            <p:nvPr/>
          </p:nvPicPr>
          <p:blipFill>
            <a:blip r:embed="rId9" cstate="print"/>
            <a:stretch>
              <a:fillRect/>
            </a:stretch>
          </p:blipFill>
          <p:spPr>
            <a:xfrm>
              <a:off x="9637261" y="2356067"/>
              <a:ext cx="106445" cy="107156"/>
            </a:xfrm>
            <a:prstGeom prst="rect">
              <a:avLst/>
            </a:prstGeom>
          </p:spPr>
        </p:pic>
        <p:sp>
          <p:nvSpPr>
            <p:cNvPr id="376" name="object 374">
              <a:extLst>
                <a:ext uri="{FF2B5EF4-FFF2-40B4-BE49-F238E27FC236}">
                  <a16:creationId xmlns:a16="http://schemas.microsoft.com/office/drawing/2014/main" id="{39B2CF98-CDD0-3D9B-66F3-96A8B2417165}"/>
                </a:ext>
              </a:extLst>
            </p:cNvPr>
            <p:cNvSpPr/>
            <p:nvPr/>
          </p:nvSpPr>
          <p:spPr>
            <a:xfrm>
              <a:off x="9523995" y="123"/>
              <a:ext cx="332700" cy="100118"/>
            </a:xfrm>
            <a:custGeom>
              <a:avLst/>
              <a:gdLst/>
              <a:ahLst/>
              <a:cxnLst/>
              <a:rect l="l" t="t" r="r" b="b"/>
              <a:pathLst>
                <a:path w="548640" h="165100">
                  <a:moveTo>
                    <a:pt x="251430" y="0"/>
                  </a:moveTo>
                  <a:lnTo>
                    <a:pt x="60894" y="0"/>
                  </a:lnTo>
                  <a:lnTo>
                    <a:pt x="39695" y="29019"/>
                  </a:lnTo>
                  <a:lnTo>
                    <a:pt x="19042" y="70472"/>
                  </a:lnTo>
                  <a:lnTo>
                    <a:pt x="5566" y="115551"/>
                  </a:lnTo>
                  <a:lnTo>
                    <a:pt x="0" y="163525"/>
                  </a:lnTo>
                  <a:lnTo>
                    <a:pt x="565" y="163525"/>
                  </a:lnTo>
                  <a:lnTo>
                    <a:pt x="47714" y="159492"/>
                  </a:lnTo>
                  <a:lnTo>
                    <a:pt x="92243" y="147841"/>
                  </a:lnTo>
                  <a:lnTo>
                    <a:pt x="133476" y="129246"/>
                  </a:lnTo>
                  <a:lnTo>
                    <a:pt x="170742" y="104384"/>
                  </a:lnTo>
                  <a:lnTo>
                    <a:pt x="203368" y="73928"/>
                  </a:lnTo>
                  <a:lnTo>
                    <a:pt x="230679" y="38553"/>
                  </a:lnTo>
                  <a:lnTo>
                    <a:pt x="251430" y="0"/>
                  </a:lnTo>
                  <a:close/>
                </a:path>
                <a:path w="548640" h="165100">
                  <a:moveTo>
                    <a:pt x="487110" y="0"/>
                  </a:moveTo>
                  <a:lnTo>
                    <a:pt x="296111" y="0"/>
                  </a:lnTo>
                  <a:lnTo>
                    <a:pt x="316993" y="39074"/>
                  </a:lnTo>
                  <a:lnTo>
                    <a:pt x="344287" y="74611"/>
                  </a:lnTo>
                  <a:lnTo>
                    <a:pt x="376932" y="105212"/>
                  </a:lnTo>
                  <a:lnTo>
                    <a:pt x="414247" y="130198"/>
                  </a:lnTo>
                  <a:lnTo>
                    <a:pt x="455554" y="148888"/>
                  </a:lnTo>
                  <a:lnTo>
                    <a:pt x="500174" y="160601"/>
                  </a:lnTo>
                  <a:lnTo>
                    <a:pt x="547428" y="164656"/>
                  </a:lnTo>
                  <a:lnTo>
                    <a:pt x="548088" y="164656"/>
                  </a:lnTo>
                  <a:lnTo>
                    <a:pt x="542641" y="116483"/>
                  </a:lnTo>
                  <a:lnTo>
                    <a:pt x="529244" y="71216"/>
                  </a:lnTo>
                  <a:lnTo>
                    <a:pt x="508629" y="29587"/>
                  </a:lnTo>
                  <a:lnTo>
                    <a:pt x="487110" y="0"/>
                  </a:lnTo>
                  <a:close/>
                </a:path>
              </a:pathLst>
            </a:custGeom>
            <a:solidFill>
              <a:srgbClr val="2DB7EA"/>
            </a:solidFill>
          </p:spPr>
          <p:txBody>
            <a:bodyPr wrap="square" lIns="0" tIns="0" rIns="0" bIns="0" rtlCol="0"/>
            <a:lstStyle/>
            <a:p>
              <a:endParaRPr dirty="0"/>
            </a:p>
          </p:txBody>
        </p:sp>
        <p:pic>
          <p:nvPicPr>
            <p:cNvPr id="377" name="object 375">
              <a:extLst>
                <a:ext uri="{FF2B5EF4-FFF2-40B4-BE49-F238E27FC236}">
                  <a16:creationId xmlns:a16="http://schemas.microsoft.com/office/drawing/2014/main" id="{C635D5E1-CDFE-D66C-CD1C-6A01907B0FCC}"/>
                </a:ext>
              </a:extLst>
            </p:cNvPr>
            <p:cNvPicPr/>
            <p:nvPr/>
          </p:nvPicPr>
          <p:blipFill>
            <a:blip r:embed="rId25" cstate="print"/>
            <a:stretch>
              <a:fillRect/>
            </a:stretch>
          </p:blipFill>
          <p:spPr>
            <a:xfrm>
              <a:off x="9523996" y="123"/>
              <a:ext cx="152459" cy="99184"/>
            </a:xfrm>
            <a:prstGeom prst="rect">
              <a:avLst/>
            </a:prstGeom>
          </p:spPr>
        </p:pic>
        <p:pic>
          <p:nvPicPr>
            <p:cNvPr id="378" name="object 376">
              <a:extLst>
                <a:ext uri="{FF2B5EF4-FFF2-40B4-BE49-F238E27FC236}">
                  <a16:creationId xmlns:a16="http://schemas.microsoft.com/office/drawing/2014/main" id="{BD78F77A-7E76-7C41-ED01-A296D079E17E}"/>
                </a:ext>
              </a:extLst>
            </p:cNvPr>
            <p:cNvPicPr/>
            <p:nvPr/>
          </p:nvPicPr>
          <p:blipFill>
            <a:blip r:embed="rId21" cstate="print"/>
            <a:stretch>
              <a:fillRect/>
            </a:stretch>
          </p:blipFill>
          <p:spPr>
            <a:xfrm>
              <a:off x="9703556" y="123"/>
              <a:ext cx="152798" cy="99837"/>
            </a:xfrm>
            <a:prstGeom prst="rect">
              <a:avLst/>
            </a:prstGeom>
          </p:spPr>
        </p:pic>
        <p:sp>
          <p:nvSpPr>
            <p:cNvPr id="379" name="object 377">
              <a:extLst>
                <a:ext uri="{FF2B5EF4-FFF2-40B4-BE49-F238E27FC236}">
                  <a16:creationId xmlns:a16="http://schemas.microsoft.com/office/drawing/2014/main" id="{B96C4251-D1D1-21B6-01EA-68D525F1A88F}"/>
                </a:ext>
              </a:extLst>
            </p:cNvPr>
            <p:cNvSpPr/>
            <p:nvPr/>
          </p:nvSpPr>
          <p:spPr>
            <a:xfrm>
              <a:off x="9523993" y="91626"/>
              <a:ext cx="332700" cy="323458"/>
            </a:xfrm>
            <a:custGeom>
              <a:avLst/>
              <a:gdLst/>
              <a:ahLst/>
              <a:cxnLst/>
              <a:rect l="l" t="t" r="r" b="b"/>
              <a:pathLst>
                <a:path w="548640" h="533400">
                  <a:moveTo>
                    <a:pt x="548081" y="532841"/>
                  </a:moveTo>
                  <a:lnTo>
                    <a:pt x="542632" y="484682"/>
                  </a:lnTo>
                  <a:lnTo>
                    <a:pt x="529234" y="439420"/>
                  </a:lnTo>
                  <a:lnTo>
                    <a:pt x="508622" y="397789"/>
                  </a:lnTo>
                  <a:lnTo>
                    <a:pt x="481520" y="360527"/>
                  </a:lnTo>
                  <a:lnTo>
                    <a:pt x="448678" y="328383"/>
                  </a:lnTo>
                  <a:lnTo>
                    <a:pt x="410832" y="302069"/>
                  </a:lnTo>
                  <a:lnTo>
                    <a:pt x="368693" y="282333"/>
                  </a:lnTo>
                  <a:lnTo>
                    <a:pt x="323024" y="269913"/>
                  </a:lnTo>
                  <a:lnTo>
                    <a:pt x="274561" y="265544"/>
                  </a:lnTo>
                  <a:lnTo>
                    <a:pt x="273329" y="265544"/>
                  </a:lnTo>
                  <a:lnTo>
                    <a:pt x="224993" y="269900"/>
                  </a:lnTo>
                  <a:lnTo>
                    <a:pt x="179438" y="282257"/>
                  </a:lnTo>
                  <a:lnTo>
                    <a:pt x="137401" y="301904"/>
                  </a:lnTo>
                  <a:lnTo>
                    <a:pt x="99606" y="328104"/>
                  </a:lnTo>
                  <a:lnTo>
                    <a:pt x="66802" y="360121"/>
                  </a:lnTo>
                  <a:lnTo>
                    <a:pt x="39712" y="397217"/>
                  </a:lnTo>
                  <a:lnTo>
                    <a:pt x="19062" y="438683"/>
                  </a:lnTo>
                  <a:lnTo>
                    <a:pt x="5575" y="483768"/>
                  </a:lnTo>
                  <a:lnTo>
                    <a:pt x="0" y="531761"/>
                  </a:lnTo>
                  <a:lnTo>
                    <a:pt x="47713" y="527723"/>
                  </a:lnTo>
                  <a:lnTo>
                    <a:pt x="92240" y="516064"/>
                  </a:lnTo>
                  <a:lnTo>
                    <a:pt x="133464" y="497471"/>
                  </a:lnTo>
                  <a:lnTo>
                    <a:pt x="170738" y="472592"/>
                  </a:lnTo>
                  <a:lnTo>
                    <a:pt x="203352" y="442137"/>
                  </a:lnTo>
                  <a:lnTo>
                    <a:pt x="230670" y="406755"/>
                  </a:lnTo>
                  <a:lnTo>
                    <a:pt x="251993" y="367118"/>
                  </a:lnTo>
                  <a:lnTo>
                    <a:pt x="266661" y="323926"/>
                  </a:lnTo>
                  <a:lnTo>
                    <a:pt x="273989" y="277837"/>
                  </a:lnTo>
                  <a:lnTo>
                    <a:pt x="281165" y="324116"/>
                  </a:lnTo>
                  <a:lnTo>
                    <a:pt x="295719" y="367487"/>
                  </a:lnTo>
                  <a:lnTo>
                    <a:pt x="316992" y="407276"/>
                  </a:lnTo>
                  <a:lnTo>
                    <a:pt x="344284" y="442810"/>
                  </a:lnTo>
                  <a:lnTo>
                    <a:pt x="376923" y="473417"/>
                  </a:lnTo>
                  <a:lnTo>
                    <a:pt x="414235" y="498398"/>
                  </a:lnTo>
                  <a:lnTo>
                    <a:pt x="455549" y="517080"/>
                  </a:lnTo>
                  <a:lnTo>
                    <a:pt x="500164" y="528789"/>
                  </a:lnTo>
                  <a:lnTo>
                    <a:pt x="548081" y="532841"/>
                  </a:lnTo>
                  <a:close/>
                </a:path>
                <a:path w="548640" h="533400">
                  <a:moveTo>
                    <a:pt x="548081" y="267309"/>
                  </a:moveTo>
                  <a:lnTo>
                    <a:pt x="542632" y="219138"/>
                  </a:lnTo>
                  <a:lnTo>
                    <a:pt x="529234" y="173888"/>
                  </a:lnTo>
                  <a:lnTo>
                    <a:pt x="508622" y="132257"/>
                  </a:lnTo>
                  <a:lnTo>
                    <a:pt x="481520" y="94996"/>
                  </a:lnTo>
                  <a:lnTo>
                    <a:pt x="448678" y="62852"/>
                  </a:lnTo>
                  <a:lnTo>
                    <a:pt x="410832" y="36537"/>
                  </a:lnTo>
                  <a:lnTo>
                    <a:pt x="368693" y="16802"/>
                  </a:lnTo>
                  <a:lnTo>
                    <a:pt x="323024" y="4381"/>
                  </a:lnTo>
                  <a:lnTo>
                    <a:pt x="274561" y="0"/>
                  </a:lnTo>
                  <a:lnTo>
                    <a:pt x="273329" y="0"/>
                  </a:lnTo>
                  <a:lnTo>
                    <a:pt x="224993" y="4356"/>
                  </a:lnTo>
                  <a:lnTo>
                    <a:pt x="179438" y="16725"/>
                  </a:lnTo>
                  <a:lnTo>
                    <a:pt x="137401" y="36372"/>
                  </a:lnTo>
                  <a:lnTo>
                    <a:pt x="99606" y="62572"/>
                  </a:lnTo>
                  <a:lnTo>
                    <a:pt x="66802" y="94576"/>
                  </a:lnTo>
                  <a:lnTo>
                    <a:pt x="39712" y="131686"/>
                  </a:lnTo>
                  <a:lnTo>
                    <a:pt x="19062" y="173151"/>
                  </a:lnTo>
                  <a:lnTo>
                    <a:pt x="5575" y="218236"/>
                  </a:lnTo>
                  <a:lnTo>
                    <a:pt x="0" y="266230"/>
                  </a:lnTo>
                  <a:lnTo>
                    <a:pt x="47713" y="262191"/>
                  </a:lnTo>
                  <a:lnTo>
                    <a:pt x="92240" y="250532"/>
                  </a:lnTo>
                  <a:lnTo>
                    <a:pt x="133464" y="231940"/>
                  </a:lnTo>
                  <a:lnTo>
                    <a:pt x="170738" y="207060"/>
                  </a:lnTo>
                  <a:lnTo>
                    <a:pt x="203352" y="176593"/>
                  </a:lnTo>
                  <a:lnTo>
                    <a:pt x="230670" y="141211"/>
                  </a:lnTo>
                  <a:lnTo>
                    <a:pt x="251993" y="101587"/>
                  </a:lnTo>
                  <a:lnTo>
                    <a:pt x="266661" y="58394"/>
                  </a:lnTo>
                  <a:lnTo>
                    <a:pt x="273989" y="12306"/>
                  </a:lnTo>
                  <a:lnTo>
                    <a:pt x="281165" y="58585"/>
                  </a:lnTo>
                  <a:lnTo>
                    <a:pt x="295719" y="101955"/>
                  </a:lnTo>
                  <a:lnTo>
                    <a:pt x="316992" y="141744"/>
                  </a:lnTo>
                  <a:lnTo>
                    <a:pt x="344284" y="177279"/>
                  </a:lnTo>
                  <a:lnTo>
                    <a:pt x="376923" y="207873"/>
                  </a:lnTo>
                  <a:lnTo>
                    <a:pt x="414235" y="232854"/>
                  </a:lnTo>
                  <a:lnTo>
                    <a:pt x="455549" y="251548"/>
                  </a:lnTo>
                  <a:lnTo>
                    <a:pt x="500164" y="263258"/>
                  </a:lnTo>
                  <a:lnTo>
                    <a:pt x="548081" y="267309"/>
                  </a:lnTo>
                  <a:close/>
                </a:path>
              </a:pathLst>
            </a:custGeom>
            <a:solidFill>
              <a:srgbClr val="2DB7EA"/>
            </a:solidFill>
          </p:spPr>
          <p:txBody>
            <a:bodyPr wrap="square" lIns="0" tIns="0" rIns="0" bIns="0" rtlCol="0"/>
            <a:lstStyle/>
            <a:p>
              <a:endParaRPr dirty="0"/>
            </a:p>
          </p:txBody>
        </p:sp>
        <p:pic>
          <p:nvPicPr>
            <p:cNvPr id="380" name="object 378">
              <a:extLst>
                <a:ext uri="{FF2B5EF4-FFF2-40B4-BE49-F238E27FC236}">
                  <a16:creationId xmlns:a16="http://schemas.microsoft.com/office/drawing/2014/main" id="{608ECE14-C837-6848-3135-0B7BE940A54A}"/>
                </a:ext>
              </a:extLst>
            </p:cNvPr>
            <p:cNvPicPr/>
            <p:nvPr/>
          </p:nvPicPr>
          <p:blipFill>
            <a:blip r:embed="rId8" cstate="print"/>
            <a:stretch>
              <a:fillRect/>
            </a:stretch>
          </p:blipFill>
          <p:spPr>
            <a:xfrm>
              <a:off x="9637261" y="393572"/>
              <a:ext cx="106445" cy="107156"/>
            </a:xfrm>
            <a:prstGeom prst="rect">
              <a:avLst/>
            </a:prstGeom>
          </p:spPr>
        </p:pic>
        <p:sp>
          <p:nvSpPr>
            <p:cNvPr id="381" name="object 379">
              <a:extLst>
                <a:ext uri="{FF2B5EF4-FFF2-40B4-BE49-F238E27FC236}">
                  <a16:creationId xmlns:a16="http://schemas.microsoft.com/office/drawing/2014/main" id="{A115FC61-57A7-12DD-5F7A-2236CCD061A7}"/>
                </a:ext>
              </a:extLst>
            </p:cNvPr>
            <p:cNvSpPr/>
            <p:nvPr/>
          </p:nvSpPr>
          <p:spPr>
            <a:xfrm>
              <a:off x="9523993" y="592039"/>
              <a:ext cx="332700" cy="477101"/>
            </a:xfrm>
            <a:custGeom>
              <a:avLst/>
              <a:gdLst/>
              <a:ahLst/>
              <a:cxnLst/>
              <a:rect l="l" t="t" r="r" b="b"/>
              <a:pathLst>
                <a:path w="548640" h="786764">
                  <a:moveTo>
                    <a:pt x="548081" y="786384"/>
                  </a:moveTo>
                  <a:lnTo>
                    <a:pt x="542632" y="738225"/>
                  </a:lnTo>
                  <a:lnTo>
                    <a:pt x="529234" y="692962"/>
                  </a:lnTo>
                  <a:lnTo>
                    <a:pt x="508622" y="651332"/>
                  </a:lnTo>
                  <a:lnTo>
                    <a:pt x="481520" y="614083"/>
                  </a:lnTo>
                  <a:lnTo>
                    <a:pt x="448678" y="581926"/>
                  </a:lnTo>
                  <a:lnTo>
                    <a:pt x="410832" y="555625"/>
                  </a:lnTo>
                  <a:lnTo>
                    <a:pt x="368693" y="535889"/>
                  </a:lnTo>
                  <a:lnTo>
                    <a:pt x="323024" y="523468"/>
                  </a:lnTo>
                  <a:lnTo>
                    <a:pt x="274561" y="519087"/>
                  </a:lnTo>
                  <a:lnTo>
                    <a:pt x="273329" y="519087"/>
                  </a:lnTo>
                  <a:lnTo>
                    <a:pt x="224993" y="523443"/>
                  </a:lnTo>
                  <a:lnTo>
                    <a:pt x="179438" y="535813"/>
                  </a:lnTo>
                  <a:lnTo>
                    <a:pt x="137401" y="555459"/>
                  </a:lnTo>
                  <a:lnTo>
                    <a:pt x="99606" y="581647"/>
                  </a:lnTo>
                  <a:lnTo>
                    <a:pt x="66802" y="613664"/>
                  </a:lnTo>
                  <a:lnTo>
                    <a:pt x="39712" y="650760"/>
                  </a:lnTo>
                  <a:lnTo>
                    <a:pt x="19062" y="692226"/>
                  </a:lnTo>
                  <a:lnTo>
                    <a:pt x="5575" y="737323"/>
                  </a:lnTo>
                  <a:lnTo>
                    <a:pt x="0" y="785304"/>
                  </a:lnTo>
                  <a:lnTo>
                    <a:pt x="47713" y="781278"/>
                  </a:lnTo>
                  <a:lnTo>
                    <a:pt x="92240" y="769620"/>
                  </a:lnTo>
                  <a:lnTo>
                    <a:pt x="133464" y="751014"/>
                  </a:lnTo>
                  <a:lnTo>
                    <a:pt x="170738" y="726147"/>
                  </a:lnTo>
                  <a:lnTo>
                    <a:pt x="203352" y="695680"/>
                  </a:lnTo>
                  <a:lnTo>
                    <a:pt x="230670" y="660298"/>
                  </a:lnTo>
                  <a:lnTo>
                    <a:pt x="251993" y="620674"/>
                  </a:lnTo>
                  <a:lnTo>
                    <a:pt x="266661" y="577481"/>
                  </a:lnTo>
                  <a:lnTo>
                    <a:pt x="273989" y="531393"/>
                  </a:lnTo>
                  <a:lnTo>
                    <a:pt x="281165" y="577659"/>
                  </a:lnTo>
                  <a:lnTo>
                    <a:pt x="295719" y="621030"/>
                  </a:lnTo>
                  <a:lnTo>
                    <a:pt x="316992" y="660831"/>
                  </a:lnTo>
                  <a:lnTo>
                    <a:pt x="344284" y="696366"/>
                  </a:lnTo>
                  <a:lnTo>
                    <a:pt x="376923" y="726960"/>
                  </a:lnTo>
                  <a:lnTo>
                    <a:pt x="414235" y="751941"/>
                  </a:lnTo>
                  <a:lnTo>
                    <a:pt x="455549" y="770623"/>
                  </a:lnTo>
                  <a:lnTo>
                    <a:pt x="500164" y="782332"/>
                  </a:lnTo>
                  <a:lnTo>
                    <a:pt x="548081" y="786384"/>
                  </a:lnTo>
                  <a:close/>
                </a:path>
                <a:path w="548640" h="786764">
                  <a:moveTo>
                    <a:pt x="548081" y="520852"/>
                  </a:moveTo>
                  <a:lnTo>
                    <a:pt x="542632" y="472694"/>
                  </a:lnTo>
                  <a:lnTo>
                    <a:pt x="529234" y="427431"/>
                  </a:lnTo>
                  <a:lnTo>
                    <a:pt x="508622" y="385800"/>
                  </a:lnTo>
                  <a:lnTo>
                    <a:pt x="481520" y="348551"/>
                  </a:lnTo>
                  <a:lnTo>
                    <a:pt x="448678" y="316395"/>
                  </a:lnTo>
                  <a:lnTo>
                    <a:pt x="410832" y="290080"/>
                  </a:lnTo>
                  <a:lnTo>
                    <a:pt x="368693" y="270357"/>
                  </a:lnTo>
                  <a:lnTo>
                    <a:pt x="323024" y="257924"/>
                  </a:lnTo>
                  <a:lnTo>
                    <a:pt x="274561" y="253555"/>
                  </a:lnTo>
                  <a:lnTo>
                    <a:pt x="273329" y="253555"/>
                  </a:lnTo>
                  <a:lnTo>
                    <a:pt x="224993" y="257911"/>
                  </a:lnTo>
                  <a:lnTo>
                    <a:pt x="179438" y="270281"/>
                  </a:lnTo>
                  <a:lnTo>
                    <a:pt x="137401" y="289915"/>
                  </a:lnTo>
                  <a:lnTo>
                    <a:pt x="99606" y="316115"/>
                  </a:lnTo>
                  <a:lnTo>
                    <a:pt x="66802" y="348132"/>
                  </a:lnTo>
                  <a:lnTo>
                    <a:pt x="39712" y="385229"/>
                  </a:lnTo>
                  <a:lnTo>
                    <a:pt x="19062" y="426694"/>
                  </a:lnTo>
                  <a:lnTo>
                    <a:pt x="5575" y="471779"/>
                  </a:lnTo>
                  <a:lnTo>
                    <a:pt x="0" y="519772"/>
                  </a:lnTo>
                  <a:lnTo>
                    <a:pt x="47713" y="515734"/>
                  </a:lnTo>
                  <a:lnTo>
                    <a:pt x="92240" y="504088"/>
                  </a:lnTo>
                  <a:lnTo>
                    <a:pt x="133464" y="485482"/>
                  </a:lnTo>
                  <a:lnTo>
                    <a:pt x="170738" y="460616"/>
                  </a:lnTo>
                  <a:lnTo>
                    <a:pt x="203352" y="430149"/>
                  </a:lnTo>
                  <a:lnTo>
                    <a:pt x="230670" y="394766"/>
                  </a:lnTo>
                  <a:lnTo>
                    <a:pt x="251993" y="355142"/>
                  </a:lnTo>
                  <a:lnTo>
                    <a:pt x="266661" y="311937"/>
                  </a:lnTo>
                  <a:lnTo>
                    <a:pt x="273989" y="265861"/>
                  </a:lnTo>
                  <a:lnTo>
                    <a:pt x="281165" y="312127"/>
                  </a:lnTo>
                  <a:lnTo>
                    <a:pt x="295719" y="355498"/>
                  </a:lnTo>
                  <a:lnTo>
                    <a:pt x="316992" y="395300"/>
                  </a:lnTo>
                  <a:lnTo>
                    <a:pt x="344284" y="430834"/>
                  </a:lnTo>
                  <a:lnTo>
                    <a:pt x="376923" y="461429"/>
                  </a:lnTo>
                  <a:lnTo>
                    <a:pt x="414235" y="486410"/>
                  </a:lnTo>
                  <a:lnTo>
                    <a:pt x="455549" y="505091"/>
                  </a:lnTo>
                  <a:lnTo>
                    <a:pt x="500164" y="516801"/>
                  </a:lnTo>
                  <a:lnTo>
                    <a:pt x="548081" y="520852"/>
                  </a:lnTo>
                  <a:close/>
                </a:path>
                <a:path w="548640" h="786764">
                  <a:moveTo>
                    <a:pt x="548081" y="267322"/>
                  </a:moveTo>
                  <a:lnTo>
                    <a:pt x="542632" y="219138"/>
                  </a:lnTo>
                  <a:lnTo>
                    <a:pt x="529234" y="173875"/>
                  </a:lnTo>
                  <a:lnTo>
                    <a:pt x="508622" y="132245"/>
                  </a:lnTo>
                  <a:lnTo>
                    <a:pt x="481533" y="94996"/>
                  </a:lnTo>
                  <a:lnTo>
                    <a:pt x="480834" y="94322"/>
                  </a:lnTo>
                  <a:lnTo>
                    <a:pt x="448691" y="62839"/>
                  </a:lnTo>
                  <a:lnTo>
                    <a:pt x="433158" y="52057"/>
                  </a:lnTo>
                  <a:lnTo>
                    <a:pt x="410832" y="36537"/>
                  </a:lnTo>
                  <a:lnTo>
                    <a:pt x="368693" y="16789"/>
                  </a:lnTo>
                  <a:lnTo>
                    <a:pt x="323024" y="4368"/>
                  </a:lnTo>
                  <a:lnTo>
                    <a:pt x="274561" y="12"/>
                  </a:lnTo>
                  <a:lnTo>
                    <a:pt x="273329" y="0"/>
                  </a:lnTo>
                  <a:lnTo>
                    <a:pt x="224993" y="4356"/>
                  </a:lnTo>
                  <a:lnTo>
                    <a:pt x="179438" y="16713"/>
                  </a:lnTo>
                  <a:lnTo>
                    <a:pt x="137401" y="36360"/>
                  </a:lnTo>
                  <a:lnTo>
                    <a:pt x="99606" y="62560"/>
                  </a:lnTo>
                  <a:lnTo>
                    <a:pt x="66802" y="94576"/>
                  </a:lnTo>
                  <a:lnTo>
                    <a:pt x="39687" y="131686"/>
                  </a:lnTo>
                  <a:lnTo>
                    <a:pt x="19037" y="173139"/>
                  </a:lnTo>
                  <a:lnTo>
                    <a:pt x="5562" y="218211"/>
                  </a:lnTo>
                  <a:lnTo>
                    <a:pt x="0" y="266192"/>
                  </a:lnTo>
                  <a:lnTo>
                    <a:pt x="47713" y="262178"/>
                  </a:lnTo>
                  <a:lnTo>
                    <a:pt x="92240" y="250520"/>
                  </a:lnTo>
                  <a:lnTo>
                    <a:pt x="133464" y="231927"/>
                  </a:lnTo>
                  <a:lnTo>
                    <a:pt x="170738" y="207048"/>
                  </a:lnTo>
                  <a:lnTo>
                    <a:pt x="203365" y="176593"/>
                  </a:lnTo>
                  <a:lnTo>
                    <a:pt x="230670" y="141211"/>
                  </a:lnTo>
                  <a:lnTo>
                    <a:pt x="252006" y="101587"/>
                  </a:lnTo>
                  <a:lnTo>
                    <a:pt x="266661" y="58407"/>
                  </a:lnTo>
                  <a:lnTo>
                    <a:pt x="273989" y="12357"/>
                  </a:lnTo>
                  <a:lnTo>
                    <a:pt x="281165" y="58572"/>
                  </a:lnTo>
                  <a:lnTo>
                    <a:pt x="295719" y="101942"/>
                  </a:lnTo>
                  <a:lnTo>
                    <a:pt x="316992" y="141732"/>
                  </a:lnTo>
                  <a:lnTo>
                    <a:pt x="344284" y="177266"/>
                  </a:lnTo>
                  <a:lnTo>
                    <a:pt x="376923" y="207873"/>
                  </a:lnTo>
                  <a:lnTo>
                    <a:pt x="414235" y="232854"/>
                  </a:lnTo>
                  <a:lnTo>
                    <a:pt x="455549" y="251548"/>
                  </a:lnTo>
                  <a:lnTo>
                    <a:pt x="500176" y="263258"/>
                  </a:lnTo>
                  <a:lnTo>
                    <a:pt x="548081" y="267322"/>
                  </a:lnTo>
                  <a:close/>
                </a:path>
              </a:pathLst>
            </a:custGeom>
            <a:solidFill>
              <a:srgbClr val="7ED3F1"/>
            </a:solidFill>
          </p:spPr>
          <p:txBody>
            <a:bodyPr wrap="square" lIns="0" tIns="0" rIns="0" bIns="0" rtlCol="0"/>
            <a:lstStyle/>
            <a:p>
              <a:endParaRPr dirty="0"/>
            </a:p>
          </p:txBody>
        </p:sp>
        <p:pic>
          <p:nvPicPr>
            <p:cNvPr id="382" name="object 380">
              <a:extLst>
                <a:ext uri="{FF2B5EF4-FFF2-40B4-BE49-F238E27FC236}">
                  <a16:creationId xmlns:a16="http://schemas.microsoft.com/office/drawing/2014/main" id="{E997FFEB-A262-060A-33AF-A6385A678DDA}"/>
                </a:ext>
              </a:extLst>
            </p:cNvPr>
            <p:cNvPicPr/>
            <p:nvPr/>
          </p:nvPicPr>
          <p:blipFill>
            <a:blip r:embed="rId9" cstate="print"/>
            <a:stretch>
              <a:fillRect/>
            </a:stretch>
          </p:blipFill>
          <p:spPr>
            <a:xfrm>
              <a:off x="9637261" y="1047738"/>
              <a:ext cx="106445" cy="107156"/>
            </a:xfrm>
            <a:prstGeom prst="rect">
              <a:avLst/>
            </a:prstGeom>
          </p:spPr>
        </p:pic>
      </p:grpSp>
    </p:spTree>
    <p:extLst>
      <p:ext uri="{BB962C8B-B14F-4D97-AF65-F5344CB8AC3E}">
        <p14:creationId xmlns:p14="http://schemas.microsoft.com/office/powerpoint/2010/main" val="1586916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5D968CC-E508-6904-3133-227617806207}"/>
              </a:ext>
            </a:extLst>
          </p:cNvPr>
          <p:cNvGraphicFramePr>
            <a:graphicFrameLocks noChangeAspect="1"/>
          </p:cNvGraphicFramePr>
          <p:nvPr userDrawn="1">
            <p:custDataLst>
              <p:tags r:id="rId1"/>
            </p:custDataLst>
            <p:extLst>
              <p:ext uri="{D42A27DB-BD31-4B8C-83A1-F6EECF244321}">
                <p14:modId xmlns:p14="http://schemas.microsoft.com/office/powerpoint/2010/main" val="4082956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6" name="think-cell data - do not delete" hidden="1">
                        <a:extLst>
                          <a:ext uri="{FF2B5EF4-FFF2-40B4-BE49-F238E27FC236}">
                            <a16:creationId xmlns:a16="http://schemas.microsoft.com/office/drawing/2014/main" id="{45D968CC-E508-6904-3133-2276178062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lvl1pPr>
          </a:lstStyle>
          <a:p>
            <a:r>
              <a:rPr lang="en-US"/>
              <a:t>Click to edit Master title style</a:t>
            </a:r>
            <a:endParaRPr/>
          </a:p>
        </p:txBody>
      </p:sp>
      <p:sp>
        <p:nvSpPr>
          <p:cNvPr id="3" name="Content Left"/>
          <p:cNvSpPr>
            <a:spLocks noGrp="1"/>
          </p:cNvSpPr>
          <p:nvPr>
            <p:ph idx="11"/>
          </p:nvPr>
        </p:nvSpPr>
        <p:spPr>
          <a:xfrm>
            <a:off x="457200" y="1472184"/>
            <a:ext cx="5410200" cy="492861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24600" y="1472184"/>
            <a:ext cx="5410198" cy="492861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531974018"/>
      </p:ext>
    </p:extLst>
  </p:cSld>
  <p:clrMapOvr>
    <a:masterClrMapping/>
  </p:clrMapOvr>
  <p:extLst>
    <p:ext uri="{DCECCB84-F9BA-43D5-87BE-67443E8EF086}">
      <p15:sldGuideLst xmlns:p15="http://schemas.microsoft.com/office/powerpoint/2012/main">
        <p15:guide id="1" orient="horz" pos="927" userDrawn="1">
          <p15:clr>
            <a:srgbClr val="FBAE40"/>
          </p15:clr>
        </p15:guide>
        <p15:guide id="2" pos="3696">
          <p15:clr>
            <a:srgbClr val="FBAE40"/>
          </p15:clr>
        </p15:guide>
        <p15:guide id="5" pos="398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28.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image" Target="../media/image2.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3B87D78-B634-A634-73E1-FD7CDEDAB7B5}"/>
              </a:ext>
            </a:extLst>
          </p:cNvPr>
          <p:cNvGraphicFramePr>
            <a:graphicFrameLocks noChangeAspect="1"/>
          </p:cNvGraphicFramePr>
          <p:nvPr userDrawn="1">
            <p:custDataLst>
              <p:tags r:id="rId27"/>
            </p:custDataLst>
            <p:extLst>
              <p:ext uri="{D42A27DB-BD31-4B8C-83A1-F6EECF244321}">
                <p14:modId xmlns:p14="http://schemas.microsoft.com/office/powerpoint/2010/main" val="1184567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25" imgH="425" progId="TCLayout.ActiveDocument.1">
                  <p:embed/>
                </p:oleObj>
              </mc:Choice>
              <mc:Fallback>
                <p:oleObj name="think-cell Slide" r:id="rId28" imgW="425" imgH="425" progId="TCLayout.ActiveDocument.1">
                  <p:embed/>
                  <p:pic>
                    <p:nvPicPr>
                      <p:cNvPr id="10" name="think-cell data - do not delete" hidden="1">
                        <a:extLst>
                          <a:ext uri="{FF2B5EF4-FFF2-40B4-BE49-F238E27FC236}">
                            <a16:creationId xmlns:a16="http://schemas.microsoft.com/office/drawing/2014/main" id="{23B87D78-B634-A634-73E1-FD7CDEDAB7B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457200"/>
            <a:ext cx="11277600" cy="758952"/>
          </a:xfrm>
          <a:prstGeom prst="rect">
            <a:avLst/>
          </a:prstGeom>
        </p:spPr>
        <p:txBody>
          <a:bodyPr vert="horz" lIns="0" tIns="0" rIns="0" bIns="0" rtlCol="0" anchorCtr="0">
            <a:noAutofit/>
          </a:bodyPr>
          <a:lstStyle/>
          <a:p>
            <a:r>
              <a:rPr lang="en-US"/>
              <a:t>Click to edit Master title style</a:t>
            </a:r>
          </a:p>
        </p:txBody>
      </p:sp>
      <p:sp>
        <p:nvSpPr>
          <p:cNvPr id="3" name="BodyText"/>
          <p:cNvSpPr>
            <a:spLocks noGrp="1"/>
          </p:cNvSpPr>
          <p:nvPr>
            <p:ph type="body" idx="1"/>
          </p:nvPr>
        </p:nvSpPr>
        <p:spPr>
          <a:xfrm>
            <a:off x="457200" y="1472184"/>
            <a:ext cx="11277600" cy="492861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hidden="1"/>
          <p:cNvSpPr>
            <a:spLocks noGrp="1"/>
          </p:cNvSpPr>
          <p:nvPr>
            <p:ph type="dt" sz="half" idx="2"/>
          </p:nvPr>
        </p:nvSpPr>
        <p:spPr>
          <a:xfrm>
            <a:off x="580573" y="6864350"/>
            <a:ext cx="399143"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US" smtClean="0"/>
              <a:pPr/>
              <a:t>6/29/25</a:t>
            </a:fld>
            <a:endParaRPr lang="en-US" dirty="0"/>
          </a:p>
        </p:txBody>
      </p:sp>
      <p:sp>
        <p:nvSpPr>
          <p:cNvPr id="5" name="Footer Placeholder" hidden="1"/>
          <p:cNvSpPr>
            <a:spLocks noGrp="1"/>
          </p:cNvSpPr>
          <p:nvPr>
            <p:ph type="ftr" sz="quarter" idx="3"/>
          </p:nvPr>
        </p:nvSpPr>
        <p:spPr>
          <a:xfrm>
            <a:off x="979714" y="6864350"/>
            <a:ext cx="677333" cy="98425"/>
          </a:xfrm>
          <a:prstGeom prst="rect">
            <a:avLst/>
          </a:prstGeom>
        </p:spPr>
        <p:txBody>
          <a:bodyPr vert="horz" lIns="0" tIns="0" rIns="0" bIns="0" rtlCol="0" anchor="ctr"/>
          <a:lstStyle>
            <a:lvl1pPr algn="ctr">
              <a:defRPr sz="300">
                <a:solidFill>
                  <a:schemeClr val="tx1"/>
                </a:solidFill>
              </a:defRPr>
            </a:lvl1pPr>
          </a:lstStyle>
          <a:p>
            <a:endParaRPr lang="en-US" dirty="0"/>
          </a:p>
        </p:txBody>
      </p:sp>
      <p:sp>
        <p:nvSpPr>
          <p:cNvPr id="6" name="Slide Number Placeholder" hidden="1"/>
          <p:cNvSpPr>
            <a:spLocks noGrp="1"/>
          </p:cNvSpPr>
          <p:nvPr>
            <p:ph type="sldNum" sz="quarter" idx="4"/>
          </p:nvPr>
        </p:nvSpPr>
        <p:spPr>
          <a:xfrm>
            <a:off x="1657048" y="6864350"/>
            <a:ext cx="193524"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US" smtClean="0"/>
              <a:pPr/>
              <a:t>‹#›</a:t>
            </a:fld>
            <a:endParaRPr lang="en-US" dirty="0"/>
          </a:p>
        </p:txBody>
      </p:sp>
      <p:sp>
        <p:nvSpPr>
          <p:cNvPr id="7" name="SlideNumber"/>
          <p:cNvSpPr txBox="1"/>
          <p:nvPr userDrawn="1"/>
        </p:nvSpPr>
        <p:spPr>
          <a:xfrm>
            <a:off x="11584118" y="6552456"/>
            <a:ext cx="150682" cy="153888"/>
          </a:xfrm>
          <a:prstGeom prst="rect">
            <a:avLst/>
          </a:prstGeom>
          <a:noFill/>
        </p:spPr>
        <p:txBody>
          <a:bodyPr wrap="none" lIns="0" tIns="0" rIns="0" bIns="0" rtlCol="0" anchor="ctr">
            <a:sp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US" sz="1000" smtClean="0">
                <a:solidFill>
                  <a:schemeClr val="tx1"/>
                </a:solidFill>
                <a:latin typeface="+mj-lt"/>
              </a:rPr>
              <a:pPr marL="0" marR="0" indent="0" algn="r" defTabSz="914370" rtl="0" eaLnBrk="1" fontAlgn="auto" latinLnBrk="0" hangingPunct="1">
                <a:lnSpc>
                  <a:spcPct val="100000"/>
                </a:lnSpc>
                <a:spcBef>
                  <a:spcPts val="0"/>
                </a:spcBef>
                <a:spcAft>
                  <a:spcPts val="0"/>
                </a:spcAft>
                <a:buClrTx/>
                <a:buSzTx/>
                <a:buFontTx/>
                <a:buNone/>
                <a:tabLst/>
                <a:defRPr/>
              </a:pPr>
              <a:t>‹#›</a:t>
            </a:fld>
            <a:endParaRPr lang="en-US" sz="1000" dirty="0">
              <a:solidFill>
                <a:schemeClr val="tx1"/>
              </a:solidFill>
              <a:latin typeface="+mj-lt"/>
            </a:endParaRPr>
          </a:p>
        </p:txBody>
      </p:sp>
      <p:grpSp>
        <p:nvGrpSpPr>
          <p:cNvPr id="8" name="Group 7">
            <a:extLst>
              <a:ext uri="{FF2B5EF4-FFF2-40B4-BE49-F238E27FC236}">
                <a16:creationId xmlns:a16="http://schemas.microsoft.com/office/drawing/2014/main" id="{9D308D01-9B52-17C1-741B-900CCA902814}"/>
              </a:ext>
            </a:extLst>
          </p:cNvPr>
          <p:cNvGrpSpPr/>
          <p:nvPr userDrawn="1"/>
        </p:nvGrpSpPr>
        <p:grpSpPr>
          <a:xfrm>
            <a:off x="457200" y="6475006"/>
            <a:ext cx="925606" cy="154394"/>
            <a:chOff x="10923756" y="1706757"/>
            <a:chExt cx="7512539" cy="1253118"/>
          </a:xfrm>
        </p:grpSpPr>
        <p:grpSp>
          <p:nvGrpSpPr>
            <p:cNvPr id="9" name="object 38">
              <a:extLst>
                <a:ext uri="{FF2B5EF4-FFF2-40B4-BE49-F238E27FC236}">
                  <a16:creationId xmlns:a16="http://schemas.microsoft.com/office/drawing/2014/main" id="{330000CC-1D92-0975-64DC-952A3C9B7E72}"/>
                </a:ext>
              </a:extLst>
            </p:cNvPr>
            <p:cNvGrpSpPr/>
            <p:nvPr/>
          </p:nvGrpSpPr>
          <p:grpSpPr>
            <a:xfrm>
              <a:off x="10923756" y="1714383"/>
              <a:ext cx="735329" cy="1245236"/>
              <a:chOff x="10923753" y="1714382"/>
              <a:chExt cx="735330" cy="1245235"/>
            </a:xfrm>
          </p:grpSpPr>
          <p:sp>
            <p:nvSpPr>
              <p:cNvPr id="21" name="object 39">
                <a:extLst>
                  <a:ext uri="{FF2B5EF4-FFF2-40B4-BE49-F238E27FC236}">
                    <a16:creationId xmlns:a16="http://schemas.microsoft.com/office/drawing/2014/main" id="{EB464EF2-3478-3164-024E-D60B00D47AAB}"/>
                  </a:ext>
                </a:extLst>
              </p:cNvPr>
              <p:cNvSpPr/>
              <p:nvPr/>
            </p:nvSpPr>
            <p:spPr>
              <a:xfrm>
                <a:off x="10923753" y="1904561"/>
                <a:ext cx="735330" cy="1055370"/>
              </a:xfrm>
              <a:custGeom>
                <a:avLst/>
                <a:gdLst/>
                <a:ahLst/>
                <a:cxnLst/>
                <a:rect l="l" t="t" r="r" b="b"/>
                <a:pathLst>
                  <a:path w="735329" h="1055370">
                    <a:moveTo>
                      <a:pt x="735126" y="696264"/>
                    </a:moveTo>
                    <a:lnTo>
                      <a:pt x="689292" y="699173"/>
                    </a:lnTo>
                    <a:lnTo>
                      <a:pt x="686409" y="699350"/>
                    </a:lnTo>
                    <a:lnTo>
                      <a:pt x="677418" y="701116"/>
                    </a:lnTo>
                    <a:lnTo>
                      <a:pt x="640435" y="708329"/>
                    </a:lnTo>
                    <a:lnTo>
                      <a:pt x="596709" y="722833"/>
                    </a:lnTo>
                    <a:lnTo>
                      <a:pt x="555599" y="742480"/>
                    </a:lnTo>
                    <a:lnTo>
                      <a:pt x="517512" y="766876"/>
                    </a:lnTo>
                    <a:lnTo>
                      <a:pt x="482815" y="795629"/>
                    </a:lnTo>
                    <a:lnTo>
                      <a:pt x="451904" y="828370"/>
                    </a:lnTo>
                    <a:lnTo>
                      <a:pt x="425157" y="864704"/>
                    </a:lnTo>
                    <a:lnTo>
                      <a:pt x="402958" y="904252"/>
                    </a:lnTo>
                    <a:lnTo>
                      <a:pt x="385686" y="946632"/>
                    </a:lnTo>
                    <a:lnTo>
                      <a:pt x="373735" y="991450"/>
                    </a:lnTo>
                    <a:lnTo>
                      <a:pt x="367474" y="1038326"/>
                    </a:lnTo>
                    <a:lnTo>
                      <a:pt x="364477" y="1016482"/>
                    </a:lnTo>
                    <a:lnTo>
                      <a:pt x="361073" y="991628"/>
                    </a:lnTo>
                    <a:lnTo>
                      <a:pt x="348996" y="947000"/>
                    </a:lnTo>
                    <a:lnTo>
                      <a:pt x="331635" y="904811"/>
                    </a:lnTo>
                    <a:lnTo>
                      <a:pt x="309384" y="865428"/>
                    </a:lnTo>
                    <a:lnTo>
                      <a:pt x="282613" y="829246"/>
                    </a:lnTo>
                    <a:lnTo>
                      <a:pt x="251701" y="796658"/>
                    </a:lnTo>
                    <a:lnTo>
                      <a:pt x="217043" y="768032"/>
                    </a:lnTo>
                    <a:lnTo>
                      <a:pt x="179006" y="743750"/>
                    </a:lnTo>
                    <a:lnTo>
                      <a:pt x="165747" y="737450"/>
                    </a:lnTo>
                    <a:lnTo>
                      <a:pt x="137972" y="724204"/>
                    </a:lnTo>
                    <a:lnTo>
                      <a:pt x="94335" y="709764"/>
                    </a:lnTo>
                    <a:lnTo>
                      <a:pt x="48463" y="700824"/>
                    </a:lnTo>
                    <a:lnTo>
                      <a:pt x="0" y="697776"/>
                    </a:lnTo>
                    <a:lnTo>
                      <a:pt x="4559" y="746353"/>
                    </a:lnTo>
                    <a:lnTo>
                      <a:pt x="15227" y="792911"/>
                    </a:lnTo>
                    <a:lnTo>
                      <a:pt x="31597" y="836993"/>
                    </a:lnTo>
                    <a:lnTo>
                      <a:pt x="53225" y="878205"/>
                    </a:lnTo>
                    <a:lnTo>
                      <a:pt x="79730" y="916139"/>
                    </a:lnTo>
                    <a:lnTo>
                      <a:pt x="110680" y="950353"/>
                    </a:lnTo>
                    <a:lnTo>
                      <a:pt x="145656" y="980465"/>
                    </a:lnTo>
                    <a:lnTo>
                      <a:pt x="184264" y="1006043"/>
                    </a:lnTo>
                    <a:lnTo>
                      <a:pt x="226072" y="1026693"/>
                    </a:lnTo>
                    <a:lnTo>
                      <a:pt x="270675" y="1041971"/>
                    </a:lnTo>
                    <a:lnTo>
                      <a:pt x="317652" y="1051496"/>
                    </a:lnTo>
                    <a:lnTo>
                      <a:pt x="366585" y="1054836"/>
                    </a:lnTo>
                    <a:lnTo>
                      <a:pt x="368223" y="1054836"/>
                    </a:lnTo>
                    <a:lnTo>
                      <a:pt x="417309" y="1051483"/>
                    </a:lnTo>
                    <a:lnTo>
                      <a:pt x="464413" y="1041920"/>
                    </a:lnTo>
                    <a:lnTo>
                      <a:pt x="509130" y="1026566"/>
                    </a:lnTo>
                    <a:lnTo>
                      <a:pt x="551027" y="1005827"/>
                    </a:lnTo>
                    <a:lnTo>
                      <a:pt x="589711" y="980135"/>
                    </a:lnTo>
                    <a:lnTo>
                      <a:pt x="624738" y="949896"/>
                    </a:lnTo>
                    <a:lnTo>
                      <a:pt x="655713" y="915517"/>
                    </a:lnTo>
                    <a:lnTo>
                      <a:pt x="682205" y="877443"/>
                    </a:lnTo>
                    <a:lnTo>
                      <a:pt x="703821" y="836053"/>
                    </a:lnTo>
                    <a:lnTo>
                      <a:pt x="720115" y="791794"/>
                    </a:lnTo>
                    <a:lnTo>
                      <a:pt x="730694" y="745058"/>
                    </a:lnTo>
                    <a:lnTo>
                      <a:pt x="735114" y="696290"/>
                    </a:lnTo>
                    <a:close/>
                  </a:path>
                  <a:path w="735329" h="1055370">
                    <a:moveTo>
                      <a:pt x="735126" y="356158"/>
                    </a:moveTo>
                    <a:lnTo>
                      <a:pt x="686396" y="359244"/>
                    </a:lnTo>
                    <a:lnTo>
                      <a:pt x="640422" y="368223"/>
                    </a:lnTo>
                    <a:lnTo>
                      <a:pt x="596696" y="382739"/>
                    </a:lnTo>
                    <a:lnTo>
                      <a:pt x="555599" y="402374"/>
                    </a:lnTo>
                    <a:lnTo>
                      <a:pt x="517512" y="426770"/>
                    </a:lnTo>
                    <a:lnTo>
                      <a:pt x="482815" y="455523"/>
                    </a:lnTo>
                    <a:lnTo>
                      <a:pt x="451904" y="488264"/>
                    </a:lnTo>
                    <a:lnTo>
                      <a:pt x="425157" y="524598"/>
                    </a:lnTo>
                    <a:lnTo>
                      <a:pt x="402958" y="564146"/>
                    </a:lnTo>
                    <a:lnTo>
                      <a:pt x="385686" y="606526"/>
                    </a:lnTo>
                    <a:lnTo>
                      <a:pt x="373735" y="651344"/>
                    </a:lnTo>
                    <a:lnTo>
                      <a:pt x="367474" y="698220"/>
                    </a:lnTo>
                    <a:lnTo>
                      <a:pt x="361073" y="651522"/>
                    </a:lnTo>
                    <a:lnTo>
                      <a:pt x="348996" y="606894"/>
                    </a:lnTo>
                    <a:lnTo>
                      <a:pt x="331635" y="564692"/>
                    </a:lnTo>
                    <a:lnTo>
                      <a:pt x="309384" y="525310"/>
                    </a:lnTo>
                    <a:lnTo>
                      <a:pt x="282613" y="489140"/>
                    </a:lnTo>
                    <a:lnTo>
                      <a:pt x="251701" y="456552"/>
                    </a:lnTo>
                    <a:lnTo>
                      <a:pt x="217043" y="427926"/>
                    </a:lnTo>
                    <a:lnTo>
                      <a:pt x="179006" y="403644"/>
                    </a:lnTo>
                    <a:lnTo>
                      <a:pt x="137972" y="384098"/>
                    </a:lnTo>
                    <a:lnTo>
                      <a:pt x="94335" y="369658"/>
                    </a:lnTo>
                    <a:lnTo>
                      <a:pt x="48463" y="360718"/>
                    </a:lnTo>
                    <a:lnTo>
                      <a:pt x="0" y="357644"/>
                    </a:lnTo>
                    <a:lnTo>
                      <a:pt x="4559" y="406247"/>
                    </a:lnTo>
                    <a:lnTo>
                      <a:pt x="15227" y="452793"/>
                    </a:lnTo>
                    <a:lnTo>
                      <a:pt x="31597" y="496887"/>
                    </a:lnTo>
                    <a:lnTo>
                      <a:pt x="53238" y="538099"/>
                    </a:lnTo>
                    <a:lnTo>
                      <a:pt x="79730" y="576021"/>
                    </a:lnTo>
                    <a:lnTo>
                      <a:pt x="110680" y="610247"/>
                    </a:lnTo>
                    <a:lnTo>
                      <a:pt x="145669" y="640359"/>
                    </a:lnTo>
                    <a:lnTo>
                      <a:pt x="184264" y="665937"/>
                    </a:lnTo>
                    <a:lnTo>
                      <a:pt x="226072" y="686574"/>
                    </a:lnTo>
                    <a:lnTo>
                      <a:pt x="270675" y="701865"/>
                    </a:lnTo>
                    <a:lnTo>
                      <a:pt x="317652" y="711390"/>
                    </a:lnTo>
                    <a:lnTo>
                      <a:pt x="366585" y="714730"/>
                    </a:lnTo>
                    <a:lnTo>
                      <a:pt x="368223" y="714730"/>
                    </a:lnTo>
                    <a:lnTo>
                      <a:pt x="417309" y="711377"/>
                    </a:lnTo>
                    <a:lnTo>
                      <a:pt x="464413" y="701814"/>
                    </a:lnTo>
                    <a:lnTo>
                      <a:pt x="509130" y="686447"/>
                    </a:lnTo>
                    <a:lnTo>
                      <a:pt x="551027" y="665721"/>
                    </a:lnTo>
                    <a:lnTo>
                      <a:pt x="589711" y="640029"/>
                    </a:lnTo>
                    <a:lnTo>
                      <a:pt x="624738" y="609777"/>
                    </a:lnTo>
                    <a:lnTo>
                      <a:pt x="655713" y="575411"/>
                    </a:lnTo>
                    <a:lnTo>
                      <a:pt x="682205" y="537324"/>
                    </a:lnTo>
                    <a:lnTo>
                      <a:pt x="703821" y="495947"/>
                    </a:lnTo>
                    <a:lnTo>
                      <a:pt x="720115" y="451675"/>
                    </a:lnTo>
                    <a:lnTo>
                      <a:pt x="730694" y="404952"/>
                    </a:lnTo>
                    <a:lnTo>
                      <a:pt x="735126" y="356158"/>
                    </a:lnTo>
                    <a:close/>
                  </a:path>
                  <a:path w="735329" h="1055370">
                    <a:moveTo>
                      <a:pt x="735126" y="0"/>
                    </a:moveTo>
                    <a:lnTo>
                      <a:pt x="686396" y="3073"/>
                    </a:lnTo>
                    <a:lnTo>
                      <a:pt x="640422" y="12065"/>
                    </a:lnTo>
                    <a:lnTo>
                      <a:pt x="596696" y="26568"/>
                    </a:lnTo>
                    <a:lnTo>
                      <a:pt x="555599" y="46215"/>
                    </a:lnTo>
                    <a:lnTo>
                      <a:pt x="517512" y="70599"/>
                    </a:lnTo>
                    <a:lnTo>
                      <a:pt x="482815" y="99364"/>
                    </a:lnTo>
                    <a:lnTo>
                      <a:pt x="451904" y="132105"/>
                    </a:lnTo>
                    <a:lnTo>
                      <a:pt x="425157" y="168440"/>
                    </a:lnTo>
                    <a:lnTo>
                      <a:pt x="402958" y="207987"/>
                    </a:lnTo>
                    <a:lnTo>
                      <a:pt x="385686" y="250355"/>
                    </a:lnTo>
                    <a:lnTo>
                      <a:pt x="373735" y="295173"/>
                    </a:lnTo>
                    <a:lnTo>
                      <a:pt x="367474" y="342049"/>
                    </a:lnTo>
                    <a:lnTo>
                      <a:pt x="361073" y="295363"/>
                    </a:lnTo>
                    <a:lnTo>
                      <a:pt x="348996" y="250723"/>
                    </a:lnTo>
                    <a:lnTo>
                      <a:pt x="331635" y="208534"/>
                    </a:lnTo>
                    <a:lnTo>
                      <a:pt x="309384" y="169151"/>
                    </a:lnTo>
                    <a:lnTo>
                      <a:pt x="282613" y="132969"/>
                    </a:lnTo>
                    <a:lnTo>
                      <a:pt x="251701" y="100380"/>
                    </a:lnTo>
                    <a:lnTo>
                      <a:pt x="217043" y="71755"/>
                    </a:lnTo>
                    <a:lnTo>
                      <a:pt x="179006" y="47472"/>
                    </a:lnTo>
                    <a:lnTo>
                      <a:pt x="137972" y="27927"/>
                    </a:lnTo>
                    <a:lnTo>
                      <a:pt x="94335" y="13487"/>
                    </a:lnTo>
                    <a:lnTo>
                      <a:pt x="48463" y="4546"/>
                    </a:lnTo>
                    <a:lnTo>
                      <a:pt x="0" y="1485"/>
                    </a:lnTo>
                    <a:lnTo>
                      <a:pt x="4559" y="50088"/>
                    </a:lnTo>
                    <a:lnTo>
                      <a:pt x="15227" y="96634"/>
                    </a:lnTo>
                    <a:lnTo>
                      <a:pt x="31597" y="140716"/>
                    </a:lnTo>
                    <a:lnTo>
                      <a:pt x="53238" y="181940"/>
                    </a:lnTo>
                    <a:lnTo>
                      <a:pt x="79730" y="219862"/>
                    </a:lnTo>
                    <a:lnTo>
                      <a:pt x="110680" y="254088"/>
                    </a:lnTo>
                    <a:lnTo>
                      <a:pt x="145669" y="284187"/>
                    </a:lnTo>
                    <a:lnTo>
                      <a:pt x="184264" y="309778"/>
                    </a:lnTo>
                    <a:lnTo>
                      <a:pt x="226072" y="330415"/>
                    </a:lnTo>
                    <a:lnTo>
                      <a:pt x="270675" y="345706"/>
                    </a:lnTo>
                    <a:lnTo>
                      <a:pt x="317652" y="355219"/>
                    </a:lnTo>
                    <a:lnTo>
                      <a:pt x="366585" y="358559"/>
                    </a:lnTo>
                    <a:lnTo>
                      <a:pt x="368223" y="358559"/>
                    </a:lnTo>
                    <a:lnTo>
                      <a:pt x="417309" y="355206"/>
                    </a:lnTo>
                    <a:lnTo>
                      <a:pt x="464413" y="345643"/>
                    </a:lnTo>
                    <a:lnTo>
                      <a:pt x="509130" y="330288"/>
                    </a:lnTo>
                    <a:lnTo>
                      <a:pt x="551027" y="309549"/>
                    </a:lnTo>
                    <a:lnTo>
                      <a:pt x="589711" y="283857"/>
                    </a:lnTo>
                    <a:lnTo>
                      <a:pt x="624738" y="253619"/>
                    </a:lnTo>
                    <a:lnTo>
                      <a:pt x="655713" y="219252"/>
                    </a:lnTo>
                    <a:lnTo>
                      <a:pt x="682205" y="181165"/>
                    </a:lnTo>
                    <a:lnTo>
                      <a:pt x="703821" y="139776"/>
                    </a:lnTo>
                    <a:lnTo>
                      <a:pt x="720115" y="95516"/>
                    </a:lnTo>
                    <a:lnTo>
                      <a:pt x="730694" y="48780"/>
                    </a:lnTo>
                    <a:lnTo>
                      <a:pt x="735126" y="0"/>
                    </a:lnTo>
                    <a:close/>
                  </a:path>
                </a:pathLst>
              </a:custGeom>
              <a:solidFill>
                <a:srgbClr val="009FD3"/>
              </a:solidFill>
            </p:spPr>
            <p:txBody>
              <a:bodyPr wrap="square" lIns="0" tIns="0" rIns="0" bIns="0" rtlCol="0"/>
              <a:lstStyle/>
              <a:p>
                <a:endParaRPr dirty="0"/>
              </a:p>
            </p:txBody>
          </p:sp>
          <p:pic>
            <p:nvPicPr>
              <p:cNvPr id="22" name="object 40">
                <a:extLst>
                  <a:ext uri="{FF2B5EF4-FFF2-40B4-BE49-F238E27FC236}">
                    <a16:creationId xmlns:a16="http://schemas.microsoft.com/office/drawing/2014/main" id="{77EF0500-6CBB-745E-4A0A-0307A623C6CE}"/>
                  </a:ext>
                </a:extLst>
              </p:cNvPr>
              <p:cNvPicPr/>
              <p:nvPr/>
            </p:nvPicPr>
            <p:blipFill>
              <a:blip r:embed="rId30" cstate="print"/>
              <a:stretch>
                <a:fillRect/>
              </a:stretch>
            </p:blipFill>
            <p:spPr>
              <a:xfrm>
                <a:off x="11174235" y="1714382"/>
                <a:ext cx="235500" cy="237008"/>
              </a:xfrm>
              <a:prstGeom prst="rect">
                <a:avLst/>
              </a:prstGeom>
            </p:spPr>
          </p:pic>
        </p:grpSp>
        <p:sp>
          <p:nvSpPr>
            <p:cNvPr id="11" name="object 41">
              <a:extLst>
                <a:ext uri="{FF2B5EF4-FFF2-40B4-BE49-F238E27FC236}">
                  <a16:creationId xmlns:a16="http://schemas.microsoft.com/office/drawing/2014/main" id="{4D696887-FABA-4639-9685-E509CED11C29}"/>
                </a:ext>
              </a:extLst>
            </p:cNvPr>
            <p:cNvSpPr/>
            <p:nvPr/>
          </p:nvSpPr>
          <p:spPr>
            <a:xfrm>
              <a:off x="11898399" y="2058810"/>
              <a:ext cx="845820" cy="901065"/>
            </a:xfrm>
            <a:custGeom>
              <a:avLst/>
              <a:gdLst/>
              <a:ahLst/>
              <a:cxnLst/>
              <a:rect l="l" t="t" r="r" b="b"/>
              <a:pathLst>
                <a:path w="845820" h="901064">
                  <a:moveTo>
                    <a:pt x="432709" y="0"/>
                  </a:moveTo>
                  <a:lnTo>
                    <a:pt x="384043" y="2321"/>
                  </a:lnTo>
                  <a:lnTo>
                    <a:pt x="337266" y="9196"/>
                  </a:lnTo>
                  <a:lnTo>
                    <a:pt x="292595" y="20488"/>
                  </a:lnTo>
                  <a:lnTo>
                    <a:pt x="250247" y="36062"/>
                  </a:lnTo>
                  <a:lnTo>
                    <a:pt x="210441" y="55780"/>
                  </a:lnTo>
                  <a:lnTo>
                    <a:pt x="173394" y="79508"/>
                  </a:lnTo>
                  <a:lnTo>
                    <a:pt x="139322" y="107110"/>
                  </a:lnTo>
                  <a:lnTo>
                    <a:pt x="108445" y="138449"/>
                  </a:lnTo>
                  <a:lnTo>
                    <a:pt x="80979" y="173389"/>
                  </a:lnTo>
                  <a:lnTo>
                    <a:pt x="57141" y="211795"/>
                  </a:lnTo>
                  <a:lnTo>
                    <a:pt x="37150" y="253531"/>
                  </a:lnTo>
                  <a:lnTo>
                    <a:pt x="21223" y="298461"/>
                  </a:lnTo>
                  <a:lnTo>
                    <a:pt x="9577" y="346449"/>
                  </a:lnTo>
                  <a:lnTo>
                    <a:pt x="2430" y="397358"/>
                  </a:lnTo>
                  <a:lnTo>
                    <a:pt x="0" y="451054"/>
                  </a:lnTo>
                  <a:lnTo>
                    <a:pt x="2451" y="504730"/>
                  </a:lnTo>
                  <a:lnTo>
                    <a:pt x="9659" y="555585"/>
                  </a:lnTo>
                  <a:lnTo>
                    <a:pt x="21407" y="603488"/>
                  </a:lnTo>
                  <a:lnTo>
                    <a:pt x="37477" y="648308"/>
                  </a:lnTo>
                  <a:lnTo>
                    <a:pt x="57651" y="689916"/>
                  </a:lnTo>
                  <a:lnTo>
                    <a:pt x="81713" y="728180"/>
                  </a:lnTo>
                  <a:lnTo>
                    <a:pt x="109445" y="762971"/>
                  </a:lnTo>
                  <a:lnTo>
                    <a:pt x="140629" y="794157"/>
                  </a:lnTo>
                  <a:lnTo>
                    <a:pt x="175047" y="821609"/>
                  </a:lnTo>
                  <a:lnTo>
                    <a:pt x="212482" y="845195"/>
                  </a:lnTo>
                  <a:lnTo>
                    <a:pt x="252718" y="864785"/>
                  </a:lnTo>
                  <a:lnTo>
                    <a:pt x="295535" y="880250"/>
                  </a:lnTo>
                  <a:lnTo>
                    <a:pt x="340717" y="891457"/>
                  </a:lnTo>
                  <a:lnTo>
                    <a:pt x="388047" y="898277"/>
                  </a:lnTo>
                  <a:lnTo>
                    <a:pt x="437306" y="900579"/>
                  </a:lnTo>
                  <a:lnTo>
                    <a:pt x="488856" y="898061"/>
                  </a:lnTo>
                  <a:lnTo>
                    <a:pt x="538264" y="890595"/>
                  </a:lnTo>
                  <a:lnTo>
                    <a:pt x="585282" y="878310"/>
                  </a:lnTo>
                  <a:lnTo>
                    <a:pt x="629660" y="861339"/>
                  </a:lnTo>
                  <a:lnTo>
                    <a:pt x="671150" y="839811"/>
                  </a:lnTo>
                  <a:lnTo>
                    <a:pt x="709505" y="813859"/>
                  </a:lnTo>
                  <a:lnTo>
                    <a:pt x="744475" y="783611"/>
                  </a:lnTo>
                  <a:lnTo>
                    <a:pt x="775812" y="749201"/>
                  </a:lnTo>
                  <a:lnTo>
                    <a:pt x="803269" y="710757"/>
                  </a:lnTo>
                  <a:lnTo>
                    <a:pt x="826595" y="668411"/>
                  </a:lnTo>
                  <a:lnTo>
                    <a:pt x="845544" y="622295"/>
                  </a:lnTo>
                  <a:lnTo>
                    <a:pt x="677361" y="556548"/>
                  </a:lnTo>
                  <a:lnTo>
                    <a:pt x="656452" y="599824"/>
                  </a:lnTo>
                  <a:lnTo>
                    <a:pt x="630620" y="637616"/>
                  </a:lnTo>
                  <a:lnTo>
                    <a:pt x="600186" y="669496"/>
                  </a:lnTo>
                  <a:lnTo>
                    <a:pt x="565470" y="695035"/>
                  </a:lnTo>
                  <a:lnTo>
                    <a:pt x="526794" y="713808"/>
                  </a:lnTo>
                  <a:lnTo>
                    <a:pt x="484479" y="725385"/>
                  </a:lnTo>
                  <a:lnTo>
                    <a:pt x="438845" y="729339"/>
                  </a:lnTo>
                  <a:lnTo>
                    <a:pt x="393247" y="725381"/>
                  </a:lnTo>
                  <a:lnTo>
                    <a:pt x="350658" y="713759"/>
                  </a:lnTo>
                  <a:lnTo>
                    <a:pt x="311707" y="694850"/>
                  </a:lnTo>
                  <a:lnTo>
                    <a:pt x="277023" y="669033"/>
                  </a:lnTo>
                  <a:lnTo>
                    <a:pt x="247234" y="636684"/>
                  </a:lnTo>
                  <a:lnTo>
                    <a:pt x="222970" y="598181"/>
                  </a:lnTo>
                  <a:lnTo>
                    <a:pt x="204860" y="553902"/>
                  </a:lnTo>
                  <a:lnTo>
                    <a:pt x="193532" y="504224"/>
                  </a:lnTo>
                  <a:lnTo>
                    <a:pt x="189617" y="449525"/>
                  </a:lnTo>
                  <a:lnTo>
                    <a:pt x="193069" y="398502"/>
                  </a:lnTo>
                  <a:lnTo>
                    <a:pt x="203189" y="350889"/>
                  </a:lnTo>
                  <a:lnTo>
                    <a:pt x="219626" y="307378"/>
                  </a:lnTo>
                  <a:lnTo>
                    <a:pt x="242027" y="268662"/>
                  </a:lnTo>
                  <a:lnTo>
                    <a:pt x="270040" y="235432"/>
                  </a:lnTo>
                  <a:lnTo>
                    <a:pt x="303314" y="208382"/>
                  </a:lnTo>
                  <a:lnTo>
                    <a:pt x="341494" y="188204"/>
                  </a:lnTo>
                  <a:lnTo>
                    <a:pt x="384230" y="175589"/>
                  </a:lnTo>
                  <a:lnTo>
                    <a:pt x="431170" y="171230"/>
                  </a:lnTo>
                  <a:lnTo>
                    <a:pt x="478796" y="175457"/>
                  </a:lnTo>
                  <a:lnTo>
                    <a:pt x="523200" y="188222"/>
                  </a:lnTo>
                  <a:lnTo>
                    <a:pt x="563443" y="209653"/>
                  </a:lnTo>
                  <a:lnTo>
                    <a:pt x="598587" y="239875"/>
                  </a:lnTo>
                  <a:lnTo>
                    <a:pt x="627693" y="279017"/>
                  </a:lnTo>
                  <a:lnTo>
                    <a:pt x="649823" y="327204"/>
                  </a:lnTo>
                  <a:lnTo>
                    <a:pt x="821105" y="258390"/>
                  </a:lnTo>
                  <a:lnTo>
                    <a:pt x="799654" y="209917"/>
                  </a:lnTo>
                  <a:lnTo>
                    <a:pt x="773213" y="166352"/>
                  </a:lnTo>
                  <a:lnTo>
                    <a:pt x="742205" y="127739"/>
                  </a:lnTo>
                  <a:lnTo>
                    <a:pt x="707052" y="94125"/>
                  </a:lnTo>
                  <a:lnTo>
                    <a:pt x="668175" y="65556"/>
                  </a:lnTo>
                  <a:lnTo>
                    <a:pt x="625997" y="42079"/>
                  </a:lnTo>
                  <a:lnTo>
                    <a:pt x="580940" y="23738"/>
                  </a:lnTo>
                  <a:lnTo>
                    <a:pt x="533424" y="10581"/>
                  </a:lnTo>
                  <a:lnTo>
                    <a:pt x="483873" y="2652"/>
                  </a:lnTo>
                  <a:lnTo>
                    <a:pt x="432709" y="0"/>
                  </a:lnTo>
                  <a:close/>
                </a:path>
              </a:pathLst>
            </a:custGeom>
            <a:solidFill>
              <a:srgbClr val="009FD3"/>
            </a:solidFill>
          </p:spPr>
          <p:txBody>
            <a:bodyPr wrap="square" lIns="0" tIns="0" rIns="0" bIns="0" rtlCol="0"/>
            <a:lstStyle/>
            <a:p>
              <a:endParaRPr dirty="0"/>
            </a:p>
          </p:txBody>
        </p:sp>
        <p:sp>
          <p:nvSpPr>
            <p:cNvPr id="12" name="object 42">
              <a:extLst>
                <a:ext uri="{FF2B5EF4-FFF2-40B4-BE49-F238E27FC236}">
                  <a16:creationId xmlns:a16="http://schemas.microsoft.com/office/drawing/2014/main" id="{80311604-5F5E-E93D-32AD-4DE7479FEB4A}"/>
                </a:ext>
              </a:extLst>
            </p:cNvPr>
            <p:cNvSpPr/>
            <p:nvPr/>
          </p:nvSpPr>
          <p:spPr>
            <a:xfrm>
              <a:off x="13864965" y="2081361"/>
              <a:ext cx="520063" cy="875033"/>
            </a:xfrm>
            <a:custGeom>
              <a:avLst/>
              <a:gdLst/>
              <a:ahLst/>
              <a:cxnLst/>
              <a:rect l="l" t="t" r="r" b="b"/>
              <a:pathLst>
                <a:path w="520065" h="875030">
                  <a:moveTo>
                    <a:pt x="434238" y="0"/>
                  </a:moveTo>
                  <a:lnTo>
                    <a:pt x="385526" y="4421"/>
                  </a:lnTo>
                  <a:lnTo>
                    <a:pt x="340530" y="17026"/>
                  </a:lnTo>
                  <a:lnTo>
                    <a:pt x="299597" y="36826"/>
                  </a:lnTo>
                  <a:lnTo>
                    <a:pt x="263076" y="62831"/>
                  </a:lnTo>
                  <a:lnTo>
                    <a:pt x="231316" y="94054"/>
                  </a:lnTo>
                  <a:lnTo>
                    <a:pt x="204665" y="129504"/>
                  </a:lnTo>
                  <a:lnTo>
                    <a:pt x="183470" y="168193"/>
                  </a:lnTo>
                  <a:lnTo>
                    <a:pt x="177387" y="168193"/>
                  </a:lnTo>
                  <a:lnTo>
                    <a:pt x="177387" y="24449"/>
                  </a:lnTo>
                  <a:lnTo>
                    <a:pt x="0" y="24449"/>
                  </a:lnTo>
                  <a:lnTo>
                    <a:pt x="0" y="874601"/>
                  </a:lnTo>
                  <a:lnTo>
                    <a:pt x="180455" y="874601"/>
                  </a:lnTo>
                  <a:lnTo>
                    <a:pt x="180455" y="521387"/>
                  </a:lnTo>
                  <a:lnTo>
                    <a:pt x="181846" y="478588"/>
                  </a:lnTo>
                  <a:lnTo>
                    <a:pt x="186448" y="434569"/>
                  </a:lnTo>
                  <a:lnTo>
                    <a:pt x="194902" y="390677"/>
                  </a:lnTo>
                  <a:lnTo>
                    <a:pt x="207851" y="348260"/>
                  </a:lnTo>
                  <a:lnTo>
                    <a:pt x="225938" y="308669"/>
                  </a:lnTo>
                  <a:lnTo>
                    <a:pt x="249803" y="273252"/>
                  </a:lnTo>
                  <a:lnTo>
                    <a:pt x="280091" y="243358"/>
                  </a:lnTo>
                  <a:lnTo>
                    <a:pt x="317441" y="220334"/>
                  </a:lnTo>
                  <a:lnTo>
                    <a:pt x="362498" y="205531"/>
                  </a:lnTo>
                  <a:lnTo>
                    <a:pt x="415903" y="200297"/>
                  </a:lnTo>
                  <a:lnTo>
                    <a:pt x="439236" y="201203"/>
                  </a:lnTo>
                  <a:lnTo>
                    <a:pt x="466157" y="204115"/>
                  </a:lnTo>
                  <a:lnTo>
                    <a:pt x="493939" y="209322"/>
                  </a:lnTo>
                  <a:lnTo>
                    <a:pt x="519858" y="217113"/>
                  </a:lnTo>
                  <a:lnTo>
                    <a:pt x="519858" y="15277"/>
                  </a:lnTo>
                  <a:lnTo>
                    <a:pt x="497459" y="7730"/>
                  </a:lnTo>
                  <a:lnTo>
                    <a:pt x="475917" y="3052"/>
                  </a:lnTo>
                  <a:lnTo>
                    <a:pt x="454940" y="667"/>
                  </a:lnTo>
                  <a:lnTo>
                    <a:pt x="434238" y="0"/>
                  </a:lnTo>
                  <a:close/>
                </a:path>
              </a:pathLst>
            </a:custGeom>
            <a:solidFill>
              <a:srgbClr val="009FD3"/>
            </a:solidFill>
          </p:spPr>
          <p:txBody>
            <a:bodyPr wrap="square" lIns="0" tIns="0" rIns="0" bIns="0" rtlCol="0"/>
            <a:lstStyle/>
            <a:p>
              <a:endParaRPr dirty="0"/>
            </a:p>
          </p:txBody>
        </p:sp>
        <p:sp>
          <p:nvSpPr>
            <p:cNvPr id="13" name="object 43">
              <a:extLst>
                <a:ext uri="{FF2B5EF4-FFF2-40B4-BE49-F238E27FC236}">
                  <a16:creationId xmlns:a16="http://schemas.microsoft.com/office/drawing/2014/main" id="{D4D2E68C-1DA6-6536-E9EE-198848603696}"/>
                </a:ext>
              </a:extLst>
            </p:cNvPr>
            <p:cNvSpPr/>
            <p:nvPr/>
          </p:nvSpPr>
          <p:spPr>
            <a:xfrm>
              <a:off x="15392653" y="2058804"/>
              <a:ext cx="691516" cy="901065"/>
            </a:xfrm>
            <a:custGeom>
              <a:avLst/>
              <a:gdLst/>
              <a:ahLst/>
              <a:cxnLst/>
              <a:rect l="l" t="t" r="r" b="b"/>
              <a:pathLst>
                <a:path w="691515" h="901064">
                  <a:moveTo>
                    <a:pt x="348617" y="0"/>
                  </a:moveTo>
                  <a:lnTo>
                    <a:pt x="299106" y="2817"/>
                  </a:lnTo>
                  <a:lnTo>
                    <a:pt x="251924" y="11166"/>
                  </a:lnTo>
                  <a:lnTo>
                    <a:pt x="207748" y="24890"/>
                  </a:lnTo>
                  <a:lnTo>
                    <a:pt x="167260" y="43834"/>
                  </a:lnTo>
                  <a:lnTo>
                    <a:pt x="131137" y="67842"/>
                  </a:lnTo>
                  <a:lnTo>
                    <a:pt x="100059" y="96758"/>
                  </a:lnTo>
                  <a:lnTo>
                    <a:pt x="74705" y="130426"/>
                  </a:lnTo>
                  <a:lnTo>
                    <a:pt x="55754" y="168692"/>
                  </a:lnTo>
                  <a:lnTo>
                    <a:pt x="43885" y="211398"/>
                  </a:lnTo>
                  <a:lnTo>
                    <a:pt x="39778" y="258390"/>
                  </a:lnTo>
                  <a:lnTo>
                    <a:pt x="45816" y="314072"/>
                  </a:lnTo>
                  <a:lnTo>
                    <a:pt x="62568" y="361225"/>
                  </a:lnTo>
                  <a:lnTo>
                    <a:pt x="87992" y="400637"/>
                  </a:lnTo>
                  <a:lnTo>
                    <a:pt x="120044" y="433095"/>
                  </a:lnTo>
                  <a:lnTo>
                    <a:pt x="156684" y="459388"/>
                  </a:lnTo>
                  <a:lnTo>
                    <a:pt x="195867" y="480304"/>
                  </a:lnTo>
                  <a:lnTo>
                    <a:pt x="235553" y="496631"/>
                  </a:lnTo>
                  <a:lnTo>
                    <a:pt x="273698" y="509157"/>
                  </a:lnTo>
                  <a:lnTo>
                    <a:pt x="362386" y="535146"/>
                  </a:lnTo>
                  <a:lnTo>
                    <a:pt x="411388" y="551110"/>
                  </a:lnTo>
                  <a:lnTo>
                    <a:pt x="455080" y="572235"/>
                  </a:lnTo>
                  <a:lnTo>
                    <a:pt x="486442" y="603107"/>
                  </a:lnTo>
                  <a:lnTo>
                    <a:pt x="498456" y="648315"/>
                  </a:lnTo>
                  <a:lnTo>
                    <a:pt x="485392" y="697213"/>
                  </a:lnTo>
                  <a:lnTo>
                    <a:pt x="452410" y="728771"/>
                  </a:lnTo>
                  <a:lnTo>
                    <a:pt x="408818" y="745710"/>
                  </a:lnTo>
                  <a:lnTo>
                    <a:pt x="363926" y="750752"/>
                  </a:lnTo>
                  <a:lnTo>
                    <a:pt x="319209" y="745345"/>
                  </a:lnTo>
                  <a:lnTo>
                    <a:pt x="274782" y="728781"/>
                  </a:lnTo>
                  <a:lnTo>
                    <a:pt x="233142" y="700548"/>
                  </a:lnTo>
                  <a:lnTo>
                    <a:pt x="196787" y="660132"/>
                  </a:lnTo>
                  <a:lnTo>
                    <a:pt x="168214" y="607018"/>
                  </a:lnTo>
                  <a:lnTo>
                    <a:pt x="0" y="662063"/>
                  </a:lnTo>
                  <a:lnTo>
                    <a:pt x="15600" y="703298"/>
                  </a:lnTo>
                  <a:lnTo>
                    <a:pt x="36540" y="741477"/>
                  </a:lnTo>
                  <a:lnTo>
                    <a:pt x="62564" y="776297"/>
                  </a:lnTo>
                  <a:lnTo>
                    <a:pt x="93413" y="807457"/>
                  </a:lnTo>
                  <a:lnTo>
                    <a:pt x="128831" y="834653"/>
                  </a:lnTo>
                  <a:lnTo>
                    <a:pt x="168560" y="857584"/>
                  </a:lnTo>
                  <a:lnTo>
                    <a:pt x="212345" y="875945"/>
                  </a:lnTo>
                  <a:lnTo>
                    <a:pt x="259926" y="889435"/>
                  </a:lnTo>
                  <a:lnTo>
                    <a:pt x="311049" y="897751"/>
                  </a:lnTo>
                  <a:lnTo>
                    <a:pt x="365454" y="900590"/>
                  </a:lnTo>
                  <a:lnTo>
                    <a:pt x="422495" y="897347"/>
                  </a:lnTo>
                  <a:lnTo>
                    <a:pt x="475054" y="887856"/>
                  </a:lnTo>
                  <a:lnTo>
                    <a:pt x="522772" y="872475"/>
                  </a:lnTo>
                  <a:lnTo>
                    <a:pt x="565290" y="851563"/>
                  </a:lnTo>
                  <a:lnTo>
                    <a:pt x="602251" y="825476"/>
                  </a:lnTo>
                  <a:lnTo>
                    <a:pt x="633295" y="794572"/>
                  </a:lnTo>
                  <a:lnTo>
                    <a:pt x="658065" y="759210"/>
                  </a:lnTo>
                  <a:lnTo>
                    <a:pt x="676201" y="719747"/>
                  </a:lnTo>
                  <a:lnTo>
                    <a:pt x="687346" y="676541"/>
                  </a:lnTo>
                  <a:lnTo>
                    <a:pt x="691141" y="629949"/>
                  </a:lnTo>
                  <a:lnTo>
                    <a:pt x="684472" y="571470"/>
                  </a:lnTo>
                  <a:lnTo>
                    <a:pt x="666175" y="523636"/>
                  </a:lnTo>
                  <a:lnTo>
                    <a:pt x="638811" y="485192"/>
                  </a:lnTo>
                  <a:lnTo>
                    <a:pt x="604942" y="454882"/>
                  </a:lnTo>
                  <a:lnTo>
                    <a:pt x="567129" y="431453"/>
                  </a:lnTo>
                  <a:lnTo>
                    <a:pt x="527935" y="413648"/>
                  </a:lnTo>
                  <a:lnTo>
                    <a:pt x="489922" y="400213"/>
                  </a:lnTo>
                  <a:lnTo>
                    <a:pt x="385328" y="370030"/>
                  </a:lnTo>
                  <a:lnTo>
                    <a:pt x="340711" y="356690"/>
                  </a:lnTo>
                  <a:lnTo>
                    <a:pt x="296689" y="339319"/>
                  </a:lnTo>
                  <a:lnTo>
                    <a:pt x="258615" y="316079"/>
                  </a:lnTo>
                  <a:lnTo>
                    <a:pt x="231844" y="285132"/>
                  </a:lnTo>
                  <a:lnTo>
                    <a:pt x="221731" y="244641"/>
                  </a:lnTo>
                  <a:lnTo>
                    <a:pt x="230686" y="205079"/>
                  </a:lnTo>
                  <a:lnTo>
                    <a:pt x="255548" y="174692"/>
                  </a:lnTo>
                  <a:lnTo>
                    <a:pt x="293315" y="155199"/>
                  </a:lnTo>
                  <a:lnTo>
                    <a:pt x="340984" y="148320"/>
                  </a:lnTo>
                  <a:lnTo>
                    <a:pt x="398485" y="158137"/>
                  </a:lnTo>
                  <a:lnTo>
                    <a:pt x="443228" y="184439"/>
                  </a:lnTo>
                  <a:lnTo>
                    <a:pt x="476217" y="222497"/>
                  </a:lnTo>
                  <a:lnTo>
                    <a:pt x="498456" y="267583"/>
                  </a:lnTo>
                  <a:lnTo>
                    <a:pt x="666660" y="212538"/>
                  </a:lnTo>
                  <a:lnTo>
                    <a:pt x="651471" y="173433"/>
                  </a:lnTo>
                  <a:lnTo>
                    <a:pt x="630571" y="136996"/>
                  </a:lnTo>
                  <a:lnTo>
                    <a:pt x="604248" y="103745"/>
                  </a:lnTo>
                  <a:lnTo>
                    <a:pt x="572792" y="74194"/>
                  </a:lnTo>
                  <a:lnTo>
                    <a:pt x="536491" y="48859"/>
                  </a:lnTo>
                  <a:lnTo>
                    <a:pt x="495634" y="28257"/>
                  </a:lnTo>
                  <a:lnTo>
                    <a:pt x="450510" y="12902"/>
                  </a:lnTo>
                  <a:lnTo>
                    <a:pt x="401408" y="3311"/>
                  </a:lnTo>
                  <a:lnTo>
                    <a:pt x="348617" y="0"/>
                  </a:lnTo>
                  <a:close/>
                </a:path>
              </a:pathLst>
            </a:custGeom>
            <a:solidFill>
              <a:srgbClr val="009FD3"/>
            </a:solidFill>
          </p:spPr>
          <p:txBody>
            <a:bodyPr wrap="square" lIns="0" tIns="0" rIns="0" bIns="0" rtlCol="0"/>
            <a:lstStyle/>
            <a:p>
              <a:endParaRPr dirty="0"/>
            </a:p>
          </p:txBody>
        </p:sp>
        <p:sp>
          <p:nvSpPr>
            <p:cNvPr id="14" name="object 44">
              <a:extLst>
                <a:ext uri="{FF2B5EF4-FFF2-40B4-BE49-F238E27FC236}">
                  <a16:creationId xmlns:a16="http://schemas.microsoft.com/office/drawing/2014/main" id="{18A70E29-E77F-6BE1-DA1F-74278B351199}"/>
                </a:ext>
              </a:extLst>
            </p:cNvPr>
            <p:cNvSpPr/>
            <p:nvPr/>
          </p:nvSpPr>
          <p:spPr>
            <a:xfrm>
              <a:off x="16265864" y="1732733"/>
              <a:ext cx="180976" cy="1223649"/>
            </a:xfrm>
            <a:custGeom>
              <a:avLst/>
              <a:gdLst/>
              <a:ahLst/>
              <a:cxnLst/>
              <a:rect l="l" t="t" r="r" b="b"/>
              <a:pathLst>
                <a:path w="180975" h="1223645">
                  <a:moveTo>
                    <a:pt x="180402" y="0"/>
                  </a:moveTo>
                  <a:lnTo>
                    <a:pt x="0" y="0"/>
                  </a:lnTo>
                  <a:lnTo>
                    <a:pt x="0" y="1223219"/>
                  </a:lnTo>
                  <a:lnTo>
                    <a:pt x="180402" y="1223219"/>
                  </a:lnTo>
                  <a:lnTo>
                    <a:pt x="180402" y="0"/>
                  </a:lnTo>
                  <a:close/>
                </a:path>
              </a:pathLst>
            </a:custGeom>
            <a:solidFill>
              <a:srgbClr val="6F7070"/>
            </a:solidFill>
          </p:spPr>
          <p:txBody>
            <a:bodyPr wrap="square" lIns="0" tIns="0" rIns="0" bIns="0" rtlCol="0"/>
            <a:lstStyle/>
            <a:p>
              <a:endParaRPr dirty="0"/>
            </a:p>
          </p:txBody>
        </p:sp>
        <p:sp>
          <p:nvSpPr>
            <p:cNvPr id="15" name="object 45">
              <a:extLst>
                <a:ext uri="{FF2B5EF4-FFF2-40B4-BE49-F238E27FC236}">
                  <a16:creationId xmlns:a16="http://schemas.microsoft.com/office/drawing/2014/main" id="{F56B255F-047E-A895-EDB1-FDFB45231DD0}"/>
                </a:ext>
              </a:extLst>
            </p:cNvPr>
            <p:cNvSpPr/>
            <p:nvPr/>
          </p:nvSpPr>
          <p:spPr>
            <a:xfrm>
              <a:off x="16640869" y="1714389"/>
              <a:ext cx="235583" cy="1242062"/>
            </a:xfrm>
            <a:custGeom>
              <a:avLst/>
              <a:gdLst/>
              <a:ahLst/>
              <a:cxnLst/>
              <a:rect l="l" t="t" r="r" b="b"/>
              <a:pathLst>
                <a:path w="235584" h="1242060">
                  <a:moveTo>
                    <a:pt x="207951" y="391433"/>
                  </a:moveTo>
                  <a:lnTo>
                    <a:pt x="27548" y="391433"/>
                  </a:lnTo>
                  <a:lnTo>
                    <a:pt x="27548" y="1241585"/>
                  </a:lnTo>
                  <a:lnTo>
                    <a:pt x="207951" y="1241585"/>
                  </a:lnTo>
                  <a:lnTo>
                    <a:pt x="207951" y="391433"/>
                  </a:lnTo>
                  <a:close/>
                </a:path>
                <a:path w="235584" h="1242060">
                  <a:moveTo>
                    <a:pt x="119273" y="0"/>
                  </a:moveTo>
                  <a:lnTo>
                    <a:pt x="71614" y="9342"/>
                  </a:lnTo>
                  <a:lnTo>
                    <a:pt x="33839" y="34598"/>
                  </a:lnTo>
                  <a:lnTo>
                    <a:pt x="8962" y="71606"/>
                  </a:lnTo>
                  <a:lnTo>
                    <a:pt x="0" y="116205"/>
                  </a:lnTo>
                  <a:lnTo>
                    <a:pt x="8962" y="163467"/>
                  </a:lnTo>
                  <a:lnTo>
                    <a:pt x="33839" y="201839"/>
                  </a:lnTo>
                  <a:lnTo>
                    <a:pt x="71614" y="227595"/>
                  </a:lnTo>
                  <a:lnTo>
                    <a:pt x="119273" y="237008"/>
                  </a:lnTo>
                  <a:lnTo>
                    <a:pt x="165171" y="227595"/>
                  </a:lnTo>
                  <a:lnTo>
                    <a:pt x="202042" y="201839"/>
                  </a:lnTo>
                  <a:lnTo>
                    <a:pt x="226585" y="163467"/>
                  </a:lnTo>
                  <a:lnTo>
                    <a:pt x="235500" y="116205"/>
                  </a:lnTo>
                  <a:lnTo>
                    <a:pt x="226585" y="71606"/>
                  </a:lnTo>
                  <a:lnTo>
                    <a:pt x="202042" y="34598"/>
                  </a:lnTo>
                  <a:lnTo>
                    <a:pt x="165171" y="9342"/>
                  </a:lnTo>
                  <a:lnTo>
                    <a:pt x="119273" y="0"/>
                  </a:lnTo>
                  <a:close/>
                </a:path>
              </a:pathLst>
            </a:custGeom>
            <a:solidFill>
              <a:srgbClr val="6F7070"/>
            </a:solidFill>
          </p:spPr>
          <p:txBody>
            <a:bodyPr wrap="square" lIns="0" tIns="0" rIns="0" bIns="0" rtlCol="0"/>
            <a:lstStyle/>
            <a:p>
              <a:endParaRPr dirty="0"/>
            </a:p>
          </p:txBody>
        </p:sp>
        <p:sp>
          <p:nvSpPr>
            <p:cNvPr id="16" name="object 46">
              <a:extLst>
                <a:ext uri="{FF2B5EF4-FFF2-40B4-BE49-F238E27FC236}">
                  <a16:creationId xmlns:a16="http://schemas.microsoft.com/office/drawing/2014/main" id="{7B607868-A4AB-BA86-2EC0-730526F356FA}"/>
                </a:ext>
              </a:extLst>
            </p:cNvPr>
            <p:cNvSpPr/>
            <p:nvPr/>
          </p:nvSpPr>
          <p:spPr>
            <a:xfrm>
              <a:off x="17020107" y="1706757"/>
              <a:ext cx="544830" cy="1249681"/>
            </a:xfrm>
            <a:custGeom>
              <a:avLst/>
              <a:gdLst/>
              <a:ahLst/>
              <a:cxnLst/>
              <a:rect l="l" t="t" r="r" b="b"/>
              <a:pathLst>
                <a:path w="544830" h="1249680">
                  <a:moveTo>
                    <a:pt x="399108" y="0"/>
                  </a:moveTo>
                  <a:lnTo>
                    <a:pt x="350985" y="2989"/>
                  </a:lnTo>
                  <a:lnTo>
                    <a:pt x="306799" y="11987"/>
                  </a:lnTo>
                  <a:lnTo>
                    <a:pt x="266815" y="27041"/>
                  </a:lnTo>
                  <a:lnTo>
                    <a:pt x="231300" y="48195"/>
                  </a:lnTo>
                  <a:lnTo>
                    <a:pt x="200520" y="75496"/>
                  </a:lnTo>
                  <a:lnTo>
                    <a:pt x="174739" y="108989"/>
                  </a:lnTo>
                  <a:lnTo>
                    <a:pt x="154225" y="148720"/>
                  </a:lnTo>
                  <a:lnTo>
                    <a:pt x="139243" y="194736"/>
                  </a:lnTo>
                  <a:lnTo>
                    <a:pt x="130059" y="247081"/>
                  </a:lnTo>
                  <a:lnTo>
                    <a:pt x="126938" y="305802"/>
                  </a:lnTo>
                  <a:lnTo>
                    <a:pt x="126938" y="399055"/>
                  </a:lnTo>
                  <a:lnTo>
                    <a:pt x="0" y="399055"/>
                  </a:lnTo>
                  <a:lnTo>
                    <a:pt x="0" y="562663"/>
                  </a:lnTo>
                  <a:lnTo>
                    <a:pt x="126938" y="562663"/>
                  </a:lnTo>
                  <a:lnTo>
                    <a:pt x="126938" y="1249197"/>
                  </a:lnTo>
                  <a:lnTo>
                    <a:pt x="308880" y="1249197"/>
                  </a:lnTo>
                  <a:lnTo>
                    <a:pt x="308880" y="562663"/>
                  </a:lnTo>
                  <a:lnTo>
                    <a:pt x="519900" y="562663"/>
                  </a:lnTo>
                  <a:lnTo>
                    <a:pt x="519900" y="399055"/>
                  </a:lnTo>
                  <a:lnTo>
                    <a:pt x="308880" y="399055"/>
                  </a:lnTo>
                  <a:lnTo>
                    <a:pt x="308880" y="324136"/>
                  </a:lnTo>
                  <a:lnTo>
                    <a:pt x="309468" y="284076"/>
                  </a:lnTo>
                  <a:lnTo>
                    <a:pt x="313580" y="245202"/>
                  </a:lnTo>
                  <a:lnTo>
                    <a:pt x="346479" y="181890"/>
                  </a:lnTo>
                  <a:lnTo>
                    <a:pt x="382316" y="162890"/>
                  </a:lnTo>
                  <a:lnTo>
                    <a:pt x="435777" y="155953"/>
                  </a:lnTo>
                  <a:lnTo>
                    <a:pt x="460697" y="157243"/>
                  </a:lnTo>
                  <a:lnTo>
                    <a:pt x="486044" y="161686"/>
                  </a:lnTo>
                  <a:lnTo>
                    <a:pt x="513395" y="170142"/>
                  </a:lnTo>
                  <a:lnTo>
                    <a:pt x="544328" y="183470"/>
                  </a:lnTo>
                  <a:lnTo>
                    <a:pt x="544328" y="29025"/>
                  </a:lnTo>
                  <a:lnTo>
                    <a:pt x="508322" y="15460"/>
                  </a:lnTo>
                  <a:lnTo>
                    <a:pt x="470583" y="6486"/>
                  </a:lnTo>
                  <a:lnTo>
                    <a:pt x="433412" y="1525"/>
                  </a:lnTo>
                  <a:lnTo>
                    <a:pt x="399108" y="0"/>
                  </a:lnTo>
                  <a:close/>
                </a:path>
              </a:pathLst>
            </a:custGeom>
            <a:solidFill>
              <a:srgbClr val="6F7070"/>
            </a:solidFill>
          </p:spPr>
          <p:txBody>
            <a:bodyPr wrap="square" lIns="0" tIns="0" rIns="0" bIns="0" rtlCol="0"/>
            <a:lstStyle/>
            <a:p>
              <a:endParaRPr dirty="0"/>
            </a:p>
          </p:txBody>
        </p:sp>
        <p:sp>
          <p:nvSpPr>
            <p:cNvPr id="17" name="object 47">
              <a:extLst>
                <a:ext uri="{FF2B5EF4-FFF2-40B4-BE49-F238E27FC236}">
                  <a16:creationId xmlns:a16="http://schemas.microsoft.com/office/drawing/2014/main" id="{C4E34B81-4E2E-35AE-A351-132F419D0AF7}"/>
                </a:ext>
              </a:extLst>
            </p:cNvPr>
            <p:cNvSpPr/>
            <p:nvPr/>
          </p:nvSpPr>
          <p:spPr>
            <a:xfrm>
              <a:off x="14449120" y="2058804"/>
              <a:ext cx="827407" cy="901065"/>
            </a:xfrm>
            <a:custGeom>
              <a:avLst/>
              <a:gdLst/>
              <a:ahLst/>
              <a:cxnLst/>
              <a:rect l="l" t="t" r="r" b="b"/>
              <a:pathLst>
                <a:path w="827405" h="901064">
                  <a:moveTo>
                    <a:pt x="423536" y="0"/>
                  </a:moveTo>
                  <a:lnTo>
                    <a:pt x="374987" y="2512"/>
                  </a:lnTo>
                  <a:lnTo>
                    <a:pt x="328539" y="9907"/>
                  </a:lnTo>
                  <a:lnTo>
                    <a:pt x="284376" y="21968"/>
                  </a:lnTo>
                  <a:lnTo>
                    <a:pt x="242684" y="38482"/>
                  </a:lnTo>
                  <a:lnTo>
                    <a:pt x="203647" y="59234"/>
                  </a:lnTo>
                  <a:lnTo>
                    <a:pt x="167450" y="84010"/>
                  </a:lnTo>
                  <a:lnTo>
                    <a:pt x="134278" y="112593"/>
                  </a:lnTo>
                  <a:lnTo>
                    <a:pt x="104317" y="144770"/>
                  </a:lnTo>
                  <a:lnTo>
                    <a:pt x="77750" y="180326"/>
                  </a:lnTo>
                  <a:lnTo>
                    <a:pt x="54763" y="219046"/>
                  </a:lnTo>
                  <a:lnTo>
                    <a:pt x="35541" y="260715"/>
                  </a:lnTo>
                  <a:lnTo>
                    <a:pt x="20269" y="305119"/>
                  </a:lnTo>
                  <a:lnTo>
                    <a:pt x="9132" y="352044"/>
                  </a:lnTo>
                  <a:lnTo>
                    <a:pt x="2313" y="401273"/>
                  </a:lnTo>
                  <a:lnTo>
                    <a:pt x="0" y="452593"/>
                  </a:lnTo>
                  <a:lnTo>
                    <a:pt x="2450" y="505453"/>
                  </a:lnTo>
                  <a:lnTo>
                    <a:pt x="9655" y="555675"/>
                  </a:lnTo>
                  <a:lnTo>
                    <a:pt x="21394" y="603111"/>
                  </a:lnTo>
                  <a:lnTo>
                    <a:pt x="37448" y="647611"/>
                  </a:lnTo>
                  <a:lnTo>
                    <a:pt x="57595" y="689025"/>
                  </a:lnTo>
                  <a:lnTo>
                    <a:pt x="81615" y="727205"/>
                  </a:lnTo>
                  <a:lnTo>
                    <a:pt x="109289" y="762000"/>
                  </a:lnTo>
                  <a:lnTo>
                    <a:pt x="140397" y="793261"/>
                  </a:lnTo>
                  <a:lnTo>
                    <a:pt x="174717" y="820840"/>
                  </a:lnTo>
                  <a:lnTo>
                    <a:pt x="212029" y="844585"/>
                  </a:lnTo>
                  <a:lnTo>
                    <a:pt x="252115" y="864348"/>
                  </a:lnTo>
                  <a:lnTo>
                    <a:pt x="294752" y="879980"/>
                  </a:lnTo>
                  <a:lnTo>
                    <a:pt x="339722" y="891330"/>
                  </a:lnTo>
                  <a:lnTo>
                    <a:pt x="386804" y="898250"/>
                  </a:lnTo>
                  <a:lnTo>
                    <a:pt x="435777" y="900590"/>
                  </a:lnTo>
                  <a:lnTo>
                    <a:pt x="489540" y="897772"/>
                  </a:lnTo>
                  <a:lnTo>
                    <a:pt x="540585" y="889528"/>
                  </a:lnTo>
                  <a:lnTo>
                    <a:pt x="588690" y="876176"/>
                  </a:lnTo>
                  <a:lnTo>
                    <a:pt x="633633" y="858032"/>
                  </a:lnTo>
                  <a:lnTo>
                    <a:pt x="675191" y="835414"/>
                  </a:lnTo>
                  <a:lnTo>
                    <a:pt x="713143" y="808638"/>
                  </a:lnTo>
                  <a:lnTo>
                    <a:pt x="747265" y="778021"/>
                  </a:lnTo>
                  <a:lnTo>
                    <a:pt x="777336" y="743880"/>
                  </a:lnTo>
                  <a:lnTo>
                    <a:pt x="781044" y="738511"/>
                  </a:lnTo>
                  <a:lnTo>
                    <a:pt x="435777" y="738511"/>
                  </a:lnTo>
                  <a:lnTo>
                    <a:pt x="387306" y="734405"/>
                  </a:lnTo>
                  <a:lnTo>
                    <a:pt x="342170" y="722288"/>
                  </a:lnTo>
                  <a:lnTo>
                    <a:pt x="301121" y="702467"/>
                  </a:lnTo>
                  <a:lnTo>
                    <a:pt x="264909" y="675246"/>
                  </a:lnTo>
                  <a:lnTo>
                    <a:pt x="234287" y="640929"/>
                  </a:lnTo>
                  <a:lnTo>
                    <a:pt x="210008" y="599822"/>
                  </a:lnTo>
                  <a:lnTo>
                    <a:pt x="192822" y="552229"/>
                  </a:lnTo>
                  <a:lnTo>
                    <a:pt x="183481" y="498456"/>
                  </a:lnTo>
                  <a:lnTo>
                    <a:pt x="827210" y="498456"/>
                  </a:lnTo>
                  <a:lnTo>
                    <a:pt x="827210" y="444949"/>
                  </a:lnTo>
                  <a:lnTo>
                    <a:pt x="824522" y="383338"/>
                  </a:lnTo>
                  <a:lnTo>
                    <a:pt x="822469" y="368491"/>
                  </a:lnTo>
                  <a:lnTo>
                    <a:pt x="192653" y="368491"/>
                  </a:lnTo>
                  <a:lnTo>
                    <a:pt x="205522" y="317240"/>
                  </a:lnTo>
                  <a:lnTo>
                    <a:pt x="225559" y="271525"/>
                  </a:lnTo>
                  <a:lnTo>
                    <a:pt x="252443" y="232202"/>
                  </a:lnTo>
                  <a:lnTo>
                    <a:pt x="285851" y="200127"/>
                  </a:lnTo>
                  <a:lnTo>
                    <a:pt x="325463" y="176157"/>
                  </a:lnTo>
                  <a:lnTo>
                    <a:pt x="370955" y="161146"/>
                  </a:lnTo>
                  <a:lnTo>
                    <a:pt x="422008" y="155953"/>
                  </a:lnTo>
                  <a:lnTo>
                    <a:pt x="746090" y="155953"/>
                  </a:lnTo>
                  <a:lnTo>
                    <a:pt x="741928" y="149612"/>
                  </a:lnTo>
                  <a:lnTo>
                    <a:pt x="714261" y="116820"/>
                  </a:lnTo>
                  <a:lnTo>
                    <a:pt x="683773" y="88374"/>
                  </a:lnTo>
                  <a:lnTo>
                    <a:pt x="650846" y="64145"/>
                  </a:lnTo>
                  <a:lnTo>
                    <a:pt x="615864" y="44001"/>
                  </a:lnTo>
                  <a:lnTo>
                    <a:pt x="579210" y="27813"/>
                  </a:lnTo>
                  <a:lnTo>
                    <a:pt x="541267" y="15449"/>
                  </a:lnTo>
                  <a:lnTo>
                    <a:pt x="502418" y="6779"/>
                  </a:lnTo>
                  <a:lnTo>
                    <a:pt x="463047" y="1673"/>
                  </a:lnTo>
                  <a:lnTo>
                    <a:pt x="423536" y="0"/>
                  </a:lnTo>
                  <a:close/>
                </a:path>
                <a:path w="827405" h="901064">
                  <a:moveTo>
                    <a:pt x="650744" y="605311"/>
                  </a:moveTo>
                  <a:lnTo>
                    <a:pt x="626428" y="643642"/>
                  </a:lnTo>
                  <a:lnTo>
                    <a:pt x="596971" y="676278"/>
                  </a:lnTo>
                  <a:lnTo>
                    <a:pt x="562776" y="702652"/>
                  </a:lnTo>
                  <a:lnTo>
                    <a:pt x="524059" y="722288"/>
                  </a:lnTo>
                  <a:lnTo>
                    <a:pt x="523916" y="722288"/>
                  </a:lnTo>
                  <a:lnTo>
                    <a:pt x="481541" y="734405"/>
                  </a:lnTo>
                  <a:lnTo>
                    <a:pt x="481034" y="734405"/>
                  </a:lnTo>
                  <a:lnTo>
                    <a:pt x="435777" y="738511"/>
                  </a:lnTo>
                  <a:lnTo>
                    <a:pt x="781044" y="738511"/>
                  </a:lnTo>
                  <a:lnTo>
                    <a:pt x="803134" y="706532"/>
                  </a:lnTo>
                  <a:lnTo>
                    <a:pt x="824435" y="666293"/>
                  </a:lnTo>
                  <a:lnTo>
                    <a:pt x="824697" y="665728"/>
                  </a:lnTo>
                  <a:lnTo>
                    <a:pt x="824906" y="665131"/>
                  </a:lnTo>
                  <a:lnTo>
                    <a:pt x="825168" y="664566"/>
                  </a:lnTo>
                  <a:lnTo>
                    <a:pt x="650744" y="605311"/>
                  </a:lnTo>
                  <a:close/>
                </a:path>
                <a:path w="827405" h="901064">
                  <a:moveTo>
                    <a:pt x="746090" y="155953"/>
                  </a:moveTo>
                  <a:lnTo>
                    <a:pt x="422008" y="155953"/>
                  </a:lnTo>
                  <a:lnTo>
                    <a:pt x="466874" y="159622"/>
                  </a:lnTo>
                  <a:lnTo>
                    <a:pt x="509973" y="171076"/>
                  </a:lnTo>
                  <a:lnTo>
                    <a:pt x="549726" y="190981"/>
                  </a:lnTo>
                  <a:lnTo>
                    <a:pt x="584557" y="220008"/>
                  </a:lnTo>
                  <a:lnTo>
                    <a:pt x="612887" y="258822"/>
                  </a:lnTo>
                  <a:lnTo>
                    <a:pt x="633140" y="308094"/>
                  </a:lnTo>
                  <a:lnTo>
                    <a:pt x="643739" y="368491"/>
                  </a:lnTo>
                  <a:lnTo>
                    <a:pt x="822469" y="368491"/>
                  </a:lnTo>
                  <a:lnTo>
                    <a:pt x="816712" y="326855"/>
                  </a:lnTo>
                  <a:lnTo>
                    <a:pt x="804165" y="275372"/>
                  </a:lnTo>
                  <a:lnTo>
                    <a:pt x="787263" y="228757"/>
                  </a:lnTo>
                  <a:lnTo>
                    <a:pt x="766390" y="186881"/>
                  </a:lnTo>
                  <a:lnTo>
                    <a:pt x="746090" y="155953"/>
                  </a:lnTo>
                  <a:close/>
                </a:path>
              </a:pathLst>
            </a:custGeom>
            <a:solidFill>
              <a:srgbClr val="009FD3"/>
            </a:solidFill>
          </p:spPr>
          <p:txBody>
            <a:bodyPr wrap="square" lIns="0" tIns="0" rIns="0" bIns="0" rtlCol="0"/>
            <a:lstStyle/>
            <a:p>
              <a:endParaRPr dirty="0"/>
            </a:p>
          </p:txBody>
        </p:sp>
        <p:sp>
          <p:nvSpPr>
            <p:cNvPr id="18" name="object 48">
              <a:extLst>
                <a:ext uri="{FF2B5EF4-FFF2-40B4-BE49-F238E27FC236}">
                  <a16:creationId xmlns:a16="http://schemas.microsoft.com/office/drawing/2014/main" id="{F23C27BD-4A03-2C59-7EC8-D3B5AC00861D}"/>
                </a:ext>
              </a:extLst>
            </p:cNvPr>
            <p:cNvSpPr/>
            <p:nvPr/>
          </p:nvSpPr>
          <p:spPr>
            <a:xfrm>
              <a:off x="12844987" y="2058804"/>
              <a:ext cx="827407" cy="901065"/>
            </a:xfrm>
            <a:custGeom>
              <a:avLst/>
              <a:gdLst/>
              <a:ahLst/>
              <a:cxnLst/>
              <a:rect l="l" t="t" r="r" b="b"/>
              <a:pathLst>
                <a:path w="827405" h="901064">
                  <a:moveTo>
                    <a:pt x="423536" y="0"/>
                  </a:moveTo>
                  <a:lnTo>
                    <a:pt x="374987" y="2512"/>
                  </a:lnTo>
                  <a:lnTo>
                    <a:pt x="328539" y="9907"/>
                  </a:lnTo>
                  <a:lnTo>
                    <a:pt x="284376" y="21968"/>
                  </a:lnTo>
                  <a:lnTo>
                    <a:pt x="242684" y="38482"/>
                  </a:lnTo>
                  <a:lnTo>
                    <a:pt x="203647" y="59234"/>
                  </a:lnTo>
                  <a:lnTo>
                    <a:pt x="167450" y="84010"/>
                  </a:lnTo>
                  <a:lnTo>
                    <a:pt x="134278" y="112593"/>
                  </a:lnTo>
                  <a:lnTo>
                    <a:pt x="104317" y="144770"/>
                  </a:lnTo>
                  <a:lnTo>
                    <a:pt x="77750" y="180326"/>
                  </a:lnTo>
                  <a:lnTo>
                    <a:pt x="54763" y="219046"/>
                  </a:lnTo>
                  <a:lnTo>
                    <a:pt x="35541" y="260715"/>
                  </a:lnTo>
                  <a:lnTo>
                    <a:pt x="20269" y="305119"/>
                  </a:lnTo>
                  <a:lnTo>
                    <a:pt x="9132" y="352044"/>
                  </a:lnTo>
                  <a:lnTo>
                    <a:pt x="2313" y="401273"/>
                  </a:lnTo>
                  <a:lnTo>
                    <a:pt x="0" y="452593"/>
                  </a:lnTo>
                  <a:lnTo>
                    <a:pt x="2450" y="505453"/>
                  </a:lnTo>
                  <a:lnTo>
                    <a:pt x="9655" y="555675"/>
                  </a:lnTo>
                  <a:lnTo>
                    <a:pt x="21394" y="603111"/>
                  </a:lnTo>
                  <a:lnTo>
                    <a:pt x="37448" y="647611"/>
                  </a:lnTo>
                  <a:lnTo>
                    <a:pt x="57595" y="689025"/>
                  </a:lnTo>
                  <a:lnTo>
                    <a:pt x="81615" y="727205"/>
                  </a:lnTo>
                  <a:lnTo>
                    <a:pt x="109289" y="762000"/>
                  </a:lnTo>
                  <a:lnTo>
                    <a:pt x="140397" y="793261"/>
                  </a:lnTo>
                  <a:lnTo>
                    <a:pt x="174717" y="820840"/>
                  </a:lnTo>
                  <a:lnTo>
                    <a:pt x="212029" y="844585"/>
                  </a:lnTo>
                  <a:lnTo>
                    <a:pt x="252115" y="864348"/>
                  </a:lnTo>
                  <a:lnTo>
                    <a:pt x="294752" y="879980"/>
                  </a:lnTo>
                  <a:lnTo>
                    <a:pt x="339722" y="891330"/>
                  </a:lnTo>
                  <a:lnTo>
                    <a:pt x="386804" y="898250"/>
                  </a:lnTo>
                  <a:lnTo>
                    <a:pt x="435777" y="900590"/>
                  </a:lnTo>
                  <a:lnTo>
                    <a:pt x="489540" y="897772"/>
                  </a:lnTo>
                  <a:lnTo>
                    <a:pt x="540586" y="889528"/>
                  </a:lnTo>
                  <a:lnTo>
                    <a:pt x="588692" y="876176"/>
                  </a:lnTo>
                  <a:lnTo>
                    <a:pt x="633636" y="858032"/>
                  </a:lnTo>
                  <a:lnTo>
                    <a:pt x="675195" y="835414"/>
                  </a:lnTo>
                  <a:lnTo>
                    <a:pt x="713147" y="808638"/>
                  </a:lnTo>
                  <a:lnTo>
                    <a:pt x="747270" y="778021"/>
                  </a:lnTo>
                  <a:lnTo>
                    <a:pt x="777340" y="743880"/>
                  </a:lnTo>
                  <a:lnTo>
                    <a:pt x="781048" y="738511"/>
                  </a:lnTo>
                  <a:lnTo>
                    <a:pt x="435777" y="738511"/>
                  </a:lnTo>
                  <a:lnTo>
                    <a:pt x="387306" y="734405"/>
                  </a:lnTo>
                  <a:lnTo>
                    <a:pt x="342170" y="722288"/>
                  </a:lnTo>
                  <a:lnTo>
                    <a:pt x="301121" y="702467"/>
                  </a:lnTo>
                  <a:lnTo>
                    <a:pt x="264909" y="675246"/>
                  </a:lnTo>
                  <a:lnTo>
                    <a:pt x="234287" y="640929"/>
                  </a:lnTo>
                  <a:lnTo>
                    <a:pt x="210008" y="599822"/>
                  </a:lnTo>
                  <a:lnTo>
                    <a:pt x="192822" y="552229"/>
                  </a:lnTo>
                  <a:lnTo>
                    <a:pt x="183481" y="498456"/>
                  </a:lnTo>
                  <a:lnTo>
                    <a:pt x="827210" y="498456"/>
                  </a:lnTo>
                  <a:lnTo>
                    <a:pt x="827210" y="444949"/>
                  </a:lnTo>
                  <a:lnTo>
                    <a:pt x="824522" y="383338"/>
                  </a:lnTo>
                  <a:lnTo>
                    <a:pt x="822469" y="368491"/>
                  </a:lnTo>
                  <a:lnTo>
                    <a:pt x="192653" y="368491"/>
                  </a:lnTo>
                  <a:lnTo>
                    <a:pt x="205519" y="317240"/>
                  </a:lnTo>
                  <a:lnTo>
                    <a:pt x="225554" y="271525"/>
                  </a:lnTo>
                  <a:lnTo>
                    <a:pt x="252438" y="232202"/>
                  </a:lnTo>
                  <a:lnTo>
                    <a:pt x="285848" y="200127"/>
                  </a:lnTo>
                  <a:lnTo>
                    <a:pt x="325461" y="176157"/>
                  </a:lnTo>
                  <a:lnTo>
                    <a:pt x="370955" y="161146"/>
                  </a:lnTo>
                  <a:lnTo>
                    <a:pt x="422008" y="155953"/>
                  </a:lnTo>
                  <a:lnTo>
                    <a:pt x="746090" y="155953"/>
                  </a:lnTo>
                  <a:lnTo>
                    <a:pt x="741928" y="149612"/>
                  </a:lnTo>
                  <a:lnTo>
                    <a:pt x="714261" y="116820"/>
                  </a:lnTo>
                  <a:lnTo>
                    <a:pt x="683773" y="88374"/>
                  </a:lnTo>
                  <a:lnTo>
                    <a:pt x="650846" y="64145"/>
                  </a:lnTo>
                  <a:lnTo>
                    <a:pt x="615864" y="44001"/>
                  </a:lnTo>
                  <a:lnTo>
                    <a:pt x="579210" y="27813"/>
                  </a:lnTo>
                  <a:lnTo>
                    <a:pt x="541267" y="15449"/>
                  </a:lnTo>
                  <a:lnTo>
                    <a:pt x="502418" y="6779"/>
                  </a:lnTo>
                  <a:lnTo>
                    <a:pt x="463047" y="1673"/>
                  </a:lnTo>
                  <a:lnTo>
                    <a:pt x="423536" y="0"/>
                  </a:lnTo>
                  <a:close/>
                </a:path>
                <a:path w="827405" h="901064">
                  <a:moveTo>
                    <a:pt x="650744" y="605311"/>
                  </a:moveTo>
                  <a:lnTo>
                    <a:pt x="626428" y="643642"/>
                  </a:lnTo>
                  <a:lnTo>
                    <a:pt x="596971" y="676278"/>
                  </a:lnTo>
                  <a:lnTo>
                    <a:pt x="562776" y="702652"/>
                  </a:lnTo>
                  <a:lnTo>
                    <a:pt x="524059" y="722288"/>
                  </a:lnTo>
                  <a:lnTo>
                    <a:pt x="523916" y="722288"/>
                  </a:lnTo>
                  <a:lnTo>
                    <a:pt x="481541" y="734405"/>
                  </a:lnTo>
                  <a:lnTo>
                    <a:pt x="481034" y="734405"/>
                  </a:lnTo>
                  <a:lnTo>
                    <a:pt x="435777" y="738511"/>
                  </a:lnTo>
                  <a:lnTo>
                    <a:pt x="781048" y="738511"/>
                  </a:lnTo>
                  <a:lnTo>
                    <a:pt x="803136" y="706532"/>
                  </a:lnTo>
                  <a:lnTo>
                    <a:pt x="824435" y="666293"/>
                  </a:lnTo>
                  <a:lnTo>
                    <a:pt x="824697" y="665728"/>
                  </a:lnTo>
                  <a:lnTo>
                    <a:pt x="824906" y="665131"/>
                  </a:lnTo>
                  <a:lnTo>
                    <a:pt x="825168" y="664566"/>
                  </a:lnTo>
                  <a:lnTo>
                    <a:pt x="650744" y="605311"/>
                  </a:lnTo>
                  <a:close/>
                </a:path>
                <a:path w="827405" h="901064">
                  <a:moveTo>
                    <a:pt x="746090" y="155953"/>
                  </a:moveTo>
                  <a:lnTo>
                    <a:pt x="422008" y="155953"/>
                  </a:lnTo>
                  <a:lnTo>
                    <a:pt x="466874" y="159622"/>
                  </a:lnTo>
                  <a:lnTo>
                    <a:pt x="509973" y="171076"/>
                  </a:lnTo>
                  <a:lnTo>
                    <a:pt x="549726" y="190981"/>
                  </a:lnTo>
                  <a:lnTo>
                    <a:pt x="584557" y="220008"/>
                  </a:lnTo>
                  <a:lnTo>
                    <a:pt x="612887" y="258822"/>
                  </a:lnTo>
                  <a:lnTo>
                    <a:pt x="633140" y="308094"/>
                  </a:lnTo>
                  <a:lnTo>
                    <a:pt x="643739" y="368491"/>
                  </a:lnTo>
                  <a:lnTo>
                    <a:pt x="822469" y="368491"/>
                  </a:lnTo>
                  <a:lnTo>
                    <a:pt x="816712" y="326855"/>
                  </a:lnTo>
                  <a:lnTo>
                    <a:pt x="804165" y="275372"/>
                  </a:lnTo>
                  <a:lnTo>
                    <a:pt x="787263" y="228757"/>
                  </a:lnTo>
                  <a:lnTo>
                    <a:pt x="766390" y="186881"/>
                  </a:lnTo>
                  <a:lnTo>
                    <a:pt x="746090" y="155953"/>
                  </a:lnTo>
                  <a:close/>
                </a:path>
              </a:pathLst>
            </a:custGeom>
            <a:solidFill>
              <a:srgbClr val="009FD3"/>
            </a:solidFill>
          </p:spPr>
          <p:txBody>
            <a:bodyPr wrap="square" lIns="0" tIns="0" rIns="0" bIns="0" rtlCol="0"/>
            <a:lstStyle/>
            <a:p>
              <a:endParaRPr dirty="0"/>
            </a:p>
          </p:txBody>
        </p:sp>
        <p:sp>
          <p:nvSpPr>
            <p:cNvPr id="19" name="object 49">
              <a:extLst>
                <a:ext uri="{FF2B5EF4-FFF2-40B4-BE49-F238E27FC236}">
                  <a16:creationId xmlns:a16="http://schemas.microsoft.com/office/drawing/2014/main" id="{487EEBE8-333E-E36C-F678-9CE9CFE6488D}"/>
                </a:ext>
              </a:extLst>
            </p:cNvPr>
            <p:cNvSpPr/>
            <p:nvPr/>
          </p:nvSpPr>
          <p:spPr>
            <a:xfrm>
              <a:off x="17608888" y="2058804"/>
              <a:ext cx="827407" cy="901065"/>
            </a:xfrm>
            <a:custGeom>
              <a:avLst/>
              <a:gdLst/>
              <a:ahLst/>
              <a:cxnLst/>
              <a:rect l="l" t="t" r="r" b="b"/>
              <a:pathLst>
                <a:path w="827405" h="901064">
                  <a:moveTo>
                    <a:pt x="423536" y="0"/>
                  </a:moveTo>
                  <a:lnTo>
                    <a:pt x="374987" y="2512"/>
                  </a:lnTo>
                  <a:lnTo>
                    <a:pt x="328539" y="9907"/>
                  </a:lnTo>
                  <a:lnTo>
                    <a:pt x="284376" y="21968"/>
                  </a:lnTo>
                  <a:lnTo>
                    <a:pt x="242684" y="38482"/>
                  </a:lnTo>
                  <a:lnTo>
                    <a:pt x="203647" y="59234"/>
                  </a:lnTo>
                  <a:lnTo>
                    <a:pt x="167450" y="84010"/>
                  </a:lnTo>
                  <a:lnTo>
                    <a:pt x="134278" y="112593"/>
                  </a:lnTo>
                  <a:lnTo>
                    <a:pt x="104317" y="144770"/>
                  </a:lnTo>
                  <a:lnTo>
                    <a:pt x="77750" y="180326"/>
                  </a:lnTo>
                  <a:lnTo>
                    <a:pt x="54763" y="219046"/>
                  </a:lnTo>
                  <a:lnTo>
                    <a:pt x="35541" y="260715"/>
                  </a:lnTo>
                  <a:lnTo>
                    <a:pt x="20269" y="305119"/>
                  </a:lnTo>
                  <a:lnTo>
                    <a:pt x="9132" y="352044"/>
                  </a:lnTo>
                  <a:lnTo>
                    <a:pt x="2313" y="401273"/>
                  </a:lnTo>
                  <a:lnTo>
                    <a:pt x="0" y="452593"/>
                  </a:lnTo>
                  <a:lnTo>
                    <a:pt x="2450" y="505453"/>
                  </a:lnTo>
                  <a:lnTo>
                    <a:pt x="9655" y="555675"/>
                  </a:lnTo>
                  <a:lnTo>
                    <a:pt x="21394" y="603111"/>
                  </a:lnTo>
                  <a:lnTo>
                    <a:pt x="37448" y="647611"/>
                  </a:lnTo>
                  <a:lnTo>
                    <a:pt x="57595" y="689025"/>
                  </a:lnTo>
                  <a:lnTo>
                    <a:pt x="81615" y="727205"/>
                  </a:lnTo>
                  <a:lnTo>
                    <a:pt x="109289" y="762000"/>
                  </a:lnTo>
                  <a:lnTo>
                    <a:pt x="140397" y="793261"/>
                  </a:lnTo>
                  <a:lnTo>
                    <a:pt x="174717" y="820840"/>
                  </a:lnTo>
                  <a:lnTo>
                    <a:pt x="212029" y="844585"/>
                  </a:lnTo>
                  <a:lnTo>
                    <a:pt x="252115" y="864348"/>
                  </a:lnTo>
                  <a:lnTo>
                    <a:pt x="294752" y="879980"/>
                  </a:lnTo>
                  <a:lnTo>
                    <a:pt x="339722" y="891330"/>
                  </a:lnTo>
                  <a:lnTo>
                    <a:pt x="386804" y="898250"/>
                  </a:lnTo>
                  <a:lnTo>
                    <a:pt x="435777" y="900590"/>
                  </a:lnTo>
                  <a:lnTo>
                    <a:pt x="489542" y="897772"/>
                  </a:lnTo>
                  <a:lnTo>
                    <a:pt x="540590" y="889528"/>
                  </a:lnTo>
                  <a:lnTo>
                    <a:pt x="588696" y="876176"/>
                  </a:lnTo>
                  <a:lnTo>
                    <a:pt x="633640" y="858032"/>
                  </a:lnTo>
                  <a:lnTo>
                    <a:pt x="675199" y="835414"/>
                  </a:lnTo>
                  <a:lnTo>
                    <a:pt x="713150" y="808638"/>
                  </a:lnTo>
                  <a:lnTo>
                    <a:pt x="747272" y="778021"/>
                  </a:lnTo>
                  <a:lnTo>
                    <a:pt x="777341" y="743880"/>
                  </a:lnTo>
                  <a:lnTo>
                    <a:pt x="781049" y="738511"/>
                  </a:lnTo>
                  <a:lnTo>
                    <a:pt x="435777" y="738511"/>
                  </a:lnTo>
                  <a:lnTo>
                    <a:pt x="387306" y="734405"/>
                  </a:lnTo>
                  <a:lnTo>
                    <a:pt x="342170" y="722288"/>
                  </a:lnTo>
                  <a:lnTo>
                    <a:pt x="301121" y="702467"/>
                  </a:lnTo>
                  <a:lnTo>
                    <a:pt x="264909" y="675246"/>
                  </a:lnTo>
                  <a:lnTo>
                    <a:pt x="234287" y="640929"/>
                  </a:lnTo>
                  <a:lnTo>
                    <a:pt x="210008" y="599822"/>
                  </a:lnTo>
                  <a:lnTo>
                    <a:pt x="192822" y="552229"/>
                  </a:lnTo>
                  <a:lnTo>
                    <a:pt x="183481" y="498456"/>
                  </a:lnTo>
                  <a:lnTo>
                    <a:pt x="827210" y="498456"/>
                  </a:lnTo>
                  <a:lnTo>
                    <a:pt x="827210" y="444949"/>
                  </a:lnTo>
                  <a:lnTo>
                    <a:pt x="824522" y="383338"/>
                  </a:lnTo>
                  <a:lnTo>
                    <a:pt x="822469" y="368491"/>
                  </a:lnTo>
                  <a:lnTo>
                    <a:pt x="192653" y="368491"/>
                  </a:lnTo>
                  <a:lnTo>
                    <a:pt x="205522" y="317240"/>
                  </a:lnTo>
                  <a:lnTo>
                    <a:pt x="225559" y="271525"/>
                  </a:lnTo>
                  <a:lnTo>
                    <a:pt x="252443" y="232202"/>
                  </a:lnTo>
                  <a:lnTo>
                    <a:pt x="285851" y="200127"/>
                  </a:lnTo>
                  <a:lnTo>
                    <a:pt x="325463" y="176157"/>
                  </a:lnTo>
                  <a:lnTo>
                    <a:pt x="370955" y="161146"/>
                  </a:lnTo>
                  <a:lnTo>
                    <a:pt x="422008" y="155953"/>
                  </a:lnTo>
                  <a:lnTo>
                    <a:pt x="746090" y="155953"/>
                  </a:lnTo>
                  <a:lnTo>
                    <a:pt x="741928" y="149612"/>
                  </a:lnTo>
                  <a:lnTo>
                    <a:pt x="714261" y="116820"/>
                  </a:lnTo>
                  <a:lnTo>
                    <a:pt x="683773" y="88374"/>
                  </a:lnTo>
                  <a:lnTo>
                    <a:pt x="650846" y="64145"/>
                  </a:lnTo>
                  <a:lnTo>
                    <a:pt x="615864" y="44001"/>
                  </a:lnTo>
                  <a:lnTo>
                    <a:pt x="579210" y="27813"/>
                  </a:lnTo>
                  <a:lnTo>
                    <a:pt x="541267" y="15449"/>
                  </a:lnTo>
                  <a:lnTo>
                    <a:pt x="502418" y="6779"/>
                  </a:lnTo>
                  <a:lnTo>
                    <a:pt x="463047" y="1673"/>
                  </a:lnTo>
                  <a:lnTo>
                    <a:pt x="423536" y="0"/>
                  </a:lnTo>
                  <a:close/>
                </a:path>
                <a:path w="827405" h="901064">
                  <a:moveTo>
                    <a:pt x="650744" y="605311"/>
                  </a:moveTo>
                  <a:lnTo>
                    <a:pt x="626428" y="643642"/>
                  </a:lnTo>
                  <a:lnTo>
                    <a:pt x="596971" y="676278"/>
                  </a:lnTo>
                  <a:lnTo>
                    <a:pt x="562776" y="702652"/>
                  </a:lnTo>
                  <a:lnTo>
                    <a:pt x="524059" y="722288"/>
                  </a:lnTo>
                  <a:lnTo>
                    <a:pt x="523916" y="722288"/>
                  </a:lnTo>
                  <a:lnTo>
                    <a:pt x="481541" y="734405"/>
                  </a:lnTo>
                  <a:lnTo>
                    <a:pt x="481034" y="734405"/>
                  </a:lnTo>
                  <a:lnTo>
                    <a:pt x="435777" y="738511"/>
                  </a:lnTo>
                  <a:lnTo>
                    <a:pt x="781049" y="738511"/>
                  </a:lnTo>
                  <a:lnTo>
                    <a:pt x="803136" y="706532"/>
                  </a:lnTo>
                  <a:lnTo>
                    <a:pt x="824435" y="666293"/>
                  </a:lnTo>
                  <a:lnTo>
                    <a:pt x="824697" y="665728"/>
                  </a:lnTo>
                  <a:lnTo>
                    <a:pt x="824906" y="665131"/>
                  </a:lnTo>
                  <a:lnTo>
                    <a:pt x="825168" y="664566"/>
                  </a:lnTo>
                  <a:lnTo>
                    <a:pt x="650744" y="605311"/>
                  </a:lnTo>
                  <a:close/>
                </a:path>
                <a:path w="827405" h="901064">
                  <a:moveTo>
                    <a:pt x="746090" y="155953"/>
                  </a:moveTo>
                  <a:lnTo>
                    <a:pt x="422008" y="155953"/>
                  </a:lnTo>
                  <a:lnTo>
                    <a:pt x="466874" y="159622"/>
                  </a:lnTo>
                  <a:lnTo>
                    <a:pt x="509973" y="171076"/>
                  </a:lnTo>
                  <a:lnTo>
                    <a:pt x="549726" y="190981"/>
                  </a:lnTo>
                  <a:lnTo>
                    <a:pt x="584557" y="220008"/>
                  </a:lnTo>
                  <a:lnTo>
                    <a:pt x="612887" y="258822"/>
                  </a:lnTo>
                  <a:lnTo>
                    <a:pt x="633140" y="308094"/>
                  </a:lnTo>
                  <a:lnTo>
                    <a:pt x="643739" y="368491"/>
                  </a:lnTo>
                  <a:lnTo>
                    <a:pt x="822469" y="368491"/>
                  </a:lnTo>
                  <a:lnTo>
                    <a:pt x="816712" y="326855"/>
                  </a:lnTo>
                  <a:lnTo>
                    <a:pt x="804165" y="275372"/>
                  </a:lnTo>
                  <a:lnTo>
                    <a:pt x="787263" y="228757"/>
                  </a:lnTo>
                  <a:lnTo>
                    <a:pt x="766390" y="186881"/>
                  </a:lnTo>
                  <a:lnTo>
                    <a:pt x="746090" y="155953"/>
                  </a:lnTo>
                  <a:close/>
                </a:path>
              </a:pathLst>
            </a:custGeom>
            <a:solidFill>
              <a:srgbClr val="6F7070"/>
            </a:solidFill>
          </p:spPr>
          <p:txBody>
            <a:bodyPr wrap="square" lIns="0" tIns="0" rIns="0" bIns="0" rtlCol="0"/>
            <a:lstStyle/>
            <a:p>
              <a:endParaRPr dirty="0"/>
            </a:p>
          </p:txBody>
        </p:sp>
      </p:grpSp>
    </p:spTree>
    <p:extLst>
      <p:ext uri="{BB962C8B-B14F-4D97-AF65-F5344CB8AC3E}">
        <p14:creationId xmlns:p14="http://schemas.microsoft.com/office/powerpoint/2010/main" val="1420184466"/>
      </p:ext>
    </p:extLst>
  </p:cSld>
  <p:clrMap bg1="lt1" tx1="dk1" bg2="lt2" tx2="dk2" accent1="accent1" accent2="accent2" accent3="accent3" accent4="accent4" accent5="accent5" accent6="accent6" hlink="hlink" folHlink="folHlink"/>
  <p:sldLayoutIdLst>
    <p:sldLayoutId id="2147483718" r:id="rId1"/>
    <p:sldLayoutId id="2147483691" r:id="rId2"/>
    <p:sldLayoutId id="2147483692" r:id="rId3"/>
    <p:sldLayoutId id="2147483693" r:id="rId4"/>
    <p:sldLayoutId id="2147483694" r:id="rId5"/>
    <p:sldLayoutId id="2147483695" r:id="rId6"/>
    <p:sldLayoutId id="2147483719" r:id="rId7"/>
    <p:sldLayoutId id="2147483720"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3" r:id="rId22"/>
    <p:sldLayoutId id="2147483716" r:id="rId23"/>
    <p:sldLayoutId id="2147483721" r:id="rId24"/>
    <p:sldLayoutId id="2147483717" r:id="rId25"/>
  </p:sldLayoutIdLst>
  <p:txStyles>
    <p:titleStyle>
      <a:lvl1pPr algn="l" defTabSz="914370" rtl="0" eaLnBrk="1" latinLnBrk="0" hangingPunct="1">
        <a:lnSpc>
          <a:spcPct val="90000"/>
        </a:lnSpc>
        <a:spcBef>
          <a:spcPct val="0"/>
        </a:spcBef>
        <a:buNone/>
        <a:defRPr sz="2600" b="1" kern="0" cap="none" baseline="0">
          <a:solidFill>
            <a:schemeClr val="accent1"/>
          </a:solidFill>
          <a:latin typeface="Figtree" pitchFamily="2" charset="0"/>
          <a:ea typeface="+mj-ea"/>
          <a:cs typeface="+mj-cs"/>
        </a:defRPr>
      </a:lvl1pPr>
    </p:titleStyle>
    <p:bodyStyle>
      <a:lvl1pPr marL="179994" indent="-179994" algn="l" defTabSz="914370" rtl="0" eaLnBrk="1" latinLnBrk="0" hangingPunct="1">
        <a:spcBef>
          <a:spcPts val="600"/>
        </a:spcBef>
        <a:buClr>
          <a:schemeClr val="accent1"/>
        </a:buClr>
        <a:buSzPct val="140000"/>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370" rtl="0" eaLnBrk="1" latinLnBrk="0" hangingPunct="1">
        <a:defRPr sz="1200" kern="0">
          <a:solidFill>
            <a:schemeClr val="tx1"/>
          </a:solidFill>
          <a:latin typeface="+mn-lt"/>
          <a:ea typeface="+mn-ea"/>
          <a:cs typeface="+mn-cs"/>
        </a:defRPr>
      </a:lvl1pPr>
      <a:lvl2pPr marL="179994" algn="l" defTabSz="914370" rtl="0" eaLnBrk="1" latinLnBrk="0" hangingPunct="1">
        <a:defRPr sz="1200" kern="0">
          <a:solidFill>
            <a:schemeClr val="tx1"/>
          </a:solidFill>
          <a:latin typeface="+mn-lt"/>
          <a:ea typeface="+mn-ea"/>
          <a:cs typeface="+mn-cs"/>
        </a:defRPr>
      </a:lvl2pPr>
      <a:lvl3pPr marL="359988" algn="l" defTabSz="914370" rtl="0" eaLnBrk="1" latinLnBrk="0" hangingPunct="1">
        <a:defRPr sz="1200" kern="0">
          <a:solidFill>
            <a:schemeClr val="tx1"/>
          </a:solidFill>
          <a:latin typeface="+mn-lt"/>
          <a:ea typeface="+mn-ea"/>
          <a:cs typeface="+mn-cs"/>
        </a:defRPr>
      </a:lvl3pPr>
      <a:lvl4pPr marL="539982" algn="l" defTabSz="914370" rtl="0" eaLnBrk="1" latinLnBrk="0" hangingPunct="1">
        <a:defRPr sz="1200" kern="0">
          <a:solidFill>
            <a:schemeClr val="tx1"/>
          </a:solidFill>
          <a:latin typeface="+mn-lt"/>
          <a:ea typeface="+mn-ea"/>
          <a:cs typeface="+mn-cs"/>
        </a:defRPr>
      </a:lvl4pPr>
      <a:lvl5pPr marL="719977" algn="l" defTabSz="914370" rtl="0" eaLnBrk="1" latinLnBrk="0" hangingPunct="1">
        <a:defRPr sz="1200" kern="0">
          <a:solidFill>
            <a:schemeClr val="tx1"/>
          </a:solidFill>
          <a:latin typeface="+mn-lt"/>
          <a:ea typeface="+mn-ea"/>
          <a:cs typeface="+mn-cs"/>
        </a:defRPr>
      </a:lvl5pPr>
      <a:lvl6pPr marL="899971" algn="l" defTabSz="914370" rtl="0" eaLnBrk="1" latinLnBrk="0" hangingPunct="1">
        <a:defRPr sz="1200" kern="0">
          <a:solidFill>
            <a:schemeClr val="tx1"/>
          </a:solidFill>
          <a:latin typeface="+mn-lt"/>
          <a:ea typeface="+mn-ea"/>
          <a:cs typeface="+mn-cs"/>
        </a:defRPr>
      </a:lvl6pPr>
      <a:lvl7pPr marL="1079965" algn="l" defTabSz="914370" rtl="0" eaLnBrk="1" latinLnBrk="0" hangingPunct="1">
        <a:defRPr sz="1200" kern="0">
          <a:solidFill>
            <a:schemeClr val="tx1"/>
          </a:solidFill>
          <a:latin typeface="+mn-lt"/>
          <a:ea typeface="+mn-ea"/>
          <a:cs typeface="+mn-cs"/>
        </a:defRPr>
      </a:lvl7pPr>
      <a:lvl8pPr marL="1259959" algn="l" defTabSz="914370" rtl="0" eaLnBrk="1" latinLnBrk="0" hangingPunct="1">
        <a:defRPr sz="1200" kern="0">
          <a:solidFill>
            <a:schemeClr val="tx1"/>
          </a:solidFill>
          <a:latin typeface="+mn-lt"/>
          <a:ea typeface="+mn-ea"/>
          <a:cs typeface="+mn-cs"/>
        </a:defRPr>
      </a:lvl8pPr>
      <a:lvl9pPr marL="1439953" algn="l" defTabSz="91437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3" pos="288">
          <p15:clr>
            <a:srgbClr val="F26B43"/>
          </p15:clr>
        </p15:guide>
        <p15:guide id="4" pos="7392">
          <p15:clr>
            <a:srgbClr val="F26B43"/>
          </p15:clr>
        </p15:guide>
        <p15:guide id="6" orient="horz" pos="40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3B87D78-B634-A634-73E1-FD7CDEDAB7B5}"/>
              </a:ext>
            </a:extLst>
          </p:cNvPr>
          <p:cNvGraphicFramePr>
            <a:graphicFrameLocks noChangeAspect="1"/>
          </p:cNvGraphicFramePr>
          <p:nvPr userDrawn="1">
            <p:custDataLst>
              <p:tags r:id="rId29"/>
            </p:custDataLst>
            <p:extLst>
              <p:ext uri="{D42A27DB-BD31-4B8C-83A1-F6EECF244321}">
                <p14:modId xmlns:p14="http://schemas.microsoft.com/office/powerpoint/2010/main" val="1184567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25" imgH="425" progId="TCLayout.ActiveDocument.1">
                  <p:embed/>
                </p:oleObj>
              </mc:Choice>
              <mc:Fallback>
                <p:oleObj name="think-cell Slide" r:id="rId30" imgW="425" imgH="425" progId="TCLayout.ActiveDocument.1">
                  <p:embed/>
                  <p:pic>
                    <p:nvPicPr>
                      <p:cNvPr id="10" name="think-cell data - do not delete" hidden="1">
                        <a:extLst>
                          <a:ext uri="{FF2B5EF4-FFF2-40B4-BE49-F238E27FC236}">
                            <a16:creationId xmlns:a16="http://schemas.microsoft.com/office/drawing/2014/main" id="{23B87D78-B634-A634-73E1-FD7CDEDAB7B5}"/>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457200"/>
            <a:ext cx="11277600" cy="758952"/>
          </a:xfrm>
          <a:prstGeom prst="rect">
            <a:avLst/>
          </a:prstGeom>
        </p:spPr>
        <p:txBody>
          <a:bodyPr vert="horz" lIns="0" tIns="0" rIns="0" bIns="0" rtlCol="0" anchorCtr="0">
            <a:noAutofit/>
          </a:bodyPr>
          <a:lstStyle/>
          <a:p>
            <a:r>
              <a:rPr lang="en-US"/>
              <a:t>Click to edit Master title style</a:t>
            </a:r>
          </a:p>
        </p:txBody>
      </p:sp>
      <p:sp>
        <p:nvSpPr>
          <p:cNvPr id="3" name="BodyText"/>
          <p:cNvSpPr>
            <a:spLocks noGrp="1"/>
          </p:cNvSpPr>
          <p:nvPr>
            <p:ph type="body" idx="1"/>
          </p:nvPr>
        </p:nvSpPr>
        <p:spPr>
          <a:xfrm>
            <a:off x="457200" y="1472184"/>
            <a:ext cx="11277600" cy="492861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hidden="1"/>
          <p:cNvSpPr>
            <a:spLocks noGrp="1"/>
          </p:cNvSpPr>
          <p:nvPr>
            <p:ph type="dt" sz="half" idx="2"/>
          </p:nvPr>
        </p:nvSpPr>
        <p:spPr>
          <a:xfrm>
            <a:off x="580573" y="6864350"/>
            <a:ext cx="399143"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US" smtClean="0"/>
              <a:pPr/>
              <a:t>6/29/25</a:t>
            </a:fld>
            <a:endParaRPr lang="en-US" dirty="0"/>
          </a:p>
        </p:txBody>
      </p:sp>
      <p:sp>
        <p:nvSpPr>
          <p:cNvPr id="5" name="Footer Placeholder" hidden="1"/>
          <p:cNvSpPr>
            <a:spLocks noGrp="1"/>
          </p:cNvSpPr>
          <p:nvPr>
            <p:ph type="ftr" sz="quarter" idx="3"/>
          </p:nvPr>
        </p:nvSpPr>
        <p:spPr>
          <a:xfrm>
            <a:off x="979714" y="6864350"/>
            <a:ext cx="677333" cy="98425"/>
          </a:xfrm>
          <a:prstGeom prst="rect">
            <a:avLst/>
          </a:prstGeom>
        </p:spPr>
        <p:txBody>
          <a:bodyPr vert="horz" lIns="0" tIns="0" rIns="0" bIns="0" rtlCol="0" anchor="ctr"/>
          <a:lstStyle>
            <a:lvl1pPr algn="ctr">
              <a:defRPr sz="300">
                <a:solidFill>
                  <a:schemeClr val="tx1"/>
                </a:solidFill>
              </a:defRPr>
            </a:lvl1pPr>
          </a:lstStyle>
          <a:p>
            <a:endParaRPr lang="en-US" dirty="0"/>
          </a:p>
        </p:txBody>
      </p:sp>
      <p:sp>
        <p:nvSpPr>
          <p:cNvPr id="6" name="Slide Number Placeholder" hidden="1"/>
          <p:cNvSpPr>
            <a:spLocks noGrp="1"/>
          </p:cNvSpPr>
          <p:nvPr>
            <p:ph type="sldNum" sz="quarter" idx="4"/>
          </p:nvPr>
        </p:nvSpPr>
        <p:spPr>
          <a:xfrm>
            <a:off x="1657048" y="6864350"/>
            <a:ext cx="193524"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US" smtClean="0"/>
              <a:pPr/>
              <a:t>‹#›</a:t>
            </a:fld>
            <a:endParaRPr lang="en-US" dirty="0"/>
          </a:p>
        </p:txBody>
      </p:sp>
      <p:sp>
        <p:nvSpPr>
          <p:cNvPr id="7" name="SlideNumber"/>
          <p:cNvSpPr txBox="1"/>
          <p:nvPr userDrawn="1"/>
        </p:nvSpPr>
        <p:spPr>
          <a:xfrm>
            <a:off x="11568088" y="6552456"/>
            <a:ext cx="166712" cy="153888"/>
          </a:xfrm>
          <a:prstGeom prst="rect">
            <a:avLst/>
          </a:prstGeom>
          <a:noFill/>
        </p:spPr>
        <p:txBody>
          <a:bodyPr wrap="none" lIns="0" tIns="0" rIns="0" bIns="0" rtlCol="0" anchor="ctr">
            <a:sp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US" sz="1000" smtClean="0">
                <a:solidFill>
                  <a:schemeClr val="tx1"/>
                </a:solidFill>
              </a:rPr>
              <a:pPr marL="0" marR="0" indent="0" algn="r" defTabSz="914370" rtl="0" eaLnBrk="1" fontAlgn="auto" latinLnBrk="0" hangingPunct="1">
                <a:lnSpc>
                  <a:spcPct val="100000"/>
                </a:lnSpc>
                <a:spcBef>
                  <a:spcPts val="0"/>
                </a:spcBef>
                <a:spcAft>
                  <a:spcPts val="0"/>
                </a:spcAft>
                <a:buClrTx/>
                <a:buSzTx/>
                <a:buFontTx/>
                <a:buNone/>
                <a:tabLst/>
                <a:defRPr/>
              </a:pPr>
              <a:t>‹#›</a:t>
            </a:fld>
            <a:endParaRPr lang="en-US" sz="1000" dirty="0">
              <a:solidFill>
                <a:schemeClr val="tx1"/>
              </a:solidFill>
            </a:endParaRPr>
          </a:p>
        </p:txBody>
      </p:sp>
      <p:grpSp>
        <p:nvGrpSpPr>
          <p:cNvPr id="8" name="Group 7">
            <a:extLst>
              <a:ext uri="{FF2B5EF4-FFF2-40B4-BE49-F238E27FC236}">
                <a16:creationId xmlns:a16="http://schemas.microsoft.com/office/drawing/2014/main" id="{9D308D01-9B52-17C1-741B-900CCA902814}"/>
              </a:ext>
            </a:extLst>
          </p:cNvPr>
          <p:cNvGrpSpPr/>
          <p:nvPr userDrawn="1"/>
        </p:nvGrpSpPr>
        <p:grpSpPr>
          <a:xfrm>
            <a:off x="457200" y="6475006"/>
            <a:ext cx="925606" cy="154394"/>
            <a:chOff x="10923756" y="1706757"/>
            <a:chExt cx="7512539" cy="1253118"/>
          </a:xfrm>
        </p:grpSpPr>
        <p:grpSp>
          <p:nvGrpSpPr>
            <p:cNvPr id="9" name="object 38">
              <a:extLst>
                <a:ext uri="{FF2B5EF4-FFF2-40B4-BE49-F238E27FC236}">
                  <a16:creationId xmlns:a16="http://schemas.microsoft.com/office/drawing/2014/main" id="{330000CC-1D92-0975-64DC-952A3C9B7E72}"/>
                </a:ext>
              </a:extLst>
            </p:cNvPr>
            <p:cNvGrpSpPr/>
            <p:nvPr/>
          </p:nvGrpSpPr>
          <p:grpSpPr>
            <a:xfrm>
              <a:off x="10923756" y="1714383"/>
              <a:ext cx="735329" cy="1245236"/>
              <a:chOff x="10923753" y="1714382"/>
              <a:chExt cx="735330" cy="1245235"/>
            </a:xfrm>
          </p:grpSpPr>
          <p:sp>
            <p:nvSpPr>
              <p:cNvPr id="21" name="object 39">
                <a:extLst>
                  <a:ext uri="{FF2B5EF4-FFF2-40B4-BE49-F238E27FC236}">
                    <a16:creationId xmlns:a16="http://schemas.microsoft.com/office/drawing/2014/main" id="{EB464EF2-3478-3164-024E-D60B00D47AAB}"/>
                  </a:ext>
                </a:extLst>
              </p:cNvPr>
              <p:cNvSpPr/>
              <p:nvPr/>
            </p:nvSpPr>
            <p:spPr>
              <a:xfrm>
                <a:off x="10923753" y="1904561"/>
                <a:ext cx="735330" cy="1055370"/>
              </a:xfrm>
              <a:custGeom>
                <a:avLst/>
                <a:gdLst/>
                <a:ahLst/>
                <a:cxnLst/>
                <a:rect l="l" t="t" r="r" b="b"/>
                <a:pathLst>
                  <a:path w="735329" h="1055370">
                    <a:moveTo>
                      <a:pt x="735126" y="696264"/>
                    </a:moveTo>
                    <a:lnTo>
                      <a:pt x="689292" y="699173"/>
                    </a:lnTo>
                    <a:lnTo>
                      <a:pt x="686409" y="699350"/>
                    </a:lnTo>
                    <a:lnTo>
                      <a:pt x="677418" y="701116"/>
                    </a:lnTo>
                    <a:lnTo>
                      <a:pt x="640435" y="708329"/>
                    </a:lnTo>
                    <a:lnTo>
                      <a:pt x="596709" y="722833"/>
                    </a:lnTo>
                    <a:lnTo>
                      <a:pt x="555599" y="742480"/>
                    </a:lnTo>
                    <a:lnTo>
                      <a:pt x="517512" y="766876"/>
                    </a:lnTo>
                    <a:lnTo>
                      <a:pt x="482815" y="795629"/>
                    </a:lnTo>
                    <a:lnTo>
                      <a:pt x="451904" y="828370"/>
                    </a:lnTo>
                    <a:lnTo>
                      <a:pt x="425157" y="864704"/>
                    </a:lnTo>
                    <a:lnTo>
                      <a:pt x="402958" y="904252"/>
                    </a:lnTo>
                    <a:lnTo>
                      <a:pt x="385686" y="946632"/>
                    </a:lnTo>
                    <a:lnTo>
                      <a:pt x="373735" y="991450"/>
                    </a:lnTo>
                    <a:lnTo>
                      <a:pt x="367474" y="1038326"/>
                    </a:lnTo>
                    <a:lnTo>
                      <a:pt x="364477" y="1016482"/>
                    </a:lnTo>
                    <a:lnTo>
                      <a:pt x="361073" y="991628"/>
                    </a:lnTo>
                    <a:lnTo>
                      <a:pt x="348996" y="947000"/>
                    </a:lnTo>
                    <a:lnTo>
                      <a:pt x="331635" y="904811"/>
                    </a:lnTo>
                    <a:lnTo>
                      <a:pt x="309384" y="865428"/>
                    </a:lnTo>
                    <a:lnTo>
                      <a:pt x="282613" y="829246"/>
                    </a:lnTo>
                    <a:lnTo>
                      <a:pt x="251701" y="796658"/>
                    </a:lnTo>
                    <a:lnTo>
                      <a:pt x="217043" y="768032"/>
                    </a:lnTo>
                    <a:lnTo>
                      <a:pt x="179006" y="743750"/>
                    </a:lnTo>
                    <a:lnTo>
                      <a:pt x="165747" y="737450"/>
                    </a:lnTo>
                    <a:lnTo>
                      <a:pt x="137972" y="724204"/>
                    </a:lnTo>
                    <a:lnTo>
                      <a:pt x="94335" y="709764"/>
                    </a:lnTo>
                    <a:lnTo>
                      <a:pt x="48463" y="700824"/>
                    </a:lnTo>
                    <a:lnTo>
                      <a:pt x="0" y="697776"/>
                    </a:lnTo>
                    <a:lnTo>
                      <a:pt x="4559" y="746353"/>
                    </a:lnTo>
                    <a:lnTo>
                      <a:pt x="15227" y="792911"/>
                    </a:lnTo>
                    <a:lnTo>
                      <a:pt x="31597" y="836993"/>
                    </a:lnTo>
                    <a:lnTo>
                      <a:pt x="53225" y="878205"/>
                    </a:lnTo>
                    <a:lnTo>
                      <a:pt x="79730" y="916139"/>
                    </a:lnTo>
                    <a:lnTo>
                      <a:pt x="110680" y="950353"/>
                    </a:lnTo>
                    <a:lnTo>
                      <a:pt x="145656" y="980465"/>
                    </a:lnTo>
                    <a:lnTo>
                      <a:pt x="184264" y="1006043"/>
                    </a:lnTo>
                    <a:lnTo>
                      <a:pt x="226072" y="1026693"/>
                    </a:lnTo>
                    <a:lnTo>
                      <a:pt x="270675" y="1041971"/>
                    </a:lnTo>
                    <a:lnTo>
                      <a:pt x="317652" y="1051496"/>
                    </a:lnTo>
                    <a:lnTo>
                      <a:pt x="366585" y="1054836"/>
                    </a:lnTo>
                    <a:lnTo>
                      <a:pt x="368223" y="1054836"/>
                    </a:lnTo>
                    <a:lnTo>
                      <a:pt x="417309" y="1051483"/>
                    </a:lnTo>
                    <a:lnTo>
                      <a:pt x="464413" y="1041920"/>
                    </a:lnTo>
                    <a:lnTo>
                      <a:pt x="509130" y="1026566"/>
                    </a:lnTo>
                    <a:lnTo>
                      <a:pt x="551027" y="1005827"/>
                    </a:lnTo>
                    <a:lnTo>
                      <a:pt x="589711" y="980135"/>
                    </a:lnTo>
                    <a:lnTo>
                      <a:pt x="624738" y="949896"/>
                    </a:lnTo>
                    <a:lnTo>
                      <a:pt x="655713" y="915517"/>
                    </a:lnTo>
                    <a:lnTo>
                      <a:pt x="682205" y="877443"/>
                    </a:lnTo>
                    <a:lnTo>
                      <a:pt x="703821" y="836053"/>
                    </a:lnTo>
                    <a:lnTo>
                      <a:pt x="720115" y="791794"/>
                    </a:lnTo>
                    <a:lnTo>
                      <a:pt x="730694" y="745058"/>
                    </a:lnTo>
                    <a:lnTo>
                      <a:pt x="735114" y="696290"/>
                    </a:lnTo>
                    <a:close/>
                  </a:path>
                  <a:path w="735329" h="1055370">
                    <a:moveTo>
                      <a:pt x="735126" y="356158"/>
                    </a:moveTo>
                    <a:lnTo>
                      <a:pt x="686396" y="359244"/>
                    </a:lnTo>
                    <a:lnTo>
                      <a:pt x="640422" y="368223"/>
                    </a:lnTo>
                    <a:lnTo>
                      <a:pt x="596696" y="382739"/>
                    </a:lnTo>
                    <a:lnTo>
                      <a:pt x="555599" y="402374"/>
                    </a:lnTo>
                    <a:lnTo>
                      <a:pt x="517512" y="426770"/>
                    </a:lnTo>
                    <a:lnTo>
                      <a:pt x="482815" y="455523"/>
                    </a:lnTo>
                    <a:lnTo>
                      <a:pt x="451904" y="488264"/>
                    </a:lnTo>
                    <a:lnTo>
                      <a:pt x="425157" y="524598"/>
                    </a:lnTo>
                    <a:lnTo>
                      <a:pt x="402958" y="564146"/>
                    </a:lnTo>
                    <a:lnTo>
                      <a:pt x="385686" y="606526"/>
                    </a:lnTo>
                    <a:lnTo>
                      <a:pt x="373735" y="651344"/>
                    </a:lnTo>
                    <a:lnTo>
                      <a:pt x="367474" y="698220"/>
                    </a:lnTo>
                    <a:lnTo>
                      <a:pt x="361073" y="651522"/>
                    </a:lnTo>
                    <a:lnTo>
                      <a:pt x="348996" y="606894"/>
                    </a:lnTo>
                    <a:lnTo>
                      <a:pt x="331635" y="564692"/>
                    </a:lnTo>
                    <a:lnTo>
                      <a:pt x="309384" y="525310"/>
                    </a:lnTo>
                    <a:lnTo>
                      <a:pt x="282613" y="489140"/>
                    </a:lnTo>
                    <a:lnTo>
                      <a:pt x="251701" y="456552"/>
                    </a:lnTo>
                    <a:lnTo>
                      <a:pt x="217043" y="427926"/>
                    </a:lnTo>
                    <a:lnTo>
                      <a:pt x="179006" y="403644"/>
                    </a:lnTo>
                    <a:lnTo>
                      <a:pt x="137972" y="384098"/>
                    </a:lnTo>
                    <a:lnTo>
                      <a:pt x="94335" y="369658"/>
                    </a:lnTo>
                    <a:lnTo>
                      <a:pt x="48463" y="360718"/>
                    </a:lnTo>
                    <a:lnTo>
                      <a:pt x="0" y="357644"/>
                    </a:lnTo>
                    <a:lnTo>
                      <a:pt x="4559" y="406247"/>
                    </a:lnTo>
                    <a:lnTo>
                      <a:pt x="15227" y="452793"/>
                    </a:lnTo>
                    <a:lnTo>
                      <a:pt x="31597" y="496887"/>
                    </a:lnTo>
                    <a:lnTo>
                      <a:pt x="53238" y="538099"/>
                    </a:lnTo>
                    <a:lnTo>
                      <a:pt x="79730" y="576021"/>
                    </a:lnTo>
                    <a:lnTo>
                      <a:pt x="110680" y="610247"/>
                    </a:lnTo>
                    <a:lnTo>
                      <a:pt x="145669" y="640359"/>
                    </a:lnTo>
                    <a:lnTo>
                      <a:pt x="184264" y="665937"/>
                    </a:lnTo>
                    <a:lnTo>
                      <a:pt x="226072" y="686574"/>
                    </a:lnTo>
                    <a:lnTo>
                      <a:pt x="270675" y="701865"/>
                    </a:lnTo>
                    <a:lnTo>
                      <a:pt x="317652" y="711390"/>
                    </a:lnTo>
                    <a:lnTo>
                      <a:pt x="366585" y="714730"/>
                    </a:lnTo>
                    <a:lnTo>
                      <a:pt x="368223" y="714730"/>
                    </a:lnTo>
                    <a:lnTo>
                      <a:pt x="417309" y="711377"/>
                    </a:lnTo>
                    <a:lnTo>
                      <a:pt x="464413" y="701814"/>
                    </a:lnTo>
                    <a:lnTo>
                      <a:pt x="509130" y="686447"/>
                    </a:lnTo>
                    <a:lnTo>
                      <a:pt x="551027" y="665721"/>
                    </a:lnTo>
                    <a:lnTo>
                      <a:pt x="589711" y="640029"/>
                    </a:lnTo>
                    <a:lnTo>
                      <a:pt x="624738" y="609777"/>
                    </a:lnTo>
                    <a:lnTo>
                      <a:pt x="655713" y="575411"/>
                    </a:lnTo>
                    <a:lnTo>
                      <a:pt x="682205" y="537324"/>
                    </a:lnTo>
                    <a:lnTo>
                      <a:pt x="703821" y="495947"/>
                    </a:lnTo>
                    <a:lnTo>
                      <a:pt x="720115" y="451675"/>
                    </a:lnTo>
                    <a:lnTo>
                      <a:pt x="730694" y="404952"/>
                    </a:lnTo>
                    <a:lnTo>
                      <a:pt x="735126" y="356158"/>
                    </a:lnTo>
                    <a:close/>
                  </a:path>
                  <a:path w="735329" h="1055370">
                    <a:moveTo>
                      <a:pt x="735126" y="0"/>
                    </a:moveTo>
                    <a:lnTo>
                      <a:pt x="686396" y="3073"/>
                    </a:lnTo>
                    <a:lnTo>
                      <a:pt x="640422" y="12065"/>
                    </a:lnTo>
                    <a:lnTo>
                      <a:pt x="596696" y="26568"/>
                    </a:lnTo>
                    <a:lnTo>
                      <a:pt x="555599" y="46215"/>
                    </a:lnTo>
                    <a:lnTo>
                      <a:pt x="517512" y="70599"/>
                    </a:lnTo>
                    <a:lnTo>
                      <a:pt x="482815" y="99364"/>
                    </a:lnTo>
                    <a:lnTo>
                      <a:pt x="451904" y="132105"/>
                    </a:lnTo>
                    <a:lnTo>
                      <a:pt x="425157" y="168440"/>
                    </a:lnTo>
                    <a:lnTo>
                      <a:pt x="402958" y="207987"/>
                    </a:lnTo>
                    <a:lnTo>
                      <a:pt x="385686" y="250355"/>
                    </a:lnTo>
                    <a:lnTo>
                      <a:pt x="373735" y="295173"/>
                    </a:lnTo>
                    <a:lnTo>
                      <a:pt x="367474" y="342049"/>
                    </a:lnTo>
                    <a:lnTo>
                      <a:pt x="361073" y="295363"/>
                    </a:lnTo>
                    <a:lnTo>
                      <a:pt x="348996" y="250723"/>
                    </a:lnTo>
                    <a:lnTo>
                      <a:pt x="331635" y="208534"/>
                    </a:lnTo>
                    <a:lnTo>
                      <a:pt x="309384" y="169151"/>
                    </a:lnTo>
                    <a:lnTo>
                      <a:pt x="282613" y="132969"/>
                    </a:lnTo>
                    <a:lnTo>
                      <a:pt x="251701" y="100380"/>
                    </a:lnTo>
                    <a:lnTo>
                      <a:pt x="217043" y="71755"/>
                    </a:lnTo>
                    <a:lnTo>
                      <a:pt x="179006" y="47472"/>
                    </a:lnTo>
                    <a:lnTo>
                      <a:pt x="137972" y="27927"/>
                    </a:lnTo>
                    <a:lnTo>
                      <a:pt x="94335" y="13487"/>
                    </a:lnTo>
                    <a:lnTo>
                      <a:pt x="48463" y="4546"/>
                    </a:lnTo>
                    <a:lnTo>
                      <a:pt x="0" y="1485"/>
                    </a:lnTo>
                    <a:lnTo>
                      <a:pt x="4559" y="50088"/>
                    </a:lnTo>
                    <a:lnTo>
                      <a:pt x="15227" y="96634"/>
                    </a:lnTo>
                    <a:lnTo>
                      <a:pt x="31597" y="140716"/>
                    </a:lnTo>
                    <a:lnTo>
                      <a:pt x="53238" y="181940"/>
                    </a:lnTo>
                    <a:lnTo>
                      <a:pt x="79730" y="219862"/>
                    </a:lnTo>
                    <a:lnTo>
                      <a:pt x="110680" y="254088"/>
                    </a:lnTo>
                    <a:lnTo>
                      <a:pt x="145669" y="284187"/>
                    </a:lnTo>
                    <a:lnTo>
                      <a:pt x="184264" y="309778"/>
                    </a:lnTo>
                    <a:lnTo>
                      <a:pt x="226072" y="330415"/>
                    </a:lnTo>
                    <a:lnTo>
                      <a:pt x="270675" y="345706"/>
                    </a:lnTo>
                    <a:lnTo>
                      <a:pt x="317652" y="355219"/>
                    </a:lnTo>
                    <a:lnTo>
                      <a:pt x="366585" y="358559"/>
                    </a:lnTo>
                    <a:lnTo>
                      <a:pt x="368223" y="358559"/>
                    </a:lnTo>
                    <a:lnTo>
                      <a:pt x="417309" y="355206"/>
                    </a:lnTo>
                    <a:lnTo>
                      <a:pt x="464413" y="345643"/>
                    </a:lnTo>
                    <a:lnTo>
                      <a:pt x="509130" y="330288"/>
                    </a:lnTo>
                    <a:lnTo>
                      <a:pt x="551027" y="309549"/>
                    </a:lnTo>
                    <a:lnTo>
                      <a:pt x="589711" y="283857"/>
                    </a:lnTo>
                    <a:lnTo>
                      <a:pt x="624738" y="253619"/>
                    </a:lnTo>
                    <a:lnTo>
                      <a:pt x="655713" y="219252"/>
                    </a:lnTo>
                    <a:lnTo>
                      <a:pt x="682205" y="181165"/>
                    </a:lnTo>
                    <a:lnTo>
                      <a:pt x="703821" y="139776"/>
                    </a:lnTo>
                    <a:lnTo>
                      <a:pt x="720115" y="95516"/>
                    </a:lnTo>
                    <a:lnTo>
                      <a:pt x="730694" y="48780"/>
                    </a:lnTo>
                    <a:lnTo>
                      <a:pt x="735126" y="0"/>
                    </a:lnTo>
                    <a:close/>
                  </a:path>
                </a:pathLst>
              </a:custGeom>
              <a:solidFill>
                <a:srgbClr val="009FD3"/>
              </a:solidFill>
            </p:spPr>
            <p:txBody>
              <a:bodyPr wrap="square" lIns="0" tIns="0" rIns="0" bIns="0" rtlCol="0"/>
              <a:lstStyle/>
              <a:p>
                <a:endParaRPr dirty="0"/>
              </a:p>
            </p:txBody>
          </p:sp>
          <p:pic>
            <p:nvPicPr>
              <p:cNvPr id="22" name="object 40">
                <a:extLst>
                  <a:ext uri="{FF2B5EF4-FFF2-40B4-BE49-F238E27FC236}">
                    <a16:creationId xmlns:a16="http://schemas.microsoft.com/office/drawing/2014/main" id="{77EF0500-6CBB-745E-4A0A-0307A623C6CE}"/>
                  </a:ext>
                </a:extLst>
              </p:cNvPr>
              <p:cNvPicPr/>
              <p:nvPr/>
            </p:nvPicPr>
            <p:blipFill>
              <a:blip r:embed="rId32" cstate="print"/>
              <a:stretch>
                <a:fillRect/>
              </a:stretch>
            </p:blipFill>
            <p:spPr>
              <a:xfrm>
                <a:off x="11174235" y="1714382"/>
                <a:ext cx="235500" cy="237008"/>
              </a:xfrm>
              <a:prstGeom prst="rect">
                <a:avLst/>
              </a:prstGeom>
            </p:spPr>
          </p:pic>
        </p:grpSp>
        <p:sp>
          <p:nvSpPr>
            <p:cNvPr id="11" name="object 41">
              <a:extLst>
                <a:ext uri="{FF2B5EF4-FFF2-40B4-BE49-F238E27FC236}">
                  <a16:creationId xmlns:a16="http://schemas.microsoft.com/office/drawing/2014/main" id="{4D696887-FABA-4639-9685-E509CED11C29}"/>
                </a:ext>
              </a:extLst>
            </p:cNvPr>
            <p:cNvSpPr/>
            <p:nvPr/>
          </p:nvSpPr>
          <p:spPr>
            <a:xfrm>
              <a:off x="11898399" y="2058810"/>
              <a:ext cx="845820" cy="901065"/>
            </a:xfrm>
            <a:custGeom>
              <a:avLst/>
              <a:gdLst/>
              <a:ahLst/>
              <a:cxnLst/>
              <a:rect l="l" t="t" r="r" b="b"/>
              <a:pathLst>
                <a:path w="845820" h="901064">
                  <a:moveTo>
                    <a:pt x="432709" y="0"/>
                  </a:moveTo>
                  <a:lnTo>
                    <a:pt x="384043" y="2321"/>
                  </a:lnTo>
                  <a:lnTo>
                    <a:pt x="337266" y="9196"/>
                  </a:lnTo>
                  <a:lnTo>
                    <a:pt x="292595" y="20488"/>
                  </a:lnTo>
                  <a:lnTo>
                    <a:pt x="250247" y="36062"/>
                  </a:lnTo>
                  <a:lnTo>
                    <a:pt x="210441" y="55780"/>
                  </a:lnTo>
                  <a:lnTo>
                    <a:pt x="173394" y="79508"/>
                  </a:lnTo>
                  <a:lnTo>
                    <a:pt x="139322" y="107110"/>
                  </a:lnTo>
                  <a:lnTo>
                    <a:pt x="108445" y="138449"/>
                  </a:lnTo>
                  <a:lnTo>
                    <a:pt x="80979" y="173389"/>
                  </a:lnTo>
                  <a:lnTo>
                    <a:pt x="57141" y="211795"/>
                  </a:lnTo>
                  <a:lnTo>
                    <a:pt x="37150" y="253531"/>
                  </a:lnTo>
                  <a:lnTo>
                    <a:pt x="21223" y="298461"/>
                  </a:lnTo>
                  <a:lnTo>
                    <a:pt x="9577" y="346449"/>
                  </a:lnTo>
                  <a:lnTo>
                    <a:pt x="2430" y="397358"/>
                  </a:lnTo>
                  <a:lnTo>
                    <a:pt x="0" y="451054"/>
                  </a:lnTo>
                  <a:lnTo>
                    <a:pt x="2451" y="504730"/>
                  </a:lnTo>
                  <a:lnTo>
                    <a:pt x="9659" y="555585"/>
                  </a:lnTo>
                  <a:lnTo>
                    <a:pt x="21407" y="603488"/>
                  </a:lnTo>
                  <a:lnTo>
                    <a:pt x="37477" y="648308"/>
                  </a:lnTo>
                  <a:lnTo>
                    <a:pt x="57651" y="689916"/>
                  </a:lnTo>
                  <a:lnTo>
                    <a:pt x="81713" y="728180"/>
                  </a:lnTo>
                  <a:lnTo>
                    <a:pt x="109445" y="762971"/>
                  </a:lnTo>
                  <a:lnTo>
                    <a:pt x="140629" y="794157"/>
                  </a:lnTo>
                  <a:lnTo>
                    <a:pt x="175047" y="821609"/>
                  </a:lnTo>
                  <a:lnTo>
                    <a:pt x="212482" y="845195"/>
                  </a:lnTo>
                  <a:lnTo>
                    <a:pt x="252718" y="864785"/>
                  </a:lnTo>
                  <a:lnTo>
                    <a:pt x="295535" y="880250"/>
                  </a:lnTo>
                  <a:lnTo>
                    <a:pt x="340717" y="891457"/>
                  </a:lnTo>
                  <a:lnTo>
                    <a:pt x="388047" y="898277"/>
                  </a:lnTo>
                  <a:lnTo>
                    <a:pt x="437306" y="900579"/>
                  </a:lnTo>
                  <a:lnTo>
                    <a:pt x="488856" y="898061"/>
                  </a:lnTo>
                  <a:lnTo>
                    <a:pt x="538264" y="890595"/>
                  </a:lnTo>
                  <a:lnTo>
                    <a:pt x="585282" y="878310"/>
                  </a:lnTo>
                  <a:lnTo>
                    <a:pt x="629660" y="861339"/>
                  </a:lnTo>
                  <a:lnTo>
                    <a:pt x="671150" y="839811"/>
                  </a:lnTo>
                  <a:lnTo>
                    <a:pt x="709505" y="813859"/>
                  </a:lnTo>
                  <a:lnTo>
                    <a:pt x="744475" y="783611"/>
                  </a:lnTo>
                  <a:lnTo>
                    <a:pt x="775812" y="749201"/>
                  </a:lnTo>
                  <a:lnTo>
                    <a:pt x="803269" y="710757"/>
                  </a:lnTo>
                  <a:lnTo>
                    <a:pt x="826595" y="668411"/>
                  </a:lnTo>
                  <a:lnTo>
                    <a:pt x="845544" y="622295"/>
                  </a:lnTo>
                  <a:lnTo>
                    <a:pt x="677361" y="556548"/>
                  </a:lnTo>
                  <a:lnTo>
                    <a:pt x="656452" y="599824"/>
                  </a:lnTo>
                  <a:lnTo>
                    <a:pt x="630620" y="637616"/>
                  </a:lnTo>
                  <a:lnTo>
                    <a:pt x="600186" y="669496"/>
                  </a:lnTo>
                  <a:lnTo>
                    <a:pt x="565470" y="695035"/>
                  </a:lnTo>
                  <a:lnTo>
                    <a:pt x="526794" y="713808"/>
                  </a:lnTo>
                  <a:lnTo>
                    <a:pt x="484479" y="725385"/>
                  </a:lnTo>
                  <a:lnTo>
                    <a:pt x="438845" y="729339"/>
                  </a:lnTo>
                  <a:lnTo>
                    <a:pt x="393247" y="725381"/>
                  </a:lnTo>
                  <a:lnTo>
                    <a:pt x="350658" y="713759"/>
                  </a:lnTo>
                  <a:lnTo>
                    <a:pt x="311707" y="694850"/>
                  </a:lnTo>
                  <a:lnTo>
                    <a:pt x="277023" y="669033"/>
                  </a:lnTo>
                  <a:lnTo>
                    <a:pt x="247234" y="636684"/>
                  </a:lnTo>
                  <a:lnTo>
                    <a:pt x="222970" y="598181"/>
                  </a:lnTo>
                  <a:lnTo>
                    <a:pt x="204860" y="553902"/>
                  </a:lnTo>
                  <a:lnTo>
                    <a:pt x="193532" y="504224"/>
                  </a:lnTo>
                  <a:lnTo>
                    <a:pt x="189617" y="449525"/>
                  </a:lnTo>
                  <a:lnTo>
                    <a:pt x="193069" y="398502"/>
                  </a:lnTo>
                  <a:lnTo>
                    <a:pt x="203189" y="350889"/>
                  </a:lnTo>
                  <a:lnTo>
                    <a:pt x="219626" y="307378"/>
                  </a:lnTo>
                  <a:lnTo>
                    <a:pt x="242027" y="268662"/>
                  </a:lnTo>
                  <a:lnTo>
                    <a:pt x="270040" y="235432"/>
                  </a:lnTo>
                  <a:lnTo>
                    <a:pt x="303314" y="208382"/>
                  </a:lnTo>
                  <a:lnTo>
                    <a:pt x="341494" y="188204"/>
                  </a:lnTo>
                  <a:lnTo>
                    <a:pt x="384230" y="175589"/>
                  </a:lnTo>
                  <a:lnTo>
                    <a:pt x="431170" y="171230"/>
                  </a:lnTo>
                  <a:lnTo>
                    <a:pt x="478796" y="175457"/>
                  </a:lnTo>
                  <a:lnTo>
                    <a:pt x="523200" y="188222"/>
                  </a:lnTo>
                  <a:lnTo>
                    <a:pt x="563443" y="209653"/>
                  </a:lnTo>
                  <a:lnTo>
                    <a:pt x="598587" y="239875"/>
                  </a:lnTo>
                  <a:lnTo>
                    <a:pt x="627693" y="279017"/>
                  </a:lnTo>
                  <a:lnTo>
                    <a:pt x="649823" y="327204"/>
                  </a:lnTo>
                  <a:lnTo>
                    <a:pt x="821105" y="258390"/>
                  </a:lnTo>
                  <a:lnTo>
                    <a:pt x="799654" y="209917"/>
                  </a:lnTo>
                  <a:lnTo>
                    <a:pt x="773213" y="166352"/>
                  </a:lnTo>
                  <a:lnTo>
                    <a:pt x="742205" y="127739"/>
                  </a:lnTo>
                  <a:lnTo>
                    <a:pt x="707052" y="94125"/>
                  </a:lnTo>
                  <a:lnTo>
                    <a:pt x="668175" y="65556"/>
                  </a:lnTo>
                  <a:lnTo>
                    <a:pt x="625997" y="42079"/>
                  </a:lnTo>
                  <a:lnTo>
                    <a:pt x="580940" y="23738"/>
                  </a:lnTo>
                  <a:lnTo>
                    <a:pt x="533424" y="10581"/>
                  </a:lnTo>
                  <a:lnTo>
                    <a:pt x="483873" y="2652"/>
                  </a:lnTo>
                  <a:lnTo>
                    <a:pt x="432709" y="0"/>
                  </a:lnTo>
                  <a:close/>
                </a:path>
              </a:pathLst>
            </a:custGeom>
            <a:solidFill>
              <a:srgbClr val="009FD3"/>
            </a:solidFill>
          </p:spPr>
          <p:txBody>
            <a:bodyPr wrap="square" lIns="0" tIns="0" rIns="0" bIns="0" rtlCol="0"/>
            <a:lstStyle/>
            <a:p>
              <a:endParaRPr dirty="0"/>
            </a:p>
          </p:txBody>
        </p:sp>
        <p:sp>
          <p:nvSpPr>
            <p:cNvPr id="12" name="object 42">
              <a:extLst>
                <a:ext uri="{FF2B5EF4-FFF2-40B4-BE49-F238E27FC236}">
                  <a16:creationId xmlns:a16="http://schemas.microsoft.com/office/drawing/2014/main" id="{80311604-5F5E-E93D-32AD-4DE7479FEB4A}"/>
                </a:ext>
              </a:extLst>
            </p:cNvPr>
            <p:cNvSpPr/>
            <p:nvPr/>
          </p:nvSpPr>
          <p:spPr>
            <a:xfrm>
              <a:off x="13864965" y="2081361"/>
              <a:ext cx="520063" cy="875033"/>
            </a:xfrm>
            <a:custGeom>
              <a:avLst/>
              <a:gdLst/>
              <a:ahLst/>
              <a:cxnLst/>
              <a:rect l="l" t="t" r="r" b="b"/>
              <a:pathLst>
                <a:path w="520065" h="875030">
                  <a:moveTo>
                    <a:pt x="434238" y="0"/>
                  </a:moveTo>
                  <a:lnTo>
                    <a:pt x="385526" y="4421"/>
                  </a:lnTo>
                  <a:lnTo>
                    <a:pt x="340530" y="17026"/>
                  </a:lnTo>
                  <a:lnTo>
                    <a:pt x="299597" y="36826"/>
                  </a:lnTo>
                  <a:lnTo>
                    <a:pt x="263076" y="62831"/>
                  </a:lnTo>
                  <a:lnTo>
                    <a:pt x="231316" y="94054"/>
                  </a:lnTo>
                  <a:lnTo>
                    <a:pt x="204665" y="129504"/>
                  </a:lnTo>
                  <a:lnTo>
                    <a:pt x="183470" y="168193"/>
                  </a:lnTo>
                  <a:lnTo>
                    <a:pt x="177387" y="168193"/>
                  </a:lnTo>
                  <a:lnTo>
                    <a:pt x="177387" y="24449"/>
                  </a:lnTo>
                  <a:lnTo>
                    <a:pt x="0" y="24449"/>
                  </a:lnTo>
                  <a:lnTo>
                    <a:pt x="0" y="874601"/>
                  </a:lnTo>
                  <a:lnTo>
                    <a:pt x="180455" y="874601"/>
                  </a:lnTo>
                  <a:lnTo>
                    <a:pt x="180455" y="521387"/>
                  </a:lnTo>
                  <a:lnTo>
                    <a:pt x="181846" y="478588"/>
                  </a:lnTo>
                  <a:lnTo>
                    <a:pt x="186448" y="434569"/>
                  </a:lnTo>
                  <a:lnTo>
                    <a:pt x="194902" y="390677"/>
                  </a:lnTo>
                  <a:lnTo>
                    <a:pt x="207851" y="348260"/>
                  </a:lnTo>
                  <a:lnTo>
                    <a:pt x="225938" y="308669"/>
                  </a:lnTo>
                  <a:lnTo>
                    <a:pt x="249803" y="273252"/>
                  </a:lnTo>
                  <a:lnTo>
                    <a:pt x="280091" y="243358"/>
                  </a:lnTo>
                  <a:lnTo>
                    <a:pt x="317441" y="220334"/>
                  </a:lnTo>
                  <a:lnTo>
                    <a:pt x="362498" y="205531"/>
                  </a:lnTo>
                  <a:lnTo>
                    <a:pt x="415903" y="200297"/>
                  </a:lnTo>
                  <a:lnTo>
                    <a:pt x="439236" y="201203"/>
                  </a:lnTo>
                  <a:lnTo>
                    <a:pt x="466157" y="204115"/>
                  </a:lnTo>
                  <a:lnTo>
                    <a:pt x="493939" y="209322"/>
                  </a:lnTo>
                  <a:lnTo>
                    <a:pt x="519858" y="217113"/>
                  </a:lnTo>
                  <a:lnTo>
                    <a:pt x="519858" y="15277"/>
                  </a:lnTo>
                  <a:lnTo>
                    <a:pt x="497459" y="7730"/>
                  </a:lnTo>
                  <a:lnTo>
                    <a:pt x="475917" y="3052"/>
                  </a:lnTo>
                  <a:lnTo>
                    <a:pt x="454940" y="667"/>
                  </a:lnTo>
                  <a:lnTo>
                    <a:pt x="434238" y="0"/>
                  </a:lnTo>
                  <a:close/>
                </a:path>
              </a:pathLst>
            </a:custGeom>
            <a:solidFill>
              <a:srgbClr val="009FD3"/>
            </a:solidFill>
          </p:spPr>
          <p:txBody>
            <a:bodyPr wrap="square" lIns="0" tIns="0" rIns="0" bIns="0" rtlCol="0"/>
            <a:lstStyle/>
            <a:p>
              <a:endParaRPr dirty="0"/>
            </a:p>
          </p:txBody>
        </p:sp>
        <p:sp>
          <p:nvSpPr>
            <p:cNvPr id="13" name="object 43">
              <a:extLst>
                <a:ext uri="{FF2B5EF4-FFF2-40B4-BE49-F238E27FC236}">
                  <a16:creationId xmlns:a16="http://schemas.microsoft.com/office/drawing/2014/main" id="{D4D2E68C-1DA6-6536-E9EE-198848603696}"/>
                </a:ext>
              </a:extLst>
            </p:cNvPr>
            <p:cNvSpPr/>
            <p:nvPr/>
          </p:nvSpPr>
          <p:spPr>
            <a:xfrm>
              <a:off x="15392653" y="2058804"/>
              <a:ext cx="691516" cy="901065"/>
            </a:xfrm>
            <a:custGeom>
              <a:avLst/>
              <a:gdLst/>
              <a:ahLst/>
              <a:cxnLst/>
              <a:rect l="l" t="t" r="r" b="b"/>
              <a:pathLst>
                <a:path w="691515" h="901064">
                  <a:moveTo>
                    <a:pt x="348617" y="0"/>
                  </a:moveTo>
                  <a:lnTo>
                    <a:pt x="299106" y="2817"/>
                  </a:lnTo>
                  <a:lnTo>
                    <a:pt x="251924" y="11166"/>
                  </a:lnTo>
                  <a:lnTo>
                    <a:pt x="207748" y="24890"/>
                  </a:lnTo>
                  <a:lnTo>
                    <a:pt x="167260" y="43834"/>
                  </a:lnTo>
                  <a:lnTo>
                    <a:pt x="131137" y="67842"/>
                  </a:lnTo>
                  <a:lnTo>
                    <a:pt x="100059" y="96758"/>
                  </a:lnTo>
                  <a:lnTo>
                    <a:pt x="74705" y="130426"/>
                  </a:lnTo>
                  <a:lnTo>
                    <a:pt x="55754" y="168692"/>
                  </a:lnTo>
                  <a:lnTo>
                    <a:pt x="43885" y="211398"/>
                  </a:lnTo>
                  <a:lnTo>
                    <a:pt x="39778" y="258390"/>
                  </a:lnTo>
                  <a:lnTo>
                    <a:pt x="45816" y="314072"/>
                  </a:lnTo>
                  <a:lnTo>
                    <a:pt x="62568" y="361225"/>
                  </a:lnTo>
                  <a:lnTo>
                    <a:pt x="87992" y="400637"/>
                  </a:lnTo>
                  <a:lnTo>
                    <a:pt x="120044" y="433095"/>
                  </a:lnTo>
                  <a:lnTo>
                    <a:pt x="156684" y="459388"/>
                  </a:lnTo>
                  <a:lnTo>
                    <a:pt x="195867" y="480304"/>
                  </a:lnTo>
                  <a:lnTo>
                    <a:pt x="235553" y="496631"/>
                  </a:lnTo>
                  <a:lnTo>
                    <a:pt x="273698" y="509157"/>
                  </a:lnTo>
                  <a:lnTo>
                    <a:pt x="362386" y="535146"/>
                  </a:lnTo>
                  <a:lnTo>
                    <a:pt x="411388" y="551110"/>
                  </a:lnTo>
                  <a:lnTo>
                    <a:pt x="455080" y="572235"/>
                  </a:lnTo>
                  <a:lnTo>
                    <a:pt x="486442" y="603107"/>
                  </a:lnTo>
                  <a:lnTo>
                    <a:pt x="498456" y="648315"/>
                  </a:lnTo>
                  <a:lnTo>
                    <a:pt x="485392" y="697213"/>
                  </a:lnTo>
                  <a:lnTo>
                    <a:pt x="452410" y="728771"/>
                  </a:lnTo>
                  <a:lnTo>
                    <a:pt x="408818" y="745710"/>
                  </a:lnTo>
                  <a:lnTo>
                    <a:pt x="363926" y="750752"/>
                  </a:lnTo>
                  <a:lnTo>
                    <a:pt x="319209" y="745345"/>
                  </a:lnTo>
                  <a:lnTo>
                    <a:pt x="274782" y="728781"/>
                  </a:lnTo>
                  <a:lnTo>
                    <a:pt x="233142" y="700548"/>
                  </a:lnTo>
                  <a:lnTo>
                    <a:pt x="196787" y="660132"/>
                  </a:lnTo>
                  <a:lnTo>
                    <a:pt x="168214" y="607018"/>
                  </a:lnTo>
                  <a:lnTo>
                    <a:pt x="0" y="662063"/>
                  </a:lnTo>
                  <a:lnTo>
                    <a:pt x="15600" y="703298"/>
                  </a:lnTo>
                  <a:lnTo>
                    <a:pt x="36540" y="741477"/>
                  </a:lnTo>
                  <a:lnTo>
                    <a:pt x="62564" y="776297"/>
                  </a:lnTo>
                  <a:lnTo>
                    <a:pt x="93413" y="807457"/>
                  </a:lnTo>
                  <a:lnTo>
                    <a:pt x="128831" y="834653"/>
                  </a:lnTo>
                  <a:lnTo>
                    <a:pt x="168560" y="857584"/>
                  </a:lnTo>
                  <a:lnTo>
                    <a:pt x="212345" y="875945"/>
                  </a:lnTo>
                  <a:lnTo>
                    <a:pt x="259926" y="889435"/>
                  </a:lnTo>
                  <a:lnTo>
                    <a:pt x="311049" y="897751"/>
                  </a:lnTo>
                  <a:lnTo>
                    <a:pt x="365454" y="900590"/>
                  </a:lnTo>
                  <a:lnTo>
                    <a:pt x="422495" y="897347"/>
                  </a:lnTo>
                  <a:lnTo>
                    <a:pt x="475054" y="887856"/>
                  </a:lnTo>
                  <a:lnTo>
                    <a:pt x="522772" y="872475"/>
                  </a:lnTo>
                  <a:lnTo>
                    <a:pt x="565290" y="851563"/>
                  </a:lnTo>
                  <a:lnTo>
                    <a:pt x="602251" y="825476"/>
                  </a:lnTo>
                  <a:lnTo>
                    <a:pt x="633295" y="794572"/>
                  </a:lnTo>
                  <a:lnTo>
                    <a:pt x="658065" y="759210"/>
                  </a:lnTo>
                  <a:lnTo>
                    <a:pt x="676201" y="719747"/>
                  </a:lnTo>
                  <a:lnTo>
                    <a:pt x="687346" y="676541"/>
                  </a:lnTo>
                  <a:lnTo>
                    <a:pt x="691141" y="629949"/>
                  </a:lnTo>
                  <a:lnTo>
                    <a:pt x="684472" y="571470"/>
                  </a:lnTo>
                  <a:lnTo>
                    <a:pt x="666175" y="523636"/>
                  </a:lnTo>
                  <a:lnTo>
                    <a:pt x="638811" y="485192"/>
                  </a:lnTo>
                  <a:lnTo>
                    <a:pt x="604942" y="454882"/>
                  </a:lnTo>
                  <a:lnTo>
                    <a:pt x="567129" y="431453"/>
                  </a:lnTo>
                  <a:lnTo>
                    <a:pt x="527935" y="413648"/>
                  </a:lnTo>
                  <a:lnTo>
                    <a:pt x="489922" y="400213"/>
                  </a:lnTo>
                  <a:lnTo>
                    <a:pt x="385328" y="370030"/>
                  </a:lnTo>
                  <a:lnTo>
                    <a:pt x="340711" y="356690"/>
                  </a:lnTo>
                  <a:lnTo>
                    <a:pt x="296689" y="339319"/>
                  </a:lnTo>
                  <a:lnTo>
                    <a:pt x="258615" y="316079"/>
                  </a:lnTo>
                  <a:lnTo>
                    <a:pt x="231844" y="285132"/>
                  </a:lnTo>
                  <a:lnTo>
                    <a:pt x="221731" y="244641"/>
                  </a:lnTo>
                  <a:lnTo>
                    <a:pt x="230686" y="205079"/>
                  </a:lnTo>
                  <a:lnTo>
                    <a:pt x="255548" y="174692"/>
                  </a:lnTo>
                  <a:lnTo>
                    <a:pt x="293315" y="155199"/>
                  </a:lnTo>
                  <a:lnTo>
                    <a:pt x="340984" y="148320"/>
                  </a:lnTo>
                  <a:lnTo>
                    <a:pt x="398485" y="158137"/>
                  </a:lnTo>
                  <a:lnTo>
                    <a:pt x="443228" y="184439"/>
                  </a:lnTo>
                  <a:lnTo>
                    <a:pt x="476217" y="222497"/>
                  </a:lnTo>
                  <a:lnTo>
                    <a:pt x="498456" y="267583"/>
                  </a:lnTo>
                  <a:lnTo>
                    <a:pt x="666660" y="212538"/>
                  </a:lnTo>
                  <a:lnTo>
                    <a:pt x="651471" y="173433"/>
                  </a:lnTo>
                  <a:lnTo>
                    <a:pt x="630571" y="136996"/>
                  </a:lnTo>
                  <a:lnTo>
                    <a:pt x="604248" y="103745"/>
                  </a:lnTo>
                  <a:lnTo>
                    <a:pt x="572792" y="74194"/>
                  </a:lnTo>
                  <a:lnTo>
                    <a:pt x="536491" y="48859"/>
                  </a:lnTo>
                  <a:lnTo>
                    <a:pt x="495634" y="28257"/>
                  </a:lnTo>
                  <a:lnTo>
                    <a:pt x="450510" y="12902"/>
                  </a:lnTo>
                  <a:lnTo>
                    <a:pt x="401408" y="3311"/>
                  </a:lnTo>
                  <a:lnTo>
                    <a:pt x="348617" y="0"/>
                  </a:lnTo>
                  <a:close/>
                </a:path>
              </a:pathLst>
            </a:custGeom>
            <a:solidFill>
              <a:srgbClr val="009FD3"/>
            </a:solidFill>
          </p:spPr>
          <p:txBody>
            <a:bodyPr wrap="square" lIns="0" tIns="0" rIns="0" bIns="0" rtlCol="0"/>
            <a:lstStyle/>
            <a:p>
              <a:endParaRPr dirty="0"/>
            </a:p>
          </p:txBody>
        </p:sp>
        <p:sp>
          <p:nvSpPr>
            <p:cNvPr id="14" name="object 44">
              <a:extLst>
                <a:ext uri="{FF2B5EF4-FFF2-40B4-BE49-F238E27FC236}">
                  <a16:creationId xmlns:a16="http://schemas.microsoft.com/office/drawing/2014/main" id="{18A70E29-E77F-6BE1-DA1F-74278B351199}"/>
                </a:ext>
              </a:extLst>
            </p:cNvPr>
            <p:cNvSpPr/>
            <p:nvPr/>
          </p:nvSpPr>
          <p:spPr>
            <a:xfrm>
              <a:off x="16265864" y="1732733"/>
              <a:ext cx="180976" cy="1223649"/>
            </a:xfrm>
            <a:custGeom>
              <a:avLst/>
              <a:gdLst/>
              <a:ahLst/>
              <a:cxnLst/>
              <a:rect l="l" t="t" r="r" b="b"/>
              <a:pathLst>
                <a:path w="180975" h="1223645">
                  <a:moveTo>
                    <a:pt x="180402" y="0"/>
                  </a:moveTo>
                  <a:lnTo>
                    <a:pt x="0" y="0"/>
                  </a:lnTo>
                  <a:lnTo>
                    <a:pt x="0" y="1223219"/>
                  </a:lnTo>
                  <a:lnTo>
                    <a:pt x="180402" y="1223219"/>
                  </a:lnTo>
                  <a:lnTo>
                    <a:pt x="180402" y="0"/>
                  </a:lnTo>
                  <a:close/>
                </a:path>
              </a:pathLst>
            </a:custGeom>
            <a:solidFill>
              <a:srgbClr val="6F7070"/>
            </a:solidFill>
          </p:spPr>
          <p:txBody>
            <a:bodyPr wrap="square" lIns="0" tIns="0" rIns="0" bIns="0" rtlCol="0"/>
            <a:lstStyle/>
            <a:p>
              <a:endParaRPr dirty="0"/>
            </a:p>
          </p:txBody>
        </p:sp>
        <p:sp>
          <p:nvSpPr>
            <p:cNvPr id="15" name="object 45">
              <a:extLst>
                <a:ext uri="{FF2B5EF4-FFF2-40B4-BE49-F238E27FC236}">
                  <a16:creationId xmlns:a16="http://schemas.microsoft.com/office/drawing/2014/main" id="{F56B255F-047E-A895-EDB1-FDFB45231DD0}"/>
                </a:ext>
              </a:extLst>
            </p:cNvPr>
            <p:cNvSpPr/>
            <p:nvPr/>
          </p:nvSpPr>
          <p:spPr>
            <a:xfrm>
              <a:off x="16640869" y="1714389"/>
              <a:ext cx="235583" cy="1242062"/>
            </a:xfrm>
            <a:custGeom>
              <a:avLst/>
              <a:gdLst/>
              <a:ahLst/>
              <a:cxnLst/>
              <a:rect l="l" t="t" r="r" b="b"/>
              <a:pathLst>
                <a:path w="235584" h="1242060">
                  <a:moveTo>
                    <a:pt x="207951" y="391433"/>
                  </a:moveTo>
                  <a:lnTo>
                    <a:pt x="27548" y="391433"/>
                  </a:lnTo>
                  <a:lnTo>
                    <a:pt x="27548" y="1241585"/>
                  </a:lnTo>
                  <a:lnTo>
                    <a:pt x="207951" y="1241585"/>
                  </a:lnTo>
                  <a:lnTo>
                    <a:pt x="207951" y="391433"/>
                  </a:lnTo>
                  <a:close/>
                </a:path>
                <a:path w="235584" h="1242060">
                  <a:moveTo>
                    <a:pt x="119273" y="0"/>
                  </a:moveTo>
                  <a:lnTo>
                    <a:pt x="71614" y="9342"/>
                  </a:lnTo>
                  <a:lnTo>
                    <a:pt x="33839" y="34598"/>
                  </a:lnTo>
                  <a:lnTo>
                    <a:pt x="8962" y="71606"/>
                  </a:lnTo>
                  <a:lnTo>
                    <a:pt x="0" y="116205"/>
                  </a:lnTo>
                  <a:lnTo>
                    <a:pt x="8962" y="163467"/>
                  </a:lnTo>
                  <a:lnTo>
                    <a:pt x="33839" y="201839"/>
                  </a:lnTo>
                  <a:lnTo>
                    <a:pt x="71614" y="227595"/>
                  </a:lnTo>
                  <a:lnTo>
                    <a:pt x="119273" y="237008"/>
                  </a:lnTo>
                  <a:lnTo>
                    <a:pt x="165171" y="227595"/>
                  </a:lnTo>
                  <a:lnTo>
                    <a:pt x="202042" y="201839"/>
                  </a:lnTo>
                  <a:lnTo>
                    <a:pt x="226585" y="163467"/>
                  </a:lnTo>
                  <a:lnTo>
                    <a:pt x="235500" y="116205"/>
                  </a:lnTo>
                  <a:lnTo>
                    <a:pt x="226585" y="71606"/>
                  </a:lnTo>
                  <a:lnTo>
                    <a:pt x="202042" y="34598"/>
                  </a:lnTo>
                  <a:lnTo>
                    <a:pt x="165171" y="9342"/>
                  </a:lnTo>
                  <a:lnTo>
                    <a:pt x="119273" y="0"/>
                  </a:lnTo>
                  <a:close/>
                </a:path>
              </a:pathLst>
            </a:custGeom>
            <a:solidFill>
              <a:srgbClr val="6F7070"/>
            </a:solidFill>
          </p:spPr>
          <p:txBody>
            <a:bodyPr wrap="square" lIns="0" tIns="0" rIns="0" bIns="0" rtlCol="0"/>
            <a:lstStyle/>
            <a:p>
              <a:endParaRPr dirty="0"/>
            </a:p>
          </p:txBody>
        </p:sp>
        <p:sp>
          <p:nvSpPr>
            <p:cNvPr id="16" name="object 46">
              <a:extLst>
                <a:ext uri="{FF2B5EF4-FFF2-40B4-BE49-F238E27FC236}">
                  <a16:creationId xmlns:a16="http://schemas.microsoft.com/office/drawing/2014/main" id="{7B607868-A4AB-BA86-2EC0-730526F356FA}"/>
                </a:ext>
              </a:extLst>
            </p:cNvPr>
            <p:cNvSpPr/>
            <p:nvPr/>
          </p:nvSpPr>
          <p:spPr>
            <a:xfrm>
              <a:off x="17020107" y="1706757"/>
              <a:ext cx="544830" cy="1249681"/>
            </a:xfrm>
            <a:custGeom>
              <a:avLst/>
              <a:gdLst/>
              <a:ahLst/>
              <a:cxnLst/>
              <a:rect l="l" t="t" r="r" b="b"/>
              <a:pathLst>
                <a:path w="544830" h="1249680">
                  <a:moveTo>
                    <a:pt x="399108" y="0"/>
                  </a:moveTo>
                  <a:lnTo>
                    <a:pt x="350985" y="2989"/>
                  </a:lnTo>
                  <a:lnTo>
                    <a:pt x="306799" y="11987"/>
                  </a:lnTo>
                  <a:lnTo>
                    <a:pt x="266815" y="27041"/>
                  </a:lnTo>
                  <a:lnTo>
                    <a:pt x="231300" y="48195"/>
                  </a:lnTo>
                  <a:lnTo>
                    <a:pt x="200520" y="75496"/>
                  </a:lnTo>
                  <a:lnTo>
                    <a:pt x="174739" y="108989"/>
                  </a:lnTo>
                  <a:lnTo>
                    <a:pt x="154225" y="148720"/>
                  </a:lnTo>
                  <a:lnTo>
                    <a:pt x="139243" y="194736"/>
                  </a:lnTo>
                  <a:lnTo>
                    <a:pt x="130059" y="247081"/>
                  </a:lnTo>
                  <a:lnTo>
                    <a:pt x="126938" y="305802"/>
                  </a:lnTo>
                  <a:lnTo>
                    <a:pt x="126938" y="399055"/>
                  </a:lnTo>
                  <a:lnTo>
                    <a:pt x="0" y="399055"/>
                  </a:lnTo>
                  <a:lnTo>
                    <a:pt x="0" y="562663"/>
                  </a:lnTo>
                  <a:lnTo>
                    <a:pt x="126938" y="562663"/>
                  </a:lnTo>
                  <a:lnTo>
                    <a:pt x="126938" y="1249197"/>
                  </a:lnTo>
                  <a:lnTo>
                    <a:pt x="308880" y="1249197"/>
                  </a:lnTo>
                  <a:lnTo>
                    <a:pt x="308880" y="562663"/>
                  </a:lnTo>
                  <a:lnTo>
                    <a:pt x="519900" y="562663"/>
                  </a:lnTo>
                  <a:lnTo>
                    <a:pt x="519900" y="399055"/>
                  </a:lnTo>
                  <a:lnTo>
                    <a:pt x="308880" y="399055"/>
                  </a:lnTo>
                  <a:lnTo>
                    <a:pt x="308880" y="324136"/>
                  </a:lnTo>
                  <a:lnTo>
                    <a:pt x="309468" y="284076"/>
                  </a:lnTo>
                  <a:lnTo>
                    <a:pt x="313580" y="245202"/>
                  </a:lnTo>
                  <a:lnTo>
                    <a:pt x="346479" y="181890"/>
                  </a:lnTo>
                  <a:lnTo>
                    <a:pt x="382316" y="162890"/>
                  </a:lnTo>
                  <a:lnTo>
                    <a:pt x="435777" y="155953"/>
                  </a:lnTo>
                  <a:lnTo>
                    <a:pt x="460697" y="157243"/>
                  </a:lnTo>
                  <a:lnTo>
                    <a:pt x="486044" y="161686"/>
                  </a:lnTo>
                  <a:lnTo>
                    <a:pt x="513395" y="170142"/>
                  </a:lnTo>
                  <a:lnTo>
                    <a:pt x="544328" y="183470"/>
                  </a:lnTo>
                  <a:lnTo>
                    <a:pt x="544328" y="29025"/>
                  </a:lnTo>
                  <a:lnTo>
                    <a:pt x="508322" y="15460"/>
                  </a:lnTo>
                  <a:lnTo>
                    <a:pt x="470583" y="6486"/>
                  </a:lnTo>
                  <a:lnTo>
                    <a:pt x="433412" y="1525"/>
                  </a:lnTo>
                  <a:lnTo>
                    <a:pt x="399108" y="0"/>
                  </a:lnTo>
                  <a:close/>
                </a:path>
              </a:pathLst>
            </a:custGeom>
            <a:solidFill>
              <a:srgbClr val="6F7070"/>
            </a:solidFill>
          </p:spPr>
          <p:txBody>
            <a:bodyPr wrap="square" lIns="0" tIns="0" rIns="0" bIns="0" rtlCol="0"/>
            <a:lstStyle/>
            <a:p>
              <a:endParaRPr dirty="0"/>
            </a:p>
          </p:txBody>
        </p:sp>
        <p:sp>
          <p:nvSpPr>
            <p:cNvPr id="17" name="object 47">
              <a:extLst>
                <a:ext uri="{FF2B5EF4-FFF2-40B4-BE49-F238E27FC236}">
                  <a16:creationId xmlns:a16="http://schemas.microsoft.com/office/drawing/2014/main" id="{C4E34B81-4E2E-35AE-A351-132F419D0AF7}"/>
                </a:ext>
              </a:extLst>
            </p:cNvPr>
            <p:cNvSpPr/>
            <p:nvPr/>
          </p:nvSpPr>
          <p:spPr>
            <a:xfrm>
              <a:off x="14449120" y="2058804"/>
              <a:ext cx="827407" cy="901065"/>
            </a:xfrm>
            <a:custGeom>
              <a:avLst/>
              <a:gdLst/>
              <a:ahLst/>
              <a:cxnLst/>
              <a:rect l="l" t="t" r="r" b="b"/>
              <a:pathLst>
                <a:path w="827405" h="901064">
                  <a:moveTo>
                    <a:pt x="423536" y="0"/>
                  </a:moveTo>
                  <a:lnTo>
                    <a:pt x="374987" y="2512"/>
                  </a:lnTo>
                  <a:lnTo>
                    <a:pt x="328539" y="9907"/>
                  </a:lnTo>
                  <a:lnTo>
                    <a:pt x="284376" y="21968"/>
                  </a:lnTo>
                  <a:lnTo>
                    <a:pt x="242684" y="38482"/>
                  </a:lnTo>
                  <a:lnTo>
                    <a:pt x="203647" y="59234"/>
                  </a:lnTo>
                  <a:lnTo>
                    <a:pt x="167450" y="84010"/>
                  </a:lnTo>
                  <a:lnTo>
                    <a:pt x="134278" y="112593"/>
                  </a:lnTo>
                  <a:lnTo>
                    <a:pt x="104317" y="144770"/>
                  </a:lnTo>
                  <a:lnTo>
                    <a:pt x="77750" y="180326"/>
                  </a:lnTo>
                  <a:lnTo>
                    <a:pt x="54763" y="219046"/>
                  </a:lnTo>
                  <a:lnTo>
                    <a:pt x="35541" y="260715"/>
                  </a:lnTo>
                  <a:lnTo>
                    <a:pt x="20269" y="305119"/>
                  </a:lnTo>
                  <a:lnTo>
                    <a:pt x="9132" y="352044"/>
                  </a:lnTo>
                  <a:lnTo>
                    <a:pt x="2313" y="401273"/>
                  </a:lnTo>
                  <a:lnTo>
                    <a:pt x="0" y="452593"/>
                  </a:lnTo>
                  <a:lnTo>
                    <a:pt x="2450" y="505453"/>
                  </a:lnTo>
                  <a:lnTo>
                    <a:pt x="9655" y="555675"/>
                  </a:lnTo>
                  <a:lnTo>
                    <a:pt x="21394" y="603111"/>
                  </a:lnTo>
                  <a:lnTo>
                    <a:pt x="37448" y="647611"/>
                  </a:lnTo>
                  <a:lnTo>
                    <a:pt x="57595" y="689025"/>
                  </a:lnTo>
                  <a:lnTo>
                    <a:pt x="81615" y="727205"/>
                  </a:lnTo>
                  <a:lnTo>
                    <a:pt x="109289" y="762000"/>
                  </a:lnTo>
                  <a:lnTo>
                    <a:pt x="140397" y="793261"/>
                  </a:lnTo>
                  <a:lnTo>
                    <a:pt x="174717" y="820840"/>
                  </a:lnTo>
                  <a:lnTo>
                    <a:pt x="212029" y="844585"/>
                  </a:lnTo>
                  <a:lnTo>
                    <a:pt x="252115" y="864348"/>
                  </a:lnTo>
                  <a:lnTo>
                    <a:pt x="294752" y="879980"/>
                  </a:lnTo>
                  <a:lnTo>
                    <a:pt x="339722" y="891330"/>
                  </a:lnTo>
                  <a:lnTo>
                    <a:pt x="386804" y="898250"/>
                  </a:lnTo>
                  <a:lnTo>
                    <a:pt x="435777" y="900590"/>
                  </a:lnTo>
                  <a:lnTo>
                    <a:pt x="489540" y="897772"/>
                  </a:lnTo>
                  <a:lnTo>
                    <a:pt x="540585" y="889528"/>
                  </a:lnTo>
                  <a:lnTo>
                    <a:pt x="588690" y="876176"/>
                  </a:lnTo>
                  <a:lnTo>
                    <a:pt x="633633" y="858032"/>
                  </a:lnTo>
                  <a:lnTo>
                    <a:pt x="675191" y="835414"/>
                  </a:lnTo>
                  <a:lnTo>
                    <a:pt x="713143" y="808638"/>
                  </a:lnTo>
                  <a:lnTo>
                    <a:pt x="747265" y="778021"/>
                  </a:lnTo>
                  <a:lnTo>
                    <a:pt x="777336" y="743880"/>
                  </a:lnTo>
                  <a:lnTo>
                    <a:pt x="781044" y="738511"/>
                  </a:lnTo>
                  <a:lnTo>
                    <a:pt x="435777" y="738511"/>
                  </a:lnTo>
                  <a:lnTo>
                    <a:pt x="387306" y="734405"/>
                  </a:lnTo>
                  <a:lnTo>
                    <a:pt x="342170" y="722288"/>
                  </a:lnTo>
                  <a:lnTo>
                    <a:pt x="301121" y="702467"/>
                  </a:lnTo>
                  <a:lnTo>
                    <a:pt x="264909" y="675246"/>
                  </a:lnTo>
                  <a:lnTo>
                    <a:pt x="234287" y="640929"/>
                  </a:lnTo>
                  <a:lnTo>
                    <a:pt x="210008" y="599822"/>
                  </a:lnTo>
                  <a:lnTo>
                    <a:pt x="192822" y="552229"/>
                  </a:lnTo>
                  <a:lnTo>
                    <a:pt x="183481" y="498456"/>
                  </a:lnTo>
                  <a:lnTo>
                    <a:pt x="827210" y="498456"/>
                  </a:lnTo>
                  <a:lnTo>
                    <a:pt x="827210" y="444949"/>
                  </a:lnTo>
                  <a:lnTo>
                    <a:pt x="824522" y="383338"/>
                  </a:lnTo>
                  <a:lnTo>
                    <a:pt x="822469" y="368491"/>
                  </a:lnTo>
                  <a:lnTo>
                    <a:pt x="192653" y="368491"/>
                  </a:lnTo>
                  <a:lnTo>
                    <a:pt x="205522" y="317240"/>
                  </a:lnTo>
                  <a:lnTo>
                    <a:pt x="225559" y="271525"/>
                  </a:lnTo>
                  <a:lnTo>
                    <a:pt x="252443" y="232202"/>
                  </a:lnTo>
                  <a:lnTo>
                    <a:pt x="285851" y="200127"/>
                  </a:lnTo>
                  <a:lnTo>
                    <a:pt x="325463" y="176157"/>
                  </a:lnTo>
                  <a:lnTo>
                    <a:pt x="370955" y="161146"/>
                  </a:lnTo>
                  <a:lnTo>
                    <a:pt x="422008" y="155953"/>
                  </a:lnTo>
                  <a:lnTo>
                    <a:pt x="746090" y="155953"/>
                  </a:lnTo>
                  <a:lnTo>
                    <a:pt x="741928" y="149612"/>
                  </a:lnTo>
                  <a:lnTo>
                    <a:pt x="714261" y="116820"/>
                  </a:lnTo>
                  <a:lnTo>
                    <a:pt x="683773" y="88374"/>
                  </a:lnTo>
                  <a:lnTo>
                    <a:pt x="650846" y="64145"/>
                  </a:lnTo>
                  <a:lnTo>
                    <a:pt x="615864" y="44001"/>
                  </a:lnTo>
                  <a:lnTo>
                    <a:pt x="579210" y="27813"/>
                  </a:lnTo>
                  <a:lnTo>
                    <a:pt x="541267" y="15449"/>
                  </a:lnTo>
                  <a:lnTo>
                    <a:pt x="502418" y="6779"/>
                  </a:lnTo>
                  <a:lnTo>
                    <a:pt x="463047" y="1673"/>
                  </a:lnTo>
                  <a:lnTo>
                    <a:pt x="423536" y="0"/>
                  </a:lnTo>
                  <a:close/>
                </a:path>
                <a:path w="827405" h="901064">
                  <a:moveTo>
                    <a:pt x="650744" y="605311"/>
                  </a:moveTo>
                  <a:lnTo>
                    <a:pt x="626428" y="643642"/>
                  </a:lnTo>
                  <a:lnTo>
                    <a:pt x="596971" y="676278"/>
                  </a:lnTo>
                  <a:lnTo>
                    <a:pt x="562776" y="702652"/>
                  </a:lnTo>
                  <a:lnTo>
                    <a:pt x="524059" y="722288"/>
                  </a:lnTo>
                  <a:lnTo>
                    <a:pt x="523916" y="722288"/>
                  </a:lnTo>
                  <a:lnTo>
                    <a:pt x="481541" y="734405"/>
                  </a:lnTo>
                  <a:lnTo>
                    <a:pt x="481034" y="734405"/>
                  </a:lnTo>
                  <a:lnTo>
                    <a:pt x="435777" y="738511"/>
                  </a:lnTo>
                  <a:lnTo>
                    <a:pt x="781044" y="738511"/>
                  </a:lnTo>
                  <a:lnTo>
                    <a:pt x="803134" y="706532"/>
                  </a:lnTo>
                  <a:lnTo>
                    <a:pt x="824435" y="666293"/>
                  </a:lnTo>
                  <a:lnTo>
                    <a:pt x="824697" y="665728"/>
                  </a:lnTo>
                  <a:lnTo>
                    <a:pt x="824906" y="665131"/>
                  </a:lnTo>
                  <a:lnTo>
                    <a:pt x="825168" y="664566"/>
                  </a:lnTo>
                  <a:lnTo>
                    <a:pt x="650744" y="605311"/>
                  </a:lnTo>
                  <a:close/>
                </a:path>
                <a:path w="827405" h="901064">
                  <a:moveTo>
                    <a:pt x="746090" y="155953"/>
                  </a:moveTo>
                  <a:lnTo>
                    <a:pt x="422008" y="155953"/>
                  </a:lnTo>
                  <a:lnTo>
                    <a:pt x="466874" y="159622"/>
                  </a:lnTo>
                  <a:lnTo>
                    <a:pt x="509973" y="171076"/>
                  </a:lnTo>
                  <a:lnTo>
                    <a:pt x="549726" y="190981"/>
                  </a:lnTo>
                  <a:lnTo>
                    <a:pt x="584557" y="220008"/>
                  </a:lnTo>
                  <a:lnTo>
                    <a:pt x="612887" y="258822"/>
                  </a:lnTo>
                  <a:lnTo>
                    <a:pt x="633140" y="308094"/>
                  </a:lnTo>
                  <a:lnTo>
                    <a:pt x="643739" y="368491"/>
                  </a:lnTo>
                  <a:lnTo>
                    <a:pt x="822469" y="368491"/>
                  </a:lnTo>
                  <a:lnTo>
                    <a:pt x="816712" y="326855"/>
                  </a:lnTo>
                  <a:lnTo>
                    <a:pt x="804165" y="275372"/>
                  </a:lnTo>
                  <a:lnTo>
                    <a:pt x="787263" y="228757"/>
                  </a:lnTo>
                  <a:lnTo>
                    <a:pt x="766390" y="186881"/>
                  </a:lnTo>
                  <a:lnTo>
                    <a:pt x="746090" y="155953"/>
                  </a:lnTo>
                  <a:close/>
                </a:path>
              </a:pathLst>
            </a:custGeom>
            <a:solidFill>
              <a:srgbClr val="009FD3"/>
            </a:solidFill>
          </p:spPr>
          <p:txBody>
            <a:bodyPr wrap="square" lIns="0" tIns="0" rIns="0" bIns="0" rtlCol="0"/>
            <a:lstStyle/>
            <a:p>
              <a:endParaRPr dirty="0"/>
            </a:p>
          </p:txBody>
        </p:sp>
        <p:sp>
          <p:nvSpPr>
            <p:cNvPr id="18" name="object 48">
              <a:extLst>
                <a:ext uri="{FF2B5EF4-FFF2-40B4-BE49-F238E27FC236}">
                  <a16:creationId xmlns:a16="http://schemas.microsoft.com/office/drawing/2014/main" id="{F23C27BD-4A03-2C59-7EC8-D3B5AC00861D}"/>
                </a:ext>
              </a:extLst>
            </p:cNvPr>
            <p:cNvSpPr/>
            <p:nvPr/>
          </p:nvSpPr>
          <p:spPr>
            <a:xfrm>
              <a:off x="12844987" y="2058804"/>
              <a:ext cx="827407" cy="901065"/>
            </a:xfrm>
            <a:custGeom>
              <a:avLst/>
              <a:gdLst/>
              <a:ahLst/>
              <a:cxnLst/>
              <a:rect l="l" t="t" r="r" b="b"/>
              <a:pathLst>
                <a:path w="827405" h="901064">
                  <a:moveTo>
                    <a:pt x="423536" y="0"/>
                  </a:moveTo>
                  <a:lnTo>
                    <a:pt x="374987" y="2512"/>
                  </a:lnTo>
                  <a:lnTo>
                    <a:pt x="328539" y="9907"/>
                  </a:lnTo>
                  <a:lnTo>
                    <a:pt x="284376" y="21968"/>
                  </a:lnTo>
                  <a:lnTo>
                    <a:pt x="242684" y="38482"/>
                  </a:lnTo>
                  <a:lnTo>
                    <a:pt x="203647" y="59234"/>
                  </a:lnTo>
                  <a:lnTo>
                    <a:pt x="167450" y="84010"/>
                  </a:lnTo>
                  <a:lnTo>
                    <a:pt x="134278" y="112593"/>
                  </a:lnTo>
                  <a:lnTo>
                    <a:pt x="104317" y="144770"/>
                  </a:lnTo>
                  <a:lnTo>
                    <a:pt x="77750" y="180326"/>
                  </a:lnTo>
                  <a:lnTo>
                    <a:pt x="54763" y="219046"/>
                  </a:lnTo>
                  <a:lnTo>
                    <a:pt x="35541" y="260715"/>
                  </a:lnTo>
                  <a:lnTo>
                    <a:pt x="20269" y="305119"/>
                  </a:lnTo>
                  <a:lnTo>
                    <a:pt x="9132" y="352044"/>
                  </a:lnTo>
                  <a:lnTo>
                    <a:pt x="2313" y="401273"/>
                  </a:lnTo>
                  <a:lnTo>
                    <a:pt x="0" y="452593"/>
                  </a:lnTo>
                  <a:lnTo>
                    <a:pt x="2450" y="505453"/>
                  </a:lnTo>
                  <a:lnTo>
                    <a:pt x="9655" y="555675"/>
                  </a:lnTo>
                  <a:lnTo>
                    <a:pt x="21394" y="603111"/>
                  </a:lnTo>
                  <a:lnTo>
                    <a:pt x="37448" y="647611"/>
                  </a:lnTo>
                  <a:lnTo>
                    <a:pt x="57595" y="689025"/>
                  </a:lnTo>
                  <a:lnTo>
                    <a:pt x="81615" y="727205"/>
                  </a:lnTo>
                  <a:lnTo>
                    <a:pt x="109289" y="762000"/>
                  </a:lnTo>
                  <a:lnTo>
                    <a:pt x="140397" y="793261"/>
                  </a:lnTo>
                  <a:lnTo>
                    <a:pt x="174717" y="820840"/>
                  </a:lnTo>
                  <a:lnTo>
                    <a:pt x="212029" y="844585"/>
                  </a:lnTo>
                  <a:lnTo>
                    <a:pt x="252115" y="864348"/>
                  </a:lnTo>
                  <a:lnTo>
                    <a:pt x="294752" y="879980"/>
                  </a:lnTo>
                  <a:lnTo>
                    <a:pt x="339722" y="891330"/>
                  </a:lnTo>
                  <a:lnTo>
                    <a:pt x="386804" y="898250"/>
                  </a:lnTo>
                  <a:lnTo>
                    <a:pt x="435777" y="900590"/>
                  </a:lnTo>
                  <a:lnTo>
                    <a:pt x="489540" y="897772"/>
                  </a:lnTo>
                  <a:lnTo>
                    <a:pt x="540586" y="889528"/>
                  </a:lnTo>
                  <a:lnTo>
                    <a:pt x="588692" y="876176"/>
                  </a:lnTo>
                  <a:lnTo>
                    <a:pt x="633636" y="858032"/>
                  </a:lnTo>
                  <a:lnTo>
                    <a:pt x="675195" y="835414"/>
                  </a:lnTo>
                  <a:lnTo>
                    <a:pt x="713147" y="808638"/>
                  </a:lnTo>
                  <a:lnTo>
                    <a:pt x="747270" y="778021"/>
                  </a:lnTo>
                  <a:lnTo>
                    <a:pt x="777340" y="743880"/>
                  </a:lnTo>
                  <a:lnTo>
                    <a:pt x="781048" y="738511"/>
                  </a:lnTo>
                  <a:lnTo>
                    <a:pt x="435777" y="738511"/>
                  </a:lnTo>
                  <a:lnTo>
                    <a:pt x="387306" y="734405"/>
                  </a:lnTo>
                  <a:lnTo>
                    <a:pt x="342170" y="722288"/>
                  </a:lnTo>
                  <a:lnTo>
                    <a:pt x="301121" y="702467"/>
                  </a:lnTo>
                  <a:lnTo>
                    <a:pt x="264909" y="675246"/>
                  </a:lnTo>
                  <a:lnTo>
                    <a:pt x="234287" y="640929"/>
                  </a:lnTo>
                  <a:lnTo>
                    <a:pt x="210008" y="599822"/>
                  </a:lnTo>
                  <a:lnTo>
                    <a:pt x="192822" y="552229"/>
                  </a:lnTo>
                  <a:lnTo>
                    <a:pt x="183481" y="498456"/>
                  </a:lnTo>
                  <a:lnTo>
                    <a:pt x="827210" y="498456"/>
                  </a:lnTo>
                  <a:lnTo>
                    <a:pt x="827210" y="444949"/>
                  </a:lnTo>
                  <a:lnTo>
                    <a:pt x="824522" y="383338"/>
                  </a:lnTo>
                  <a:lnTo>
                    <a:pt x="822469" y="368491"/>
                  </a:lnTo>
                  <a:lnTo>
                    <a:pt x="192653" y="368491"/>
                  </a:lnTo>
                  <a:lnTo>
                    <a:pt x="205519" y="317240"/>
                  </a:lnTo>
                  <a:lnTo>
                    <a:pt x="225554" y="271525"/>
                  </a:lnTo>
                  <a:lnTo>
                    <a:pt x="252438" y="232202"/>
                  </a:lnTo>
                  <a:lnTo>
                    <a:pt x="285848" y="200127"/>
                  </a:lnTo>
                  <a:lnTo>
                    <a:pt x="325461" y="176157"/>
                  </a:lnTo>
                  <a:lnTo>
                    <a:pt x="370955" y="161146"/>
                  </a:lnTo>
                  <a:lnTo>
                    <a:pt x="422008" y="155953"/>
                  </a:lnTo>
                  <a:lnTo>
                    <a:pt x="746090" y="155953"/>
                  </a:lnTo>
                  <a:lnTo>
                    <a:pt x="741928" y="149612"/>
                  </a:lnTo>
                  <a:lnTo>
                    <a:pt x="714261" y="116820"/>
                  </a:lnTo>
                  <a:lnTo>
                    <a:pt x="683773" y="88374"/>
                  </a:lnTo>
                  <a:lnTo>
                    <a:pt x="650846" y="64145"/>
                  </a:lnTo>
                  <a:lnTo>
                    <a:pt x="615864" y="44001"/>
                  </a:lnTo>
                  <a:lnTo>
                    <a:pt x="579210" y="27813"/>
                  </a:lnTo>
                  <a:lnTo>
                    <a:pt x="541267" y="15449"/>
                  </a:lnTo>
                  <a:lnTo>
                    <a:pt x="502418" y="6779"/>
                  </a:lnTo>
                  <a:lnTo>
                    <a:pt x="463047" y="1673"/>
                  </a:lnTo>
                  <a:lnTo>
                    <a:pt x="423536" y="0"/>
                  </a:lnTo>
                  <a:close/>
                </a:path>
                <a:path w="827405" h="901064">
                  <a:moveTo>
                    <a:pt x="650744" y="605311"/>
                  </a:moveTo>
                  <a:lnTo>
                    <a:pt x="626428" y="643642"/>
                  </a:lnTo>
                  <a:lnTo>
                    <a:pt x="596971" y="676278"/>
                  </a:lnTo>
                  <a:lnTo>
                    <a:pt x="562776" y="702652"/>
                  </a:lnTo>
                  <a:lnTo>
                    <a:pt x="524059" y="722288"/>
                  </a:lnTo>
                  <a:lnTo>
                    <a:pt x="523916" y="722288"/>
                  </a:lnTo>
                  <a:lnTo>
                    <a:pt x="481541" y="734405"/>
                  </a:lnTo>
                  <a:lnTo>
                    <a:pt x="481034" y="734405"/>
                  </a:lnTo>
                  <a:lnTo>
                    <a:pt x="435777" y="738511"/>
                  </a:lnTo>
                  <a:lnTo>
                    <a:pt x="781048" y="738511"/>
                  </a:lnTo>
                  <a:lnTo>
                    <a:pt x="803136" y="706532"/>
                  </a:lnTo>
                  <a:lnTo>
                    <a:pt x="824435" y="666293"/>
                  </a:lnTo>
                  <a:lnTo>
                    <a:pt x="824697" y="665728"/>
                  </a:lnTo>
                  <a:lnTo>
                    <a:pt x="824906" y="665131"/>
                  </a:lnTo>
                  <a:lnTo>
                    <a:pt x="825168" y="664566"/>
                  </a:lnTo>
                  <a:lnTo>
                    <a:pt x="650744" y="605311"/>
                  </a:lnTo>
                  <a:close/>
                </a:path>
                <a:path w="827405" h="901064">
                  <a:moveTo>
                    <a:pt x="746090" y="155953"/>
                  </a:moveTo>
                  <a:lnTo>
                    <a:pt x="422008" y="155953"/>
                  </a:lnTo>
                  <a:lnTo>
                    <a:pt x="466874" y="159622"/>
                  </a:lnTo>
                  <a:lnTo>
                    <a:pt x="509973" y="171076"/>
                  </a:lnTo>
                  <a:lnTo>
                    <a:pt x="549726" y="190981"/>
                  </a:lnTo>
                  <a:lnTo>
                    <a:pt x="584557" y="220008"/>
                  </a:lnTo>
                  <a:lnTo>
                    <a:pt x="612887" y="258822"/>
                  </a:lnTo>
                  <a:lnTo>
                    <a:pt x="633140" y="308094"/>
                  </a:lnTo>
                  <a:lnTo>
                    <a:pt x="643739" y="368491"/>
                  </a:lnTo>
                  <a:lnTo>
                    <a:pt x="822469" y="368491"/>
                  </a:lnTo>
                  <a:lnTo>
                    <a:pt x="816712" y="326855"/>
                  </a:lnTo>
                  <a:lnTo>
                    <a:pt x="804165" y="275372"/>
                  </a:lnTo>
                  <a:lnTo>
                    <a:pt x="787263" y="228757"/>
                  </a:lnTo>
                  <a:lnTo>
                    <a:pt x="766390" y="186881"/>
                  </a:lnTo>
                  <a:lnTo>
                    <a:pt x="746090" y="155953"/>
                  </a:lnTo>
                  <a:close/>
                </a:path>
              </a:pathLst>
            </a:custGeom>
            <a:solidFill>
              <a:srgbClr val="009FD3"/>
            </a:solidFill>
          </p:spPr>
          <p:txBody>
            <a:bodyPr wrap="square" lIns="0" tIns="0" rIns="0" bIns="0" rtlCol="0"/>
            <a:lstStyle/>
            <a:p>
              <a:endParaRPr dirty="0"/>
            </a:p>
          </p:txBody>
        </p:sp>
        <p:sp>
          <p:nvSpPr>
            <p:cNvPr id="19" name="object 49">
              <a:extLst>
                <a:ext uri="{FF2B5EF4-FFF2-40B4-BE49-F238E27FC236}">
                  <a16:creationId xmlns:a16="http://schemas.microsoft.com/office/drawing/2014/main" id="{487EEBE8-333E-E36C-F678-9CE9CFE6488D}"/>
                </a:ext>
              </a:extLst>
            </p:cNvPr>
            <p:cNvSpPr/>
            <p:nvPr/>
          </p:nvSpPr>
          <p:spPr>
            <a:xfrm>
              <a:off x="17608888" y="2058804"/>
              <a:ext cx="827407" cy="901065"/>
            </a:xfrm>
            <a:custGeom>
              <a:avLst/>
              <a:gdLst/>
              <a:ahLst/>
              <a:cxnLst/>
              <a:rect l="l" t="t" r="r" b="b"/>
              <a:pathLst>
                <a:path w="827405" h="901064">
                  <a:moveTo>
                    <a:pt x="423536" y="0"/>
                  </a:moveTo>
                  <a:lnTo>
                    <a:pt x="374987" y="2512"/>
                  </a:lnTo>
                  <a:lnTo>
                    <a:pt x="328539" y="9907"/>
                  </a:lnTo>
                  <a:lnTo>
                    <a:pt x="284376" y="21968"/>
                  </a:lnTo>
                  <a:lnTo>
                    <a:pt x="242684" y="38482"/>
                  </a:lnTo>
                  <a:lnTo>
                    <a:pt x="203647" y="59234"/>
                  </a:lnTo>
                  <a:lnTo>
                    <a:pt x="167450" y="84010"/>
                  </a:lnTo>
                  <a:lnTo>
                    <a:pt x="134278" y="112593"/>
                  </a:lnTo>
                  <a:lnTo>
                    <a:pt x="104317" y="144770"/>
                  </a:lnTo>
                  <a:lnTo>
                    <a:pt x="77750" y="180326"/>
                  </a:lnTo>
                  <a:lnTo>
                    <a:pt x="54763" y="219046"/>
                  </a:lnTo>
                  <a:lnTo>
                    <a:pt x="35541" y="260715"/>
                  </a:lnTo>
                  <a:lnTo>
                    <a:pt x="20269" y="305119"/>
                  </a:lnTo>
                  <a:lnTo>
                    <a:pt x="9132" y="352044"/>
                  </a:lnTo>
                  <a:lnTo>
                    <a:pt x="2313" y="401273"/>
                  </a:lnTo>
                  <a:lnTo>
                    <a:pt x="0" y="452593"/>
                  </a:lnTo>
                  <a:lnTo>
                    <a:pt x="2450" y="505453"/>
                  </a:lnTo>
                  <a:lnTo>
                    <a:pt x="9655" y="555675"/>
                  </a:lnTo>
                  <a:lnTo>
                    <a:pt x="21394" y="603111"/>
                  </a:lnTo>
                  <a:lnTo>
                    <a:pt x="37448" y="647611"/>
                  </a:lnTo>
                  <a:lnTo>
                    <a:pt x="57595" y="689025"/>
                  </a:lnTo>
                  <a:lnTo>
                    <a:pt x="81615" y="727205"/>
                  </a:lnTo>
                  <a:lnTo>
                    <a:pt x="109289" y="762000"/>
                  </a:lnTo>
                  <a:lnTo>
                    <a:pt x="140397" y="793261"/>
                  </a:lnTo>
                  <a:lnTo>
                    <a:pt x="174717" y="820840"/>
                  </a:lnTo>
                  <a:lnTo>
                    <a:pt x="212029" y="844585"/>
                  </a:lnTo>
                  <a:lnTo>
                    <a:pt x="252115" y="864348"/>
                  </a:lnTo>
                  <a:lnTo>
                    <a:pt x="294752" y="879980"/>
                  </a:lnTo>
                  <a:lnTo>
                    <a:pt x="339722" y="891330"/>
                  </a:lnTo>
                  <a:lnTo>
                    <a:pt x="386804" y="898250"/>
                  </a:lnTo>
                  <a:lnTo>
                    <a:pt x="435777" y="900590"/>
                  </a:lnTo>
                  <a:lnTo>
                    <a:pt x="489542" y="897772"/>
                  </a:lnTo>
                  <a:lnTo>
                    <a:pt x="540590" y="889528"/>
                  </a:lnTo>
                  <a:lnTo>
                    <a:pt x="588696" y="876176"/>
                  </a:lnTo>
                  <a:lnTo>
                    <a:pt x="633640" y="858032"/>
                  </a:lnTo>
                  <a:lnTo>
                    <a:pt x="675199" y="835414"/>
                  </a:lnTo>
                  <a:lnTo>
                    <a:pt x="713150" y="808638"/>
                  </a:lnTo>
                  <a:lnTo>
                    <a:pt x="747272" y="778021"/>
                  </a:lnTo>
                  <a:lnTo>
                    <a:pt x="777341" y="743880"/>
                  </a:lnTo>
                  <a:lnTo>
                    <a:pt x="781049" y="738511"/>
                  </a:lnTo>
                  <a:lnTo>
                    <a:pt x="435777" y="738511"/>
                  </a:lnTo>
                  <a:lnTo>
                    <a:pt x="387306" y="734405"/>
                  </a:lnTo>
                  <a:lnTo>
                    <a:pt x="342170" y="722288"/>
                  </a:lnTo>
                  <a:lnTo>
                    <a:pt x="301121" y="702467"/>
                  </a:lnTo>
                  <a:lnTo>
                    <a:pt x="264909" y="675246"/>
                  </a:lnTo>
                  <a:lnTo>
                    <a:pt x="234287" y="640929"/>
                  </a:lnTo>
                  <a:lnTo>
                    <a:pt x="210008" y="599822"/>
                  </a:lnTo>
                  <a:lnTo>
                    <a:pt x="192822" y="552229"/>
                  </a:lnTo>
                  <a:lnTo>
                    <a:pt x="183481" y="498456"/>
                  </a:lnTo>
                  <a:lnTo>
                    <a:pt x="827210" y="498456"/>
                  </a:lnTo>
                  <a:lnTo>
                    <a:pt x="827210" y="444949"/>
                  </a:lnTo>
                  <a:lnTo>
                    <a:pt x="824522" y="383338"/>
                  </a:lnTo>
                  <a:lnTo>
                    <a:pt x="822469" y="368491"/>
                  </a:lnTo>
                  <a:lnTo>
                    <a:pt x="192653" y="368491"/>
                  </a:lnTo>
                  <a:lnTo>
                    <a:pt x="205522" y="317240"/>
                  </a:lnTo>
                  <a:lnTo>
                    <a:pt x="225559" y="271525"/>
                  </a:lnTo>
                  <a:lnTo>
                    <a:pt x="252443" y="232202"/>
                  </a:lnTo>
                  <a:lnTo>
                    <a:pt x="285851" y="200127"/>
                  </a:lnTo>
                  <a:lnTo>
                    <a:pt x="325463" y="176157"/>
                  </a:lnTo>
                  <a:lnTo>
                    <a:pt x="370955" y="161146"/>
                  </a:lnTo>
                  <a:lnTo>
                    <a:pt x="422008" y="155953"/>
                  </a:lnTo>
                  <a:lnTo>
                    <a:pt x="746090" y="155953"/>
                  </a:lnTo>
                  <a:lnTo>
                    <a:pt x="741928" y="149612"/>
                  </a:lnTo>
                  <a:lnTo>
                    <a:pt x="714261" y="116820"/>
                  </a:lnTo>
                  <a:lnTo>
                    <a:pt x="683773" y="88374"/>
                  </a:lnTo>
                  <a:lnTo>
                    <a:pt x="650846" y="64145"/>
                  </a:lnTo>
                  <a:lnTo>
                    <a:pt x="615864" y="44001"/>
                  </a:lnTo>
                  <a:lnTo>
                    <a:pt x="579210" y="27813"/>
                  </a:lnTo>
                  <a:lnTo>
                    <a:pt x="541267" y="15449"/>
                  </a:lnTo>
                  <a:lnTo>
                    <a:pt x="502418" y="6779"/>
                  </a:lnTo>
                  <a:lnTo>
                    <a:pt x="463047" y="1673"/>
                  </a:lnTo>
                  <a:lnTo>
                    <a:pt x="423536" y="0"/>
                  </a:lnTo>
                  <a:close/>
                </a:path>
                <a:path w="827405" h="901064">
                  <a:moveTo>
                    <a:pt x="650744" y="605311"/>
                  </a:moveTo>
                  <a:lnTo>
                    <a:pt x="626428" y="643642"/>
                  </a:lnTo>
                  <a:lnTo>
                    <a:pt x="596971" y="676278"/>
                  </a:lnTo>
                  <a:lnTo>
                    <a:pt x="562776" y="702652"/>
                  </a:lnTo>
                  <a:lnTo>
                    <a:pt x="524059" y="722288"/>
                  </a:lnTo>
                  <a:lnTo>
                    <a:pt x="523916" y="722288"/>
                  </a:lnTo>
                  <a:lnTo>
                    <a:pt x="481541" y="734405"/>
                  </a:lnTo>
                  <a:lnTo>
                    <a:pt x="481034" y="734405"/>
                  </a:lnTo>
                  <a:lnTo>
                    <a:pt x="435777" y="738511"/>
                  </a:lnTo>
                  <a:lnTo>
                    <a:pt x="781049" y="738511"/>
                  </a:lnTo>
                  <a:lnTo>
                    <a:pt x="803136" y="706532"/>
                  </a:lnTo>
                  <a:lnTo>
                    <a:pt x="824435" y="666293"/>
                  </a:lnTo>
                  <a:lnTo>
                    <a:pt x="824697" y="665728"/>
                  </a:lnTo>
                  <a:lnTo>
                    <a:pt x="824906" y="665131"/>
                  </a:lnTo>
                  <a:lnTo>
                    <a:pt x="825168" y="664566"/>
                  </a:lnTo>
                  <a:lnTo>
                    <a:pt x="650744" y="605311"/>
                  </a:lnTo>
                  <a:close/>
                </a:path>
                <a:path w="827405" h="901064">
                  <a:moveTo>
                    <a:pt x="746090" y="155953"/>
                  </a:moveTo>
                  <a:lnTo>
                    <a:pt x="422008" y="155953"/>
                  </a:lnTo>
                  <a:lnTo>
                    <a:pt x="466874" y="159622"/>
                  </a:lnTo>
                  <a:lnTo>
                    <a:pt x="509973" y="171076"/>
                  </a:lnTo>
                  <a:lnTo>
                    <a:pt x="549726" y="190981"/>
                  </a:lnTo>
                  <a:lnTo>
                    <a:pt x="584557" y="220008"/>
                  </a:lnTo>
                  <a:lnTo>
                    <a:pt x="612887" y="258822"/>
                  </a:lnTo>
                  <a:lnTo>
                    <a:pt x="633140" y="308094"/>
                  </a:lnTo>
                  <a:lnTo>
                    <a:pt x="643739" y="368491"/>
                  </a:lnTo>
                  <a:lnTo>
                    <a:pt x="822469" y="368491"/>
                  </a:lnTo>
                  <a:lnTo>
                    <a:pt x="816712" y="326855"/>
                  </a:lnTo>
                  <a:lnTo>
                    <a:pt x="804165" y="275372"/>
                  </a:lnTo>
                  <a:lnTo>
                    <a:pt x="787263" y="228757"/>
                  </a:lnTo>
                  <a:lnTo>
                    <a:pt x="766390" y="186881"/>
                  </a:lnTo>
                  <a:lnTo>
                    <a:pt x="746090" y="155953"/>
                  </a:lnTo>
                  <a:close/>
                </a:path>
              </a:pathLst>
            </a:custGeom>
            <a:solidFill>
              <a:srgbClr val="6F7070"/>
            </a:solidFill>
          </p:spPr>
          <p:txBody>
            <a:bodyPr wrap="square" lIns="0" tIns="0" rIns="0" bIns="0" rtlCol="0"/>
            <a:lstStyle/>
            <a:p>
              <a:endParaRPr dirty="0"/>
            </a:p>
          </p:txBody>
        </p:sp>
      </p:grpSp>
    </p:spTree>
    <p:extLst>
      <p:ext uri="{BB962C8B-B14F-4D97-AF65-F5344CB8AC3E}">
        <p14:creationId xmlns:p14="http://schemas.microsoft.com/office/powerpoint/2010/main" val="1165203926"/>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Lst>
  <p:txStyles>
    <p:titleStyle>
      <a:lvl1pPr algn="l" defTabSz="914370" rtl="0" eaLnBrk="1" latinLnBrk="0" hangingPunct="1">
        <a:lnSpc>
          <a:spcPct val="90000"/>
        </a:lnSpc>
        <a:spcBef>
          <a:spcPct val="0"/>
        </a:spcBef>
        <a:buNone/>
        <a:defRPr sz="2600" b="1" kern="0" cap="none" baseline="0">
          <a:solidFill>
            <a:schemeClr val="accent1"/>
          </a:solidFill>
          <a:latin typeface="Figtree" pitchFamily="2" charset="0"/>
          <a:ea typeface="+mj-ea"/>
          <a:cs typeface="+mj-cs"/>
        </a:defRPr>
      </a:lvl1pPr>
    </p:titleStyle>
    <p:bodyStyle>
      <a:lvl1pPr marL="179994" indent="-179994" algn="l" defTabSz="914370" rtl="0" eaLnBrk="1" latinLnBrk="0" hangingPunct="1">
        <a:spcBef>
          <a:spcPts val="600"/>
        </a:spcBef>
        <a:buClr>
          <a:schemeClr val="accent1"/>
        </a:buClr>
        <a:buSzPct val="140000"/>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370" rtl="0" eaLnBrk="1" latinLnBrk="0" hangingPunct="1">
        <a:defRPr sz="1200" kern="0">
          <a:solidFill>
            <a:schemeClr val="tx1"/>
          </a:solidFill>
          <a:latin typeface="+mn-lt"/>
          <a:ea typeface="+mn-ea"/>
          <a:cs typeface="+mn-cs"/>
        </a:defRPr>
      </a:lvl1pPr>
      <a:lvl2pPr marL="179994" algn="l" defTabSz="914370" rtl="0" eaLnBrk="1" latinLnBrk="0" hangingPunct="1">
        <a:defRPr sz="1200" kern="0">
          <a:solidFill>
            <a:schemeClr val="tx1"/>
          </a:solidFill>
          <a:latin typeface="+mn-lt"/>
          <a:ea typeface="+mn-ea"/>
          <a:cs typeface="+mn-cs"/>
        </a:defRPr>
      </a:lvl2pPr>
      <a:lvl3pPr marL="359988" algn="l" defTabSz="914370" rtl="0" eaLnBrk="1" latinLnBrk="0" hangingPunct="1">
        <a:defRPr sz="1200" kern="0">
          <a:solidFill>
            <a:schemeClr val="tx1"/>
          </a:solidFill>
          <a:latin typeface="+mn-lt"/>
          <a:ea typeface="+mn-ea"/>
          <a:cs typeface="+mn-cs"/>
        </a:defRPr>
      </a:lvl3pPr>
      <a:lvl4pPr marL="539982" algn="l" defTabSz="914370" rtl="0" eaLnBrk="1" latinLnBrk="0" hangingPunct="1">
        <a:defRPr sz="1200" kern="0">
          <a:solidFill>
            <a:schemeClr val="tx1"/>
          </a:solidFill>
          <a:latin typeface="+mn-lt"/>
          <a:ea typeface="+mn-ea"/>
          <a:cs typeface="+mn-cs"/>
        </a:defRPr>
      </a:lvl4pPr>
      <a:lvl5pPr marL="719977" algn="l" defTabSz="914370" rtl="0" eaLnBrk="1" latinLnBrk="0" hangingPunct="1">
        <a:defRPr sz="1200" kern="0">
          <a:solidFill>
            <a:schemeClr val="tx1"/>
          </a:solidFill>
          <a:latin typeface="+mn-lt"/>
          <a:ea typeface="+mn-ea"/>
          <a:cs typeface="+mn-cs"/>
        </a:defRPr>
      </a:lvl5pPr>
      <a:lvl6pPr marL="899971" algn="l" defTabSz="914370" rtl="0" eaLnBrk="1" latinLnBrk="0" hangingPunct="1">
        <a:defRPr sz="1200" kern="0">
          <a:solidFill>
            <a:schemeClr val="tx1"/>
          </a:solidFill>
          <a:latin typeface="+mn-lt"/>
          <a:ea typeface="+mn-ea"/>
          <a:cs typeface="+mn-cs"/>
        </a:defRPr>
      </a:lvl6pPr>
      <a:lvl7pPr marL="1079965" algn="l" defTabSz="914370" rtl="0" eaLnBrk="1" latinLnBrk="0" hangingPunct="1">
        <a:defRPr sz="1200" kern="0">
          <a:solidFill>
            <a:schemeClr val="tx1"/>
          </a:solidFill>
          <a:latin typeface="+mn-lt"/>
          <a:ea typeface="+mn-ea"/>
          <a:cs typeface="+mn-cs"/>
        </a:defRPr>
      </a:lvl7pPr>
      <a:lvl8pPr marL="1259959" algn="l" defTabSz="914370" rtl="0" eaLnBrk="1" latinLnBrk="0" hangingPunct="1">
        <a:defRPr sz="1200" kern="0">
          <a:solidFill>
            <a:schemeClr val="tx1"/>
          </a:solidFill>
          <a:latin typeface="+mn-lt"/>
          <a:ea typeface="+mn-ea"/>
          <a:cs typeface="+mn-cs"/>
        </a:defRPr>
      </a:lvl8pPr>
      <a:lvl9pPr marL="1439953" algn="l" defTabSz="91437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3" pos="288">
          <p15:clr>
            <a:srgbClr val="F26B43"/>
          </p15:clr>
        </p15:guide>
        <p15:guide id="4" pos="7392">
          <p15:clr>
            <a:srgbClr val="F26B43"/>
          </p15:clr>
        </p15:guide>
        <p15:guide id="6" orient="horz" pos="40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3CF691-08A8-A63C-7D0D-76FA70EF233D}"/>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FCAE2D21-486A-DCC0-EF17-F663B118DB7D}"/>
              </a:ext>
            </a:extLst>
          </p:cNvPr>
          <p:cNvSpPr>
            <a:spLocks noGrp="1"/>
          </p:cNvSpPr>
          <p:nvPr>
            <p:ph type="title"/>
          </p:nvPr>
        </p:nvSpPr>
        <p:spPr>
          <a:xfrm>
            <a:off x="457200" y="457200"/>
            <a:ext cx="11277600" cy="758952"/>
          </a:xfrm>
        </p:spPr>
        <p:txBody>
          <a:bodyPr/>
          <a:lstStyle/>
          <a:p>
            <a:r>
              <a:rPr lang="en-US" dirty="0"/>
              <a:t>Ceres Life has built a proprietary eApp that is modular and reflexive</a:t>
            </a:r>
          </a:p>
        </p:txBody>
      </p:sp>
      <p:pic>
        <p:nvPicPr>
          <p:cNvPr id="4" name="Picture 3" descr="A screenshot of a computer&#10;&#10;AI-generated content may be incorrect.">
            <a:extLst>
              <a:ext uri="{FF2B5EF4-FFF2-40B4-BE49-F238E27FC236}">
                <a16:creationId xmlns:a16="http://schemas.microsoft.com/office/drawing/2014/main" id="{1B1D8A0C-14B6-DFA6-134E-115E5E0D80BD}"/>
              </a:ext>
            </a:extLst>
          </p:cNvPr>
          <p:cNvPicPr>
            <a:picLocks noChangeAspect="1"/>
          </p:cNvPicPr>
          <p:nvPr/>
        </p:nvPicPr>
        <p:blipFill>
          <a:blip r:embed="rId2"/>
          <a:stretch>
            <a:fillRect/>
          </a:stretch>
        </p:blipFill>
        <p:spPr>
          <a:xfrm>
            <a:off x="457200" y="1737360"/>
            <a:ext cx="11277600" cy="4398263"/>
          </a:xfrm>
          <a:prstGeom prst="rect">
            <a:avLst/>
          </a:prstGeom>
          <a:noFill/>
        </p:spPr>
      </p:pic>
    </p:spTree>
    <p:extLst>
      <p:ext uri="{BB962C8B-B14F-4D97-AF65-F5344CB8AC3E}">
        <p14:creationId xmlns:p14="http://schemas.microsoft.com/office/powerpoint/2010/main" val="34696931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672DB6-66B3-C512-BCA7-B59A09BD376C}"/>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5DA1D64D-2C71-D3DA-9F29-1094C1E99C51}"/>
              </a:ext>
            </a:extLst>
          </p:cNvPr>
          <p:cNvSpPr>
            <a:spLocks noGrp="1"/>
          </p:cNvSpPr>
          <p:nvPr>
            <p:ph type="title"/>
          </p:nvPr>
        </p:nvSpPr>
        <p:spPr>
          <a:xfrm>
            <a:off x="457200" y="457200"/>
            <a:ext cx="11277600" cy="758952"/>
          </a:xfrm>
        </p:spPr>
        <p:txBody>
          <a:bodyPr/>
          <a:lstStyle/>
          <a:p>
            <a:r>
              <a:rPr lang="en-US" dirty="0"/>
              <a:t>Ceres eApp provides user –friendly interface and real time error prevention</a:t>
            </a:r>
          </a:p>
        </p:txBody>
      </p:sp>
      <p:pic>
        <p:nvPicPr>
          <p:cNvPr id="4" name="Picture 3" descr="A screenshot of a computer&#10;&#10;AI-generated content may be incorrect.">
            <a:extLst>
              <a:ext uri="{FF2B5EF4-FFF2-40B4-BE49-F238E27FC236}">
                <a16:creationId xmlns:a16="http://schemas.microsoft.com/office/drawing/2014/main" id="{43B7F5F4-8E3D-549D-95B9-44A152036DB0}"/>
              </a:ext>
            </a:extLst>
          </p:cNvPr>
          <p:cNvPicPr>
            <a:picLocks noChangeAspect="1"/>
          </p:cNvPicPr>
          <p:nvPr/>
        </p:nvPicPr>
        <p:blipFill>
          <a:blip r:embed="rId2"/>
          <a:stretch>
            <a:fillRect/>
          </a:stretch>
        </p:blipFill>
        <p:spPr>
          <a:xfrm>
            <a:off x="907982" y="1472184"/>
            <a:ext cx="10376035" cy="4928616"/>
          </a:xfrm>
          <a:prstGeom prst="rect">
            <a:avLst/>
          </a:prstGeom>
          <a:noFill/>
        </p:spPr>
      </p:pic>
    </p:spTree>
    <p:extLst>
      <p:ext uri="{BB962C8B-B14F-4D97-AF65-F5344CB8AC3E}">
        <p14:creationId xmlns:p14="http://schemas.microsoft.com/office/powerpoint/2010/main" val="23005984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TP_TOOLSPOWERPOINTCONFIGV2" val="{&quot;ConfigName&quot;:&quot;Cereslife&quot;,&quot;BracketAndBrace&quot;:{&quot;Brace&quot;:{&quot;Line&quot;:{&quot;Visible&quot;:true,&quot;Color&quot;:[{&quot;Source&quot;:2,&quot;Data&quot;:&quot;msoThemeColorAccent2&quot;}],&quot;Width&quot;:0.75},&quot;Width&quot;:14.4,&quot;Height&quot;:144.0,&quot;Adjustments&quot;:[0.5],&quot;AdjustmentsString&quot;:&quot;1&quot;},&quot;Bracket&quot;:{&quot;Line&quot;:{&quot;Visible&quot;:true,&quot;Color&quot;:[{&quot;Source&quot;:2,&quot;Data&quot;:&quot;msoThemeColorAccent2&quot;}],&quot;Width&quot;:0.75},&quot;Width&quot;:7.2,&quot;Height&quot;:144.0,&quot;Adjustments&quot;:[1.0],&quot;AdjustmentsString&quot;:&quot;1&quot;}},&quot;CalloutOutline&quot;:{&quot;Line&quot;:{&quot;Visible&quot;:false,&quot;Color&quot;:[{&quot;Source&quot;:2,&quot;Data&quot;:&quot;msoThemeColorAccent2&quot;}],&quot;Width&quot;:0.75},&quot;FillColor&quot;:[{&quot;Source&quot;:1,&quot;Data&quot;:&quot;239,238,254&quot;}],&quot;Font&quot;:{&quot;Color&quot;:[{&quot;Source&quot;:2,&quot;Data&quot;:&quot;msoThemeColorText1&quot;}],&quot;Name&quot;:&quot;+mn-lt&quot;,&quot;Style&quot;:0,&quot;Size&quot;:12}},&quot;Caret&quot;:{&quot;FillColor&quot;:[],&quot;LineColor&quot;:[{&quot;Source&quot;:2,&quot;Data&quot;:&quot;msoThemeColorAccent2&quot;}],&quot;SmallCaretLineWeight&quot;:1.5,&quot;LargeCaretLineWeight&quot;:2.25},&quot;Lines&quot;:{&quot;LineColor&quot;:[{&quot;Source&quot;:2,&quot;Data&quot;:&quot;msoThemeColorAccent2&quot;}],&quot;LineWidth&quot;:0.75},&quot;Circle&quot;:{&quot;Offset&quot;:&quot;-5, 2&quot;,&quot;Font&quot;:{&quot;Color&quot;:[{&quot;Source&quot;:2,&quot;Data&quot;:&quot;msoThemeColorAccent1&quot;}],&quot;Name&quot;:&quot;+mn-lt&quot;,&quot;Style&quot;:0,&quot;Size&quot;:10},&quot;FillColor&quot;:[{&quot;Source&quot;:2,&quot;Data&quot;:&quot;msoThemeColorBackground1&quot;}],&quot;Line&quot;:{&quot;Visible&quot;:true,&quot;Color&quot;:[{&quot;Source&quot;:2,&quot;Data&quot;:&quot;msoThemeColorAccent1&quot;}],&quot;Width&quot;:0.75}},&quot;CrossTick&quot;:{&quot;Cross&quot;:{&quot;Visible&quot;:true,&quot;Color&quot;:[{&quot;Source&quot;:1,&quot;Data&quot;:&quot;196,65,65&quot;}],&quot;Width&quot;:1.5},&quot;Tick&quot;:{&quot;Visible&quot;:true,&quot;Color&quot;:[{&quot;Source&quot;:2,&quot;Data&quot;:&quot;msoThemeColorAccent6&quot;}],&quot;Width&quot;:1.5}},&quot;Highlight&quot;:{&quot;Line&quot;:{&quot;Visible&quot;:true,&quot;Color&quot;:[{&quot;Source&quot;:0,&quot;Data&quot;:&quot;Cautionary Yellow&quot;},{&quot;Source&quot;:1,&quot;Data&quot;:&quot;0x00BEFF&quot;}],&quot;Width&quot;:1.5},&quot;Font&quot;:{&quot;Color&quot;:[{&quot;Source&quot;:0,&quot;Data&quot;:&quot;Yellow&quot;},{&quot;Source&quot;:1,&quot;Data&quot;:&quot;0x00BEFF&quot;}],&quot;Name&quot;:&quot;+mn-lt&quot;,&quot;Style&quot;:1,&quot;Size&quot;:12},&quot;Alignment&quot;:1,&quot;VerticalAnchor&quot;:1},&quot;Title&quot;:{&quot;SubTitle&quot;:{&quot;Font&quot;:{&quot;Color&quot;:[{&quot;Source&quot;:2,&quot;Data&quot;:&quot;msoThemeColorAccent1&quot;}],&quot;Name&quot;:&quot;+mn-lt&quot;,&quot;Style&quot;:0,&quot;Size&quot;:14},&quot;AllCaps&quot;:false}},&quot;Headings&quot;:{&quot;Heading&quot;:{&quot;Font&quot;:{&quot;Color&quot;:[{&quot;Source&quot;:2,&quot;Data&quot;:&quot;msoThemeColorText1&quot;}],&quot;Name&quot;:&quot;+mj-lt&quot;,&quot;Style&quot;:2,&quot;Size&quot;:14}},&quot;Subheading&quot;:{&quot;Font&quot;:{&quot;Color&quot;:[{&quot;Source&quot;:2,&quot;Data&quot;:&quot;msoThemeColorText1&quot;}],&quot;Name&quot;:&quot;+mj-lt&quot;,&quot;Style&quot;:0,&quot;Size&quot;:14}}},&quot;Conclusion&quot;:{&quot;Fill&quot;:{&quot;FillType&quot;:0,&quot;Color&quot;:[]},&quot;VisibleBorders&quot;:[3,1],&quot;Line&quot;:{&quot;Visible&quot;:true,&quot;Color&quot;:[{&quot;Source&quot;:2,&quot;Data&quot;:&quot;msoThemeColorAccent2&quot;}],&quot;Width&quot;:0.75},&quot;Font&quot;:{&quot;Color&quot;:[{&quot;Source&quot;:2,&quot;Data&quot;:&quot;msoThemeColorAccent1&quot;}],&quot;Name&quot;:&quot;+mj-lt&quot;,&quot;Style&quot;:0,&quot;Size&quot;:16}},&quot;FootNote&quot;:{&quot;Font&quot;:{&quot;Color&quot;:[{&quot;Source&quot;:2,&quot;Data&quot;:&quot;msoThemeColorText1&quot;}],&quot;Name&quot;:&quot;+mn-lt&quot;,&quot;Style&quot;:0,&quot;Size&quot;:8},&quot;VerticalAnchor&quot;:4},&quot;Bullet&quot;:{&quot;List1Level&quot;:1,&quot;List2Level&quot;:2,&quot;List3Level&quot;:3,&quot;List4Level&quot;:4},&quot;TableSettings&quot;:{&quot;Heading&quot;:{&quot;Font&quot;:{&quot;Color&quot;:[{&quot;Source&quot;:2,&quot;Data&quot;:&quot;msoThemeColorAccent1&quot;}],&quot;Name&quot;:&quot;+mn-lt&quot;,&quot;Style&quot;:2,&quot;Size&quot;:null},&quot;Alignment&quot;:1,&quot;VerticalAnchor&quot;:4},&quot;RowHeading&quot;:{&quot;Font&quot;:{&quot;Color&quot;:[{&quot;Source&quot;:2,&quot;Data&quot;:&quot;msoThemeColorText1&quot;}],&quot;Name&quot;:&quot;+mn-lt&quot;,&quot;Style&quot;:2,&quot;Size&quot;:null},&quot;Alignment&quot;:1,&quot;VerticalAnchor&quot;:1},&quot;Text&quot;:{&quot;Font&quot;:{&quot;Color&quot;:[{&quot;Source&quot;:2,&quot;Data&quot;:&quot;msoThemeColorText1&quot;}],&quot;Name&quot;:&quot;+mn-lt&quot;,&quot;Style&quot;:0,&quot;Size&quot;:null},&quot;Alignment&quot;:1,&quot;VerticalAnchor&quot;:1},&quot;Lines&quot;:{&quot;Visible&quot;:true,&quot;Color&quot;:[{&quot;Source&quot;:2,&quot;Data&quot;:&quot;msoThemeColorFollowedHyperlink&quot;}],&quot;Width&quot;:0.75}},&quot;Harvey&quot;:{&quot;Lines&quot;:{&quot;Visible&quot;:true,&quot;Color&quot;:[{&quot;Source&quot;:2,&quot;Data&quot;:&quot;msoThemeColorAccent3&quot;}],&quot;Width&quot;:0.75},&quot;ArcFill&quot;:[{&quot;Source&quot;:2,&quot;Data&quot;:&quot;msoThemeColorAccent3&quot;}],&quot;BallFill&quot;:[{&quot;Source&quot;:2,&quot;Data&quot;:&quot;msoThemeColorBackground1&quot;}]},&quot;Label&quot;:{&quot;Font&quot;:{&quot;Color&quot;:[{&quot;Source&quot;:2,&quot;Data&quot;:&quot;msoThemeColorAccent3&quot;}],&quot;Name&quot;:&quot;+mn-lt&quot;,&quot;Style&quot;:0,&quot;Size&quot;:11},&quot;Line&quot;:{&quot;Visible&quot;:true,&quot;Color&quot;:[{&quot;Source&quot;:2,&quot;Data&quot;:&quot;msoThemeColorAccent3&quot;}],&quot;Width&quot;:0.75},&quot;Fill&quot;:{&quot;FillType&quot;:0,&quot;Color&quot;:[]}},&quot;Ghost&quot;:{&quot;Font&quot;:{&quot;Color&quot;:[{&quot;Source&quot;:2,&quot;Data&quot;:&quot;msoThemeColorAccent2&quot;}],&quot;Name&quot;:&quot;+mn-lt&quot;,&quot;Style&quot;:0,&quot;Size&quot;:11}}}"/>
  <p:tag name="DTP_TOOLSPOWERPOINTCONFIG" val="{&quot;ConfigName&quot;:&quot;Cereslife&quot;,&quot;BracketAndBrace&quot;:{&quot;Brace&quot;:{&quot;Line&quot;:{&quot;Visible&quot;:true,&quot;Color&quot;:[{&quot;Source&quot;:2,&quot;Data&quot;:&quot;msoThemeColorAccent2&quot;}],&quot;Width&quot;:0.75},&quot;Width&quot;:14.4,&quot;Height&quot;:144.0,&quot;Adjustments&quot;:[1.0],&quot;AdjustmentsString&quot;:&quot;1&quot;},&quot;Bracket&quot;:{&quot;Line&quot;:{&quot;Visible&quot;:true,&quot;Color&quot;:[{&quot;Source&quot;:2,&quot;Data&quot;:&quot;msoThemeColorAccent2&quot;}],&quot;Width&quot;:0.75},&quot;Width&quot;:7.2,&quot;Height&quot;:144.0,&quot;Adjustments&quot;:[1.0],&quot;AdjustmentsString&quot;:&quot;1&quot;}},&quot;CalloutOutline&quot;:{&quot;Line&quot;:{&quot;Visible&quot;:false,&quot;Color&quot;:[{&quot;Source&quot;:2,&quot;Data&quot;:&quot;msoThemeColorAccent2&quot;}],&quot;Width&quot;:0.75},&quot;FillColor&quot;:[{&quot;Source&quot;:1,&quot;Data&quot;:&quot;239,238,254&quot;}],&quot;Font&quot;:{&quot;Color&quot;:[{&quot;Source&quot;:2,&quot;Data&quot;:&quot;msoThemeColorText1&quot;}],&quot;Name&quot;:&quot;+mn-lt&quot;,&quot;Style&quot;:0,&quot;Size&quot;:12}},&quot;Caret&quot;:{&quot;FillColor&quot;:[],&quot;LineColor&quot;:[{&quot;Source&quot;:2,&quot;Data&quot;:&quot;msoThemeColorAccent2&quot;}],&quot;SmallCaretLineWeight&quot;:1.5,&quot;LargeCaretLineWeight&quot;:2.25},&quot;Lines&quot;:{&quot;LineColor&quot;:[{&quot;Source&quot;:2,&quot;Data&quot;:&quot;msoThemeColorAccent2&quot;}],&quot;LineWidth&quot;:0.75},&quot;Circle&quot;:{&quot;Offset&quot;:&quot;-5, 2&quot;,&quot;Font&quot;:{&quot;Color&quot;:[{&quot;Source&quot;:2,&quot;Data&quot;:&quot;msoThemeColorAccent1&quot;}],&quot;Name&quot;:&quot;+mn-lt&quot;,&quot;Style&quot;:0,&quot;Size&quot;:10},&quot;FillColor&quot;:[{&quot;Source&quot;:2,&quot;Data&quot;:&quot;msoThemeColorBackground1&quot;}],&quot;Line&quot;:{&quot;Visible&quot;:true,&quot;Color&quot;:[{&quot;Source&quot;:2,&quot;Data&quot;:&quot;msoThemeColorAccent1&quot;}],&quot;Width&quot;:0.75}},&quot;CrossTick&quot;:{&quot;Cross&quot;:{&quot;Visible&quot;:true,&quot;Color&quot;:[{&quot;Source&quot;:1,&quot;Data&quot;:&quot;196,65,65&quot;}],&quot;Width&quot;:1.5},&quot;Tick&quot;:{&quot;Visible&quot;:true,&quot;Color&quot;:[{&quot;Source&quot;:2,&quot;Data&quot;:&quot;msoThemeColorAccent6&quot;}],&quot;Width&quot;:1.5}},&quot;Highlight&quot;:{&quot;Line&quot;:{&quot;Visible&quot;:true,&quot;Color&quot;:[{&quot;Source&quot;:0,&quot;Data&quot;:&quot;Cautionary Yellow&quot;},{&quot;Source&quot;:1,&quot;Data&quot;:&quot;0x00BEFF&quot;}],&quot;Width&quot;:1.5},&quot;Font&quot;:{&quot;Color&quot;:[{&quot;Source&quot;:0,&quot;Data&quot;:&quot;Yellow&quot;},{&quot;Source&quot;:1,&quot;Data&quot;:&quot;0x00BEFF&quot;}],&quot;Name&quot;:&quot;+mn-lt&quot;,&quot;Style&quot;:1,&quot;Size&quot;:12},&quot;Alignment&quot;:1,&quot;VerticalAnchor&quot;:1},&quot;Title&quot;:{&quot;SubTitle&quot;:{&quot;Font&quot;:{&quot;Color&quot;:[{&quot;Source&quot;:2,&quot;Data&quot;:&quot;msoThemeColorAccent1&quot;}],&quot;Name&quot;:&quot;+mn-lt&quot;,&quot;Style&quot;:0,&quot;Size&quot;:14},&quot;AllCaps&quot;:false}},&quot;Headings&quot;:{&quot;Heading&quot;:{&quot;Font&quot;:{&quot;Color&quot;:[{&quot;Source&quot;:2,&quot;Data&quot;:&quot;msoThemeColorText1&quot;}],&quot;Name&quot;:&quot;+mj-lt&quot;,&quot;Style&quot;:2,&quot;Size&quot;:14}},&quot;Subheading&quot;:{&quot;Font&quot;:{&quot;Color&quot;:[{&quot;Source&quot;:2,&quot;Data&quot;:&quot;msoThemeColorText1&quot;}],&quot;Name&quot;:&quot;+mj-lt&quot;,&quot;Style&quot;:0,&quot;Size&quot;:14}}},&quot;Conclusion&quot;:{&quot;Fill&quot;:{&quot;FillType&quot;:0,&quot;Color&quot;:[]},&quot;VisibleBorders&quot;:[3,1],&quot;Line&quot;:{&quot;Visible&quot;:true,&quot;Color&quot;:[{&quot;Source&quot;:2,&quot;Data&quot;:&quot;msoThemeColorAccent2&quot;}],&quot;Width&quot;:0.75},&quot;Font&quot;:{&quot;Color&quot;:[{&quot;Source&quot;:2,&quot;Data&quot;:&quot;msoThemeColorAccent1&quot;}],&quot;Name&quot;:&quot;+mj-lt&quot;,&quot;Style&quot;:0,&quot;Size&quot;:16}},&quot;FootNote&quot;:{&quot;Font&quot;:{&quot;Color&quot;:[{&quot;Source&quot;:2,&quot;Data&quot;:&quot;msoThemeColorText1&quot;}],&quot;Name&quot;:&quot;+mn-lt&quot;,&quot;Style&quot;:0,&quot;Size&quot;:8},&quot;VerticalAnchor&quot;:4},&quot;Bullet&quot;:{&quot;List1Level&quot;:1,&quot;List2Level&quot;:2,&quot;List3Level&quot;:3,&quot;List4Level&quot;:4},&quot;TableSettings&quot;:{&quot;Heading&quot;:{&quot;Font&quot;:{&quot;Color&quot;:[{&quot;Source&quot;:2,&quot;Data&quot;:&quot;msoThemeColorAccent1&quot;}],&quot;Name&quot;:&quot;+mn-lt&quot;,&quot;Style&quot;:2,&quot;Size&quot;:null},&quot;Alignment&quot;:1,&quot;VerticalAnchor&quot;:4},&quot;RowHeading&quot;:{&quot;Font&quot;:{&quot;Color&quot;:[{&quot;Source&quot;:2,&quot;Data&quot;:&quot;msoThemeColorText1&quot;}],&quot;Name&quot;:&quot;+mn-lt&quot;,&quot;Style&quot;:2,&quot;Size&quot;:null},&quot;Alignment&quot;:1,&quot;VerticalAnchor&quot;:1},&quot;Text&quot;:{&quot;Font&quot;:{&quot;Color&quot;:[{&quot;Source&quot;:2,&quot;Data&quot;:&quot;msoThemeColorText1&quot;}],&quot;Name&quot;:&quot;+mn-lt&quot;,&quot;Style&quot;:0,&quot;Size&quot;:null},&quot;Alignment&quot;:1,&quot;VerticalAnchor&quot;:1},&quot;Lines&quot;:{&quot;Visible&quot;:true,&quot;Color&quot;:[{&quot;Source&quot;:2,&quot;Data&quot;:&quot;msoThemeColorFollowedHyperlink&quot;}],&quot;Width&quot;:0.75}},&quot;Harvey&quot;:{&quot;Lines&quot;:{&quot;Visible&quot;:true,&quot;Color&quot;:[{&quot;Source&quot;:2,&quot;Data&quot;:&quot;msoThemeColorAccent3&quot;}],&quot;Width&quot;:0.75},&quot;ArcFill&quot;:[{&quot;Source&quot;:2,&quot;Data&quot;:&quot;msoThemeColorAccent3&quot;}],&quot;BallFill&quot;:[{&quot;Source&quot;:2,&quot;Data&quot;:&quot;msoThemeColorBackground1&quot;}]},&quot;Label&quot;:{&quot;Font&quot;:{&quot;Color&quot;:[{&quot;Source&quot;:2,&quot;Data&quot;:&quot;msoThemeColorAccent3&quot;}],&quot;Name&quot;:&quot;+mn-lt&quot;,&quot;Style&quot;:0,&quot;Size&quot;:11},&quot;Line&quot;:{&quot;Visible&quot;:true,&quot;Color&quot;:[{&quot;Source&quot;:2,&quot;Data&quot;:&quot;msoThemeColorAccent3&quot;}],&quot;Width&quot;:0.75}},&quot;Ghost&quot;:{&quot;Font&quot;:{&quot;Color&quot;:[{&quot;Source&quot;:2,&quot;Data&quot;:&quot;msoThemeColorAccent2&quot;}],&quot;Name&quot;:&quot;+mn-lt&quot;,&quot;Style&quot;:0,&quot;Size&quot;:11}}}"/>
  <p:tag name="EE4P_STYLE_ID" val="6cd991bf-f022-4378-96e7-2c338aeb3f5a"/>
  <p:tag name="THINKCELLUNDODONOTDELETE" val="0"/>
  <p:tag name="THINKCELLPRESENTATIONDONOTDELETE" val="&lt;?xml version=&quot;1.0&quot; encoding=&quot;UTF-16&quot; standalone=&quot;yes&quot;?&gt;&lt;root reqver=&quot;28224&quot;&gt;&lt;version val=&quot;3566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1.97559000000000017927E+00&quot;&gt;&lt;m_msothmcolidx val=&quot;0&quot;/&gt;&lt;m_rgb r=&quot;D2&quot; g=&quot;ED&quot; b=&quot;F7&quot;/&gt;&lt;/elem&gt;&lt;elem m_fUsage=&quot;1.00000000000000000000E+00&quot;&gt;&lt;m_msothmcolidx val=&quot;0&quot;/&gt;&lt;m_rgb r=&quot;C5&quot; g=&quot;E7&quot; b=&quot;F5&quot;/&gt;&lt;/elem&gt;&lt;elem m_fUsage=&quot;9.00000000000000022204E-01&quot;&gt;&lt;m_msothmcolidx val=&quot;0&quot;/&gt;&lt;m_rgb r=&quot;D0&quot; g=&quot;EC&quot; b=&quot;F7&quot;/&gt;&lt;/elem&gt;&lt;elem m_fUsage=&quot;8.10000000000000053291E-01&quot;&gt;&lt;m_msothmcolidx val=&quot;0&quot;/&gt;&lt;m_rgb r=&quot;DF&quot; g=&quot;F3&quot; b=&quot;F9&quot;/&gt;&lt;/elem&gt;&lt;elem m_fUsage=&quot;7.01231085090000094695E-01&quot;&gt;&lt;m_msothmcolidx val=&quot;0&quot;/&gt;&lt;m_rgb r=&quot;83&quot; g=&quot;00&quot; b=&quot;61&quot;/&gt;&lt;/elem&gt;&lt;elem m_fUsage=&quot;5.31441000000000163261E-01&quot;&gt;&lt;m_msothmcolidx val=&quot;0&quot;/&gt;&lt;m_rgb r=&quot;BB&quot; g=&quot;E5&quot; b=&quot;F3&quot;/&gt;&lt;/elem&gt;&lt;elem m_fUsage=&quot;4.78296900000000135833E-01&quot;&gt;&lt;m_msothmcolidx val=&quot;0&quot;/&gt;&lt;m_rgb r=&quot;9A&quot; g=&quot;D5&quot; b=&quot;EE&quot;/&gt;&lt;/elem&gt;&lt;elem m_fUsage=&quot;4.30467210000000155556E-01&quot;&gt;&lt;m_msothmcolidx val=&quot;0&quot;/&gt;&lt;m_rgb r=&quot;00&quot; g=&quot;9F&quot; b=&quot;D3&quot;/&gt;&lt;/elem&gt;&lt;elem m_fUsage=&quot;3.95539741546275747108E-01&quot;&gt;&lt;m_msothmcolidx val=&quot;0&quot;/&gt;&lt;m_rgb r=&quot;F5&quot; g=&quot;CC&quot; b=&quot;2B&quot;/&gt;&lt;/elem&gt;&lt;elem m_fUsage=&quot;3.48678440100000153201E-01&quot;&gt;&lt;m_msothmcolidx val=&quot;0&quot;/&gt;&lt;m_rgb r=&quot;80&quot; g=&quot;23&quot; b=&quot;CC&quot;/&gt;&lt;/elem&gt;&lt;elem m_fUsage=&quot;3.35396654182183340254E-01&quot;&gt;&lt;m_msothmcolidx val=&quot;0&quot;/&gt;&lt;m_rgb r=&quot;28&quot; g=&quot;65&quot; b=&quot;42&quot;/&gt;&lt;/elem&gt;&lt;elem m_fUsage=&quot;2.82429536481000165171E-01&quot;&gt;&lt;m_msothmcolidx val=&quot;0&quot;/&gt;&lt;m_rgb r=&quot;A9&quot; g=&quot;00&quot; b=&quot;8E&quot;/&gt;&lt;/elem&gt;&lt;elem m_fUsage=&quot;2.54186582832900132001E-01&quot;&gt;&lt;m_msothmcolidx val=&quot;0&quot;/&gt;&lt;m_rgb r=&quot;7A&quot; g=&quot;1D&quot; b=&quot;A7&quot;/&gt;&lt;/elem&gt;&lt;elem m_fUsage=&quot;2.24316832960612028147E-01&quot;&gt;&lt;m_msothmcolidx val=&quot;0&quot;/&gt;&lt;m_rgb r=&quot;EB&quot; g=&quot;99&quot; b=&quot;00&quot;/&gt;&lt;/elem&gt;&lt;elem m_fUsage=&quot;1.58610711224609762793E-01&quot;&gt;&lt;m_msothmcolidx val=&quot;0&quot;/&gt;&lt;m_rgb r=&quot;5B&quot; g=&quot;E1&quot; b=&quot;6F&quot;/&gt;&lt;/elem&gt;&lt;elem m_fUsage=&quot;1.35085171767299283552E-01&quot;&gt;&lt;m_msothmcolidx val=&quot;0&quot;/&gt;&lt;m_rgb r=&quot;37&quot; g=&quot;8B&quot; b=&quot;53&quot;/&gt;&lt;/elem&gt;&lt;elem m_fUsage=&quot;1.31530100564935442664E-01&quot;&gt;&lt;m_msothmcolidx val=&quot;0&quot;/&gt;&lt;m_rgb r=&quot;68&quot; g=&quot;DA&quot; b=&quot;FF&quot;/&gt;&lt;/elem&gt;&lt;elem m_fUsage=&quot;1.30638617653659805384E-01&quot;&gt;&lt;m_msothmcolidx val=&quot;0&quot;/&gt;&lt;m_rgb r=&quot;F9&quot; g=&quot;EC&quot; b=&quot;8F&quot;/&gt;&lt;/elem&gt;&lt;elem m_fUsage=&quot;1.21576654590569363523E-01&quot;&gt;&lt;m_msothmcolidx val=&quot;0&quot;/&gt;&lt;m_rgb r=&quot;4B&quot; g=&quot;BE&quot; b=&quot;65&quot;/&gt;&lt;/elem&gt;&lt;elem m_fUsage=&quot;1.18891085741647833940E-01&quot;&gt;&lt;m_msothmcolidx val=&quot;0&quot;/&gt;&lt;m_rgb r=&quot;FF&quot; g=&quot;63&quot; b=&quot;2E&quot;/&gt;&lt;/elem&gt;&lt;elem m_fUsage=&quot;1.09418989131512434110E-01&quot;&gt;&lt;m_msothmcolidx val=&quot;0&quot;/&gt;&lt;m_rgb r=&quot;00&quot; g=&quot;27&quot; b=&quot;E2&quot;/&gt;&lt;/elem&gt;&lt;elem m_fUsage=&quot;9.84770902183611934744E-02&quot;&gt;&lt;m_msothmcolidx val=&quot;0&quot;/&gt;&lt;m_rgb r=&quot;00&quot; g=&quot;48&quot; b=&quot;E7&quot;/&gt;&lt;/elem&gt;&lt;elem m_fUsage=&quot;8.86293811965250810658E-02&quot;&gt;&lt;m_msothmcolidx val=&quot;0&quot;/&gt;&lt;m_rgb r=&quot;00&quot; g=&quot;73&quot; b=&quot;E1&quot;/&gt;&lt;/elem&gt;&lt;elem m_fUsage=&quot;7.97664430768725701837E-02&quot;&gt;&lt;m_msothmcolidx val=&quot;0&quot;/&gt;&lt;m_rgb r=&quot;33&quot; g=&quot;B7&quot; b=&quot;FF&quot;/&gt;&lt;/elem&gt;&lt;/m_vecMRU&gt;&lt;/m_mruColor&gt;&lt;m_eweekdayFirstOfWeek val=&quot;1&quot;/&gt;&lt;m_eweekdayFirstOfWorkweek val=&quot;2&quot;/&gt;&lt;m_eweekdayFirstOfWeekend val=&quot;7&quot;/&gt;&lt;/CPresentation&gt;&lt;/root&gt;"/>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ERESLIFE">
  <a:themeElements>
    <a:clrScheme name="Cereslife">
      <a:dk1>
        <a:srgbClr val="000000"/>
      </a:dk1>
      <a:lt1>
        <a:srgbClr val="FFFFFF"/>
      </a:lt1>
      <a:dk2>
        <a:srgbClr val="01214A"/>
      </a:dk2>
      <a:lt2>
        <a:srgbClr val="FFFFFF"/>
      </a:lt2>
      <a:accent1>
        <a:srgbClr val="009FD3"/>
      </a:accent1>
      <a:accent2>
        <a:srgbClr val="6F6F6F"/>
      </a:accent2>
      <a:accent3>
        <a:srgbClr val="01214A"/>
      </a:accent3>
      <a:accent4>
        <a:srgbClr val="8A726B"/>
      </a:accent4>
      <a:accent5>
        <a:srgbClr val="3E5622"/>
      </a:accent5>
      <a:accent6>
        <a:srgbClr val="00B352"/>
      </a:accent6>
      <a:hlink>
        <a:srgbClr val="DCF343"/>
      </a:hlink>
      <a:folHlink>
        <a:srgbClr val="CBCBCB"/>
      </a:folHlink>
    </a:clrScheme>
    <a:fontScheme name="CERESLIFE">
      <a:majorFont>
        <a:latin typeface="Figtree"/>
        <a:ea typeface=""/>
        <a:cs typeface=""/>
      </a:majorFont>
      <a:minorFont>
        <a:latin typeface="Figtree Light"/>
        <a:ea typeface=""/>
        <a:cs typeface=""/>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accent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Sky -75">
      <a:srgbClr val="40B7DE"/>
    </a:custClr>
    <a:custClr name="Sky -45">
      <a:srgbClr val="8CD4EB"/>
    </a:custClr>
    <a:custClr name="Sky -20">
      <a:srgbClr val="CCECF6"/>
    </a:custClr>
    <a:custClr name="Lilac">
      <a:srgbClr val="EFEEFE"/>
    </a:custClr>
    <a:custClr name="Lavender">
      <a:srgbClr val="DBD8EB"/>
    </a:custClr>
    <a:custClr name="Moss">
      <a:srgbClr val="617456"/>
    </a:custClr>
    <a:custClr name="Pear">
      <a:srgbClr val="DCF343"/>
    </a:custClr>
    <a:custClr name="Maize">
      <a:srgbClr val="FEFF7E"/>
    </a:custClr>
    <a:custClr name="Cautionary Yellow">
      <a:srgbClr val="F7DC4C"/>
    </a:custClr>
    <a:custClr name="Warning Red">
      <a:srgbClr val="C44141"/>
    </a:custClr>
  </a:custClrLst>
  <a:extLst>
    <a:ext uri="{05A4C25C-085E-4340-85A3-A5531E510DB2}">
      <thm15:themeFamily xmlns:thm15="http://schemas.microsoft.com/office/thememl/2012/main" name="TDI Meeting Materials_250411(MLK)" id="{BCA610F7-3AF2-384C-B014-7663E5339839}" vid="{419F5B20-B6A9-CA4B-8682-F414134B822A}"/>
    </a:ext>
  </a:extLst>
</a:theme>
</file>

<file path=ppt/theme/theme2.xml><?xml version="1.0" encoding="utf-8"?>
<a:theme xmlns:a="http://schemas.openxmlformats.org/drawingml/2006/main" name="1_CERESLIFE">
  <a:themeElements>
    <a:clrScheme name="Cereslife">
      <a:dk1>
        <a:srgbClr val="000000"/>
      </a:dk1>
      <a:lt1>
        <a:srgbClr val="FFFFFF"/>
      </a:lt1>
      <a:dk2>
        <a:srgbClr val="01214A"/>
      </a:dk2>
      <a:lt2>
        <a:srgbClr val="FFFFFF"/>
      </a:lt2>
      <a:accent1>
        <a:srgbClr val="009FD3"/>
      </a:accent1>
      <a:accent2>
        <a:srgbClr val="6F6F6F"/>
      </a:accent2>
      <a:accent3>
        <a:srgbClr val="01214A"/>
      </a:accent3>
      <a:accent4>
        <a:srgbClr val="8A726B"/>
      </a:accent4>
      <a:accent5>
        <a:srgbClr val="3E5622"/>
      </a:accent5>
      <a:accent6>
        <a:srgbClr val="00B352"/>
      </a:accent6>
      <a:hlink>
        <a:srgbClr val="DCF343"/>
      </a:hlink>
      <a:folHlink>
        <a:srgbClr val="CBCBCB"/>
      </a:folHlink>
    </a:clrScheme>
    <a:fontScheme name="CERESLIFE">
      <a:majorFont>
        <a:latin typeface="Figtree"/>
        <a:ea typeface=""/>
        <a:cs typeface=""/>
      </a:majorFont>
      <a:minorFont>
        <a:latin typeface="Figtree Light"/>
        <a:ea typeface=""/>
        <a:cs typeface=""/>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accent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Sky -75">
      <a:srgbClr val="40B7DE"/>
    </a:custClr>
    <a:custClr name="Sky -45">
      <a:srgbClr val="8CD4EB"/>
    </a:custClr>
    <a:custClr name="Sky -20">
      <a:srgbClr val="CCECF6"/>
    </a:custClr>
    <a:custClr name="Lilac">
      <a:srgbClr val="EFEEFE"/>
    </a:custClr>
    <a:custClr name="Lavender">
      <a:srgbClr val="DBD8EB"/>
    </a:custClr>
    <a:custClr name="Moss">
      <a:srgbClr val="617456"/>
    </a:custClr>
    <a:custClr name="Pear">
      <a:srgbClr val="DCF343"/>
    </a:custClr>
    <a:custClr name="Maize">
      <a:srgbClr val="FEFF7E"/>
    </a:custClr>
    <a:custClr name="Cautionary Yellow">
      <a:srgbClr val="F7DC4C"/>
    </a:custClr>
    <a:custClr name="Warning Red">
      <a:srgbClr val="C44141"/>
    </a:custClr>
  </a:custClrLst>
  <a:extLst>
    <a:ext uri="{05A4C25C-085E-4340-85A3-A5531E510DB2}">
      <thm15:themeFamily xmlns:thm15="http://schemas.microsoft.com/office/thememl/2012/main" name="TDI Meeting Materials_250411(MLK)" id="{BCA610F7-3AF2-384C-B014-7663E5339839}" vid="{EB2B7B9F-FC07-E943-8719-296233E584F1}"/>
    </a:ext>
  </a:extLst>
</a:theme>
</file>

<file path=ppt/theme/theme3.xml><?xml version="1.0" encoding="utf-8"?>
<a:theme xmlns:a="http://schemas.openxmlformats.org/drawingml/2006/main" name="Vanilla">
  <a:themeElements>
    <a:clrScheme name="Vanilla">
      <a:dk1>
        <a:srgbClr val="000000"/>
      </a:dk1>
      <a:lt1>
        <a:srgbClr val="FFFFFF"/>
      </a:lt1>
      <a:dk2>
        <a:srgbClr val="01214A"/>
      </a:dk2>
      <a:lt2>
        <a:srgbClr val="FFFFFF"/>
      </a:lt2>
      <a:accent1>
        <a:srgbClr val="009FD3"/>
      </a:accent1>
      <a:accent2>
        <a:srgbClr val="6F6F6F"/>
      </a:accent2>
      <a:accent3>
        <a:srgbClr val="01214A"/>
      </a:accent3>
      <a:accent4>
        <a:srgbClr val="8A726B"/>
      </a:accent4>
      <a:accent5>
        <a:srgbClr val="3E5622"/>
      </a:accent5>
      <a:accent6>
        <a:srgbClr val="00B352"/>
      </a:accent6>
      <a:hlink>
        <a:srgbClr val="515151"/>
      </a:hlink>
      <a:folHlink>
        <a:srgbClr val="CBCBCB"/>
      </a:folHlink>
    </a:clrScheme>
    <a:fontScheme name="Vanilla">
      <a:majorFont>
        <a:latin typeface="Calibri"/>
        <a:ea typeface=""/>
        <a:cs typeface=""/>
        <a:font script="Jpan" typeface="Meiryo"/>
        <a:font script="Hang" typeface="맑은 고딕"/>
        <a:font script="Hans" typeface="DengXian"/>
        <a:font script="Hant" typeface="DengXian"/>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custClrLst>
    <a:custClr name="Sky -75">
      <a:srgbClr val="40B7DE"/>
    </a:custClr>
    <a:custClr name="Sky -45">
      <a:srgbClr val="8CD4EB"/>
    </a:custClr>
    <a:custClr name="Sky -20">
      <a:srgbClr val="CCECF6"/>
    </a:custClr>
    <a:custClr name="Lilac">
      <a:srgbClr val="EFEEFE"/>
    </a:custClr>
    <a:custClr name="Lavender">
      <a:srgbClr val="DBD8EB"/>
    </a:custClr>
    <a:custClr name="Moss">
      <a:srgbClr val="617456"/>
    </a:custClr>
    <a:custClr name="Pear">
      <a:srgbClr val="DCF343"/>
    </a:custClr>
    <a:custClr name="Maize">
      <a:srgbClr val="FEFF7E"/>
    </a:custClr>
    <a:custClr name="Cautionary Yellow">
      <a:srgbClr val="F7DC4C"/>
    </a:custClr>
    <a:custClr name="Warning Red">
      <a:srgbClr val="C44141"/>
    </a:custClr>
  </a:custClrLst>
  <a:extLst>
    <a:ext uri="{05A4C25C-085E-4340-85A3-A5531E510DB2}">
      <thm15:themeFamily xmlns:thm15="http://schemas.microsoft.com/office/thememl/2012/main" name="Vanilla.potx" id="{F6D262A5-B963-48E1-A2E3-3CBDBDB49CFF}" vid="{F53D162F-CDEA-4A23-9BC9-56CEC427F37C}"/>
    </a:ext>
  </a:extLst>
</a:theme>
</file>

<file path=ppt/theme/theme4.xml><?xml version="1.0" encoding="utf-8"?>
<a:theme xmlns:a="http://schemas.openxmlformats.org/drawingml/2006/main" name="Vanilla">
  <a:themeElements>
    <a:clrScheme name="Vanilla">
      <a:dk1>
        <a:srgbClr val="000000"/>
      </a:dk1>
      <a:lt1>
        <a:srgbClr val="FFFFFF"/>
      </a:lt1>
      <a:dk2>
        <a:srgbClr val="01214A"/>
      </a:dk2>
      <a:lt2>
        <a:srgbClr val="FFFFFF"/>
      </a:lt2>
      <a:accent1>
        <a:srgbClr val="009FD3"/>
      </a:accent1>
      <a:accent2>
        <a:srgbClr val="6F6F6F"/>
      </a:accent2>
      <a:accent3>
        <a:srgbClr val="01214A"/>
      </a:accent3>
      <a:accent4>
        <a:srgbClr val="8A726B"/>
      </a:accent4>
      <a:accent5>
        <a:srgbClr val="3E5622"/>
      </a:accent5>
      <a:accent6>
        <a:srgbClr val="00B352"/>
      </a:accent6>
      <a:hlink>
        <a:srgbClr val="515151"/>
      </a:hlink>
      <a:folHlink>
        <a:srgbClr val="CBCBCB"/>
      </a:folHlink>
    </a:clrScheme>
    <a:fontScheme name="Vanilla">
      <a:majorFont>
        <a:latin typeface="Calibri"/>
        <a:ea typeface=""/>
        <a:cs typeface=""/>
        <a:font script="Jpan" typeface="Meiryo"/>
        <a:font script="Hang" typeface="맑은 고딕"/>
        <a:font script="Hans" typeface="DengXian"/>
        <a:font script="Hant" typeface="DengXian"/>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custClrLst>
    <a:custClr name="Sky -75">
      <a:srgbClr val="40B7DE"/>
    </a:custClr>
    <a:custClr name="Sky -45">
      <a:srgbClr val="8CD4EB"/>
    </a:custClr>
    <a:custClr name="Sky -20">
      <a:srgbClr val="CCECF6"/>
    </a:custClr>
    <a:custClr name="Lilac">
      <a:srgbClr val="EFEEFE"/>
    </a:custClr>
    <a:custClr name="Lavender">
      <a:srgbClr val="DBD8EB"/>
    </a:custClr>
    <a:custClr name="Moss">
      <a:srgbClr val="617456"/>
    </a:custClr>
    <a:custClr name="Pear">
      <a:srgbClr val="DCF343"/>
    </a:custClr>
    <a:custClr name="Maize">
      <a:srgbClr val="FEFF7E"/>
    </a:custClr>
    <a:custClr name="Cautionary Yellow">
      <a:srgbClr val="F7DC4C"/>
    </a:custClr>
    <a:custClr name="Warning Red">
      <a:srgbClr val="C44141"/>
    </a:custClr>
  </a:custClrLst>
  <a:extLst>
    <a:ext uri="{05A4C25C-085E-4340-85A3-A5531E510DB2}">
      <thm15:themeFamily xmlns:thm15="http://schemas.microsoft.com/office/thememl/2012/main" name="Vanilla.potx" id="{F6D262A5-B963-48E1-A2E3-3CBDBDB49CFF}" vid="{F53D162F-CDEA-4A23-9BC9-56CEC427F37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74DC056E584BD4A94C36107931F44DE" ma:contentTypeVersion="4" ma:contentTypeDescription="Create a new document." ma:contentTypeScope="" ma:versionID="b38ccd9de5dd32f9722ffb3d9dec3877">
  <xsd:schema xmlns:xsd="http://www.w3.org/2001/XMLSchema" xmlns:xs="http://www.w3.org/2001/XMLSchema" xmlns:p="http://schemas.microsoft.com/office/2006/metadata/properties" xmlns:ns2="32c8946f-ec47-46d8-b0fa-9a3bd2ba7b42" targetNamespace="http://schemas.microsoft.com/office/2006/metadata/properties" ma:root="true" ma:fieldsID="5ce90259e38d9dbedf114a848e10d5f6" ns2:_="">
    <xsd:import namespace="32c8946f-ec47-46d8-b0fa-9a3bd2ba7b4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c8946f-ec47-46d8-b0fa-9a3bd2ba7b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F67C5C0-40E4-4C41-8791-98DE299C96CC}">
  <ds:schemaRefs>
    <ds:schemaRef ds:uri="32c8946f-ec47-46d8-b0fa-9a3bd2ba7b4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DC7B3E7-E611-4D7D-A3AB-2A8CC85A6C0A}">
  <ds:schemaRefs>
    <ds:schemaRef ds:uri="http://schemas.microsoft.com/sharepoint/v3/contenttype/forms"/>
  </ds:schemaRefs>
</ds:datastoreItem>
</file>

<file path=customXml/itemProps3.xml><?xml version="1.0" encoding="utf-8"?>
<ds:datastoreItem xmlns:ds="http://schemas.openxmlformats.org/officeDocument/2006/customXml" ds:itemID="{1491B0B5-8831-4DAC-96BA-D282A15040A5}">
  <ds:schemaRefs>
    <ds:schemaRef ds:uri="http://purl.org/dc/terms/"/>
    <ds:schemaRef ds:uri="http://schemas.microsoft.com/office/2006/documentManagement/types"/>
    <ds:schemaRef ds:uri="http://purl.org/dc/elements/1.1/"/>
    <ds:schemaRef ds:uri="http://schemas.openxmlformats.org/package/2006/metadata/core-properties"/>
    <ds:schemaRef ds:uri="http://schemas.microsoft.com/office/infopath/2007/PartnerControls"/>
    <ds:schemaRef ds:uri="http://purl.org/dc/dcmitype/"/>
    <ds:schemaRef ds:uri="32c8946f-ec47-46d8-b0fa-9a3bd2ba7b42"/>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9060</TotalTime>
  <Words>24</Words>
  <Application>Microsoft Macintosh PowerPoint</Application>
  <PresentationFormat>Widescreen</PresentationFormat>
  <Paragraphs>2</Paragraphs>
  <Slides>2</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10" baseType="lpstr">
      <vt:lpstr>Figtree Medium</vt:lpstr>
      <vt:lpstr>Calibri</vt:lpstr>
      <vt:lpstr>Figtree Light</vt:lpstr>
      <vt:lpstr>Arial</vt:lpstr>
      <vt:lpstr>Figtree</vt:lpstr>
      <vt:lpstr>CERESLIFE</vt:lpstr>
      <vt:lpstr>1_CERESLIFE</vt:lpstr>
      <vt:lpstr>think-cell Slide</vt:lpstr>
      <vt:lpstr>Ceres Life has built a proprietary eApp that is modular and reflexive</vt:lpstr>
      <vt:lpstr>Ceres eApp provides user –friendly interface and real time error prevention</vt:lpstr>
    </vt:vector>
  </TitlesOfParts>
  <Company>MM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rtinez, Marimar</dc:creator>
  <cp:keywords>DTP.PPTVanillaWidescreen.20210601.3</cp:keywords>
  <cp:lastModifiedBy>Tom Olds</cp:lastModifiedBy>
  <cp:revision>32</cp:revision>
  <cp:lastPrinted>2025-02-04T20:46:16Z</cp:lastPrinted>
  <dcterms:created xsi:type="dcterms:W3CDTF">2025-01-28T16:19:29Z</dcterms:created>
  <dcterms:modified xsi:type="dcterms:W3CDTF">2025-06-29T17:3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21/06/01</vt:lpwstr>
  </property>
  <property fmtid="{D5CDD505-2E9C-101B-9397-08002B2CF9AE}" pid="3" name="DocumentMSOLanguageID">
    <vt:lpwstr>msoLanguageIDEnglishUS</vt:lpwstr>
  </property>
  <property fmtid="{D5CDD505-2E9C-101B-9397-08002B2CF9AE}" pid="4" name="ContentTypeId">
    <vt:lpwstr>0x010100074DC056E584BD4A94C36107931F44DE</vt:lpwstr>
  </property>
  <property fmtid="{D5CDD505-2E9C-101B-9397-08002B2CF9AE}" pid="5" name="MSIP_Label_38f1469a-2c2a-4aee-b92b-090d4c5468ff_SetDate">
    <vt:lpwstr>2025-01-31T16:19:06Z</vt:lpwstr>
  </property>
  <property fmtid="{D5CDD505-2E9C-101B-9397-08002B2CF9AE}" pid="6" name="MSIP_Label_38f1469a-2c2a-4aee-b92b-090d4c5468ff_SiteId">
    <vt:lpwstr>2a6e6092-73e4-4752-b1a5-477a17f5056d</vt:lpwstr>
  </property>
  <property fmtid="{D5CDD505-2E9C-101B-9397-08002B2CF9AE}" pid="7" name="MSIP_Label_38f1469a-2c2a-4aee-b92b-090d4c5468ff_Method">
    <vt:lpwstr>Standard</vt:lpwstr>
  </property>
  <property fmtid="{D5CDD505-2E9C-101B-9397-08002B2CF9AE}" pid="8" name="MSIP_Label_38f1469a-2c2a-4aee-b92b-090d4c5468ff_Name">
    <vt:lpwstr>Confidential - Unmarked</vt:lpwstr>
  </property>
  <property fmtid="{D5CDD505-2E9C-101B-9397-08002B2CF9AE}" pid="9" name="MSIP_Label_38f1469a-2c2a-4aee-b92b-090d4c5468ff_ActionId">
    <vt:lpwstr>69385674-77c8-4886-aebf-27465b8e827a</vt:lpwstr>
  </property>
  <property fmtid="{D5CDD505-2E9C-101B-9397-08002B2CF9AE}" pid="10" name="MSIP_Label_38f1469a-2c2a-4aee-b92b-090d4c5468ff_Tag">
    <vt:lpwstr>10, 3, 0, 2</vt:lpwstr>
  </property>
  <property fmtid="{D5CDD505-2E9C-101B-9397-08002B2CF9AE}" pid="11" name="MSIP_Label_38f1469a-2c2a-4aee-b92b-090d4c5468ff_Enabled">
    <vt:lpwstr>true</vt:lpwstr>
  </property>
  <property fmtid="{D5CDD505-2E9C-101B-9397-08002B2CF9AE}" pid="12" name="MSIP_Label_38f1469a-2c2a-4aee-b92b-090d4c5468ff_ContentBits">
    <vt:lpwstr>0</vt:lpwstr>
  </property>
  <property fmtid="{D5CDD505-2E9C-101B-9397-08002B2CF9AE}" pid="13" name="ComplianceAssetId">
    <vt:lpwstr/>
  </property>
  <property fmtid="{D5CDD505-2E9C-101B-9397-08002B2CF9AE}" pid="14" name="_ExtendedDescription">
    <vt:lpwstr/>
  </property>
  <property fmtid="{D5CDD505-2E9C-101B-9397-08002B2CF9AE}" pid="15" name="TriggerFlowInfo">
    <vt:lpwstr/>
  </property>
  <property fmtid="{D5CDD505-2E9C-101B-9397-08002B2CF9AE}" pid="16" name="_activity">
    <vt:lpwstr>{"FileActivityType":"6","FileActivityTimeStamp":"2025-04-21T18:15:49.800Z","FileActivityUsersOnPage":[{"DisplayName":"Erik Askelsen","Id":"easkelsen@3clife.info"}],"FileActivityNavigationId":null}</vt:lpwstr>
  </property>
  <property fmtid="{D5CDD505-2E9C-101B-9397-08002B2CF9AE}" pid="17" name="MSIP_Label_defa4170-0d19-0005-0004-bc88714345d2_Enabled">
    <vt:lpwstr>true</vt:lpwstr>
  </property>
  <property fmtid="{D5CDD505-2E9C-101B-9397-08002B2CF9AE}" pid="18" name="MSIP_Label_defa4170-0d19-0005-0004-bc88714345d2_SetDate">
    <vt:lpwstr>2025-04-22T20:06:42Z</vt:lpwstr>
  </property>
  <property fmtid="{D5CDD505-2E9C-101B-9397-08002B2CF9AE}" pid="19" name="MSIP_Label_defa4170-0d19-0005-0004-bc88714345d2_Method">
    <vt:lpwstr>Privileged</vt:lpwstr>
  </property>
  <property fmtid="{D5CDD505-2E9C-101B-9397-08002B2CF9AE}" pid="20" name="MSIP_Label_defa4170-0d19-0005-0004-bc88714345d2_Name">
    <vt:lpwstr>defa4170-0d19-0005-0004-bc88714345d2</vt:lpwstr>
  </property>
  <property fmtid="{D5CDD505-2E9C-101B-9397-08002B2CF9AE}" pid="21" name="MSIP_Label_defa4170-0d19-0005-0004-bc88714345d2_SiteId">
    <vt:lpwstr>6a49b8e7-eff0-4ccd-b34b-fafd43fdf0c9</vt:lpwstr>
  </property>
  <property fmtid="{D5CDD505-2E9C-101B-9397-08002B2CF9AE}" pid="22" name="MSIP_Label_defa4170-0d19-0005-0004-bc88714345d2_ActionId">
    <vt:lpwstr>5f5fc3f2-08e6-4a67-bf1a-f6bce31062b9</vt:lpwstr>
  </property>
  <property fmtid="{D5CDD505-2E9C-101B-9397-08002B2CF9AE}" pid="23" name="MSIP_Label_defa4170-0d19-0005-0004-bc88714345d2_ContentBits">
    <vt:lpwstr>0</vt:lpwstr>
  </property>
  <property fmtid="{D5CDD505-2E9C-101B-9397-08002B2CF9AE}" pid="24" name="MSIP_Label_defa4170-0d19-0005-0004-bc88714345d2_Tag">
    <vt:lpwstr>50, 0, 1, 1</vt:lpwstr>
  </property>
</Properties>
</file>